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tags/tag31.xml" ContentType="application/vnd.openxmlformats-officedocument.presentationml.tags+xml"/>
  <Override PartName="/ppt/notesSlides/notesSlide28.xml" ContentType="application/vnd.openxmlformats-officedocument.presentationml.notesSlide+xml"/>
  <Override PartName="/ppt/tags/tag32.xml" ContentType="application/vnd.openxmlformats-officedocument.presentationml.tags+xml"/>
  <Override PartName="/ppt/notesSlides/notesSlide29.xml" ContentType="application/vnd.openxmlformats-officedocument.presentationml.notesSlide+xml"/>
  <Override PartName="/ppt/tags/tag33.xml" ContentType="application/vnd.openxmlformats-officedocument.presentationml.tags+xml"/>
  <Override PartName="/ppt/notesSlides/notesSlide30.xml" ContentType="application/vnd.openxmlformats-officedocument.presentationml.notesSlide+xml"/>
  <Override PartName="/ppt/tags/tag34.xml" ContentType="application/vnd.openxmlformats-officedocument.presentationml.tags+xml"/>
  <Override PartName="/ppt/notesSlides/notesSlide31.xml" ContentType="application/vnd.openxmlformats-officedocument.presentationml.notesSlide+xml"/>
  <Override PartName="/ppt/tags/tag35.xml" ContentType="application/vnd.openxmlformats-officedocument.presentationml.tags+xml"/>
  <Override PartName="/ppt/notesSlides/notesSlide32.xml" ContentType="application/vnd.openxmlformats-officedocument.presentationml.notesSlide+xml"/>
  <Override PartName="/ppt/tags/tag36.xml" ContentType="application/vnd.openxmlformats-officedocument.presentationml.tags+xml"/>
  <Override PartName="/ppt/notesSlides/notesSlide33.xml" ContentType="application/vnd.openxmlformats-officedocument.presentationml.notesSlide+xml"/>
  <Override PartName="/ppt/tags/tag37.xml" ContentType="application/vnd.openxmlformats-officedocument.presentationml.tags+xml"/>
  <Override PartName="/ppt/notesSlides/notesSlide34.xml" ContentType="application/vnd.openxmlformats-officedocument.presentationml.notesSlide+xml"/>
  <Override PartName="/ppt/tags/tag38.xml" ContentType="application/vnd.openxmlformats-officedocument.presentationml.tags+xml"/>
  <Override PartName="/ppt/notesSlides/notesSlide35.xml" ContentType="application/vnd.openxmlformats-officedocument.presentationml.notesSlide+xml"/>
  <Override PartName="/ppt/tags/tag39.xml" ContentType="application/vnd.openxmlformats-officedocument.presentationml.tags+xml"/>
  <Override PartName="/ppt/notesSlides/notesSlide36.xml" ContentType="application/vnd.openxmlformats-officedocument.presentationml.notesSlide+xml"/>
  <Override PartName="/ppt/tags/tag40.xml" ContentType="application/vnd.openxmlformats-officedocument.presentationml.tags+xml"/>
  <Override PartName="/ppt/notesSlides/notesSlide37.xml" ContentType="application/vnd.openxmlformats-officedocument.presentationml.notesSlide+xml"/>
  <Override PartName="/ppt/tags/tag41.xml" ContentType="application/vnd.openxmlformats-officedocument.presentationml.tags+xml"/>
  <Override PartName="/ppt/notesSlides/notesSlide38.xml" ContentType="application/vnd.openxmlformats-officedocument.presentationml.notesSlide+xml"/>
  <Override PartName="/ppt/tags/tag42.xml" ContentType="application/vnd.openxmlformats-officedocument.presentationml.tags+xml"/>
  <Override PartName="/ppt/notesSlides/notesSlide39.xml" ContentType="application/vnd.openxmlformats-officedocument.presentationml.notesSlide+xml"/>
  <Override PartName="/ppt/tags/tag43.xml" ContentType="application/vnd.openxmlformats-officedocument.presentationml.tags+xml"/>
  <Override PartName="/ppt/notesSlides/notesSlide40.xml" ContentType="application/vnd.openxmlformats-officedocument.presentationml.notesSlide+xml"/>
  <Override PartName="/ppt/tags/tag44.xml" ContentType="application/vnd.openxmlformats-officedocument.presentationml.tags+xml"/>
  <Override PartName="/ppt/notesSlides/notesSlide41.xml" ContentType="application/vnd.openxmlformats-officedocument.presentationml.notesSlide+xml"/>
  <Override PartName="/ppt/tags/tag45.xml" ContentType="application/vnd.openxmlformats-officedocument.presentationml.tags+xml"/>
  <Override PartName="/ppt/notesSlides/notesSlide4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43.xml" ContentType="application/vnd.openxmlformats-officedocument.presentationml.notesSlide+xml"/>
  <Override PartName="/ppt/tags/tag48.xml" ContentType="application/vnd.openxmlformats-officedocument.presentationml.tags+xml"/>
  <Override PartName="/ppt/notesSlides/notesSlide44.xml" ContentType="application/vnd.openxmlformats-officedocument.presentationml.notesSlide+xml"/>
  <Override PartName="/ppt/tags/tag49.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51"/>
  </p:notesMasterIdLst>
  <p:handoutMasterIdLst>
    <p:handoutMasterId r:id="rId52"/>
  </p:handoutMasterIdLst>
  <p:sldIdLst>
    <p:sldId id="340" r:id="rId5"/>
    <p:sldId id="1619" r:id="rId6"/>
    <p:sldId id="2134958944" r:id="rId7"/>
    <p:sldId id="2134958812" r:id="rId8"/>
    <p:sldId id="1645" r:id="rId9"/>
    <p:sldId id="463" r:id="rId10"/>
    <p:sldId id="2566" r:id="rId11"/>
    <p:sldId id="2682" r:id="rId12"/>
    <p:sldId id="2555" r:id="rId13"/>
    <p:sldId id="2559" r:id="rId14"/>
    <p:sldId id="1627" r:id="rId15"/>
    <p:sldId id="2624" r:id="rId16"/>
    <p:sldId id="2686" r:id="rId17"/>
    <p:sldId id="2726" r:id="rId18"/>
    <p:sldId id="2727" r:id="rId19"/>
    <p:sldId id="2728" r:id="rId20"/>
    <p:sldId id="2134958945" r:id="rId21"/>
    <p:sldId id="2134958946" r:id="rId22"/>
    <p:sldId id="2134959077" r:id="rId23"/>
    <p:sldId id="2134958947" r:id="rId24"/>
    <p:sldId id="2134958948" r:id="rId25"/>
    <p:sldId id="2134958949" r:id="rId26"/>
    <p:sldId id="2681" r:id="rId27"/>
    <p:sldId id="2642" r:id="rId28"/>
    <p:sldId id="2134959070" r:id="rId29"/>
    <p:sldId id="2134959068" r:id="rId30"/>
    <p:sldId id="2134959069" r:id="rId31"/>
    <p:sldId id="2134959071" r:id="rId32"/>
    <p:sldId id="2134959072" r:id="rId33"/>
    <p:sldId id="2134959073" r:id="rId34"/>
    <p:sldId id="2134959074" r:id="rId35"/>
    <p:sldId id="2134959076" r:id="rId36"/>
    <p:sldId id="2680" r:id="rId37"/>
    <p:sldId id="2659" r:id="rId38"/>
    <p:sldId id="2625" r:id="rId39"/>
    <p:sldId id="1624" r:id="rId40"/>
    <p:sldId id="2576" r:id="rId41"/>
    <p:sldId id="2605" r:id="rId42"/>
    <p:sldId id="2662" r:id="rId43"/>
    <p:sldId id="2591" r:id="rId44"/>
    <p:sldId id="2134958847" r:id="rId45"/>
    <p:sldId id="1596" r:id="rId46"/>
    <p:sldId id="2594" r:id="rId47"/>
    <p:sldId id="2595" r:id="rId48"/>
    <p:sldId id="865" r:id="rId49"/>
    <p:sldId id="442" r:id="rId50"/>
  </p:sldIdLst>
  <p:sldSz cx="12192000" cy="6858000"/>
  <p:notesSz cx="7315200" cy="96012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 id="2" name="Robinson, Kimberly S (US - Indianapolis)" initials="RKS(-I" lastIdx="366" clrIdx="1">
    <p:extLst>
      <p:ext uri="{19B8F6BF-5375-455C-9EA6-DF929625EA0E}">
        <p15:presenceInfo xmlns:p15="http://schemas.microsoft.com/office/powerpoint/2012/main" userId="S-1-5-21-238447276-1040861923-1850952788-675513" providerId="AD"/>
      </p:ext>
    </p:extLst>
  </p:cmAuthor>
  <p:cmAuthor id="3" name="Greer, Rusty" initials="GR" lastIdx="5" clrIdx="2">
    <p:extLst>
      <p:ext uri="{19B8F6BF-5375-455C-9EA6-DF929625EA0E}">
        <p15:presenceInfo xmlns:p15="http://schemas.microsoft.com/office/powerpoint/2012/main" userId="S::cgreer@deloitte.com::28085050-add3-4bd3-908e-dc5bd22d5809" providerId="AD"/>
      </p:ext>
    </p:extLst>
  </p:cmAuthor>
  <p:cmAuthor id="4" name="Robinson, Kimberly S" initials="RKS" lastIdx="13" clrIdx="3">
    <p:extLst>
      <p:ext uri="{19B8F6BF-5375-455C-9EA6-DF929625EA0E}">
        <p15:presenceInfo xmlns:p15="http://schemas.microsoft.com/office/powerpoint/2012/main" userId="S::kimrobinson@deloitte.com::0097e7cc-9bf8-41eb-b7b5-de3dc6883461" providerId="AD"/>
      </p:ext>
    </p:extLst>
  </p:cmAuthor>
  <p:cmAuthor id="5" name="Whippen, Reagan Sullivan" initials="WS" lastIdx="2" clrIdx="4">
    <p:extLst>
      <p:ext uri="{19B8F6BF-5375-455C-9EA6-DF929625EA0E}">
        <p15:presenceInfo xmlns:p15="http://schemas.microsoft.com/office/powerpoint/2012/main" userId="S::rjwhippen@deloitte.com::10d862af-9727-43c2-b078-6f9923a015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C5931"/>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73631" autoAdjust="0"/>
  </p:normalViewPr>
  <p:slideViewPr>
    <p:cSldViewPr snapToGrid="0">
      <p:cViewPr varScale="1">
        <p:scale>
          <a:sx n="38" d="100"/>
          <a:sy n="38" d="100"/>
        </p:scale>
        <p:origin x="44" y="136"/>
      </p:cViewPr>
      <p:guideLst>
        <p:guide/>
        <p:guide orient="horz" pos="2047"/>
        <p:guide orient="horz" pos="1593"/>
        <p:guide orient="horz" pos="2568"/>
        <p:guide orient="horz" pos="3072"/>
        <p:guide orient="horz" pos="3589"/>
      </p:guideLst>
    </p:cSldViewPr>
  </p:slideViewPr>
  <p:notesTextViewPr>
    <p:cViewPr>
      <p:scale>
        <a:sx n="1" d="1"/>
        <a:sy n="1" d="1"/>
      </p:scale>
      <p:origin x="0" y="0"/>
    </p:cViewPr>
  </p:notesTextViewPr>
  <p:sorterViewPr>
    <p:cViewPr>
      <p:scale>
        <a:sx n="80" d="100"/>
        <a:sy n="80" d="100"/>
      </p:scale>
      <p:origin x="0" y="-24480"/>
    </p:cViewPr>
  </p:sorter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 Id="rId60" Type="http://schemas.openxmlformats.org/officeDocument/2006/relationships/customXml" Target="../customXml/item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inson, Kimberly S" userId="0097e7cc-9bf8-41eb-b7b5-de3dc6883461" providerId="ADAL" clId="{D48D6578-D18E-46FA-A5CE-C16171DAB849}"/>
    <pc:docChg chg="undo custSel addSld delSld modSld">
      <pc:chgData name="Robinson, Kimberly S" userId="0097e7cc-9bf8-41eb-b7b5-de3dc6883461" providerId="ADAL" clId="{D48D6578-D18E-46FA-A5CE-C16171DAB849}" dt="2021-06-24T19:16:41.771" v="272" actId="47"/>
      <pc:docMkLst>
        <pc:docMk/>
      </pc:docMkLst>
      <pc:sldChg chg="add del modNotes">
        <pc:chgData name="Robinson, Kimberly S" userId="0097e7cc-9bf8-41eb-b7b5-de3dc6883461" providerId="ADAL" clId="{D48D6578-D18E-46FA-A5CE-C16171DAB849}" dt="2021-06-24T19:14:33.437" v="242" actId="47"/>
        <pc:sldMkLst>
          <pc:docMk/>
          <pc:sldMk cId="1224926455" sldId="340"/>
        </pc:sldMkLst>
      </pc:sldChg>
      <pc:sldChg chg="modNotes">
        <pc:chgData name="Robinson, Kimberly S" userId="0097e7cc-9bf8-41eb-b7b5-de3dc6883461" providerId="ADAL" clId="{D48D6578-D18E-46FA-A5CE-C16171DAB849}" dt="2021-06-24T19:12:02.058" v="232" actId="20577"/>
        <pc:sldMkLst>
          <pc:docMk/>
          <pc:sldMk cId="1141312294" sldId="442"/>
        </pc:sldMkLst>
      </pc:sldChg>
      <pc:sldChg chg="del modNotes">
        <pc:chgData name="Robinson, Kimberly S" userId="0097e7cc-9bf8-41eb-b7b5-de3dc6883461" providerId="ADAL" clId="{D48D6578-D18E-46FA-A5CE-C16171DAB849}" dt="2021-06-24T19:15:21.887" v="256" actId="47"/>
        <pc:sldMkLst>
          <pc:docMk/>
          <pc:sldMk cId="3100107783" sldId="459"/>
        </pc:sldMkLst>
      </pc:sldChg>
      <pc:sldChg chg="modNotes">
        <pc:chgData name="Robinson, Kimberly S" userId="0097e7cc-9bf8-41eb-b7b5-de3dc6883461" providerId="ADAL" clId="{D48D6578-D18E-46FA-A5CE-C16171DAB849}" dt="2021-06-24T19:12:00.992" v="34" actId="20577"/>
        <pc:sldMkLst>
          <pc:docMk/>
          <pc:sldMk cId="945953857" sldId="463"/>
        </pc:sldMkLst>
      </pc:sldChg>
      <pc:sldChg chg="del modNotes">
        <pc:chgData name="Robinson, Kimberly S" userId="0097e7cc-9bf8-41eb-b7b5-de3dc6883461" providerId="ADAL" clId="{D48D6578-D18E-46FA-A5CE-C16171DAB849}" dt="2021-06-24T19:15:22.799" v="258" actId="47"/>
        <pc:sldMkLst>
          <pc:docMk/>
          <pc:sldMk cId="416637365" sldId="464"/>
        </pc:sldMkLst>
      </pc:sldChg>
      <pc:sldChg chg="modNotes">
        <pc:chgData name="Robinson, Kimberly S" userId="0097e7cc-9bf8-41eb-b7b5-de3dc6883461" providerId="ADAL" clId="{D48D6578-D18E-46FA-A5CE-C16171DAB849}" dt="2021-06-24T19:12:02.052" v="231" actId="20577"/>
        <pc:sldMkLst>
          <pc:docMk/>
          <pc:sldMk cId="3714864369" sldId="865"/>
        </pc:sldMkLst>
      </pc:sldChg>
      <pc:sldChg chg="del modNotes">
        <pc:chgData name="Robinson, Kimberly S" userId="0097e7cc-9bf8-41eb-b7b5-de3dc6883461" providerId="ADAL" clId="{D48D6578-D18E-46FA-A5CE-C16171DAB849}" dt="2021-06-24T19:16:40.401" v="271" actId="47"/>
        <pc:sldMkLst>
          <pc:docMk/>
          <pc:sldMk cId="637309361" sldId="1553"/>
        </pc:sldMkLst>
      </pc:sldChg>
      <pc:sldChg chg="modNotes">
        <pc:chgData name="Robinson, Kimberly S" userId="0097e7cc-9bf8-41eb-b7b5-de3dc6883461" providerId="ADAL" clId="{D48D6578-D18E-46FA-A5CE-C16171DAB849}" dt="2021-06-24T19:12:01.946" v="211" actId="20577"/>
        <pc:sldMkLst>
          <pc:docMk/>
          <pc:sldMk cId="3889562393" sldId="1596"/>
        </pc:sldMkLst>
      </pc:sldChg>
      <pc:sldChg chg="modNotes">
        <pc:chgData name="Robinson, Kimberly S" userId="0097e7cc-9bf8-41eb-b7b5-de3dc6883461" providerId="ADAL" clId="{D48D6578-D18E-46FA-A5CE-C16171DAB849}" dt="2021-06-24T19:12:00.915" v="17" actId="20577"/>
        <pc:sldMkLst>
          <pc:docMk/>
          <pc:sldMk cId="1499523490" sldId="1619"/>
        </pc:sldMkLst>
      </pc:sldChg>
      <pc:sldChg chg="modNotes">
        <pc:chgData name="Robinson, Kimberly S" userId="0097e7cc-9bf8-41eb-b7b5-de3dc6883461" providerId="ADAL" clId="{D48D6578-D18E-46FA-A5CE-C16171DAB849}" dt="2021-06-24T19:12:01.835" v="190" actId="20577"/>
        <pc:sldMkLst>
          <pc:docMk/>
          <pc:sldMk cId="1229557251" sldId="1624"/>
        </pc:sldMkLst>
      </pc:sldChg>
      <pc:sldChg chg="add del modNotes">
        <pc:chgData name="Robinson, Kimberly S" userId="0097e7cc-9bf8-41eb-b7b5-de3dc6883461" providerId="ADAL" clId="{D48D6578-D18E-46FA-A5CE-C16171DAB849}" dt="2021-06-24T19:15:38.516" v="261" actId="47"/>
        <pc:sldMkLst>
          <pc:docMk/>
          <pc:sldMk cId="894114144" sldId="1627"/>
        </pc:sldMkLst>
      </pc:sldChg>
      <pc:sldChg chg="modNotes">
        <pc:chgData name="Robinson, Kimberly S" userId="0097e7cc-9bf8-41eb-b7b5-de3dc6883461" providerId="ADAL" clId="{D48D6578-D18E-46FA-A5CE-C16171DAB849}" dt="2021-06-24T19:12:00.979" v="31" actId="20577"/>
        <pc:sldMkLst>
          <pc:docMk/>
          <pc:sldMk cId="1273245816" sldId="1645"/>
        </pc:sldMkLst>
      </pc:sldChg>
      <pc:sldChg chg="modNotes">
        <pc:chgData name="Robinson, Kimberly S" userId="0097e7cc-9bf8-41eb-b7b5-de3dc6883461" providerId="ADAL" clId="{D48D6578-D18E-46FA-A5CE-C16171DAB849}" dt="2021-06-24T19:12:01.042" v="43" actId="20577"/>
        <pc:sldMkLst>
          <pc:docMk/>
          <pc:sldMk cId="4089732390" sldId="2555"/>
        </pc:sldMkLst>
      </pc:sldChg>
      <pc:sldChg chg="modNotes">
        <pc:chgData name="Robinson, Kimberly S" userId="0097e7cc-9bf8-41eb-b7b5-de3dc6883461" providerId="ADAL" clId="{D48D6578-D18E-46FA-A5CE-C16171DAB849}" dt="2021-06-24T19:12:01.056" v="46" actId="20577"/>
        <pc:sldMkLst>
          <pc:docMk/>
          <pc:sldMk cId="1005779566" sldId="2559"/>
        </pc:sldMkLst>
      </pc:sldChg>
      <pc:sldChg chg="add del modNotes">
        <pc:chgData name="Robinson, Kimberly S" userId="0097e7cc-9bf8-41eb-b7b5-de3dc6883461" providerId="ADAL" clId="{D48D6578-D18E-46FA-A5CE-C16171DAB849}" dt="2021-06-24T19:14:44.666" v="253" actId="47"/>
        <pc:sldMkLst>
          <pc:docMk/>
          <pc:sldMk cId="3007151376" sldId="2564"/>
        </pc:sldMkLst>
      </pc:sldChg>
      <pc:sldChg chg="add del modNotes">
        <pc:chgData name="Robinson, Kimberly S" userId="0097e7cc-9bf8-41eb-b7b5-de3dc6883461" providerId="ADAL" clId="{D48D6578-D18E-46FA-A5CE-C16171DAB849}" dt="2021-06-24T19:14:45.482" v="254" actId="47"/>
        <pc:sldMkLst>
          <pc:docMk/>
          <pc:sldMk cId="295415322" sldId="2565"/>
        </pc:sldMkLst>
      </pc:sldChg>
      <pc:sldChg chg="modNotes">
        <pc:chgData name="Robinson, Kimberly S" userId="0097e7cc-9bf8-41eb-b7b5-de3dc6883461" providerId="ADAL" clId="{D48D6578-D18E-46FA-A5CE-C16171DAB849}" dt="2021-06-24T19:12:01.008" v="37" actId="20577"/>
        <pc:sldMkLst>
          <pc:docMk/>
          <pc:sldMk cId="2483599203" sldId="2566"/>
        </pc:sldMkLst>
      </pc:sldChg>
      <pc:sldChg chg="del modNotes">
        <pc:chgData name="Robinson, Kimberly S" userId="0097e7cc-9bf8-41eb-b7b5-de3dc6883461" providerId="ADAL" clId="{D48D6578-D18E-46FA-A5CE-C16171DAB849}" dt="2021-06-24T19:15:22.343" v="257" actId="47"/>
        <pc:sldMkLst>
          <pc:docMk/>
          <pc:sldMk cId="3130831470" sldId="2569"/>
        </pc:sldMkLst>
      </pc:sldChg>
      <pc:sldChg chg="modNotes">
        <pc:chgData name="Robinson, Kimberly S" userId="0097e7cc-9bf8-41eb-b7b5-de3dc6883461" providerId="ADAL" clId="{D48D6578-D18E-46FA-A5CE-C16171DAB849}" dt="2021-06-24T19:12:01.851" v="193" actId="20577"/>
        <pc:sldMkLst>
          <pc:docMk/>
          <pc:sldMk cId="3185045772" sldId="2576"/>
        </pc:sldMkLst>
      </pc:sldChg>
      <pc:sldChg chg="modNotes">
        <pc:chgData name="Robinson, Kimberly S" userId="0097e7cc-9bf8-41eb-b7b5-de3dc6883461" providerId="ADAL" clId="{D48D6578-D18E-46FA-A5CE-C16171DAB849}" dt="2021-06-24T19:12:01.898" v="202" actId="20577"/>
        <pc:sldMkLst>
          <pc:docMk/>
          <pc:sldMk cId="3511368228" sldId="2591"/>
        </pc:sldMkLst>
      </pc:sldChg>
      <pc:sldChg chg="modNotes">
        <pc:chgData name="Robinson, Kimberly S" userId="0097e7cc-9bf8-41eb-b7b5-de3dc6883461" providerId="ADAL" clId="{D48D6578-D18E-46FA-A5CE-C16171DAB849}" dt="2021-06-24T19:12:02.026" v="226" actId="20577"/>
        <pc:sldMkLst>
          <pc:docMk/>
          <pc:sldMk cId="3231414372" sldId="2594"/>
        </pc:sldMkLst>
      </pc:sldChg>
      <pc:sldChg chg="modNotes">
        <pc:chgData name="Robinson, Kimberly S" userId="0097e7cc-9bf8-41eb-b7b5-de3dc6883461" providerId="ADAL" clId="{D48D6578-D18E-46FA-A5CE-C16171DAB849}" dt="2021-06-24T19:12:02.041" v="229" actId="20577"/>
        <pc:sldMkLst>
          <pc:docMk/>
          <pc:sldMk cId="1235824599" sldId="2595"/>
        </pc:sldMkLst>
      </pc:sldChg>
      <pc:sldChg chg="del modNotes">
        <pc:chgData name="Robinson, Kimberly S" userId="0097e7cc-9bf8-41eb-b7b5-de3dc6883461" providerId="ADAL" clId="{D48D6578-D18E-46FA-A5CE-C16171DAB849}" dt="2021-06-24T19:16:38.291" v="269" actId="47"/>
        <pc:sldMkLst>
          <pc:docMk/>
          <pc:sldMk cId="2963127353" sldId="2602"/>
        </pc:sldMkLst>
      </pc:sldChg>
      <pc:sldChg chg="del modNotes">
        <pc:chgData name="Robinson, Kimberly S" userId="0097e7cc-9bf8-41eb-b7b5-de3dc6883461" providerId="ADAL" clId="{D48D6578-D18E-46FA-A5CE-C16171DAB849}" dt="2021-06-24T19:16:38.960" v="270" actId="47"/>
        <pc:sldMkLst>
          <pc:docMk/>
          <pc:sldMk cId="2225125244" sldId="2604"/>
        </pc:sldMkLst>
      </pc:sldChg>
      <pc:sldChg chg="modNotes">
        <pc:chgData name="Robinson, Kimberly S" userId="0097e7cc-9bf8-41eb-b7b5-de3dc6883461" providerId="ADAL" clId="{D48D6578-D18E-46FA-A5CE-C16171DAB849}" dt="2021-06-24T19:12:01.868" v="196" actId="20577"/>
        <pc:sldMkLst>
          <pc:docMk/>
          <pc:sldMk cId="777424755" sldId="2605"/>
        </pc:sldMkLst>
      </pc:sldChg>
      <pc:sldChg chg="modNotes">
        <pc:chgData name="Robinson, Kimberly S" userId="0097e7cc-9bf8-41eb-b7b5-de3dc6883461" providerId="ADAL" clId="{D48D6578-D18E-46FA-A5CE-C16171DAB849}" dt="2021-06-24T19:12:01.149" v="66" actId="20577"/>
        <pc:sldMkLst>
          <pc:docMk/>
          <pc:sldMk cId="3026504823" sldId="2624"/>
        </pc:sldMkLst>
      </pc:sldChg>
      <pc:sldChg chg="modNotes">
        <pc:chgData name="Robinson, Kimberly S" userId="0097e7cc-9bf8-41eb-b7b5-de3dc6883461" providerId="ADAL" clId="{D48D6578-D18E-46FA-A5CE-C16171DAB849}" dt="2021-06-24T19:12:01.819" v="187" actId="20577"/>
        <pc:sldMkLst>
          <pc:docMk/>
          <pc:sldMk cId="159182315" sldId="2625"/>
        </pc:sldMkLst>
      </pc:sldChg>
      <pc:sldChg chg="del modNotes">
        <pc:chgData name="Robinson, Kimberly S" userId="0097e7cc-9bf8-41eb-b7b5-de3dc6883461" providerId="ADAL" clId="{D48D6578-D18E-46FA-A5CE-C16171DAB849}" dt="2021-06-24T19:15:51.054" v="262" actId="47"/>
        <pc:sldMkLst>
          <pc:docMk/>
          <pc:sldMk cId="3448887347" sldId="2640"/>
        </pc:sldMkLst>
      </pc:sldChg>
      <pc:sldChg chg="modNotes">
        <pc:chgData name="Robinson, Kimberly S" userId="0097e7cc-9bf8-41eb-b7b5-de3dc6883461" providerId="ADAL" clId="{D48D6578-D18E-46FA-A5CE-C16171DAB849}" dt="2021-06-24T19:12:01.337" v="105" actId="20577"/>
        <pc:sldMkLst>
          <pc:docMk/>
          <pc:sldMk cId="2401746902" sldId="2642"/>
        </pc:sldMkLst>
      </pc:sldChg>
      <pc:sldChg chg="modNotes">
        <pc:chgData name="Robinson, Kimberly S" userId="0097e7cc-9bf8-41eb-b7b5-de3dc6883461" providerId="ADAL" clId="{D48D6578-D18E-46FA-A5CE-C16171DAB849}" dt="2021-06-24T19:12:01.804" v="184" actId="20577"/>
        <pc:sldMkLst>
          <pc:docMk/>
          <pc:sldMk cId="746218271" sldId="2659"/>
        </pc:sldMkLst>
      </pc:sldChg>
      <pc:sldChg chg="modNotes">
        <pc:chgData name="Robinson, Kimberly S" userId="0097e7cc-9bf8-41eb-b7b5-de3dc6883461" providerId="ADAL" clId="{D48D6578-D18E-46FA-A5CE-C16171DAB849}" dt="2021-06-24T19:12:01.882" v="199" actId="20577"/>
        <pc:sldMkLst>
          <pc:docMk/>
          <pc:sldMk cId="3414112085" sldId="2662"/>
        </pc:sldMkLst>
      </pc:sldChg>
      <pc:sldChg chg="del modNotes">
        <pc:chgData name="Robinson, Kimberly S" userId="0097e7cc-9bf8-41eb-b7b5-de3dc6883461" providerId="ADAL" clId="{D48D6578-D18E-46FA-A5CE-C16171DAB849}" dt="2021-06-24T19:16:07.844" v="266" actId="47"/>
        <pc:sldMkLst>
          <pc:docMk/>
          <pc:sldMk cId="2177867646" sldId="2664"/>
        </pc:sldMkLst>
      </pc:sldChg>
      <pc:sldChg chg="del modNotes">
        <pc:chgData name="Robinson, Kimberly S" userId="0097e7cc-9bf8-41eb-b7b5-de3dc6883461" providerId="ADAL" clId="{D48D6578-D18E-46FA-A5CE-C16171DAB849}" dt="2021-06-24T19:16:14.757" v="267" actId="47"/>
        <pc:sldMkLst>
          <pc:docMk/>
          <pc:sldMk cId="3652248624" sldId="2665"/>
        </pc:sldMkLst>
      </pc:sldChg>
      <pc:sldChg chg="modNotes">
        <pc:chgData name="Robinson, Kimberly S" userId="0097e7cc-9bf8-41eb-b7b5-de3dc6883461" providerId="ADAL" clId="{D48D6578-D18E-46FA-A5CE-C16171DAB849}" dt="2021-06-24T19:12:01.771" v="178" actId="20577"/>
        <pc:sldMkLst>
          <pc:docMk/>
          <pc:sldMk cId="3967670293" sldId="2680"/>
        </pc:sldMkLst>
      </pc:sldChg>
      <pc:sldChg chg="modNotes">
        <pc:chgData name="Robinson, Kimberly S" userId="0097e7cc-9bf8-41eb-b7b5-de3dc6883461" providerId="ADAL" clId="{D48D6578-D18E-46FA-A5CE-C16171DAB849}" dt="2021-06-24T19:12:01.294" v="96" actId="20577"/>
        <pc:sldMkLst>
          <pc:docMk/>
          <pc:sldMk cId="3897301973" sldId="2681"/>
        </pc:sldMkLst>
      </pc:sldChg>
      <pc:sldChg chg="modNotes">
        <pc:chgData name="Robinson, Kimberly S" userId="0097e7cc-9bf8-41eb-b7b5-de3dc6883461" providerId="ADAL" clId="{D48D6578-D18E-46FA-A5CE-C16171DAB849}" dt="2021-06-24T19:12:01.027" v="40" actId="20577"/>
        <pc:sldMkLst>
          <pc:docMk/>
          <pc:sldMk cId="2213916099" sldId="2682"/>
        </pc:sldMkLst>
      </pc:sldChg>
      <pc:sldChg chg="del modNotes">
        <pc:chgData name="Robinson, Kimberly S" userId="0097e7cc-9bf8-41eb-b7b5-de3dc6883461" providerId="ADAL" clId="{D48D6578-D18E-46FA-A5CE-C16171DAB849}" dt="2021-06-24T19:15:21.411" v="255" actId="47"/>
        <pc:sldMkLst>
          <pc:docMk/>
          <pc:sldMk cId="1516732562" sldId="2683"/>
        </pc:sldMkLst>
      </pc:sldChg>
      <pc:sldChg chg="modNotes">
        <pc:chgData name="Robinson, Kimberly S" userId="0097e7cc-9bf8-41eb-b7b5-de3dc6883461" providerId="ADAL" clId="{D48D6578-D18E-46FA-A5CE-C16171DAB849}" dt="2021-06-24T19:12:01.165" v="69" actId="20577"/>
        <pc:sldMkLst>
          <pc:docMk/>
          <pc:sldMk cId="1705694856" sldId="2686"/>
        </pc:sldMkLst>
      </pc:sldChg>
      <pc:sldChg chg="add del modNotes">
        <pc:chgData name="Robinson, Kimberly S" userId="0097e7cc-9bf8-41eb-b7b5-de3dc6883461" providerId="ADAL" clId="{D48D6578-D18E-46FA-A5CE-C16171DAB849}" dt="2021-06-24T19:14:37.031" v="245" actId="47"/>
        <pc:sldMkLst>
          <pc:docMk/>
          <pc:sldMk cId="2560679025" sldId="2691"/>
        </pc:sldMkLst>
      </pc:sldChg>
      <pc:sldChg chg="del modNotes">
        <pc:chgData name="Robinson, Kimberly S" userId="0097e7cc-9bf8-41eb-b7b5-de3dc6883461" providerId="ADAL" clId="{D48D6578-D18E-46FA-A5CE-C16171DAB849}" dt="2021-06-24T19:16:41.771" v="272" actId="47"/>
        <pc:sldMkLst>
          <pc:docMk/>
          <pc:sldMk cId="4281298427" sldId="2694"/>
        </pc:sldMkLst>
      </pc:sldChg>
      <pc:sldChg chg="add del modNotes">
        <pc:chgData name="Robinson, Kimberly S" userId="0097e7cc-9bf8-41eb-b7b5-de3dc6883461" providerId="ADAL" clId="{D48D6578-D18E-46FA-A5CE-C16171DAB849}" dt="2021-06-24T19:14:43.861" v="252" actId="47"/>
        <pc:sldMkLst>
          <pc:docMk/>
          <pc:sldMk cId="1738550259" sldId="2696"/>
        </pc:sldMkLst>
      </pc:sldChg>
      <pc:sldChg chg="del modNotes">
        <pc:chgData name="Robinson, Kimberly S" userId="0097e7cc-9bf8-41eb-b7b5-de3dc6883461" providerId="ADAL" clId="{D48D6578-D18E-46FA-A5CE-C16171DAB849}" dt="2021-06-24T19:15:23.261" v="259" actId="47"/>
        <pc:sldMkLst>
          <pc:docMk/>
          <pc:sldMk cId="1342041019" sldId="2702"/>
        </pc:sldMkLst>
      </pc:sldChg>
      <pc:sldChg chg="del modNotes">
        <pc:chgData name="Robinson, Kimberly S" userId="0097e7cc-9bf8-41eb-b7b5-de3dc6883461" providerId="ADAL" clId="{D48D6578-D18E-46FA-A5CE-C16171DAB849}" dt="2021-06-24T19:15:59.179" v="264" actId="47"/>
        <pc:sldMkLst>
          <pc:docMk/>
          <pc:sldMk cId="3873397416" sldId="2713"/>
        </pc:sldMkLst>
      </pc:sldChg>
      <pc:sldChg chg="del modNotes">
        <pc:chgData name="Robinson, Kimberly S" userId="0097e7cc-9bf8-41eb-b7b5-de3dc6883461" providerId="ADAL" clId="{D48D6578-D18E-46FA-A5CE-C16171DAB849}" dt="2021-06-24T19:15:59.831" v="265" actId="47"/>
        <pc:sldMkLst>
          <pc:docMk/>
          <pc:sldMk cId="2008092937" sldId="2714"/>
        </pc:sldMkLst>
      </pc:sldChg>
      <pc:sldChg chg="del modNotes">
        <pc:chgData name="Robinson, Kimberly S" userId="0097e7cc-9bf8-41eb-b7b5-de3dc6883461" providerId="ADAL" clId="{D48D6578-D18E-46FA-A5CE-C16171DAB849}" dt="2021-06-24T19:16:20.697" v="268" actId="47"/>
        <pc:sldMkLst>
          <pc:docMk/>
          <pc:sldMk cId="2182283179" sldId="2715"/>
        </pc:sldMkLst>
      </pc:sldChg>
      <pc:sldChg chg="del modNotes">
        <pc:chgData name="Robinson, Kimberly S" userId="0097e7cc-9bf8-41eb-b7b5-de3dc6883461" providerId="ADAL" clId="{D48D6578-D18E-46FA-A5CE-C16171DAB849}" dt="2021-06-24T19:15:54.566" v="263" actId="47"/>
        <pc:sldMkLst>
          <pc:docMk/>
          <pc:sldMk cId="592424329" sldId="2716"/>
        </pc:sldMkLst>
      </pc:sldChg>
      <pc:sldChg chg="add del modNotes">
        <pc:chgData name="Robinson, Kimberly S" userId="0097e7cc-9bf8-41eb-b7b5-de3dc6883461" providerId="ADAL" clId="{D48D6578-D18E-46FA-A5CE-C16171DAB849}" dt="2021-06-24T19:14:37.453" v="246" actId="47"/>
        <pc:sldMkLst>
          <pc:docMk/>
          <pc:sldMk cId="394315568" sldId="2763"/>
        </pc:sldMkLst>
      </pc:sldChg>
      <pc:sldChg chg="add del modNotes">
        <pc:chgData name="Robinson, Kimberly S" userId="0097e7cc-9bf8-41eb-b7b5-de3dc6883461" providerId="ADAL" clId="{D48D6578-D18E-46FA-A5CE-C16171DAB849}" dt="2021-06-24T19:14:38.641" v="249" actId="47"/>
        <pc:sldMkLst>
          <pc:docMk/>
          <pc:sldMk cId="1985091305" sldId="2764"/>
        </pc:sldMkLst>
      </pc:sldChg>
      <pc:sldChg chg="add del modNotes">
        <pc:chgData name="Robinson, Kimberly S" userId="0097e7cc-9bf8-41eb-b7b5-de3dc6883461" providerId="ADAL" clId="{D48D6578-D18E-46FA-A5CE-C16171DAB849}" dt="2021-06-24T19:14:39.734" v="251" actId="47"/>
        <pc:sldMkLst>
          <pc:docMk/>
          <pc:sldMk cId="196025851" sldId="2765"/>
        </pc:sldMkLst>
      </pc:sldChg>
      <pc:sldChg chg="add del modNotes">
        <pc:chgData name="Robinson, Kimberly S" userId="0097e7cc-9bf8-41eb-b7b5-de3dc6883461" providerId="ADAL" clId="{D48D6578-D18E-46FA-A5CE-C16171DAB849}" dt="2021-06-24T19:14:38.270" v="248" actId="47"/>
        <pc:sldMkLst>
          <pc:docMk/>
          <pc:sldMk cId="3595262793" sldId="2848"/>
        </pc:sldMkLst>
      </pc:sldChg>
      <pc:sldChg chg="add del modNotes">
        <pc:chgData name="Robinson, Kimberly S" userId="0097e7cc-9bf8-41eb-b7b5-de3dc6883461" providerId="ADAL" clId="{D48D6578-D18E-46FA-A5CE-C16171DAB849}" dt="2021-06-24T19:14:39.194" v="250" actId="47"/>
        <pc:sldMkLst>
          <pc:docMk/>
          <pc:sldMk cId="707276351" sldId="2874"/>
        </pc:sldMkLst>
      </pc:sldChg>
      <pc:sldChg chg="modNotes">
        <pc:chgData name="Robinson, Kimberly S" userId="0097e7cc-9bf8-41eb-b7b5-de3dc6883461" providerId="ADAL" clId="{D48D6578-D18E-46FA-A5CE-C16171DAB849}" dt="2021-06-24T19:12:00.928" v="20" actId="20577"/>
        <pc:sldMkLst>
          <pc:docMk/>
          <pc:sldMk cId="2981331065" sldId="2134958812"/>
        </pc:sldMkLst>
      </pc:sldChg>
      <pc:sldChg chg="modNotes">
        <pc:chgData name="Robinson, Kimberly S" userId="0097e7cc-9bf8-41eb-b7b5-de3dc6883461" providerId="ADAL" clId="{D48D6578-D18E-46FA-A5CE-C16171DAB849}" dt="2021-06-24T19:12:01.915" v="205" actId="20577"/>
        <pc:sldMkLst>
          <pc:docMk/>
          <pc:sldMk cId="2871618586" sldId="2134958847"/>
        </pc:sldMkLst>
      </pc:sldChg>
      <pc:sldChg chg="modNotes">
        <pc:chgData name="Robinson, Kimberly S" userId="0097e7cc-9bf8-41eb-b7b5-de3dc6883461" providerId="ADAL" clId="{D48D6578-D18E-46FA-A5CE-C16171DAB849}" dt="2021-06-24T19:12:01.192" v="75" actId="20577"/>
        <pc:sldMkLst>
          <pc:docMk/>
          <pc:sldMk cId="3566408221" sldId="2134958945"/>
        </pc:sldMkLst>
      </pc:sldChg>
      <pc:sldChg chg="modNotes">
        <pc:chgData name="Robinson, Kimberly S" userId="0097e7cc-9bf8-41eb-b7b5-de3dc6883461" providerId="ADAL" clId="{D48D6578-D18E-46FA-A5CE-C16171DAB849}" dt="2021-06-24T19:12:01.206" v="78" actId="20577"/>
        <pc:sldMkLst>
          <pc:docMk/>
          <pc:sldMk cId="1284355365" sldId="2134958946"/>
        </pc:sldMkLst>
      </pc:sldChg>
      <pc:sldChg chg="modNotes">
        <pc:chgData name="Robinson, Kimberly S" userId="0097e7cc-9bf8-41eb-b7b5-de3dc6883461" providerId="ADAL" clId="{D48D6578-D18E-46FA-A5CE-C16171DAB849}" dt="2021-06-24T19:12:01.236" v="84" actId="20577"/>
        <pc:sldMkLst>
          <pc:docMk/>
          <pc:sldMk cId="2035765510" sldId="2134958947"/>
        </pc:sldMkLst>
      </pc:sldChg>
      <pc:sldChg chg="modNotes">
        <pc:chgData name="Robinson, Kimberly S" userId="0097e7cc-9bf8-41eb-b7b5-de3dc6883461" providerId="ADAL" clId="{D48D6578-D18E-46FA-A5CE-C16171DAB849}" dt="2021-06-24T19:12:01.265" v="90" actId="20577"/>
        <pc:sldMkLst>
          <pc:docMk/>
          <pc:sldMk cId="3569908592" sldId="2134958948"/>
        </pc:sldMkLst>
      </pc:sldChg>
      <pc:sldChg chg="modNotes">
        <pc:chgData name="Robinson, Kimberly S" userId="0097e7cc-9bf8-41eb-b7b5-de3dc6883461" providerId="ADAL" clId="{D48D6578-D18E-46FA-A5CE-C16171DAB849}" dt="2021-06-24T19:12:01.280" v="93" actId="20577"/>
        <pc:sldMkLst>
          <pc:docMk/>
          <pc:sldMk cId="2517990972" sldId="2134958949"/>
        </pc:sldMkLst>
      </pc:sldChg>
      <pc:sldChg chg="add del modNotes">
        <pc:chgData name="Robinson, Kimberly S" userId="0097e7cc-9bf8-41eb-b7b5-de3dc6883461" providerId="ADAL" clId="{D48D6578-D18E-46FA-A5CE-C16171DAB849}" dt="2021-06-24T19:14:37.887" v="247" actId="47"/>
        <pc:sldMkLst>
          <pc:docMk/>
          <pc:sldMk cId="3963610314" sldId="2134958969"/>
        </pc:sldMkLst>
      </pc:sldChg>
      <pc:sldChg chg="modNotes">
        <pc:chgData name="Robinson, Kimberly S" userId="0097e7cc-9bf8-41eb-b7b5-de3dc6883461" providerId="ADAL" clId="{D48D6578-D18E-46FA-A5CE-C16171DAB849}" dt="2021-06-24T19:12:01.426" v="121" actId="20577"/>
        <pc:sldMkLst>
          <pc:docMk/>
          <pc:sldMk cId="781975321" sldId="2134959068"/>
        </pc:sldMkLst>
      </pc:sldChg>
      <pc:sldChg chg="modNotes">
        <pc:chgData name="Robinson, Kimberly S" userId="0097e7cc-9bf8-41eb-b7b5-de3dc6883461" providerId="ADAL" clId="{D48D6578-D18E-46FA-A5CE-C16171DAB849}" dt="2021-06-24T19:12:01.491" v="132" actId="20577"/>
        <pc:sldMkLst>
          <pc:docMk/>
          <pc:sldMk cId="797015505" sldId="2134959069"/>
        </pc:sldMkLst>
      </pc:sldChg>
      <pc:sldChg chg="modNotes">
        <pc:chgData name="Robinson, Kimberly S" userId="0097e7cc-9bf8-41eb-b7b5-de3dc6883461" providerId="ADAL" clId="{D48D6578-D18E-46FA-A5CE-C16171DAB849}" dt="2021-06-24T19:12:01.381" v="113" actId="20577"/>
        <pc:sldMkLst>
          <pc:docMk/>
          <pc:sldMk cId="1164369542" sldId="2134959070"/>
        </pc:sldMkLst>
      </pc:sldChg>
      <pc:sldChg chg="modNotes">
        <pc:chgData name="Robinson, Kimberly S" userId="0097e7cc-9bf8-41eb-b7b5-de3dc6883461" providerId="ADAL" clId="{D48D6578-D18E-46FA-A5CE-C16171DAB849}" dt="2021-06-24T19:12:01.540" v="140" actId="20577"/>
        <pc:sldMkLst>
          <pc:docMk/>
          <pc:sldMk cId="1230202085" sldId="2134959071"/>
        </pc:sldMkLst>
      </pc:sldChg>
      <pc:sldChg chg="modNotes">
        <pc:chgData name="Robinson, Kimberly S" userId="0097e7cc-9bf8-41eb-b7b5-de3dc6883461" providerId="ADAL" clId="{D48D6578-D18E-46FA-A5CE-C16171DAB849}" dt="2021-06-24T19:12:01.589" v="148" actId="20577"/>
        <pc:sldMkLst>
          <pc:docMk/>
          <pc:sldMk cId="628438493" sldId="2134959072"/>
        </pc:sldMkLst>
      </pc:sldChg>
      <pc:sldChg chg="modNotes">
        <pc:chgData name="Robinson, Kimberly S" userId="0097e7cc-9bf8-41eb-b7b5-de3dc6883461" providerId="ADAL" clId="{D48D6578-D18E-46FA-A5CE-C16171DAB849}" dt="2021-06-24T19:12:01.635" v="156" actId="20577"/>
        <pc:sldMkLst>
          <pc:docMk/>
          <pc:sldMk cId="1515031607" sldId="2134959073"/>
        </pc:sldMkLst>
      </pc:sldChg>
      <pc:sldChg chg="modNotes">
        <pc:chgData name="Robinson, Kimberly S" userId="0097e7cc-9bf8-41eb-b7b5-de3dc6883461" providerId="ADAL" clId="{D48D6578-D18E-46FA-A5CE-C16171DAB849}" dt="2021-06-24T19:12:01.705" v="167" actId="20577"/>
        <pc:sldMkLst>
          <pc:docMk/>
          <pc:sldMk cId="3531612534" sldId="2134959074"/>
        </pc:sldMkLst>
      </pc:sldChg>
      <pc:sldChg chg="modNotes">
        <pc:chgData name="Robinson, Kimberly S" userId="0097e7cc-9bf8-41eb-b7b5-de3dc6883461" providerId="ADAL" clId="{D48D6578-D18E-46FA-A5CE-C16171DAB849}" dt="2021-06-24T19:12:01.754" v="175" actId="20577"/>
        <pc:sldMkLst>
          <pc:docMk/>
          <pc:sldMk cId="3443488837" sldId="2134959076"/>
        </pc:sldMkLst>
      </pc:sldChg>
      <pc:sldChg chg="modNotes">
        <pc:chgData name="Robinson, Kimberly S" userId="0097e7cc-9bf8-41eb-b7b5-de3dc6883461" providerId="ADAL" clId="{D48D6578-D18E-46FA-A5CE-C16171DAB849}" dt="2021-06-24T19:12:01.220" v="81" actId="20577"/>
        <pc:sldMkLst>
          <pc:docMk/>
          <pc:sldMk cId="3045496390" sldId="2134959077"/>
        </pc:sldMkLst>
      </pc:sldChg>
      <pc:sldMasterChg chg="addSldLayout delSldLayout">
        <pc:chgData name="Robinson, Kimberly S" userId="0097e7cc-9bf8-41eb-b7b5-de3dc6883461" providerId="ADAL" clId="{D48D6578-D18E-46FA-A5CE-C16171DAB849}" dt="2021-06-24T19:14:39.734" v="251" actId="47"/>
        <pc:sldMasterMkLst>
          <pc:docMk/>
          <pc:sldMasterMk cId="1715277791" sldId="2147483993"/>
        </pc:sldMasterMkLst>
        <pc:sldLayoutChg chg="add del">
          <pc:chgData name="Robinson, Kimberly S" userId="0097e7cc-9bf8-41eb-b7b5-de3dc6883461" providerId="ADAL" clId="{D48D6578-D18E-46FA-A5CE-C16171DAB849}" dt="2021-06-24T19:14:39.734" v="251" actId="47"/>
          <pc:sldLayoutMkLst>
            <pc:docMk/>
            <pc:sldMasterMk cId="1715277791" sldId="2147483993"/>
            <pc:sldLayoutMk cId="4172870421" sldId="2147484045"/>
          </pc:sldLayoutMkLst>
        </pc:sldLayoutChg>
        <pc:sldLayoutChg chg="add del">
          <pc:chgData name="Robinson, Kimberly S" userId="0097e7cc-9bf8-41eb-b7b5-de3dc6883461" providerId="ADAL" clId="{D48D6578-D18E-46FA-A5CE-C16171DAB849}" dt="2021-06-24T19:14:37.887" v="247" actId="47"/>
          <pc:sldLayoutMkLst>
            <pc:docMk/>
            <pc:sldMasterMk cId="1715277791" sldId="2147483993"/>
            <pc:sldLayoutMk cId="1246137956" sldId="214748423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24/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24/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2038"/>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GB" dirty="0"/>
          </a:p>
        </p:txBody>
      </p:sp>
      <p:sp>
        <p:nvSpPr>
          <p:cNvPr id="5" name="Footer Placeholder 4">
            <a:extLst>
              <a:ext uri="{FF2B5EF4-FFF2-40B4-BE49-F238E27FC236}">
                <a16:creationId xmlns:a16="http://schemas.microsoft.com/office/drawing/2014/main" id="{D9425E54-2B85-4D8B-9C16-4E6EA368A67A}"/>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AEF467C7-058D-46FD-9A25-ACFDD7EA4E5F}"/>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549191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pPr marL="296408" indent="-296408">
              <a:buFont typeface="Arial" panose="020B0604020202020204" pitchFamily="34" charset="0"/>
              <a:buChar char="•"/>
            </a:pPr>
            <a:endParaRPr lang="en-US" dirty="0"/>
          </a:p>
        </p:txBody>
      </p:sp>
      <p:sp>
        <p:nvSpPr>
          <p:cNvPr id="5" name="Footer Placeholder 4">
            <a:extLst>
              <a:ext uri="{FF2B5EF4-FFF2-40B4-BE49-F238E27FC236}">
                <a16:creationId xmlns:a16="http://schemas.microsoft.com/office/drawing/2014/main" id="{4F7CB834-40BF-48B8-A0C0-F06384CABC66}"/>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0F5A9C17-C974-415F-9FF0-FE054EB31AE6}"/>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429768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20D588FD-D610-4BB6-B0E3-A4DC520B413E}"/>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56531A5C-9301-4EB3-956E-EAF4D827DD2C}"/>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220820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pPr marL="171450" indent="-171450">
              <a:buFont typeface="Arial" panose="020B0604020202020204" pitchFamily="34" charset="0"/>
              <a:buChar char="•"/>
            </a:pPr>
            <a:endParaRPr lang="en-US" dirty="0"/>
          </a:p>
        </p:txBody>
      </p:sp>
      <p:sp>
        <p:nvSpPr>
          <p:cNvPr id="5" name="Footer Placeholder 4">
            <a:extLst>
              <a:ext uri="{FF2B5EF4-FFF2-40B4-BE49-F238E27FC236}">
                <a16:creationId xmlns:a16="http://schemas.microsoft.com/office/drawing/2014/main" id="{ED86EE6E-D5D8-4912-8C70-737D2A215C7F}"/>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19E13F6A-4E5D-4206-975F-7860E6CCB6F6}"/>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931831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2038"/>
          </a:xfrm>
        </p:spPr>
      </p:sp>
      <p:sp>
        <p:nvSpPr>
          <p:cNvPr id="3" name="Notes Placeholder 2"/>
          <p:cNvSpPr>
            <a:spLocks noGrp="1"/>
          </p:cNvSpPr>
          <p:nvPr>
            <p:ph type="body" idx="1"/>
          </p:nvPr>
        </p:nvSpPr>
        <p:spPr>
          <a:xfrm>
            <a:off x="731520" y="4560570"/>
            <a:ext cx="5852160" cy="4320540"/>
          </a:xfrm>
          <a:prstGeom prst="rect">
            <a:avLst/>
          </a:prstGeom>
        </p:spPr>
        <p:txBody>
          <a:bodyP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Footer Placeholder 3">
            <a:extLst>
              <a:ext uri="{FF2B5EF4-FFF2-40B4-BE49-F238E27FC236}">
                <a16:creationId xmlns:a16="http://schemas.microsoft.com/office/drawing/2014/main" id="{46979321-E987-41EF-9085-F99DA339473C}"/>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92EAAFD7-3CB1-4843-AEBA-ED96DA98A43F}"/>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4055406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0" indent="0">
              <a:buFont typeface="Arial" panose="020B0604020202020204" pitchFamily="34" charset="0"/>
              <a:buNone/>
            </a:pPr>
            <a:endParaRPr lang="en-US" dirty="0"/>
          </a:p>
        </p:txBody>
      </p:sp>
      <p:sp>
        <p:nvSpPr>
          <p:cNvPr id="5" name="Footer Placeholder 4">
            <a:extLst>
              <a:ext uri="{FF2B5EF4-FFF2-40B4-BE49-F238E27FC236}">
                <a16:creationId xmlns:a16="http://schemas.microsoft.com/office/drawing/2014/main" id="{683B8820-575D-4E76-AE93-AAECCC0DC18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 name="Slide Number Placeholder 5">
            <a:extLst>
              <a:ext uri="{FF2B5EF4-FFF2-40B4-BE49-F238E27FC236}">
                <a16:creationId xmlns:a16="http://schemas.microsoft.com/office/drawing/2014/main" id="{F93BD817-26E1-4406-A067-F0A08A77C8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557291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171450" indent="-171450">
              <a:buFont typeface="Arial" panose="020B0604020202020204" pitchFamily="34" charset="0"/>
              <a:buChar char="•"/>
            </a:pPr>
            <a:endParaRPr lang="en-US" dirty="0"/>
          </a:p>
        </p:txBody>
      </p:sp>
      <p:sp>
        <p:nvSpPr>
          <p:cNvPr id="5" name="Footer Placeholder 4">
            <a:extLst>
              <a:ext uri="{FF2B5EF4-FFF2-40B4-BE49-F238E27FC236}">
                <a16:creationId xmlns:a16="http://schemas.microsoft.com/office/drawing/2014/main" id="{9F4B3B1A-72CC-4420-90EF-93F94FB6809A}"/>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 name="Slide Number Placeholder 5">
            <a:extLst>
              <a:ext uri="{FF2B5EF4-FFF2-40B4-BE49-F238E27FC236}">
                <a16:creationId xmlns:a16="http://schemas.microsoft.com/office/drawing/2014/main" id="{F3835D85-2E8C-4E16-B45A-65BFC409D9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416016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171450" indent="-171450">
              <a:buFont typeface="Arial" panose="020B0604020202020204" pitchFamily="34" charset="0"/>
              <a:buChar char="•"/>
            </a:pPr>
            <a:endParaRPr lang="en-US" dirty="0"/>
          </a:p>
        </p:txBody>
      </p:sp>
      <p:sp>
        <p:nvSpPr>
          <p:cNvPr id="5" name="Footer Placeholder 4">
            <a:extLst>
              <a:ext uri="{FF2B5EF4-FFF2-40B4-BE49-F238E27FC236}">
                <a16:creationId xmlns:a16="http://schemas.microsoft.com/office/drawing/2014/main" id="{9537A3A9-9EA8-49BF-8DD6-46702B5D24A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 name="Slide Number Placeholder 5">
            <a:extLst>
              <a:ext uri="{FF2B5EF4-FFF2-40B4-BE49-F238E27FC236}">
                <a16:creationId xmlns:a16="http://schemas.microsoft.com/office/drawing/2014/main" id="{6AA1D61F-111B-4B32-A417-02E69ACD15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762044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0" indent="0">
              <a:lnSpc>
                <a:spcPct val="107000"/>
              </a:lnSpc>
              <a:spcAft>
                <a:spcPts val="800"/>
              </a:spcAft>
              <a:buFont typeface="Arial" panose="020B0604020202020204" pitchFamily="34" charset="0"/>
              <a:buNone/>
              <a:tabLst>
                <a:tab pos="457192" algn="l"/>
              </a:tabLst>
            </a:pPr>
            <a:endParaRPr lang="en-US" dirty="0"/>
          </a:p>
        </p:txBody>
      </p:sp>
      <p:sp>
        <p:nvSpPr>
          <p:cNvPr id="5" name="Footer Placeholder 4">
            <a:extLst>
              <a:ext uri="{FF2B5EF4-FFF2-40B4-BE49-F238E27FC236}">
                <a16:creationId xmlns:a16="http://schemas.microsoft.com/office/drawing/2014/main" id="{41E50D11-E6B7-4745-9505-C384354A97EA}"/>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75C94151-474B-4244-A6FD-6AC392FDF24F}"/>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41569456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0" indent="0">
              <a:lnSpc>
                <a:spcPct val="107000"/>
              </a:lnSpc>
              <a:spcAft>
                <a:spcPts val="800"/>
              </a:spcAft>
              <a:buFont typeface="Arial" panose="020B0604020202020204" pitchFamily="34" charset="0"/>
              <a:buNone/>
              <a:tabLst>
                <a:tab pos="457192" algn="l"/>
              </a:tabLst>
            </a:pPr>
            <a:endParaRPr lang="en-US" dirty="0"/>
          </a:p>
        </p:txBody>
      </p:sp>
      <p:sp>
        <p:nvSpPr>
          <p:cNvPr id="5" name="Footer Placeholder 4">
            <a:extLst>
              <a:ext uri="{FF2B5EF4-FFF2-40B4-BE49-F238E27FC236}">
                <a16:creationId xmlns:a16="http://schemas.microsoft.com/office/drawing/2014/main" id="{41E50D11-E6B7-4745-9505-C384354A97EA}"/>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75C94151-474B-4244-A6FD-6AC392FDF24F}"/>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0952776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0" indent="0">
              <a:lnSpc>
                <a:spcPct val="107000"/>
              </a:lnSpc>
              <a:spcAft>
                <a:spcPts val="800"/>
              </a:spcAft>
              <a:buFont typeface="Arial" panose="020B0604020202020204" pitchFamily="34" charset="0"/>
              <a:buNone/>
              <a:tabLst>
                <a:tab pos="457192" algn="l"/>
              </a:tabLst>
            </a:pPr>
            <a:endParaRPr lang="en-US" dirty="0"/>
          </a:p>
        </p:txBody>
      </p:sp>
      <p:sp>
        <p:nvSpPr>
          <p:cNvPr id="5" name="Footer Placeholder 4">
            <a:extLst>
              <a:ext uri="{FF2B5EF4-FFF2-40B4-BE49-F238E27FC236}">
                <a16:creationId xmlns:a16="http://schemas.microsoft.com/office/drawing/2014/main" id="{41E50D11-E6B7-4745-9505-C384354A97EA}"/>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75C94151-474B-4244-A6FD-6AC392FDF24F}"/>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104325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0" indent="0" defTabSz="966383">
              <a:buFont typeface="Arial" panose="020B0604020202020204" pitchFamily="34" charset="0"/>
              <a:buNone/>
              <a:defRPr/>
            </a:pPr>
            <a:endParaRPr lang="en-US" dirty="0"/>
          </a:p>
        </p:txBody>
      </p:sp>
      <p:sp>
        <p:nvSpPr>
          <p:cNvPr id="5" name="Footer Placeholder 4">
            <a:extLst>
              <a:ext uri="{FF2B5EF4-FFF2-40B4-BE49-F238E27FC236}">
                <a16:creationId xmlns:a16="http://schemas.microsoft.com/office/drawing/2014/main" id="{9BF33465-8F5B-454C-BFA9-AD43D5487E5E}"/>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E121DF0B-1811-496D-B400-9F3FC38B3AD4}"/>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1687502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fontScale="70000" lnSpcReduction="20000"/>
          </a:bodyPr>
          <a:lstStyle/>
          <a:p>
            <a:pPr marL="0" indent="0">
              <a:lnSpc>
                <a:spcPct val="107000"/>
              </a:lnSpc>
              <a:spcAft>
                <a:spcPts val="800"/>
              </a:spcAft>
              <a:buFont typeface="Arial" panose="020B0604020202020204" pitchFamily="34" charset="0"/>
              <a:buNone/>
              <a:tabLst>
                <a:tab pos="457192" algn="l"/>
              </a:tabLst>
            </a:pPr>
            <a:endParaRPr lang="en-US" dirty="0"/>
          </a:p>
        </p:txBody>
      </p:sp>
      <p:sp>
        <p:nvSpPr>
          <p:cNvPr id="5" name="Footer Placeholder 4">
            <a:extLst>
              <a:ext uri="{FF2B5EF4-FFF2-40B4-BE49-F238E27FC236}">
                <a16:creationId xmlns:a16="http://schemas.microsoft.com/office/drawing/2014/main" id="{41E50D11-E6B7-4745-9505-C384354A97EA}"/>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75C94151-474B-4244-A6FD-6AC392FDF24F}"/>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4168671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0" indent="0">
              <a:lnSpc>
                <a:spcPct val="107000"/>
              </a:lnSpc>
              <a:spcAft>
                <a:spcPts val="800"/>
              </a:spcAft>
              <a:buFont typeface="Arial" panose="020B0604020202020204" pitchFamily="34" charset="0"/>
              <a:buNone/>
              <a:tabLst>
                <a:tab pos="457192" algn="l"/>
              </a:tabLst>
            </a:pPr>
            <a:endParaRPr lang="en-US" dirty="0"/>
          </a:p>
        </p:txBody>
      </p:sp>
      <p:sp>
        <p:nvSpPr>
          <p:cNvPr id="5" name="Footer Placeholder 4">
            <a:extLst>
              <a:ext uri="{FF2B5EF4-FFF2-40B4-BE49-F238E27FC236}">
                <a16:creationId xmlns:a16="http://schemas.microsoft.com/office/drawing/2014/main" id="{41E50D11-E6B7-4745-9505-C384354A97EA}"/>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75C94151-474B-4244-A6FD-6AC392FDF24F}"/>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5709829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marL="0" indent="0">
              <a:lnSpc>
                <a:spcPct val="107000"/>
              </a:lnSpc>
              <a:spcAft>
                <a:spcPts val="800"/>
              </a:spcAft>
              <a:buFont typeface="Arial" panose="020B0604020202020204" pitchFamily="34" charset="0"/>
              <a:buNone/>
              <a:tabLst>
                <a:tab pos="457192" algn="l"/>
              </a:tabLst>
            </a:pPr>
            <a:endParaRPr lang="en-US" dirty="0"/>
          </a:p>
        </p:txBody>
      </p:sp>
      <p:sp>
        <p:nvSpPr>
          <p:cNvPr id="5" name="Footer Placeholder 4">
            <a:extLst>
              <a:ext uri="{FF2B5EF4-FFF2-40B4-BE49-F238E27FC236}">
                <a16:creationId xmlns:a16="http://schemas.microsoft.com/office/drawing/2014/main" id="{41E50D11-E6B7-4745-9505-C384354A97EA}"/>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75C94151-474B-4244-A6FD-6AC392FDF24F}"/>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8893850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pPr marL="171450" indent="-171450">
              <a:buFont typeface="Arial" panose="020B0604020202020204" pitchFamily="34" charset="0"/>
              <a:buChar char="•"/>
            </a:pPr>
            <a:endParaRPr lang="en-US" dirty="0"/>
          </a:p>
        </p:txBody>
      </p:sp>
      <p:sp>
        <p:nvSpPr>
          <p:cNvPr id="5" name="Footer Placeholder 4">
            <a:extLst>
              <a:ext uri="{FF2B5EF4-FFF2-40B4-BE49-F238E27FC236}">
                <a16:creationId xmlns:a16="http://schemas.microsoft.com/office/drawing/2014/main" id="{AEA74062-E11B-4C3E-AC6E-66A1F0DB1DAD}"/>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6BABA60D-F61D-4FA1-84BC-EC91B635F183}"/>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9332652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6CB1F834-0EEB-4496-ABF0-8497BD1D8090}"/>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8ACD7B22-8864-4362-8169-DD26C4F92BBD}"/>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8901772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75" y="720725"/>
            <a:ext cx="4702175" cy="2644775"/>
          </a:xfrm>
        </p:spPr>
      </p:sp>
      <p:sp>
        <p:nvSpPr>
          <p:cNvPr id="3" name="Notes Placeholder 2"/>
          <p:cNvSpPr>
            <a:spLocks noGrp="1"/>
          </p:cNvSpPr>
          <p:nvPr>
            <p:ph type="body" idx="1"/>
          </p:nvPr>
        </p:nvSpPr>
        <p:spPr/>
        <p:txBody>
          <a:bodyPr>
            <a:noAutofit/>
          </a:bodyPr>
          <a:lstStyle/>
          <a:p>
            <a:pPr lvl="0">
              <a:defRPr/>
            </a:pPr>
            <a:endParaRPr lang="en-US" baseline="0" dirty="0"/>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endParaRPr lang="en-US" dirty="0"/>
          </a:p>
        </p:txBody>
      </p:sp>
      <p:grpSp>
        <p:nvGrpSpPr>
          <p:cNvPr id="11" name="Group 10"/>
          <p:cNvGrpSpPr/>
          <p:nvPr/>
        </p:nvGrpSpPr>
        <p:grpSpPr>
          <a:xfrm>
            <a:off x="180833" y="4578138"/>
            <a:ext cx="1099644" cy="369331"/>
            <a:chOff x="136363" y="6116870"/>
            <a:chExt cx="1099644" cy="369331"/>
          </a:xfrm>
        </p:grpSpPr>
        <p:sp>
          <p:nvSpPr>
            <p:cNvPr id="12" name="TextBox 11"/>
            <p:cNvSpPr txBox="1"/>
            <p:nvPr/>
          </p:nvSpPr>
          <p:spPr>
            <a:xfrm>
              <a:off x="136363" y="6255369"/>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3"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 name="Group 13"/>
          <p:cNvGrpSpPr/>
          <p:nvPr/>
        </p:nvGrpSpPr>
        <p:grpSpPr>
          <a:xfrm>
            <a:off x="180833" y="5557298"/>
            <a:ext cx="1099644" cy="377621"/>
            <a:chOff x="180833" y="5524338"/>
            <a:chExt cx="1099644" cy="377621"/>
          </a:xfrm>
        </p:grpSpPr>
        <p:sp>
          <p:nvSpPr>
            <p:cNvPr id="15" name="TextBox 14"/>
            <p:cNvSpPr txBox="1"/>
            <p:nvPr/>
          </p:nvSpPr>
          <p:spPr>
            <a:xfrm>
              <a:off x="180833" y="5671127"/>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6" name="Freeform 242"/>
            <p:cNvSpPr>
              <a:spLocks noChangeAspect="1" noEditPoints="1"/>
            </p:cNvSpPr>
            <p:nvPr/>
          </p:nvSpPr>
          <p:spPr bwMode="auto">
            <a:xfrm>
              <a:off x="537470" y="5524338"/>
              <a:ext cx="377035" cy="347472"/>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5" name="Footer Placeholder 4"/>
          <p:cNvSpPr>
            <a:spLocks noGrp="1"/>
          </p:cNvSpPr>
          <p:nvPr>
            <p:ph type="ftr" sz="quarter" idx="11"/>
          </p:nvPr>
        </p:nvSpPr>
        <p:spPr/>
        <p:txBody>
          <a:bodyPr/>
          <a:lstStyle/>
          <a:p>
            <a:endParaRPr lang="en-GB" dirty="0"/>
          </a:p>
        </p:txBody>
      </p:sp>
      <p:sp>
        <p:nvSpPr>
          <p:cNvPr id="17" name="TextBox 16">
            <a:extLst>
              <a:ext uri="{FF2B5EF4-FFF2-40B4-BE49-F238E27FC236}">
                <a16:creationId xmlns:a16="http://schemas.microsoft.com/office/drawing/2014/main" id="{369A22B0-9FCF-4777-A53C-0F28146DC259}"/>
              </a:ext>
            </a:extLst>
          </p:cNvPr>
          <p:cNvSpPr txBox="1"/>
          <p:nvPr/>
        </p:nvSpPr>
        <p:spPr>
          <a:xfrm>
            <a:off x="180832" y="2171779"/>
            <a:ext cx="1094977" cy="261610"/>
          </a:xfrm>
          <a:prstGeom prst="rect">
            <a:avLst/>
          </a:prstGeom>
          <a:solidFill>
            <a:srgbClr val="92D050"/>
          </a:solidFill>
        </p:spPr>
        <p:txBody>
          <a:bodyPr wrap="square" rtlCol="0" anchor="b">
            <a:spAutoFit/>
          </a:bodyPr>
          <a:lstStyle/>
          <a:p>
            <a:pPr algn="ctr"/>
            <a:endParaRPr lang="en-US" sz="1100" b="1" spc="-9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489473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75" y="720725"/>
            <a:ext cx="4702175" cy="2644775"/>
          </a:xfrm>
        </p:spPr>
      </p:sp>
      <p:sp>
        <p:nvSpPr>
          <p:cNvPr id="3" name="Notes Placeholder 2"/>
          <p:cNvSpPr>
            <a:spLocks noGrp="1"/>
          </p:cNvSpPr>
          <p:nvPr>
            <p:ph type="body" idx="1"/>
          </p:nvPr>
        </p:nvSpPr>
        <p:spPr/>
        <p:txBody>
          <a:bodyPr>
            <a:noAutofit/>
          </a:bodyPr>
          <a:lstStyle/>
          <a:p>
            <a:pPr lvl="0">
              <a:defRPr/>
            </a:pPr>
            <a:endParaRPr lang="en-US" baseline="0" dirty="0"/>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endParaRPr lang="en-US" dirty="0"/>
          </a:p>
        </p:txBody>
      </p:sp>
      <p:grpSp>
        <p:nvGrpSpPr>
          <p:cNvPr id="11" name="Group 10"/>
          <p:cNvGrpSpPr/>
          <p:nvPr/>
        </p:nvGrpSpPr>
        <p:grpSpPr>
          <a:xfrm>
            <a:off x="180833" y="4578138"/>
            <a:ext cx="1099644" cy="369331"/>
            <a:chOff x="136363" y="6116870"/>
            <a:chExt cx="1099644" cy="369331"/>
          </a:xfrm>
        </p:grpSpPr>
        <p:sp>
          <p:nvSpPr>
            <p:cNvPr id="12" name="TextBox 11"/>
            <p:cNvSpPr txBox="1"/>
            <p:nvPr/>
          </p:nvSpPr>
          <p:spPr>
            <a:xfrm>
              <a:off x="136363" y="6255369"/>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3"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 name="Group 13"/>
          <p:cNvGrpSpPr/>
          <p:nvPr/>
        </p:nvGrpSpPr>
        <p:grpSpPr>
          <a:xfrm>
            <a:off x="180833" y="5557298"/>
            <a:ext cx="1099644" cy="377621"/>
            <a:chOff x="180833" y="5524338"/>
            <a:chExt cx="1099644" cy="377621"/>
          </a:xfrm>
        </p:grpSpPr>
        <p:sp>
          <p:nvSpPr>
            <p:cNvPr id="15" name="TextBox 14"/>
            <p:cNvSpPr txBox="1"/>
            <p:nvPr/>
          </p:nvSpPr>
          <p:spPr>
            <a:xfrm>
              <a:off x="180833" y="5671127"/>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6" name="Freeform 242"/>
            <p:cNvSpPr>
              <a:spLocks noChangeAspect="1" noEditPoints="1"/>
            </p:cNvSpPr>
            <p:nvPr/>
          </p:nvSpPr>
          <p:spPr bwMode="auto">
            <a:xfrm>
              <a:off x="537470" y="5524338"/>
              <a:ext cx="377035" cy="347472"/>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5" name="Footer Placeholder 4"/>
          <p:cNvSpPr>
            <a:spLocks noGrp="1"/>
          </p:cNvSpPr>
          <p:nvPr>
            <p:ph type="ftr" sz="quarter" idx="11"/>
          </p:nvPr>
        </p:nvSpPr>
        <p:spPr/>
        <p:txBody>
          <a:bodyPr/>
          <a:lstStyle/>
          <a:p>
            <a:endParaRPr lang="en-GB" dirty="0"/>
          </a:p>
        </p:txBody>
      </p:sp>
      <p:sp>
        <p:nvSpPr>
          <p:cNvPr id="17" name="TextBox 16">
            <a:extLst>
              <a:ext uri="{FF2B5EF4-FFF2-40B4-BE49-F238E27FC236}">
                <a16:creationId xmlns:a16="http://schemas.microsoft.com/office/drawing/2014/main" id="{369A22B0-9FCF-4777-A53C-0F28146DC259}"/>
              </a:ext>
            </a:extLst>
          </p:cNvPr>
          <p:cNvSpPr txBox="1"/>
          <p:nvPr/>
        </p:nvSpPr>
        <p:spPr>
          <a:xfrm>
            <a:off x="180832" y="2171779"/>
            <a:ext cx="1094977" cy="261610"/>
          </a:xfrm>
          <a:prstGeom prst="rect">
            <a:avLst/>
          </a:prstGeom>
          <a:solidFill>
            <a:srgbClr val="92D050"/>
          </a:solidFill>
        </p:spPr>
        <p:txBody>
          <a:bodyPr wrap="square" rtlCol="0" anchor="b">
            <a:spAutoFit/>
          </a:bodyPr>
          <a:lstStyle/>
          <a:p>
            <a:pPr algn="ctr"/>
            <a:endParaRPr lang="en-US" sz="1100" b="1" spc="-9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668786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75" y="720725"/>
            <a:ext cx="4702175" cy="2644775"/>
          </a:xfrm>
        </p:spPr>
      </p:sp>
      <p:sp>
        <p:nvSpPr>
          <p:cNvPr id="3" name="Notes Placeholder 2"/>
          <p:cNvSpPr>
            <a:spLocks noGrp="1"/>
          </p:cNvSpPr>
          <p:nvPr>
            <p:ph type="body" idx="1"/>
          </p:nvPr>
        </p:nvSpPr>
        <p:spPr/>
        <p:txBody>
          <a:bodyPr>
            <a:noAutofit/>
          </a:bodyPr>
          <a:lstStyle/>
          <a:p>
            <a:pPr lvl="0">
              <a:defRPr/>
            </a:pPr>
            <a:endParaRPr lang="en-US" baseline="0" dirty="0"/>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endParaRPr lang="en-US" dirty="0"/>
          </a:p>
        </p:txBody>
      </p:sp>
      <p:grpSp>
        <p:nvGrpSpPr>
          <p:cNvPr id="11" name="Group 10"/>
          <p:cNvGrpSpPr/>
          <p:nvPr/>
        </p:nvGrpSpPr>
        <p:grpSpPr>
          <a:xfrm>
            <a:off x="180833" y="4578138"/>
            <a:ext cx="1099644" cy="369331"/>
            <a:chOff x="136363" y="6116870"/>
            <a:chExt cx="1099644" cy="369331"/>
          </a:xfrm>
        </p:grpSpPr>
        <p:sp>
          <p:nvSpPr>
            <p:cNvPr id="12" name="TextBox 11"/>
            <p:cNvSpPr txBox="1"/>
            <p:nvPr/>
          </p:nvSpPr>
          <p:spPr>
            <a:xfrm>
              <a:off x="136363" y="6255369"/>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3"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 name="Group 13"/>
          <p:cNvGrpSpPr/>
          <p:nvPr/>
        </p:nvGrpSpPr>
        <p:grpSpPr>
          <a:xfrm>
            <a:off x="180833" y="5557298"/>
            <a:ext cx="1099644" cy="377621"/>
            <a:chOff x="180833" y="5524338"/>
            <a:chExt cx="1099644" cy="377621"/>
          </a:xfrm>
        </p:grpSpPr>
        <p:sp>
          <p:nvSpPr>
            <p:cNvPr id="15" name="TextBox 14"/>
            <p:cNvSpPr txBox="1"/>
            <p:nvPr/>
          </p:nvSpPr>
          <p:spPr>
            <a:xfrm>
              <a:off x="180833" y="5671127"/>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6" name="Freeform 242"/>
            <p:cNvSpPr>
              <a:spLocks noChangeAspect="1" noEditPoints="1"/>
            </p:cNvSpPr>
            <p:nvPr/>
          </p:nvSpPr>
          <p:spPr bwMode="auto">
            <a:xfrm>
              <a:off x="537470" y="5524338"/>
              <a:ext cx="377035" cy="347472"/>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5" name="Footer Placeholder 4"/>
          <p:cNvSpPr>
            <a:spLocks noGrp="1"/>
          </p:cNvSpPr>
          <p:nvPr>
            <p:ph type="ftr" sz="quarter" idx="11"/>
          </p:nvPr>
        </p:nvSpPr>
        <p:spPr/>
        <p:txBody>
          <a:bodyPr/>
          <a:lstStyle/>
          <a:p>
            <a:endParaRPr lang="en-GB" dirty="0"/>
          </a:p>
        </p:txBody>
      </p:sp>
      <p:sp>
        <p:nvSpPr>
          <p:cNvPr id="17" name="TextBox 16">
            <a:extLst>
              <a:ext uri="{FF2B5EF4-FFF2-40B4-BE49-F238E27FC236}">
                <a16:creationId xmlns:a16="http://schemas.microsoft.com/office/drawing/2014/main" id="{369A22B0-9FCF-4777-A53C-0F28146DC259}"/>
              </a:ext>
            </a:extLst>
          </p:cNvPr>
          <p:cNvSpPr txBox="1"/>
          <p:nvPr/>
        </p:nvSpPr>
        <p:spPr>
          <a:xfrm>
            <a:off x="180832" y="2171779"/>
            <a:ext cx="1094977" cy="261610"/>
          </a:xfrm>
          <a:prstGeom prst="rect">
            <a:avLst/>
          </a:prstGeom>
          <a:solidFill>
            <a:srgbClr val="92D050"/>
          </a:solidFill>
        </p:spPr>
        <p:txBody>
          <a:bodyPr wrap="square" rtlCol="0" anchor="b">
            <a:spAutoFit/>
          </a:bodyPr>
          <a:lstStyle/>
          <a:p>
            <a:pPr algn="ctr"/>
            <a:endParaRPr lang="en-US" sz="1100" b="1" spc="-9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254831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75" y="720725"/>
            <a:ext cx="4702175" cy="2644775"/>
          </a:xfrm>
        </p:spPr>
      </p:sp>
      <p:sp>
        <p:nvSpPr>
          <p:cNvPr id="3" name="Notes Placeholder 2"/>
          <p:cNvSpPr>
            <a:spLocks noGrp="1"/>
          </p:cNvSpPr>
          <p:nvPr>
            <p:ph type="body" idx="1"/>
          </p:nvPr>
        </p:nvSpPr>
        <p:spPr/>
        <p:txBody>
          <a:bodyPr>
            <a:noAutofit/>
          </a:bodyPr>
          <a:lstStyle/>
          <a:p>
            <a:pPr lvl="0">
              <a:defRPr/>
            </a:pPr>
            <a:endParaRPr lang="en-US" baseline="0" dirty="0"/>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endParaRPr lang="en-US" dirty="0"/>
          </a:p>
        </p:txBody>
      </p:sp>
      <p:grpSp>
        <p:nvGrpSpPr>
          <p:cNvPr id="11" name="Group 10"/>
          <p:cNvGrpSpPr/>
          <p:nvPr/>
        </p:nvGrpSpPr>
        <p:grpSpPr>
          <a:xfrm>
            <a:off x="180833" y="4578138"/>
            <a:ext cx="1099644" cy="369331"/>
            <a:chOff x="136363" y="6116870"/>
            <a:chExt cx="1099644" cy="369331"/>
          </a:xfrm>
        </p:grpSpPr>
        <p:sp>
          <p:nvSpPr>
            <p:cNvPr id="12" name="TextBox 11"/>
            <p:cNvSpPr txBox="1"/>
            <p:nvPr/>
          </p:nvSpPr>
          <p:spPr>
            <a:xfrm>
              <a:off x="136363" y="6255369"/>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3"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 name="Group 13"/>
          <p:cNvGrpSpPr/>
          <p:nvPr/>
        </p:nvGrpSpPr>
        <p:grpSpPr>
          <a:xfrm>
            <a:off x="180833" y="5557298"/>
            <a:ext cx="1099644" cy="377621"/>
            <a:chOff x="180833" y="5524338"/>
            <a:chExt cx="1099644" cy="377621"/>
          </a:xfrm>
        </p:grpSpPr>
        <p:sp>
          <p:nvSpPr>
            <p:cNvPr id="15" name="TextBox 14"/>
            <p:cNvSpPr txBox="1"/>
            <p:nvPr/>
          </p:nvSpPr>
          <p:spPr>
            <a:xfrm>
              <a:off x="180833" y="5671127"/>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6" name="Freeform 242"/>
            <p:cNvSpPr>
              <a:spLocks noChangeAspect="1" noEditPoints="1"/>
            </p:cNvSpPr>
            <p:nvPr/>
          </p:nvSpPr>
          <p:spPr bwMode="auto">
            <a:xfrm>
              <a:off x="537470" y="5524338"/>
              <a:ext cx="377035" cy="347472"/>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5" name="Footer Placeholder 4"/>
          <p:cNvSpPr>
            <a:spLocks noGrp="1"/>
          </p:cNvSpPr>
          <p:nvPr>
            <p:ph type="ftr" sz="quarter" idx="11"/>
          </p:nvPr>
        </p:nvSpPr>
        <p:spPr/>
        <p:txBody>
          <a:bodyPr/>
          <a:lstStyle/>
          <a:p>
            <a:endParaRPr lang="en-GB" dirty="0"/>
          </a:p>
        </p:txBody>
      </p:sp>
      <p:sp>
        <p:nvSpPr>
          <p:cNvPr id="17" name="TextBox 16">
            <a:extLst>
              <a:ext uri="{FF2B5EF4-FFF2-40B4-BE49-F238E27FC236}">
                <a16:creationId xmlns:a16="http://schemas.microsoft.com/office/drawing/2014/main" id="{369A22B0-9FCF-4777-A53C-0F28146DC259}"/>
              </a:ext>
            </a:extLst>
          </p:cNvPr>
          <p:cNvSpPr txBox="1"/>
          <p:nvPr/>
        </p:nvSpPr>
        <p:spPr>
          <a:xfrm>
            <a:off x="180832" y="2171779"/>
            <a:ext cx="1094977" cy="261610"/>
          </a:xfrm>
          <a:prstGeom prst="rect">
            <a:avLst/>
          </a:prstGeom>
          <a:solidFill>
            <a:srgbClr val="92D050"/>
          </a:solidFill>
        </p:spPr>
        <p:txBody>
          <a:bodyPr wrap="square" rtlCol="0" anchor="b">
            <a:spAutoFit/>
          </a:bodyPr>
          <a:lstStyle/>
          <a:p>
            <a:pPr algn="ctr"/>
            <a:endParaRPr lang="en-US" sz="1100" b="1" spc="-9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36076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75" y="720725"/>
            <a:ext cx="4702175" cy="2644775"/>
          </a:xfrm>
        </p:spPr>
      </p:sp>
      <p:sp>
        <p:nvSpPr>
          <p:cNvPr id="3" name="Notes Placeholder 2"/>
          <p:cNvSpPr>
            <a:spLocks noGrp="1"/>
          </p:cNvSpPr>
          <p:nvPr>
            <p:ph type="body" idx="1"/>
          </p:nvPr>
        </p:nvSpPr>
        <p:spPr/>
        <p:txBody>
          <a:bodyPr>
            <a:noAutofit/>
          </a:bodyPr>
          <a:lstStyle/>
          <a:p>
            <a:pPr lvl="0">
              <a:defRPr/>
            </a:pPr>
            <a:endParaRPr lang="en-US" baseline="0" dirty="0"/>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endParaRPr lang="en-US" dirty="0"/>
          </a:p>
        </p:txBody>
      </p:sp>
      <p:grpSp>
        <p:nvGrpSpPr>
          <p:cNvPr id="11" name="Group 10"/>
          <p:cNvGrpSpPr/>
          <p:nvPr/>
        </p:nvGrpSpPr>
        <p:grpSpPr>
          <a:xfrm>
            <a:off x="180833" y="4578138"/>
            <a:ext cx="1099644" cy="369331"/>
            <a:chOff x="136363" y="6116870"/>
            <a:chExt cx="1099644" cy="369331"/>
          </a:xfrm>
        </p:grpSpPr>
        <p:sp>
          <p:nvSpPr>
            <p:cNvPr id="12" name="TextBox 11"/>
            <p:cNvSpPr txBox="1"/>
            <p:nvPr/>
          </p:nvSpPr>
          <p:spPr>
            <a:xfrm>
              <a:off x="136363" y="6255369"/>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3"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 name="Group 13"/>
          <p:cNvGrpSpPr/>
          <p:nvPr/>
        </p:nvGrpSpPr>
        <p:grpSpPr>
          <a:xfrm>
            <a:off x="180833" y="5557298"/>
            <a:ext cx="1099644" cy="377621"/>
            <a:chOff x="180833" y="5524338"/>
            <a:chExt cx="1099644" cy="377621"/>
          </a:xfrm>
        </p:grpSpPr>
        <p:sp>
          <p:nvSpPr>
            <p:cNvPr id="15" name="TextBox 14"/>
            <p:cNvSpPr txBox="1"/>
            <p:nvPr/>
          </p:nvSpPr>
          <p:spPr>
            <a:xfrm>
              <a:off x="180833" y="5671127"/>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6" name="Freeform 242"/>
            <p:cNvSpPr>
              <a:spLocks noChangeAspect="1" noEditPoints="1"/>
            </p:cNvSpPr>
            <p:nvPr/>
          </p:nvSpPr>
          <p:spPr bwMode="auto">
            <a:xfrm>
              <a:off x="537470" y="5524338"/>
              <a:ext cx="377035" cy="347472"/>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5" name="Footer Placeholder 4"/>
          <p:cNvSpPr>
            <a:spLocks noGrp="1"/>
          </p:cNvSpPr>
          <p:nvPr>
            <p:ph type="ftr" sz="quarter" idx="11"/>
          </p:nvPr>
        </p:nvSpPr>
        <p:spPr/>
        <p:txBody>
          <a:bodyPr/>
          <a:lstStyle/>
          <a:p>
            <a:endParaRPr lang="en-GB" dirty="0"/>
          </a:p>
        </p:txBody>
      </p:sp>
      <p:sp>
        <p:nvSpPr>
          <p:cNvPr id="17" name="TextBox 16">
            <a:extLst>
              <a:ext uri="{FF2B5EF4-FFF2-40B4-BE49-F238E27FC236}">
                <a16:creationId xmlns:a16="http://schemas.microsoft.com/office/drawing/2014/main" id="{369A22B0-9FCF-4777-A53C-0F28146DC259}"/>
              </a:ext>
            </a:extLst>
          </p:cNvPr>
          <p:cNvSpPr txBox="1"/>
          <p:nvPr/>
        </p:nvSpPr>
        <p:spPr>
          <a:xfrm>
            <a:off x="180832" y="2171779"/>
            <a:ext cx="1094977" cy="261610"/>
          </a:xfrm>
          <a:prstGeom prst="rect">
            <a:avLst/>
          </a:prstGeom>
          <a:solidFill>
            <a:srgbClr val="92D050"/>
          </a:solidFill>
        </p:spPr>
        <p:txBody>
          <a:bodyPr wrap="square" rtlCol="0" anchor="b">
            <a:spAutoFit/>
          </a:bodyPr>
          <a:lstStyle/>
          <a:p>
            <a:pPr algn="ctr"/>
            <a:endParaRPr lang="en-US" sz="1100" b="1" spc="-9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016043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dirty="0"/>
          </a:p>
        </p:txBody>
      </p:sp>
    </p:spTree>
    <p:extLst>
      <p:ext uri="{BB962C8B-B14F-4D97-AF65-F5344CB8AC3E}">
        <p14:creationId xmlns:p14="http://schemas.microsoft.com/office/powerpoint/2010/main" val="24313486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75" y="720725"/>
            <a:ext cx="4702175" cy="2644775"/>
          </a:xfrm>
        </p:spPr>
      </p:sp>
      <p:sp>
        <p:nvSpPr>
          <p:cNvPr id="3" name="Notes Placeholder 2"/>
          <p:cNvSpPr>
            <a:spLocks noGrp="1"/>
          </p:cNvSpPr>
          <p:nvPr>
            <p:ph type="body" idx="1"/>
          </p:nvPr>
        </p:nvSpPr>
        <p:spPr/>
        <p:txBody>
          <a:bodyPr>
            <a:noAutofit/>
          </a:bodyPr>
          <a:lstStyle/>
          <a:p>
            <a:pPr lvl="0">
              <a:defRPr/>
            </a:pPr>
            <a:endParaRPr lang="en-US" baseline="0" dirty="0"/>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endParaRPr lang="en-US" dirty="0"/>
          </a:p>
        </p:txBody>
      </p:sp>
      <p:grpSp>
        <p:nvGrpSpPr>
          <p:cNvPr id="11" name="Group 10"/>
          <p:cNvGrpSpPr/>
          <p:nvPr/>
        </p:nvGrpSpPr>
        <p:grpSpPr>
          <a:xfrm>
            <a:off x="180833" y="4578138"/>
            <a:ext cx="1099644" cy="369331"/>
            <a:chOff x="136363" y="6116870"/>
            <a:chExt cx="1099644" cy="369331"/>
          </a:xfrm>
        </p:grpSpPr>
        <p:sp>
          <p:nvSpPr>
            <p:cNvPr id="12" name="TextBox 11"/>
            <p:cNvSpPr txBox="1"/>
            <p:nvPr/>
          </p:nvSpPr>
          <p:spPr>
            <a:xfrm>
              <a:off x="136363" y="6255369"/>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3"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 name="Group 13"/>
          <p:cNvGrpSpPr/>
          <p:nvPr/>
        </p:nvGrpSpPr>
        <p:grpSpPr>
          <a:xfrm>
            <a:off x="180833" y="5557298"/>
            <a:ext cx="1099644" cy="377621"/>
            <a:chOff x="180833" y="5524338"/>
            <a:chExt cx="1099644" cy="377621"/>
          </a:xfrm>
        </p:grpSpPr>
        <p:sp>
          <p:nvSpPr>
            <p:cNvPr id="15" name="TextBox 14"/>
            <p:cNvSpPr txBox="1"/>
            <p:nvPr/>
          </p:nvSpPr>
          <p:spPr>
            <a:xfrm>
              <a:off x="180833" y="5671127"/>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6" name="Freeform 242"/>
            <p:cNvSpPr>
              <a:spLocks noChangeAspect="1" noEditPoints="1"/>
            </p:cNvSpPr>
            <p:nvPr/>
          </p:nvSpPr>
          <p:spPr bwMode="auto">
            <a:xfrm>
              <a:off x="537470" y="5524338"/>
              <a:ext cx="377035" cy="347472"/>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5" name="Footer Placeholder 4"/>
          <p:cNvSpPr>
            <a:spLocks noGrp="1"/>
          </p:cNvSpPr>
          <p:nvPr>
            <p:ph type="ftr" sz="quarter" idx="11"/>
          </p:nvPr>
        </p:nvSpPr>
        <p:spPr/>
        <p:txBody>
          <a:bodyPr/>
          <a:lstStyle/>
          <a:p>
            <a:endParaRPr lang="en-GB" dirty="0"/>
          </a:p>
        </p:txBody>
      </p:sp>
      <p:sp>
        <p:nvSpPr>
          <p:cNvPr id="17" name="TextBox 16">
            <a:extLst>
              <a:ext uri="{FF2B5EF4-FFF2-40B4-BE49-F238E27FC236}">
                <a16:creationId xmlns:a16="http://schemas.microsoft.com/office/drawing/2014/main" id="{369A22B0-9FCF-4777-A53C-0F28146DC259}"/>
              </a:ext>
            </a:extLst>
          </p:cNvPr>
          <p:cNvSpPr txBox="1"/>
          <p:nvPr/>
        </p:nvSpPr>
        <p:spPr>
          <a:xfrm>
            <a:off x="180832" y="2171779"/>
            <a:ext cx="1094977" cy="261610"/>
          </a:xfrm>
          <a:prstGeom prst="rect">
            <a:avLst/>
          </a:prstGeom>
          <a:solidFill>
            <a:srgbClr val="92D050"/>
          </a:solidFill>
        </p:spPr>
        <p:txBody>
          <a:bodyPr wrap="square" rtlCol="0" anchor="b">
            <a:spAutoFit/>
          </a:bodyPr>
          <a:lstStyle/>
          <a:p>
            <a:pPr algn="ctr"/>
            <a:endParaRPr lang="en-US" sz="1100" b="1" spc="-9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093754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75" y="720725"/>
            <a:ext cx="4702175" cy="2644775"/>
          </a:xfrm>
        </p:spPr>
      </p:sp>
      <p:sp>
        <p:nvSpPr>
          <p:cNvPr id="3" name="Notes Placeholder 2"/>
          <p:cNvSpPr>
            <a:spLocks noGrp="1"/>
          </p:cNvSpPr>
          <p:nvPr>
            <p:ph type="body" idx="1"/>
          </p:nvPr>
        </p:nvSpPr>
        <p:spPr/>
        <p:txBody>
          <a:bodyPr>
            <a:noAutofit/>
          </a:bodyPr>
          <a:lstStyle/>
          <a:p>
            <a:pPr lvl="0">
              <a:defRPr/>
            </a:pPr>
            <a:endParaRPr lang="en-US" baseline="0" dirty="0"/>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endParaRPr lang="en-US" dirty="0"/>
          </a:p>
        </p:txBody>
      </p:sp>
      <p:grpSp>
        <p:nvGrpSpPr>
          <p:cNvPr id="11" name="Group 10"/>
          <p:cNvGrpSpPr/>
          <p:nvPr/>
        </p:nvGrpSpPr>
        <p:grpSpPr>
          <a:xfrm>
            <a:off x="180833" y="4578138"/>
            <a:ext cx="1099644" cy="369331"/>
            <a:chOff x="136363" y="6116870"/>
            <a:chExt cx="1099644" cy="369331"/>
          </a:xfrm>
        </p:grpSpPr>
        <p:sp>
          <p:nvSpPr>
            <p:cNvPr id="12" name="TextBox 11"/>
            <p:cNvSpPr txBox="1"/>
            <p:nvPr/>
          </p:nvSpPr>
          <p:spPr>
            <a:xfrm>
              <a:off x="136363" y="6255369"/>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3"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 name="Group 13"/>
          <p:cNvGrpSpPr/>
          <p:nvPr/>
        </p:nvGrpSpPr>
        <p:grpSpPr>
          <a:xfrm>
            <a:off x="180833" y="5557298"/>
            <a:ext cx="1099644" cy="377621"/>
            <a:chOff x="180833" y="5524338"/>
            <a:chExt cx="1099644" cy="377621"/>
          </a:xfrm>
        </p:grpSpPr>
        <p:sp>
          <p:nvSpPr>
            <p:cNvPr id="15" name="TextBox 14"/>
            <p:cNvSpPr txBox="1"/>
            <p:nvPr/>
          </p:nvSpPr>
          <p:spPr>
            <a:xfrm>
              <a:off x="180833" y="5671127"/>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6" name="Freeform 242"/>
            <p:cNvSpPr>
              <a:spLocks noChangeAspect="1" noEditPoints="1"/>
            </p:cNvSpPr>
            <p:nvPr/>
          </p:nvSpPr>
          <p:spPr bwMode="auto">
            <a:xfrm>
              <a:off x="537470" y="5524338"/>
              <a:ext cx="377035" cy="347472"/>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5" name="Footer Placeholder 4"/>
          <p:cNvSpPr>
            <a:spLocks noGrp="1"/>
          </p:cNvSpPr>
          <p:nvPr>
            <p:ph type="ftr" sz="quarter" idx="11"/>
          </p:nvPr>
        </p:nvSpPr>
        <p:spPr/>
        <p:txBody>
          <a:bodyPr/>
          <a:lstStyle/>
          <a:p>
            <a:endParaRPr lang="en-GB" dirty="0"/>
          </a:p>
        </p:txBody>
      </p:sp>
      <p:sp>
        <p:nvSpPr>
          <p:cNvPr id="17" name="TextBox 16">
            <a:extLst>
              <a:ext uri="{FF2B5EF4-FFF2-40B4-BE49-F238E27FC236}">
                <a16:creationId xmlns:a16="http://schemas.microsoft.com/office/drawing/2014/main" id="{369A22B0-9FCF-4777-A53C-0F28146DC259}"/>
              </a:ext>
            </a:extLst>
          </p:cNvPr>
          <p:cNvSpPr txBox="1"/>
          <p:nvPr/>
        </p:nvSpPr>
        <p:spPr>
          <a:xfrm>
            <a:off x="180832" y="2171779"/>
            <a:ext cx="1094977" cy="261610"/>
          </a:xfrm>
          <a:prstGeom prst="rect">
            <a:avLst/>
          </a:prstGeom>
          <a:solidFill>
            <a:srgbClr val="92D050"/>
          </a:solidFill>
        </p:spPr>
        <p:txBody>
          <a:bodyPr wrap="square" rtlCol="0" anchor="b">
            <a:spAutoFit/>
          </a:bodyPr>
          <a:lstStyle/>
          <a:p>
            <a:pPr algn="ctr"/>
            <a:endParaRPr lang="en-US" sz="1100" b="1" spc="-9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939419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75" y="720725"/>
            <a:ext cx="4702175" cy="2644775"/>
          </a:xfrm>
        </p:spPr>
      </p:sp>
      <p:sp>
        <p:nvSpPr>
          <p:cNvPr id="3" name="Notes Placeholder 2"/>
          <p:cNvSpPr>
            <a:spLocks noGrp="1"/>
          </p:cNvSpPr>
          <p:nvPr>
            <p:ph type="body" idx="1"/>
          </p:nvPr>
        </p:nvSpPr>
        <p:spPr/>
        <p:txBody>
          <a:bodyPr>
            <a:noAutofit/>
          </a:bodyPr>
          <a:lstStyle/>
          <a:p>
            <a:pPr lvl="0">
              <a:defRPr/>
            </a:pPr>
            <a:endParaRPr lang="en-US" baseline="0" dirty="0"/>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endParaRPr lang="en-US" dirty="0"/>
          </a:p>
        </p:txBody>
      </p:sp>
      <p:grpSp>
        <p:nvGrpSpPr>
          <p:cNvPr id="11" name="Group 10"/>
          <p:cNvGrpSpPr/>
          <p:nvPr/>
        </p:nvGrpSpPr>
        <p:grpSpPr>
          <a:xfrm>
            <a:off x="180833" y="4578138"/>
            <a:ext cx="1099644" cy="369331"/>
            <a:chOff x="136363" y="6116870"/>
            <a:chExt cx="1099644" cy="369331"/>
          </a:xfrm>
        </p:grpSpPr>
        <p:sp>
          <p:nvSpPr>
            <p:cNvPr id="12" name="TextBox 11"/>
            <p:cNvSpPr txBox="1"/>
            <p:nvPr/>
          </p:nvSpPr>
          <p:spPr>
            <a:xfrm>
              <a:off x="136363" y="6255369"/>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3"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 name="Group 13"/>
          <p:cNvGrpSpPr/>
          <p:nvPr/>
        </p:nvGrpSpPr>
        <p:grpSpPr>
          <a:xfrm>
            <a:off x="180833" y="5557298"/>
            <a:ext cx="1099644" cy="377621"/>
            <a:chOff x="180833" y="5524338"/>
            <a:chExt cx="1099644" cy="377621"/>
          </a:xfrm>
        </p:grpSpPr>
        <p:sp>
          <p:nvSpPr>
            <p:cNvPr id="15" name="TextBox 14"/>
            <p:cNvSpPr txBox="1"/>
            <p:nvPr/>
          </p:nvSpPr>
          <p:spPr>
            <a:xfrm>
              <a:off x="180833" y="5671127"/>
              <a:ext cx="1099644" cy="230832"/>
            </a:xfrm>
            <a:prstGeom prst="rect">
              <a:avLst/>
            </a:prstGeom>
            <a:solidFill>
              <a:srgbClr val="92D050"/>
            </a:solidFill>
          </p:spPr>
          <p:txBody>
            <a:bodyPr wrap="square" rtlCol="0" anchor="ctr">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6" name="Freeform 242"/>
            <p:cNvSpPr>
              <a:spLocks noChangeAspect="1" noEditPoints="1"/>
            </p:cNvSpPr>
            <p:nvPr/>
          </p:nvSpPr>
          <p:spPr bwMode="auto">
            <a:xfrm>
              <a:off x="537470" y="5524338"/>
              <a:ext cx="377035" cy="347472"/>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5" name="Footer Placeholder 4"/>
          <p:cNvSpPr>
            <a:spLocks noGrp="1"/>
          </p:cNvSpPr>
          <p:nvPr>
            <p:ph type="ftr" sz="quarter" idx="11"/>
          </p:nvPr>
        </p:nvSpPr>
        <p:spPr/>
        <p:txBody>
          <a:bodyPr/>
          <a:lstStyle/>
          <a:p>
            <a:endParaRPr lang="en-GB" dirty="0"/>
          </a:p>
        </p:txBody>
      </p:sp>
      <p:sp>
        <p:nvSpPr>
          <p:cNvPr id="17" name="TextBox 16">
            <a:extLst>
              <a:ext uri="{FF2B5EF4-FFF2-40B4-BE49-F238E27FC236}">
                <a16:creationId xmlns:a16="http://schemas.microsoft.com/office/drawing/2014/main" id="{369A22B0-9FCF-4777-A53C-0F28146DC259}"/>
              </a:ext>
            </a:extLst>
          </p:cNvPr>
          <p:cNvSpPr txBox="1"/>
          <p:nvPr/>
        </p:nvSpPr>
        <p:spPr>
          <a:xfrm>
            <a:off x="180832" y="2171779"/>
            <a:ext cx="1094977" cy="261610"/>
          </a:xfrm>
          <a:prstGeom prst="rect">
            <a:avLst/>
          </a:prstGeom>
          <a:solidFill>
            <a:srgbClr val="92D050"/>
          </a:solidFill>
        </p:spPr>
        <p:txBody>
          <a:bodyPr wrap="square" rtlCol="0" anchor="b">
            <a:spAutoFit/>
          </a:bodyPr>
          <a:lstStyle/>
          <a:p>
            <a:pPr algn="ctr"/>
            <a:endParaRPr lang="en-US" sz="1100" b="1" spc="-9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621699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pPr marL="171450" indent="-171450">
              <a:buFont typeface="Arial" panose="020B0604020202020204" pitchFamily="34" charset="0"/>
              <a:buChar char="•"/>
            </a:pPr>
            <a:endParaRPr lang="en-US" dirty="0"/>
          </a:p>
        </p:txBody>
      </p:sp>
      <p:sp>
        <p:nvSpPr>
          <p:cNvPr id="5" name="Footer Placeholder 4">
            <a:extLst>
              <a:ext uri="{FF2B5EF4-FFF2-40B4-BE49-F238E27FC236}">
                <a16:creationId xmlns:a16="http://schemas.microsoft.com/office/drawing/2014/main" id="{A3A98C05-A2EF-4EB1-A8C4-B14F82609558}"/>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E491F109-CCAC-4424-AED0-C4EB107A2CB7}"/>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2634189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110C9237-57F6-4F25-9EE1-7BF18E122E44}"/>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697BE460-B70B-483C-A948-01BA7544FA49}"/>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7772196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4D28B6F7-466F-4E9D-BE9C-DF3AD296D223}"/>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78BCB12A-6955-43B4-9381-C1400DF2A999}"/>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41207066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p:txBody>
      </p:sp>
      <p:sp>
        <p:nvSpPr>
          <p:cNvPr id="5" name="Footer Placeholder 4">
            <a:extLst>
              <a:ext uri="{FF2B5EF4-FFF2-40B4-BE49-F238E27FC236}">
                <a16:creationId xmlns:a16="http://schemas.microsoft.com/office/drawing/2014/main" id="{A897E494-45E5-4753-B1FE-91A09A9BEC04}"/>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8636C5F3-C4AA-487B-90EE-F73D4C9C2A5E}"/>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753797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endParaRPr lang="en-US" dirty="0"/>
          </a:p>
        </p:txBody>
      </p:sp>
      <p:sp>
        <p:nvSpPr>
          <p:cNvPr id="5" name="Footer Placeholder 4">
            <a:extLst>
              <a:ext uri="{FF2B5EF4-FFF2-40B4-BE49-F238E27FC236}">
                <a16:creationId xmlns:a16="http://schemas.microsoft.com/office/drawing/2014/main" id="{112CFBBF-BD73-4D35-A1FF-D017773AEF72}"/>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43ED57C0-B1FC-4848-A67D-2D0848FE518B}"/>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0581445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pPr marL="0" indent="0">
              <a:buFont typeface="Arial" panose="020B0604020202020204" pitchFamily="34" charset="0"/>
              <a:buNone/>
            </a:pPr>
            <a:endParaRPr lang="en-US" dirty="0"/>
          </a:p>
        </p:txBody>
      </p:sp>
      <p:sp>
        <p:nvSpPr>
          <p:cNvPr id="5" name="Footer Placeholder 4">
            <a:extLst>
              <a:ext uri="{FF2B5EF4-FFF2-40B4-BE49-F238E27FC236}">
                <a16:creationId xmlns:a16="http://schemas.microsoft.com/office/drawing/2014/main" id="{47771C27-1AA6-4FC6-BAF2-0A3AF3FC8B75}"/>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979D5C83-A94E-456A-AA5E-B5E472B41F8D}"/>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1588284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61FF04EC-2656-4DD0-B34C-06047B83B4AE}"/>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F7497470-DD8E-4C44-B9CC-999B8EA607B2}"/>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496188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560570"/>
            <a:ext cx="5852160" cy="4320540"/>
          </a:xfrm>
          <a:prstGeom prst="rect">
            <a:avLst/>
          </a:prstGeom>
        </p:spPr>
        <p:txBody>
          <a:bodyPr/>
          <a:lstStyle/>
          <a:p>
            <a:pPr marL="171450" indent="-171450">
              <a:buFont typeface="Arial" panose="020B0604020202020204" pitchFamily="34" charset="0"/>
              <a:buChar char="•"/>
            </a:pPr>
            <a:endParaRPr lang="en-US" dirty="0"/>
          </a:p>
        </p:txBody>
      </p:sp>
      <p:sp>
        <p:nvSpPr>
          <p:cNvPr id="5" name="Footer Placeholder 4">
            <a:extLst>
              <a:ext uri="{FF2B5EF4-FFF2-40B4-BE49-F238E27FC236}">
                <a16:creationId xmlns:a16="http://schemas.microsoft.com/office/drawing/2014/main" id="{83707AE3-1C1E-45A3-BD10-5A54C3758CFD}"/>
              </a:ext>
            </a:extLst>
          </p:cNvPr>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2671F5BE-D4DF-4989-805C-F361ABF56A79}"/>
              </a:ext>
            </a:extLst>
          </p:cNvPr>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25101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AAE6873A-DED1-447D-83F2-97235C6922B8}"/>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C234A463-B8FC-4B04-92F9-51869904FD67}"/>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5537301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0" y="742950"/>
            <a:ext cx="4852988" cy="27305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5" name="TextBox 4">
            <a:extLst>
              <a:ext uri="{FF2B5EF4-FFF2-40B4-BE49-F238E27FC236}">
                <a16:creationId xmlns:a16="http://schemas.microsoft.com/office/drawing/2014/main" id="{4046CD56-4807-48E1-BF20-6FFF2E2EB226}"/>
              </a:ext>
            </a:extLst>
          </p:cNvPr>
          <p:cNvSpPr txBox="1"/>
          <p:nvPr/>
        </p:nvSpPr>
        <p:spPr>
          <a:xfrm>
            <a:off x="180833" y="2171779"/>
            <a:ext cx="1099644" cy="261610"/>
          </a:xfrm>
          <a:prstGeom prst="rect">
            <a:avLst/>
          </a:prstGeom>
          <a:solidFill>
            <a:srgbClr val="92D050"/>
          </a:solidFill>
        </p:spPr>
        <p:txBody>
          <a:bodyPr wrap="square" rtlCol="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545373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52613" y="720725"/>
            <a:ext cx="4633912" cy="2606675"/>
          </a:xfrm>
        </p:spPr>
      </p:sp>
      <p:sp>
        <p:nvSpPr>
          <p:cNvPr id="3" name="Notes Placeholder 2"/>
          <p:cNvSpPr>
            <a:spLocks noGrp="1"/>
          </p:cNvSpPr>
          <p:nvPr>
            <p:ph type="body" idx="1"/>
            <p:custDataLst>
              <p:tags r:id="rId1"/>
            </p:custDataLst>
          </p:nvPr>
        </p:nvSpPr>
        <p:spPr/>
        <p:txBody>
          <a:bodyPr>
            <a:normAutofit/>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4143589" y="9119475"/>
            <a:ext cx="3169920" cy="480060"/>
          </a:xfrm>
          <a:prstGeom prst="rect">
            <a:avLst/>
          </a:prstGeo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grpSp>
        <p:nvGrpSpPr>
          <p:cNvPr id="8" name="Group 7"/>
          <p:cNvGrpSpPr/>
          <p:nvPr/>
        </p:nvGrpSpPr>
        <p:grpSpPr>
          <a:xfrm>
            <a:off x="180833" y="4578138"/>
            <a:ext cx="1099644" cy="369331"/>
            <a:chOff x="136363" y="6116870"/>
            <a:chExt cx="1099644" cy="369331"/>
          </a:xfrm>
        </p:grpSpPr>
        <p:sp>
          <p:nvSpPr>
            <p:cNvPr id="9" name="TextBox 8"/>
            <p:cNvSpPr txBox="1"/>
            <p:nvPr/>
          </p:nvSpPr>
          <p:spPr>
            <a:xfrm>
              <a:off x="136363" y="6255369"/>
              <a:ext cx="1099644" cy="230832"/>
            </a:xfrm>
            <a:prstGeom prst="rect">
              <a:avLst/>
            </a:prstGeom>
            <a:solidFill>
              <a:srgbClr val="92D050"/>
            </a:solid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1" name="Footer Placeholder 10"/>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2" name="TextBox 11"/>
          <p:cNvSpPr txBox="1"/>
          <p:nvPr/>
        </p:nvSpPr>
        <p:spPr>
          <a:xfrm>
            <a:off x="180833" y="2171779"/>
            <a:ext cx="1099644" cy="261610"/>
          </a:xfrm>
          <a:prstGeom prst="rect">
            <a:avLst/>
          </a:prstGeom>
          <a:solidFill>
            <a:srgbClr val="92D050"/>
          </a:solidFill>
        </p:spPr>
        <p:txBody>
          <a:bodyPr wrap="square" rtlCol="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936086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2038"/>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75BF1E01-E97A-4436-841F-B4854505BCAD}"/>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34443685-08B2-4CC0-98DC-A7C229EFAC21}"/>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0767123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E00A8028-3B11-4C1B-996B-B9F56366FE68}"/>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A0D39DBE-439F-4919-BD11-6B62EC97F8AC}"/>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6654686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A8F11FB9-3327-4355-B547-E55106614437}"/>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516CD3F1-C774-4537-8268-64D09B43D434}"/>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972119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dirty="0"/>
          </a:p>
        </p:txBody>
      </p:sp>
    </p:spTree>
    <p:extLst>
      <p:ext uri="{BB962C8B-B14F-4D97-AF65-F5344CB8AC3E}">
        <p14:creationId xmlns:p14="http://schemas.microsoft.com/office/powerpoint/2010/main" val="2868562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2038"/>
          </a:xfrm>
        </p:spPr>
      </p:sp>
      <p:sp>
        <p:nvSpPr>
          <p:cNvPr id="3" name="Notes Placeholder 2"/>
          <p:cNvSpPr>
            <a:spLocks noGrp="1"/>
          </p:cNvSpPr>
          <p:nvPr>
            <p:ph type="body" idx="1"/>
          </p:nvPr>
        </p:nvSpPr>
        <p:spPr>
          <a:xfrm>
            <a:off x="731520" y="4560570"/>
            <a:ext cx="5852160" cy="4320540"/>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id="{869CE95B-62C3-49FC-87FB-59A566B1CE92}"/>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735EDEB3-F26F-4DA3-837E-5E13BC711C17}"/>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356218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pPr marL="0" indent="0">
              <a:buFont typeface="Arial" panose="020B0604020202020204" pitchFamily="34" charset="0"/>
              <a:buNone/>
            </a:pPr>
            <a:endParaRPr lang="en-US" dirty="0"/>
          </a:p>
        </p:txBody>
      </p:sp>
      <p:sp>
        <p:nvSpPr>
          <p:cNvPr id="5" name="Footer Placeholder 4">
            <a:extLst>
              <a:ext uri="{FF2B5EF4-FFF2-40B4-BE49-F238E27FC236}">
                <a16:creationId xmlns:a16="http://schemas.microsoft.com/office/drawing/2014/main" id="{60C9DE16-0422-4C1E-8A3F-A58276D97E23}"/>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BE1755D6-6BF1-472C-86F3-FA6F14E7638A}"/>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233092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lnSpcReduction="10000"/>
          </a:bodyPr>
          <a:lstStyle/>
          <a:p>
            <a:pPr marL="0" indent="0">
              <a:buFontTx/>
              <a:buNone/>
            </a:pPr>
            <a:endParaRPr lang="en-US" dirty="0"/>
          </a:p>
        </p:txBody>
      </p:sp>
      <p:sp>
        <p:nvSpPr>
          <p:cNvPr id="5" name="Footer Placeholder 4">
            <a:extLst>
              <a:ext uri="{FF2B5EF4-FFF2-40B4-BE49-F238E27FC236}">
                <a16:creationId xmlns:a16="http://schemas.microsoft.com/office/drawing/2014/main" id="{D0A22936-627A-4201-9E61-3F1AEE065AED}"/>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49F8BB50-D300-4C53-B71F-617FBAABD93A}"/>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016383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Autofit/>
          </a:bodyPr>
          <a:lstStyle/>
          <a:p>
            <a:pPr marL="304770" lvl="0" indent="0">
              <a:buFont typeface="Arial" panose="020B0604020202020204" pitchFamily="34" charset="0"/>
              <a:buNone/>
            </a:pPr>
            <a:endParaRPr lang="en-US" sz="550" baseline="0" dirty="0">
              <a:effectLst/>
            </a:endParaRPr>
          </a:p>
        </p:txBody>
      </p:sp>
      <p:sp>
        <p:nvSpPr>
          <p:cNvPr id="5" name="Footer Placeholder 4">
            <a:extLst>
              <a:ext uri="{FF2B5EF4-FFF2-40B4-BE49-F238E27FC236}">
                <a16:creationId xmlns:a16="http://schemas.microsoft.com/office/drawing/2014/main" id="{A3FF5B0D-E5D6-4040-B9C2-F521AC8996C1}"/>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52DA7B35-5280-49A4-96A3-261D3A4DCFF1}"/>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3121112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normAutofit fontScale="92500" lnSpcReduction="20000"/>
          </a:bodyPr>
          <a:lstStyle/>
          <a:p>
            <a:endParaRPr lang="en-US" dirty="0"/>
          </a:p>
        </p:txBody>
      </p:sp>
      <p:sp>
        <p:nvSpPr>
          <p:cNvPr id="5" name="Footer Placeholder 4">
            <a:extLst>
              <a:ext uri="{FF2B5EF4-FFF2-40B4-BE49-F238E27FC236}">
                <a16:creationId xmlns:a16="http://schemas.microsoft.com/office/drawing/2014/main" id="{878C5405-42D6-4D55-BAB3-A170D9D787CE}"/>
              </a:ext>
            </a:extLst>
          </p:cNvPr>
          <p:cNvSpPr>
            <a:spLocks noGrp="1"/>
          </p:cNvSpPr>
          <p:nvPr>
            <p:ph type="ftr" sz="quarter" idx="4"/>
          </p:nvPr>
        </p:nvSpPr>
        <p:spPr/>
        <p:txBody>
          <a:bodyPr/>
          <a:lstStyle/>
          <a:p>
            <a:endParaRPr lang="en-US" sz="500" dirty="0"/>
          </a:p>
        </p:txBody>
      </p:sp>
      <p:sp>
        <p:nvSpPr>
          <p:cNvPr id="6" name="Slide Number Placeholder 5">
            <a:extLst>
              <a:ext uri="{FF2B5EF4-FFF2-40B4-BE49-F238E27FC236}">
                <a16:creationId xmlns:a16="http://schemas.microsoft.com/office/drawing/2014/main" id="{44D17F68-F68E-4A2B-BE5F-DD6C8FA141CB}"/>
              </a:ext>
            </a:extLst>
          </p:cNvPr>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29670224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915616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534160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dirty="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dirty="0"/>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526072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148918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811366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dirty="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dirty="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dirty="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89569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584108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9024128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0052748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043361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8765407"/>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52871707"/>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dirty="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365517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40241979"/>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326702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519558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898342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89556497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76696951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4562463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7" name="Copyright">
            <a:extLst>
              <a:ext uri="{FF2B5EF4-FFF2-40B4-BE49-F238E27FC236}">
                <a16:creationId xmlns:a16="http://schemas.microsoft.com/office/drawing/2014/main" id="{D45EF10F-B1C8-4ED2-A091-1C2F837B31E4}"/>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8" name="TextBox 7">
            <a:extLst>
              <a:ext uri="{FF2B5EF4-FFF2-40B4-BE49-F238E27FC236}">
                <a16:creationId xmlns:a16="http://schemas.microsoft.com/office/drawing/2014/main" id="{48E7A1D6-FD3E-4165-B102-6C7996E8698D}"/>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D8269C2F-1048-4626-B3EC-E7F4BF9ACBC7}"/>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1" name="TextBox 10">
            <a:extLst>
              <a:ext uri="{FF2B5EF4-FFF2-40B4-BE49-F238E27FC236}">
                <a16:creationId xmlns:a16="http://schemas.microsoft.com/office/drawing/2014/main" id="{AB1D4699-A6B1-447B-8A69-80498447200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33303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able of contents" preserve="1" userDrawn="1">
  <p:cSld name="Table of contents">
    <p:spTree>
      <p:nvGrpSpPr>
        <p:cNvPr id="1" name="Shape 12"/>
        <p:cNvGrpSpPr/>
        <p:nvPr/>
      </p:nvGrpSpPr>
      <p:grpSpPr>
        <a:xfrm>
          <a:off x="0" y="0"/>
          <a:ext cx="0" cy="0"/>
          <a:chOff x="0" y="0"/>
          <a:chExt cx="0" cy="0"/>
        </a:xfrm>
      </p:grpSpPr>
      <p:grpSp>
        <p:nvGrpSpPr>
          <p:cNvPr id="39" name="Group 38">
            <a:extLst>
              <a:ext uri="{FF2B5EF4-FFF2-40B4-BE49-F238E27FC236}">
                <a16:creationId xmlns:a16="http://schemas.microsoft.com/office/drawing/2014/main" id="{9DF11F8B-402B-4AD0-8643-A533A516ED34}"/>
              </a:ext>
            </a:extLst>
          </p:cNvPr>
          <p:cNvGrpSpPr/>
          <p:nvPr userDrawn="1"/>
        </p:nvGrpSpPr>
        <p:grpSpPr>
          <a:xfrm>
            <a:off x="0" y="18506"/>
            <a:ext cx="12192000" cy="1318787"/>
            <a:chOff x="-48768" y="0"/>
            <a:chExt cx="12240768" cy="918799"/>
          </a:xfrm>
          <a:solidFill>
            <a:srgbClr val="0097A7"/>
          </a:solidFill>
        </p:grpSpPr>
        <p:sp>
          <p:nvSpPr>
            <p:cNvPr id="40" name="Google Shape;19;p3">
              <a:extLst>
                <a:ext uri="{FF2B5EF4-FFF2-40B4-BE49-F238E27FC236}">
                  <a16:creationId xmlns:a16="http://schemas.microsoft.com/office/drawing/2014/main" id="{19551DF0-A911-4CDB-A039-DC9FD6014CFD}"/>
                </a:ext>
              </a:extLst>
            </p:cNvPr>
            <p:cNvSpPr/>
            <p:nvPr/>
          </p:nvSpPr>
          <p:spPr>
            <a:xfrm rot="10800000">
              <a:off x="-47162" y="557790"/>
              <a:ext cx="12239162" cy="361009"/>
            </a:xfrm>
            <a:prstGeom prst="triangle">
              <a:avLst>
                <a:gd name="adj" fmla="val 50000"/>
              </a:avLst>
            </a:prstGeom>
            <a:grp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sp>
          <p:nvSpPr>
            <p:cNvPr id="41" name="Google Shape;20;p3">
              <a:extLst>
                <a:ext uri="{FF2B5EF4-FFF2-40B4-BE49-F238E27FC236}">
                  <a16:creationId xmlns:a16="http://schemas.microsoft.com/office/drawing/2014/main" id="{4687ED42-4B3F-4FA9-A4AA-E6413A55D7A7}"/>
                </a:ext>
              </a:extLst>
            </p:cNvPr>
            <p:cNvSpPr/>
            <p:nvPr/>
          </p:nvSpPr>
          <p:spPr>
            <a:xfrm>
              <a:off x="-48768" y="0"/>
              <a:ext cx="12240768" cy="568296"/>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grpSp>
      <p:grpSp>
        <p:nvGrpSpPr>
          <p:cNvPr id="3" name="Group 2">
            <a:extLst>
              <a:ext uri="{FF2B5EF4-FFF2-40B4-BE49-F238E27FC236}">
                <a16:creationId xmlns:a16="http://schemas.microsoft.com/office/drawing/2014/main" id="{63B41A95-F78E-40BA-A16F-A8C98ED4CC98}"/>
              </a:ext>
            </a:extLst>
          </p:cNvPr>
          <p:cNvGrpSpPr/>
          <p:nvPr userDrawn="1"/>
        </p:nvGrpSpPr>
        <p:grpSpPr>
          <a:xfrm>
            <a:off x="0" y="0"/>
            <a:ext cx="12192000" cy="1133475"/>
            <a:chOff x="0" y="0"/>
            <a:chExt cx="12192000" cy="918799"/>
          </a:xfrm>
        </p:grpSpPr>
        <p:sp>
          <p:nvSpPr>
            <p:cNvPr id="19" name="Google Shape;19;p3"/>
            <p:cNvSpPr/>
            <p:nvPr/>
          </p:nvSpPr>
          <p:spPr>
            <a:xfrm rot="10800000">
              <a:off x="1600" y="557790"/>
              <a:ext cx="12190400" cy="361009"/>
            </a:xfrm>
            <a:prstGeom prst="triangle">
              <a:avLst>
                <a:gd name="adj" fmla="val 50000"/>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sp>
          <p:nvSpPr>
            <p:cNvPr id="20" name="Google Shape;20;p3"/>
            <p:cNvSpPr/>
            <p:nvPr/>
          </p:nvSpPr>
          <p:spPr>
            <a:xfrm>
              <a:off x="0" y="0"/>
              <a:ext cx="12192000" cy="568296"/>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grpSp>
      <p:sp>
        <p:nvSpPr>
          <p:cNvPr id="31" name="Google Shape;31;p3"/>
          <p:cNvSpPr txBox="1">
            <a:spLocks noGrp="1"/>
          </p:cNvSpPr>
          <p:nvPr userDrawn="1">
            <p:ph type="ctrTitle" idx="13"/>
          </p:nvPr>
        </p:nvSpPr>
        <p:spPr>
          <a:xfrm>
            <a:off x="4083616" y="250752"/>
            <a:ext cx="3976000" cy="5996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1"/>
              </a:buClr>
              <a:buSzPts val="1400"/>
              <a:buFont typeface="Nunito Sans ExtraBold"/>
              <a:buNone/>
              <a:defRPr sz="2100" b="0">
                <a:solidFill>
                  <a:schemeClr val="lt1"/>
                </a:solidFill>
                <a:latin typeface="Calibri" panose="020F0502020204030204" pitchFamily="34" charset="0"/>
                <a:ea typeface="Calibri" panose="020F0502020204030204" pitchFamily="34" charset="0"/>
                <a:cs typeface="Calibri" panose="020F0502020204030204" pitchFamily="34" charset="0"/>
                <a:sym typeface="Nunito Sans ExtraBold"/>
              </a:defRPr>
            </a:lvl1pPr>
            <a:lvl2pPr lvl="1"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2pPr>
            <a:lvl3pPr lvl="2"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3pPr>
            <a:lvl4pPr lvl="3"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4pPr>
            <a:lvl5pPr lvl="4"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5pPr>
            <a:lvl6pPr lvl="5"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6pPr>
            <a:lvl7pPr lvl="6"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7pPr>
            <a:lvl8pPr lvl="7"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8pPr>
            <a:lvl9pPr lvl="8"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9pPr>
          </a:lstStyle>
          <a:p>
            <a:endParaRPr/>
          </a:p>
        </p:txBody>
      </p:sp>
      <p:sp>
        <p:nvSpPr>
          <p:cNvPr id="37" name="Slide Number Placeholder 2">
            <a:extLst>
              <a:ext uri="{FF2B5EF4-FFF2-40B4-BE49-F238E27FC236}">
                <a16:creationId xmlns:a16="http://schemas.microsoft.com/office/drawing/2014/main" id="{33BC1F9D-E0C8-4B11-A72F-C2A7EF1240D1}"/>
              </a:ext>
            </a:extLst>
          </p:cNvPr>
          <p:cNvSpPr>
            <a:spLocks noGrp="1"/>
          </p:cNvSpPr>
          <p:nvPr userDrawn="1">
            <p:ph type="sldNum" sz="quarter" idx="19"/>
          </p:nvPr>
        </p:nvSpPr>
        <p:spPr>
          <a:xfrm>
            <a:off x="10629335" y="6407835"/>
            <a:ext cx="1056118" cy="252000"/>
          </a:xfrm>
        </p:spPr>
        <p:txBody>
          <a:body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48852305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 subtitle" preserve="1">
  <p:cSld name="Title + subtitle">
    <p:spTree>
      <p:nvGrpSpPr>
        <p:cNvPr id="1" name="Shape 42"/>
        <p:cNvGrpSpPr/>
        <p:nvPr/>
      </p:nvGrpSpPr>
      <p:grpSpPr>
        <a:xfrm>
          <a:off x="0" y="0"/>
          <a:ext cx="0" cy="0"/>
          <a:chOff x="0" y="0"/>
          <a:chExt cx="0" cy="0"/>
        </a:xfrm>
      </p:grpSpPr>
      <p:sp>
        <p:nvSpPr>
          <p:cNvPr id="43" name="Google Shape;43;p5"/>
          <p:cNvSpPr/>
          <p:nvPr/>
        </p:nvSpPr>
        <p:spPr>
          <a:xfrm flipH="1">
            <a:off x="-596899" y="-56167"/>
            <a:ext cx="7658100" cy="6934200"/>
          </a:xfrm>
          <a:custGeom>
            <a:avLst/>
            <a:gdLst/>
            <a:ahLst/>
            <a:cxnLst/>
            <a:rect l="l" t="t" r="r" b="b"/>
            <a:pathLst>
              <a:path w="229743" h="208026" extrusionOk="0">
                <a:moveTo>
                  <a:pt x="62865" y="1524"/>
                </a:moveTo>
                <a:lnTo>
                  <a:pt x="0" y="208026"/>
                </a:lnTo>
                <a:lnTo>
                  <a:pt x="229743" y="208026"/>
                </a:lnTo>
                <a:lnTo>
                  <a:pt x="229743" y="0"/>
                </a:lnTo>
                <a:close/>
              </a:path>
            </a:pathLst>
          </a:custGeom>
          <a:solidFill>
            <a:schemeClr val="dk1"/>
          </a:solidFill>
          <a:ln>
            <a:noFill/>
          </a:ln>
        </p:spPr>
      </p:sp>
      <p:sp>
        <p:nvSpPr>
          <p:cNvPr id="44" name="Google Shape;44;p5"/>
          <p:cNvSpPr txBox="1">
            <a:spLocks noGrp="1"/>
          </p:cNvSpPr>
          <p:nvPr>
            <p:ph type="ctrTitle"/>
          </p:nvPr>
        </p:nvSpPr>
        <p:spPr>
          <a:xfrm>
            <a:off x="840833" y="2212683"/>
            <a:ext cx="5156400" cy="1294000"/>
          </a:xfrm>
          <a:prstGeom prst="rect">
            <a:avLst/>
          </a:prstGeom>
        </p:spPr>
        <p:txBody>
          <a:bodyPr spcFirstLastPara="1" wrap="square" lIns="91425" tIns="91425" rIns="91425" bIns="91425" anchor="b" anchorCtr="0">
            <a:noAutofit/>
          </a:bodyPr>
          <a:lstStyle>
            <a:lvl1pPr lvl="0" rtl="0">
              <a:spcBef>
                <a:spcPts val="0"/>
              </a:spcBef>
              <a:spcAft>
                <a:spcPts val="0"/>
              </a:spcAft>
              <a:buClr>
                <a:schemeClr val="lt1"/>
              </a:buClr>
              <a:buSzPts val="1300"/>
              <a:buNone/>
              <a:defRPr sz="1733">
                <a:solidFill>
                  <a:schemeClr val="lt1"/>
                </a:solidFill>
              </a:defRPr>
            </a:lvl1pPr>
            <a:lvl2pPr lvl="1" rtl="0">
              <a:spcBef>
                <a:spcPts val="0"/>
              </a:spcBef>
              <a:spcAft>
                <a:spcPts val="0"/>
              </a:spcAft>
              <a:buClr>
                <a:schemeClr val="lt1"/>
              </a:buClr>
              <a:buSzPts val="1300"/>
              <a:buNone/>
              <a:defRPr sz="1733">
                <a:solidFill>
                  <a:schemeClr val="lt1"/>
                </a:solidFill>
              </a:defRPr>
            </a:lvl2pPr>
            <a:lvl3pPr lvl="2" rtl="0">
              <a:spcBef>
                <a:spcPts val="0"/>
              </a:spcBef>
              <a:spcAft>
                <a:spcPts val="0"/>
              </a:spcAft>
              <a:buClr>
                <a:schemeClr val="lt1"/>
              </a:buClr>
              <a:buSzPts val="1300"/>
              <a:buNone/>
              <a:defRPr sz="1733">
                <a:solidFill>
                  <a:schemeClr val="lt1"/>
                </a:solidFill>
              </a:defRPr>
            </a:lvl3pPr>
            <a:lvl4pPr lvl="3" rtl="0">
              <a:spcBef>
                <a:spcPts val="0"/>
              </a:spcBef>
              <a:spcAft>
                <a:spcPts val="0"/>
              </a:spcAft>
              <a:buClr>
                <a:schemeClr val="lt1"/>
              </a:buClr>
              <a:buSzPts val="1300"/>
              <a:buNone/>
              <a:defRPr sz="1733">
                <a:solidFill>
                  <a:schemeClr val="lt1"/>
                </a:solidFill>
              </a:defRPr>
            </a:lvl4pPr>
            <a:lvl5pPr lvl="4" rtl="0">
              <a:spcBef>
                <a:spcPts val="0"/>
              </a:spcBef>
              <a:spcAft>
                <a:spcPts val="0"/>
              </a:spcAft>
              <a:buClr>
                <a:schemeClr val="lt1"/>
              </a:buClr>
              <a:buSzPts val="1300"/>
              <a:buNone/>
              <a:defRPr sz="1733">
                <a:solidFill>
                  <a:schemeClr val="lt1"/>
                </a:solidFill>
              </a:defRPr>
            </a:lvl5pPr>
            <a:lvl6pPr lvl="5" rtl="0">
              <a:spcBef>
                <a:spcPts val="0"/>
              </a:spcBef>
              <a:spcAft>
                <a:spcPts val="0"/>
              </a:spcAft>
              <a:buClr>
                <a:schemeClr val="lt1"/>
              </a:buClr>
              <a:buSzPts val="1300"/>
              <a:buNone/>
              <a:defRPr sz="1733">
                <a:solidFill>
                  <a:schemeClr val="lt1"/>
                </a:solidFill>
              </a:defRPr>
            </a:lvl6pPr>
            <a:lvl7pPr lvl="6" rtl="0">
              <a:spcBef>
                <a:spcPts val="0"/>
              </a:spcBef>
              <a:spcAft>
                <a:spcPts val="0"/>
              </a:spcAft>
              <a:buClr>
                <a:schemeClr val="lt1"/>
              </a:buClr>
              <a:buSzPts val="1300"/>
              <a:buNone/>
              <a:defRPr sz="1733">
                <a:solidFill>
                  <a:schemeClr val="lt1"/>
                </a:solidFill>
              </a:defRPr>
            </a:lvl7pPr>
            <a:lvl8pPr lvl="7" rtl="0">
              <a:spcBef>
                <a:spcPts val="0"/>
              </a:spcBef>
              <a:spcAft>
                <a:spcPts val="0"/>
              </a:spcAft>
              <a:buClr>
                <a:schemeClr val="lt1"/>
              </a:buClr>
              <a:buSzPts val="1300"/>
              <a:buNone/>
              <a:defRPr sz="1733">
                <a:solidFill>
                  <a:schemeClr val="lt1"/>
                </a:solidFill>
              </a:defRPr>
            </a:lvl8pPr>
            <a:lvl9pPr lvl="8" rtl="0">
              <a:spcBef>
                <a:spcPts val="0"/>
              </a:spcBef>
              <a:spcAft>
                <a:spcPts val="0"/>
              </a:spcAft>
              <a:buClr>
                <a:schemeClr val="lt1"/>
              </a:buClr>
              <a:buSzPts val="1300"/>
              <a:buNone/>
              <a:defRPr sz="1733">
                <a:solidFill>
                  <a:schemeClr val="lt1"/>
                </a:solidFill>
              </a:defRPr>
            </a:lvl9pPr>
          </a:lstStyle>
          <a:p>
            <a:endParaRPr/>
          </a:p>
        </p:txBody>
      </p:sp>
      <p:sp>
        <p:nvSpPr>
          <p:cNvPr id="45" name="Google Shape;45;p5"/>
          <p:cNvSpPr txBox="1">
            <a:spLocks noGrp="1"/>
          </p:cNvSpPr>
          <p:nvPr>
            <p:ph type="subTitle" idx="1"/>
          </p:nvPr>
        </p:nvSpPr>
        <p:spPr>
          <a:xfrm>
            <a:off x="840833" y="3351317"/>
            <a:ext cx="4454000" cy="1294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1100"/>
              <a:buNone/>
              <a:defRPr sz="1467">
                <a:solidFill>
                  <a:schemeClr val="lt1"/>
                </a:solidFill>
              </a:defRPr>
            </a:lvl1pPr>
            <a:lvl2pPr lvl="1" rtl="0">
              <a:lnSpc>
                <a:spcPct val="100000"/>
              </a:lnSpc>
              <a:spcBef>
                <a:spcPts val="0"/>
              </a:spcBef>
              <a:spcAft>
                <a:spcPts val="0"/>
              </a:spcAft>
              <a:buClr>
                <a:schemeClr val="lt1"/>
              </a:buClr>
              <a:buSzPts val="1100"/>
              <a:buNone/>
              <a:defRPr sz="1467">
                <a:solidFill>
                  <a:schemeClr val="lt1"/>
                </a:solidFill>
              </a:defRPr>
            </a:lvl2pPr>
            <a:lvl3pPr lvl="2" rtl="0">
              <a:lnSpc>
                <a:spcPct val="100000"/>
              </a:lnSpc>
              <a:spcBef>
                <a:spcPts val="0"/>
              </a:spcBef>
              <a:spcAft>
                <a:spcPts val="0"/>
              </a:spcAft>
              <a:buClr>
                <a:schemeClr val="lt1"/>
              </a:buClr>
              <a:buSzPts val="1100"/>
              <a:buNone/>
              <a:defRPr sz="1467">
                <a:solidFill>
                  <a:schemeClr val="lt1"/>
                </a:solidFill>
              </a:defRPr>
            </a:lvl3pPr>
            <a:lvl4pPr lvl="3" rtl="0">
              <a:lnSpc>
                <a:spcPct val="100000"/>
              </a:lnSpc>
              <a:spcBef>
                <a:spcPts val="0"/>
              </a:spcBef>
              <a:spcAft>
                <a:spcPts val="0"/>
              </a:spcAft>
              <a:buClr>
                <a:schemeClr val="lt1"/>
              </a:buClr>
              <a:buSzPts val="1100"/>
              <a:buNone/>
              <a:defRPr sz="1467">
                <a:solidFill>
                  <a:schemeClr val="lt1"/>
                </a:solidFill>
              </a:defRPr>
            </a:lvl4pPr>
            <a:lvl5pPr lvl="4" rtl="0">
              <a:lnSpc>
                <a:spcPct val="100000"/>
              </a:lnSpc>
              <a:spcBef>
                <a:spcPts val="0"/>
              </a:spcBef>
              <a:spcAft>
                <a:spcPts val="0"/>
              </a:spcAft>
              <a:buClr>
                <a:schemeClr val="lt1"/>
              </a:buClr>
              <a:buSzPts val="1100"/>
              <a:buNone/>
              <a:defRPr sz="1467">
                <a:solidFill>
                  <a:schemeClr val="lt1"/>
                </a:solidFill>
              </a:defRPr>
            </a:lvl5pPr>
            <a:lvl6pPr lvl="5" rtl="0">
              <a:lnSpc>
                <a:spcPct val="100000"/>
              </a:lnSpc>
              <a:spcBef>
                <a:spcPts val="0"/>
              </a:spcBef>
              <a:spcAft>
                <a:spcPts val="0"/>
              </a:spcAft>
              <a:buClr>
                <a:schemeClr val="lt1"/>
              </a:buClr>
              <a:buSzPts val="1100"/>
              <a:buNone/>
              <a:defRPr sz="1467">
                <a:solidFill>
                  <a:schemeClr val="lt1"/>
                </a:solidFill>
              </a:defRPr>
            </a:lvl6pPr>
            <a:lvl7pPr lvl="6" rtl="0">
              <a:lnSpc>
                <a:spcPct val="100000"/>
              </a:lnSpc>
              <a:spcBef>
                <a:spcPts val="0"/>
              </a:spcBef>
              <a:spcAft>
                <a:spcPts val="0"/>
              </a:spcAft>
              <a:buClr>
                <a:schemeClr val="lt1"/>
              </a:buClr>
              <a:buSzPts val="1100"/>
              <a:buNone/>
              <a:defRPr sz="1467">
                <a:solidFill>
                  <a:schemeClr val="lt1"/>
                </a:solidFill>
              </a:defRPr>
            </a:lvl7pPr>
            <a:lvl8pPr lvl="7" rtl="0">
              <a:lnSpc>
                <a:spcPct val="100000"/>
              </a:lnSpc>
              <a:spcBef>
                <a:spcPts val="0"/>
              </a:spcBef>
              <a:spcAft>
                <a:spcPts val="0"/>
              </a:spcAft>
              <a:buClr>
                <a:schemeClr val="lt1"/>
              </a:buClr>
              <a:buSzPts val="1100"/>
              <a:buNone/>
              <a:defRPr sz="1467">
                <a:solidFill>
                  <a:schemeClr val="lt1"/>
                </a:solidFill>
              </a:defRPr>
            </a:lvl8pPr>
            <a:lvl9pPr lvl="8" rtl="0">
              <a:lnSpc>
                <a:spcPct val="100000"/>
              </a:lnSpc>
              <a:spcBef>
                <a:spcPts val="0"/>
              </a:spcBef>
              <a:spcAft>
                <a:spcPts val="0"/>
              </a:spcAft>
              <a:buClr>
                <a:schemeClr val="lt1"/>
              </a:buClr>
              <a:buSzPts val="1100"/>
              <a:buNone/>
              <a:defRPr sz="1467">
                <a:solidFill>
                  <a:schemeClr val="lt1"/>
                </a:solidFill>
              </a:defRPr>
            </a:lvl9pPr>
          </a:lstStyle>
          <a:p>
            <a:endParaRPr/>
          </a:p>
        </p:txBody>
      </p:sp>
      <p:sp>
        <p:nvSpPr>
          <p:cNvPr id="5" name="Slide Number Placeholder 7">
            <a:extLst>
              <a:ext uri="{FF2B5EF4-FFF2-40B4-BE49-F238E27FC236}">
                <a16:creationId xmlns:a16="http://schemas.microsoft.com/office/drawing/2014/main" id="{4D634107-9790-4354-BC7E-B6C00FED84C6}"/>
              </a:ext>
            </a:extLst>
          </p:cNvPr>
          <p:cNvSpPr>
            <a:spLocks noGrp="1"/>
          </p:cNvSpPr>
          <p:nvPr>
            <p:ph type="sldNum" sz="quarter" idx="4"/>
          </p:nvPr>
        </p:nvSpPr>
        <p:spPr>
          <a:xfrm>
            <a:off x="10629335" y="6439919"/>
            <a:ext cx="1056118" cy="252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316502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 subtitle" preserve="1">
  <p:cSld name="1_Title + subtitle">
    <p:spTree>
      <p:nvGrpSpPr>
        <p:cNvPr id="1" name="Shape 42"/>
        <p:cNvGrpSpPr/>
        <p:nvPr/>
      </p:nvGrpSpPr>
      <p:grpSpPr>
        <a:xfrm>
          <a:off x="0" y="0"/>
          <a:ext cx="0" cy="0"/>
          <a:chOff x="0" y="0"/>
          <a:chExt cx="0" cy="0"/>
        </a:xfrm>
      </p:grpSpPr>
      <p:sp>
        <p:nvSpPr>
          <p:cNvPr id="2" name="Rectangle 1">
            <a:extLst>
              <a:ext uri="{FF2B5EF4-FFF2-40B4-BE49-F238E27FC236}">
                <a16:creationId xmlns:a16="http://schemas.microsoft.com/office/drawing/2014/main" id="{D14361E3-080F-4F6D-8C68-A327726F56DD}"/>
              </a:ext>
            </a:extLst>
          </p:cNvPr>
          <p:cNvSpPr/>
          <p:nvPr userDrawn="1"/>
        </p:nvSpPr>
        <p:spPr bwMode="gray">
          <a:xfrm>
            <a:off x="-138223" y="6209414"/>
            <a:ext cx="4284921" cy="48250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Google Shape;43;p5"/>
          <p:cNvSpPr/>
          <p:nvPr/>
        </p:nvSpPr>
        <p:spPr>
          <a:xfrm flipH="1">
            <a:off x="-596899" y="-56167"/>
            <a:ext cx="5562600" cy="6934200"/>
          </a:xfrm>
          <a:custGeom>
            <a:avLst/>
            <a:gdLst>
              <a:gd name="connsiteX0" fmla="*/ 0 w 166878"/>
              <a:gd name="connsiteY0" fmla="*/ 1524 h 208026"/>
              <a:gd name="connsiteX1" fmla="*/ 95028 w 166878"/>
              <a:gd name="connsiteY1" fmla="*/ 207388 h 208026"/>
              <a:gd name="connsiteX2" fmla="*/ 166878 w 166878"/>
              <a:gd name="connsiteY2" fmla="*/ 208026 h 208026"/>
              <a:gd name="connsiteX3" fmla="*/ 166878 w 166878"/>
              <a:gd name="connsiteY3" fmla="*/ 0 h 208026"/>
              <a:gd name="connsiteX4" fmla="*/ 0 w 166878"/>
              <a:gd name="connsiteY4" fmla="*/ 1524 h 208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78" h="208026" extrusionOk="0">
                <a:moveTo>
                  <a:pt x="0" y="1524"/>
                </a:moveTo>
                <a:lnTo>
                  <a:pt x="95028" y="207388"/>
                </a:lnTo>
                <a:lnTo>
                  <a:pt x="166878" y="208026"/>
                </a:lnTo>
                <a:lnTo>
                  <a:pt x="166878" y="0"/>
                </a:lnTo>
                <a:lnTo>
                  <a:pt x="0" y="1524"/>
                </a:lnTo>
                <a:close/>
              </a:path>
            </a:pathLst>
          </a:custGeom>
          <a:solidFill>
            <a:schemeClr val="dk1"/>
          </a:solidFill>
          <a:ln>
            <a:noFill/>
          </a:ln>
        </p:spPr>
      </p:sp>
      <p:sp>
        <p:nvSpPr>
          <p:cNvPr id="44" name="Google Shape;44;p5"/>
          <p:cNvSpPr txBox="1">
            <a:spLocks noGrp="1"/>
          </p:cNvSpPr>
          <p:nvPr>
            <p:ph type="ctrTitle"/>
          </p:nvPr>
        </p:nvSpPr>
        <p:spPr>
          <a:xfrm>
            <a:off x="5472935" y="996366"/>
            <a:ext cx="5156400" cy="1294000"/>
          </a:xfrm>
          <a:prstGeom prst="rect">
            <a:avLst/>
          </a:prstGeom>
        </p:spPr>
        <p:txBody>
          <a:bodyPr spcFirstLastPara="1" wrap="square" lIns="91425" tIns="91425" rIns="91425" bIns="91425" anchor="b" anchorCtr="0">
            <a:noAutofit/>
          </a:bodyPr>
          <a:lstStyle>
            <a:lvl1pPr lvl="0" rtl="0">
              <a:spcBef>
                <a:spcPts val="0"/>
              </a:spcBef>
              <a:spcAft>
                <a:spcPts val="0"/>
              </a:spcAft>
              <a:buClr>
                <a:schemeClr val="lt1"/>
              </a:buClr>
              <a:buSzPts val="1300"/>
              <a:buNone/>
              <a:defRPr sz="1733">
                <a:solidFill>
                  <a:schemeClr val="lt1"/>
                </a:solidFill>
              </a:defRPr>
            </a:lvl1pPr>
            <a:lvl2pPr lvl="1" rtl="0">
              <a:spcBef>
                <a:spcPts val="0"/>
              </a:spcBef>
              <a:spcAft>
                <a:spcPts val="0"/>
              </a:spcAft>
              <a:buClr>
                <a:schemeClr val="lt1"/>
              </a:buClr>
              <a:buSzPts val="1300"/>
              <a:buNone/>
              <a:defRPr sz="1733">
                <a:solidFill>
                  <a:schemeClr val="lt1"/>
                </a:solidFill>
              </a:defRPr>
            </a:lvl2pPr>
            <a:lvl3pPr lvl="2" rtl="0">
              <a:spcBef>
                <a:spcPts val="0"/>
              </a:spcBef>
              <a:spcAft>
                <a:spcPts val="0"/>
              </a:spcAft>
              <a:buClr>
                <a:schemeClr val="lt1"/>
              </a:buClr>
              <a:buSzPts val="1300"/>
              <a:buNone/>
              <a:defRPr sz="1733">
                <a:solidFill>
                  <a:schemeClr val="lt1"/>
                </a:solidFill>
              </a:defRPr>
            </a:lvl3pPr>
            <a:lvl4pPr lvl="3" rtl="0">
              <a:spcBef>
                <a:spcPts val="0"/>
              </a:spcBef>
              <a:spcAft>
                <a:spcPts val="0"/>
              </a:spcAft>
              <a:buClr>
                <a:schemeClr val="lt1"/>
              </a:buClr>
              <a:buSzPts val="1300"/>
              <a:buNone/>
              <a:defRPr sz="1733">
                <a:solidFill>
                  <a:schemeClr val="lt1"/>
                </a:solidFill>
              </a:defRPr>
            </a:lvl4pPr>
            <a:lvl5pPr lvl="4" rtl="0">
              <a:spcBef>
                <a:spcPts val="0"/>
              </a:spcBef>
              <a:spcAft>
                <a:spcPts val="0"/>
              </a:spcAft>
              <a:buClr>
                <a:schemeClr val="lt1"/>
              </a:buClr>
              <a:buSzPts val="1300"/>
              <a:buNone/>
              <a:defRPr sz="1733">
                <a:solidFill>
                  <a:schemeClr val="lt1"/>
                </a:solidFill>
              </a:defRPr>
            </a:lvl5pPr>
            <a:lvl6pPr lvl="5" rtl="0">
              <a:spcBef>
                <a:spcPts val="0"/>
              </a:spcBef>
              <a:spcAft>
                <a:spcPts val="0"/>
              </a:spcAft>
              <a:buClr>
                <a:schemeClr val="lt1"/>
              </a:buClr>
              <a:buSzPts val="1300"/>
              <a:buNone/>
              <a:defRPr sz="1733">
                <a:solidFill>
                  <a:schemeClr val="lt1"/>
                </a:solidFill>
              </a:defRPr>
            </a:lvl6pPr>
            <a:lvl7pPr lvl="6" rtl="0">
              <a:spcBef>
                <a:spcPts val="0"/>
              </a:spcBef>
              <a:spcAft>
                <a:spcPts val="0"/>
              </a:spcAft>
              <a:buClr>
                <a:schemeClr val="lt1"/>
              </a:buClr>
              <a:buSzPts val="1300"/>
              <a:buNone/>
              <a:defRPr sz="1733">
                <a:solidFill>
                  <a:schemeClr val="lt1"/>
                </a:solidFill>
              </a:defRPr>
            </a:lvl7pPr>
            <a:lvl8pPr lvl="7" rtl="0">
              <a:spcBef>
                <a:spcPts val="0"/>
              </a:spcBef>
              <a:spcAft>
                <a:spcPts val="0"/>
              </a:spcAft>
              <a:buClr>
                <a:schemeClr val="lt1"/>
              </a:buClr>
              <a:buSzPts val="1300"/>
              <a:buNone/>
              <a:defRPr sz="1733">
                <a:solidFill>
                  <a:schemeClr val="lt1"/>
                </a:solidFill>
              </a:defRPr>
            </a:lvl8pPr>
            <a:lvl9pPr lvl="8" rtl="0">
              <a:spcBef>
                <a:spcPts val="0"/>
              </a:spcBef>
              <a:spcAft>
                <a:spcPts val="0"/>
              </a:spcAft>
              <a:buClr>
                <a:schemeClr val="lt1"/>
              </a:buClr>
              <a:buSzPts val="1300"/>
              <a:buNone/>
              <a:defRPr sz="1733">
                <a:solidFill>
                  <a:schemeClr val="lt1"/>
                </a:solidFill>
              </a:defRPr>
            </a:lvl9pPr>
          </a:lstStyle>
          <a:p>
            <a:endParaRPr/>
          </a:p>
        </p:txBody>
      </p:sp>
      <p:sp>
        <p:nvSpPr>
          <p:cNvPr id="45" name="Google Shape;45;p5"/>
          <p:cNvSpPr txBox="1">
            <a:spLocks noGrp="1"/>
          </p:cNvSpPr>
          <p:nvPr>
            <p:ph type="subTitle" idx="1"/>
          </p:nvPr>
        </p:nvSpPr>
        <p:spPr>
          <a:xfrm>
            <a:off x="5472934" y="2290366"/>
            <a:ext cx="5156399" cy="1138634"/>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1100"/>
              <a:buNone/>
              <a:defRPr sz="1467">
                <a:solidFill>
                  <a:schemeClr val="lt1"/>
                </a:solidFill>
              </a:defRPr>
            </a:lvl1pPr>
            <a:lvl2pPr lvl="1" rtl="0">
              <a:lnSpc>
                <a:spcPct val="100000"/>
              </a:lnSpc>
              <a:spcBef>
                <a:spcPts val="0"/>
              </a:spcBef>
              <a:spcAft>
                <a:spcPts val="0"/>
              </a:spcAft>
              <a:buClr>
                <a:schemeClr val="lt1"/>
              </a:buClr>
              <a:buSzPts val="1100"/>
              <a:buNone/>
              <a:defRPr sz="1467">
                <a:solidFill>
                  <a:schemeClr val="lt1"/>
                </a:solidFill>
              </a:defRPr>
            </a:lvl2pPr>
            <a:lvl3pPr lvl="2" rtl="0">
              <a:lnSpc>
                <a:spcPct val="100000"/>
              </a:lnSpc>
              <a:spcBef>
                <a:spcPts val="0"/>
              </a:spcBef>
              <a:spcAft>
                <a:spcPts val="0"/>
              </a:spcAft>
              <a:buClr>
                <a:schemeClr val="lt1"/>
              </a:buClr>
              <a:buSzPts val="1100"/>
              <a:buNone/>
              <a:defRPr sz="1467">
                <a:solidFill>
                  <a:schemeClr val="lt1"/>
                </a:solidFill>
              </a:defRPr>
            </a:lvl3pPr>
            <a:lvl4pPr lvl="3" rtl="0">
              <a:lnSpc>
                <a:spcPct val="100000"/>
              </a:lnSpc>
              <a:spcBef>
                <a:spcPts val="0"/>
              </a:spcBef>
              <a:spcAft>
                <a:spcPts val="0"/>
              </a:spcAft>
              <a:buClr>
                <a:schemeClr val="lt1"/>
              </a:buClr>
              <a:buSzPts val="1100"/>
              <a:buNone/>
              <a:defRPr sz="1467">
                <a:solidFill>
                  <a:schemeClr val="lt1"/>
                </a:solidFill>
              </a:defRPr>
            </a:lvl4pPr>
            <a:lvl5pPr lvl="4" rtl="0">
              <a:lnSpc>
                <a:spcPct val="100000"/>
              </a:lnSpc>
              <a:spcBef>
                <a:spcPts val="0"/>
              </a:spcBef>
              <a:spcAft>
                <a:spcPts val="0"/>
              </a:spcAft>
              <a:buClr>
                <a:schemeClr val="lt1"/>
              </a:buClr>
              <a:buSzPts val="1100"/>
              <a:buNone/>
              <a:defRPr sz="1467">
                <a:solidFill>
                  <a:schemeClr val="lt1"/>
                </a:solidFill>
              </a:defRPr>
            </a:lvl5pPr>
            <a:lvl6pPr lvl="5" rtl="0">
              <a:lnSpc>
                <a:spcPct val="100000"/>
              </a:lnSpc>
              <a:spcBef>
                <a:spcPts val="0"/>
              </a:spcBef>
              <a:spcAft>
                <a:spcPts val="0"/>
              </a:spcAft>
              <a:buClr>
                <a:schemeClr val="lt1"/>
              </a:buClr>
              <a:buSzPts val="1100"/>
              <a:buNone/>
              <a:defRPr sz="1467">
                <a:solidFill>
                  <a:schemeClr val="lt1"/>
                </a:solidFill>
              </a:defRPr>
            </a:lvl6pPr>
            <a:lvl7pPr lvl="6" rtl="0">
              <a:lnSpc>
                <a:spcPct val="100000"/>
              </a:lnSpc>
              <a:spcBef>
                <a:spcPts val="0"/>
              </a:spcBef>
              <a:spcAft>
                <a:spcPts val="0"/>
              </a:spcAft>
              <a:buClr>
                <a:schemeClr val="lt1"/>
              </a:buClr>
              <a:buSzPts val="1100"/>
              <a:buNone/>
              <a:defRPr sz="1467">
                <a:solidFill>
                  <a:schemeClr val="lt1"/>
                </a:solidFill>
              </a:defRPr>
            </a:lvl7pPr>
            <a:lvl8pPr lvl="7" rtl="0">
              <a:lnSpc>
                <a:spcPct val="100000"/>
              </a:lnSpc>
              <a:spcBef>
                <a:spcPts val="0"/>
              </a:spcBef>
              <a:spcAft>
                <a:spcPts val="0"/>
              </a:spcAft>
              <a:buClr>
                <a:schemeClr val="lt1"/>
              </a:buClr>
              <a:buSzPts val="1100"/>
              <a:buNone/>
              <a:defRPr sz="1467">
                <a:solidFill>
                  <a:schemeClr val="lt1"/>
                </a:solidFill>
              </a:defRPr>
            </a:lvl8pPr>
            <a:lvl9pPr lvl="8" rtl="0">
              <a:lnSpc>
                <a:spcPct val="100000"/>
              </a:lnSpc>
              <a:spcBef>
                <a:spcPts val="0"/>
              </a:spcBef>
              <a:spcAft>
                <a:spcPts val="0"/>
              </a:spcAft>
              <a:buClr>
                <a:schemeClr val="lt1"/>
              </a:buClr>
              <a:buSzPts val="1100"/>
              <a:buNone/>
              <a:defRPr sz="1467">
                <a:solidFill>
                  <a:schemeClr val="lt1"/>
                </a:solidFill>
              </a:defRPr>
            </a:lvl9pPr>
          </a:lstStyle>
          <a:p>
            <a:endParaRPr/>
          </a:p>
        </p:txBody>
      </p:sp>
      <p:sp>
        <p:nvSpPr>
          <p:cNvPr id="5" name="Slide Number Placeholder 7">
            <a:extLst>
              <a:ext uri="{FF2B5EF4-FFF2-40B4-BE49-F238E27FC236}">
                <a16:creationId xmlns:a16="http://schemas.microsoft.com/office/drawing/2014/main" id="{4D634107-9790-4354-BC7E-B6C00FED84C6}"/>
              </a:ext>
            </a:extLst>
          </p:cNvPr>
          <p:cNvSpPr>
            <a:spLocks noGrp="1"/>
          </p:cNvSpPr>
          <p:nvPr>
            <p:ph type="sldNum" sz="quarter" idx="4"/>
          </p:nvPr>
        </p:nvSpPr>
        <p:spPr>
          <a:xfrm>
            <a:off x="10629335" y="6439919"/>
            <a:ext cx="1056118" cy="252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0575384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 subtitle 2" preserve="1" userDrawn="1">
  <p:cSld name="Title + subtitle 2">
    <p:spTree>
      <p:nvGrpSpPr>
        <p:cNvPr id="1" name="Shape 61"/>
        <p:cNvGrpSpPr/>
        <p:nvPr/>
      </p:nvGrpSpPr>
      <p:grpSpPr>
        <a:xfrm>
          <a:off x="0" y="0"/>
          <a:ext cx="0" cy="0"/>
          <a:chOff x="0" y="0"/>
          <a:chExt cx="0" cy="0"/>
        </a:xfrm>
      </p:grpSpPr>
      <p:grpSp>
        <p:nvGrpSpPr>
          <p:cNvPr id="3" name="Group 2">
            <a:extLst>
              <a:ext uri="{FF2B5EF4-FFF2-40B4-BE49-F238E27FC236}">
                <a16:creationId xmlns:a16="http://schemas.microsoft.com/office/drawing/2014/main" id="{32D2B3C9-8FD1-44D9-8A12-DE576BB9F7D6}"/>
              </a:ext>
            </a:extLst>
          </p:cNvPr>
          <p:cNvGrpSpPr/>
          <p:nvPr userDrawn="1"/>
        </p:nvGrpSpPr>
        <p:grpSpPr>
          <a:xfrm>
            <a:off x="-35562" y="-12699"/>
            <a:ext cx="457200" cy="6883200"/>
            <a:chOff x="-35562" y="-12699"/>
            <a:chExt cx="457200" cy="6883200"/>
          </a:xfrm>
        </p:grpSpPr>
        <p:sp>
          <p:nvSpPr>
            <p:cNvPr id="64" name="Google Shape;64;p8"/>
            <p:cNvSpPr/>
            <p:nvPr/>
          </p:nvSpPr>
          <p:spPr>
            <a:xfrm>
              <a:off x="132080" y="-12699"/>
              <a:ext cx="45719" cy="6883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sp>
          <p:nvSpPr>
            <p:cNvPr id="8" name="Google Shape;64;p8">
              <a:extLst>
                <a:ext uri="{FF2B5EF4-FFF2-40B4-BE49-F238E27FC236}">
                  <a16:creationId xmlns:a16="http://schemas.microsoft.com/office/drawing/2014/main" id="{E59306D0-2FD5-490A-97F0-510F0859D4AB}"/>
                </a:ext>
              </a:extLst>
            </p:cNvPr>
            <p:cNvSpPr/>
            <p:nvPr userDrawn="1"/>
          </p:nvSpPr>
          <p:spPr>
            <a:xfrm>
              <a:off x="218441" y="-12699"/>
              <a:ext cx="45719" cy="6883200"/>
            </a:xfrm>
            <a:prstGeom prst="rect">
              <a:avLst/>
            </a:prstGeom>
            <a:solidFill>
              <a:srgbClr val="0097A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sp>
          <p:nvSpPr>
            <p:cNvPr id="2" name="Flowchart: Connector 1">
              <a:extLst>
                <a:ext uri="{FF2B5EF4-FFF2-40B4-BE49-F238E27FC236}">
                  <a16:creationId xmlns:a16="http://schemas.microsoft.com/office/drawing/2014/main" id="{C4099803-A11D-4E38-914C-63E2D67E706A}"/>
                </a:ext>
              </a:extLst>
            </p:cNvPr>
            <p:cNvSpPr/>
            <p:nvPr userDrawn="1"/>
          </p:nvSpPr>
          <p:spPr>
            <a:xfrm>
              <a:off x="-35562" y="454723"/>
              <a:ext cx="457200" cy="457200"/>
            </a:xfrm>
            <a:prstGeom prst="flowChartConnector">
              <a:avLst/>
            </a:prstGeom>
            <a:solidFill>
              <a:srgbClr val="92D050"/>
            </a:solidFill>
            <a:ln>
              <a:solidFill>
                <a:srgbClr val="009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Slide Number Placeholder 7">
            <a:extLst>
              <a:ext uri="{FF2B5EF4-FFF2-40B4-BE49-F238E27FC236}">
                <a16:creationId xmlns:a16="http://schemas.microsoft.com/office/drawing/2014/main" id="{3017B053-12CD-4572-9E97-8ED01BAE0A42}"/>
              </a:ext>
            </a:extLst>
          </p:cNvPr>
          <p:cNvSpPr>
            <a:spLocks noGrp="1"/>
          </p:cNvSpPr>
          <p:nvPr>
            <p:ph type="sldNum" sz="quarter" idx="4"/>
          </p:nvPr>
        </p:nvSpPr>
        <p:spPr>
          <a:xfrm>
            <a:off x="10629335" y="6439919"/>
            <a:ext cx="1056118" cy="252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9" name="Content Placeholder 3">
            <a:extLst>
              <a:ext uri="{FF2B5EF4-FFF2-40B4-BE49-F238E27FC236}">
                <a16:creationId xmlns:a16="http://schemas.microsoft.com/office/drawing/2014/main" id="{3913AD38-692C-4315-AC87-2AE16E09B758}"/>
              </a:ext>
            </a:extLst>
          </p:cNvPr>
          <p:cNvSpPr>
            <a:spLocks noGrp="1"/>
          </p:cNvSpPr>
          <p:nvPr>
            <p:ph sz="quarter" idx="10"/>
          </p:nvPr>
        </p:nvSpPr>
        <p:spPr>
          <a:xfrm>
            <a:off x="508000" y="1627191"/>
            <a:ext cx="11252200" cy="4633910"/>
          </a:xfrm>
          <a:prstGeom prst="rect">
            <a:avLst/>
          </a:prstGeom>
        </p:spPr>
        <p:txBody>
          <a:bodyPr/>
          <a:lstStyle>
            <a:lvl1pPr>
              <a:tabLst>
                <a:tab pos="8075863" algn="r"/>
              </a:tabLst>
              <a:defRPr sz="1300">
                <a:latin typeface="Calibri" panose="020F0502020204030204" pitchFamily="34" charset="0"/>
                <a:cs typeface="Calibri" panose="020F0502020204030204" pitchFamily="34" charset="0"/>
              </a:defRPr>
            </a:lvl1pPr>
            <a:lvl2pPr>
              <a:tabLst>
                <a:tab pos="8075863" algn="r"/>
              </a:tabLst>
              <a:defRPr sz="1300">
                <a:latin typeface="Calibri" panose="020F0502020204030204" pitchFamily="34" charset="0"/>
                <a:cs typeface="Calibri" panose="020F0502020204030204" pitchFamily="34" charset="0"/>
              </a:defRPr>
            </a:lvl2pPr>
            <a:lvl3pPr>
              <a:tabLst>
                <a:tab pos="8075863" algn="r"/>
              </a:tabLst>
              <a:defRPr sz="1300">
                <a:latin typeface="Calibri" panose="020F0502020204030204" pitchFamily="34" charset="0"/>
                <a:cs typeface="Calibri" panose="020F0502020204030204" pitchFamily="34" charset="0"/>
              </a:defRPr>
            </a:lvl3pPr>
            <a:lvl4pPr>
              <a:tabLst>
                <a:tab pos="8075863" algn="r"/>
              </a:tabLst>
              <a:defRPr sz="1300">
                <a:latin typeface="Calibri" panose="020F0502020204030204" pitchFamily="34" charset="0"/>
                <a:cs typeface="Calibri" panose="020F0502020204030204" pitchFamily="34" charset="0"/>
              </a:defRPr>
            </a:lvl4pPr>
            <a:lvl5pPr>
              <a:tabLst>
                <a:tab pos="6035464" algn="r"/>
              </a:tabLst>
              <a:defRPr sz="1300" baseline="0">
                <a:latin typeface="Calibri" panose="020F0502020204030204" pitchFamily="34" charset="0"/>
                <a:cs typeface="Calibri" panose="020F0502020204030204" pitchFamily="34" charset="0"/>
              </a:defRPr>
            </a:lvl5pPr>
            <a:lvl6pPr>
              <a:tabLst>
                <a:tab pos="8075863" algn="r"/>
              </a:tabLst>
              <a:defRPr/>
            </a:lvl6pPr>
            <a:lvl7pPr>
              <a:tabLst>
                <a:tab pos="8075863" algn="r"/>
              </a:tabLst>
              <a:defRPr/>
            </a:lvl7pPr>
            <a:lvl8pPr>
              <a:tabLst>
                <a:tab pos="8075863" algn="r"/>
              </a:tabLst>
              <a:defRPr/>
            </a:lvl8pPr>
            <a:lvl9pPr>
              <a:tabLst>
                <a:tab pos="807586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52D23F63-66AB-4284-83C9-A2AE34EC0A59}"/>
              </a:ext>
            </a:extLst>
          </p:cNvPr>
          <p:cNvSpPr>
            <a:spLocks noGrp="1"/>
          </p:cNvSpPr>
          <p:nvPr>
            <p:ph type="title"/>
          </p:nvPr>
        </p:nvSpPr>
        <p:spPr>
          <a:xfrm>
            <a:off x="517525" y="524515"/>
            <a:ext cx="11252200" cy="334102"/>
          </a:xfrm>
          <a:prstGeom prst="rect">
            <a:avLst/>
          </a:prstGeom>
        </p:spPr>
        <p:txBody>
          <a:bodyPr vert="horz" lIns="0" tIns="0" rIns="0" bIns="0" rtlCol="0" anchor="t" anchorCtr="0">
            <a:noAutofit/>
          </a:bodyPr>
          <a:lstStyle>
            <a:lvl1pPr>
              <a:defRPr sz="2100" b="0">
                <a:latin typeface="Calibri" panose="020F0502020204030204" pitchFamily="34" charset="0"/>
                <a:cs typeface="Calibri" panose="020F0502020204030204" pitchFamily="34" charset="0"/>
              </a:defRPr>
            </a:lvl1pPr>
          </a:lstStyle>
          <a:p>
            <a:r>
              <a:rPr lang="en-US" noProof="0"/>
              <a:t>Click to edit Master title style</a:t>
            </a:r>
          </a:p>
        </p:txBody>
      </p:sp>
      <p:sp>
        <p:nvSpPr>
          <p:cNvPr id="13" name="Text Placeholder 8">
            <a:extLst>
              <a:ext uri="{FF2B5EF4-FFF2-40B4-BE49-F238E27FC236}">
                <a16:creationId xmlns:a16="http://schemas.microsoft.com/office/drawing/2014/main" id="{E46CF573-39E8-42F2-A294-BFB0A4B38529}"/>
              </a:ext>
            </a:extLst>
          </p:cNvPr>
          <p:cNvSpPr>
            <a:spLocks noGrp="1"/>
          </p:cNvSpPr>
          <p:nvPr>
            <p:ph type="body" sz="quarter" idx="13" hasCustomPrompt="1"/>
          </p:nvPr>
        </p:nvSpPr>
        <p:spPr>
          <a:xfrm>
            <a:off x="491613" y="917666"/>
            <a:ext cx="11287637" cy="635832"/>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44150526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_Activity layou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1" y="1676402"/>
            <a:ext cx="11252201" cy="4622799"/>
          </a:xfrm>
          <a:prstGeom prst="rect">
            <a:avLst/>
          </a:prstGeom>
        </p:spPr>
        <p:txBody>
          <a:bodyPr vert="horz" lIns="0" tIns="0" rIns="0" bIns="0" rtlCol="0">
            <a:noAutofit/>
          </a:bodyPr>
          <a:lstStyle>
            <a:lvl1pPr>
              <a:defRPr sz="1300">
                <a:latin typeface="Calibri" panose="020F0502020204030204" pitchFamily="34" charset="0"/>
                <a:cs typeface="Calibri" panose="020F0502020204030204" pitchFamily="34" charset="0"/>
              </a:defRPr>
            </a:lvl1pPr>
            <a:lvl2pPr>
              <a:defRPr sz="1300">
                <a:latin typeface="Calibri" panose="020F0502020204030204" pitchFamily="34" charset="0"/>
                <a:cs typeface="Calibri" panose="020F0502020204030204" pitchFamily="34" charset="0"/>
              </a:defRPr>
            </a:lvl2pPr>
            <a:lvl3pPr>
              <a:defRPr sz="1300">
                <a:latin typeface="Calibri" panose="020F0502020204030204" pitchFamily="34" charset="0"/>
                <a:cs typeface="Calibri" panose="020F0502020204030204" pitchFamily="34" charset="0"/>
              </a:defRPr>
            </a:lvl3pPr>
            <a:lvl4pPr>
              <a:defRPr sz="1300">
                <a:latin typeface="Calibri" panose="020F0502020204030204" pitchFamily="34" charset="0"/>
                <a:cs typeface="Calibri" panose="020F0502020204030204" pitchFamily="34" charset="0"/>
              </a:defRPr>
            </a:lvl4pPr>
            <a:lvl5pPr>
              <a:defRPr sz="1300">
                <a:latin typeface="Calibri" panose="020F0502020204030204" pitchFamily="34" charset="0"/>
                <a:cs typeface="Calibri" panose="020F0502020204030204" pitchFamily="34" charset="0"/>
              </a:defRPr>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7" name="Group 6">
            <a:extLst>
              <a:ext uri="{FF2B5EF4-FFF2-40B4-BE49-F238E27FC236}">
                <a16:creationId xmlns:a16="http://schemas.microsoft.com/office/drawing/2014/main" id="{4A5F0F34-E393-4576-B9F1-512588326533}"/>
              </a:ext>
            </a:extLst>
          </p:cNvPr>
          <p:cNvGrpSpPr/>
          <p:nvPr userDrawn="1"/>
        </p:nvGrpSpPr>
        <p:grpSpPr>
          <a:xfrm>
            <a:off x="0" y="162033"/>
            <a:ext cx="12192000" cy="918799"/>
            <a:chOff x="-48768" y="0"/>
            <a:chExt cx="12240768" cy="918799"/>
          </a:xfrm>
          <a:solidFill>
            <a:srgbClr val="0097A7"/>
          </a:solidFill>
        </p:grpSpPr>
        <p:sp>
          <p:nvSpPr>
            <p:cNvPr id="11" name="Google Shape;19;p3">
              <a:extLst>
                <a:ext uri="{FF2B5EF4-FFF2-40B4-BE49-F238E27FC236}">
                  <a16:creationId xmlns:a16="http://schemas.microsoft.com/office/drawing/2014/main" id="{E750F841-7B14-4FEC-B494-8DB4B17F1E9B}"/>
                </a:ext>
              </a:extLst>
            </p:cNvPr>
            <p:cNvSpPr/>
            <p:nvPr/>
          </p:nvSpPr>
          <p:spPr>
            <a:xfrm rot="10800000">
              <a:off x="-47162" y="557790"/>
              <a:ext cx="12239162" cy="361009"/>
            </a:xfrm>
            <a:prstGeom prst="triangle">
              <a:avLst>
                <a:gd name="adj" fmla="val 50000"/>
              </a:avLst>
            </a:prstGeom>
            <a:grp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sp>
          <p:nvSpPr>
            <p:cNvPr id="12" name="Google Shape;20;p3">
              <a:extLst>
                <a:ext uri="{FF2B5EF4-FFF2-40B4-BE49-F238E27FC236}">
                  <a16:creationId xmlns:a16="http://schemas.microsoft.com/office/drawing/2014/main" id="{A0061DF1-E83F-45F6-9FA1-9ECD5CE9D06F}"/>
                </a:ext>
              </a:extLst>
            </p:cNvPr>
            <p:cNvSpPr/>
            <p:nvPr/>
          </p:nvSpPr>
          <p:spPr>
            <a:xfrm>
              <a:off x="-48768" y="0"/>
              <a:ext cx="12240768" cy="568296"/>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grpSp>
      <p:grpSp>
        <p:nvGrpSpPr>
          <p:cNvPr id="13" name="Group 12">
            <a:extLst>
              <a:ext uri="{FF2B5EF4-FFF2-40B4-BE49-F238E27FC236}">
                <a16:creationId xmlns:a16="http://schemas.microsoft.com/office/drawing/2014/main" id="{B480E082-0D16-43DA-809E-D52150901D91}"/>
              </a:ext>
            </a:extLst>
          </p:cNvPr>
          <p:cNvGrpSpPr/>
          <p:nvPr userDrawn="1"/>
        </p:nvGrpSpPr>
        <p:grpSpPr>
          <a:xfrm>
            <a:off x="0" y="0"/>
            <a:ext cx="12192000" cy="918799"/>
            <a:chOff x="-48768" y="0"/>
            <a:chExt cx="12240768" cy="918799"/>
          </a:xfrm>
        </p:grpSpPr>
        <p:sp>
          <p:nvSpPr>
            <p:cNvPr id="14" name="Google Shape;19;p3">
              <a:extLst>
                <a:ext uri="{FF2B5EF4-FFF2-40B4-BE49-F238E27FC236}">
                  <a16:creationId xmlns:a16="http://schemas.microsoft.com/office/drawing/2014/main" id="{CABADC9E-74F7-48AF-B825-89866D7431E7}"/>
                </a:ext>
              </a:extLst>
            </p:cNvPr>
            <p:cNvSpPr/>
            <p:nvPr/>
          </p:nvSpPr>
          <p:spPr>
            <a:xfrm rot="10800000">
              <a:off x="-47162" y="557790"/>
              <a:ext cx="12239162" cy="361009"/>
            </a:xfrm>
            <a:prstGeom prst="triangle">
              <a:avLst>
                <a:gd name="adj" fmla="val 50000"/>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sp>
          <p:nvSpPr>
            <p:cNvPr id="15" name="Google Shape;20;p3">
              <a:extLst>
                <a:ext uri="{FF2B5EF4-FFF2-40B4-BE49-F238E27FC236}">
                  <a16:creationId xmlns:a16="http://schemas.microsoft.com/office/drawing/2014/main" id="{706432DC-994F-4326-AAD1-078313F6799A}"/>
                </a:ext>
              </a:extLst>
            </p:cNvPr>
            <p:cNvSpPr/>
            <p:nvPr/>
          </p:nvSpPr>
          <p:spPr>
            <a:xfrm>
              <a:off x="-48768" y="0"/>
              <a:ext cx="12240768" cy="568296"/>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dirty="0"/>
            </a:p>
          </p:txBody>
        </p:sp>
      </p:grpSp>
      <p:sp>
        <p:nvSpPr>
          <p:cNvPr id="16" name="Google Shape;31;p3">
            <a:extLst>
              <a:ext uri="{FF2B5EF4-FFF2-40B4-BE49-F238E27FC236}">
                <a16:creationId xmlns:a16="http://schemas.microsoft.com/office/drawing/2014/main" id="{4848D1E2-96E8-47E7-9EF1-0B57462C5039}"/>
              </a:ext>
            </a:extLst>
          </p:cNvPr>
          <p:cNvSpPr txBox="1">
            <a:spLocks noGrp="1"/>
          </p:cNvSpPr>
          <p:nvPr>
            <p:ph type="ctrTitle" idx="13"/>
          </p:nvPr>
        </p:nvSpPr>
        <p:spPr>
          <a:xfrm>
            <a:off x="4083616" y="250752"/>
            <a:ext cx="3976000" cy="5996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1"/>
              </a:buClr>
              <a:buSzPts val="1400"/>
              <a:buFont typeface="Nunito Sans ExtraBold"/>
              <a:buNone/>
              <a:defRPr sz="2100" b="0">
                <a:solidFill>
                  <a:schemeClr val="lt1"/>
                </a:solidFill>
                <a:latin typeface="Calibri" panose="020F0502020204030204" pitchFamily="34" charset="0"/>
                <a:ea typeface="Verdana" panose="020B0604030504040204" pitchFamily="34" charset="0"/>
                <a:cs typeface="Calibri" panose="020F0502020204030204" pitchFamily="34" charset="0"/>
                <a:sym typeface="Nunito Sans ExtraBold"/>
              </a:defRPr>
            </a:lvl1pPr>
            <a:lvl2pPr lvl="1"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2pPr>
            <a:lvl3pPr lvl="2"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3pPr>
            <a:lvl4pPr lvl="3"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4pPr>
            <a:lvl5pPr lvl="4"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5pPr>
            <a:lvl6pPr lvl="5"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6pPr>
            <a:lvl7pPr lvl="6"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7pPr>
            <a:lvl8pPr lvl="7"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8pPr>
            <a:lvl9pPr lvl="8" algn="r" rtl="0">
              <a:spcBef>
                <a:spcPts val="0"/>
              </a:spcBef>
              <a:spcAft>
                <a:spcPts val="0"/>
              </a:spcAft>
              <a:buClr>
                <a:schemeClr val="lt1"/>
              </a:buClr>
              <a:buSzPts val="1400"/>
              <a:buFont typeface="Nunito Sans ExtraBold"/>
              <a:buNone/>
              <a:defRPr sz="1867" b="0">
                <a:solidFill>
                  <a:schemeClr val="lt1"/>
                </a:solidFill>
                <a:latin typeface="Nunito Sans ExtraBold"/>
                <a:ea typeface="Nunito Sans ExtraBold"/>
                <a:cs typeface="Nunito Sans ExtraBold"/>
                <a:sym typeface="Nunito Sans ExtraBold"/>
              </a:defRPr>
            </a:lvl9pPr>
          </a:lstStyle>
          <a:p>
            <a:endParaRPr/>
          </a:p>
        </p:txBody>
      </p:sp>
    </p:spTree>
    <p:custDataLst>
      <p:tags r:id="rId1"/>
    </p:custDataLst>
    <p:extLst>
      <p:ext uri="{BB962C8B-B14F-4D97-AF65-F5344CB8AC3E}">
        <p14:creationId xmlns:p14="http://schemas.microsoft.com/office/powerpoint/2010/main" val="206218839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fld id="{02072A04-1593-41E7-90FD-0012A80FCFC6}" type="datetime1">
              <a:rPr lang="en-US"/>
              <a:t>6/24/2021</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0DE720E-C72B-42F0-AD69-52D60E3C605E}" type="slidenum">
              <a:rPr/>
              <a:t>‹#›</a:t>
            </a:fld>
            <a:endParaRPr dirty="0"/>
          </a:p>
        </p:txBody>
      </p:sp>
      <p:sp>
        <p:nvSpPr>
          <p:cNvPr id="8" name="Text Placeholder 7"/>
          <p:cNvSpPr>
            <a:spLocks noGrp="1"/>
          </p:cNvSpPr>
          <p:nvPr>
            <p:ph type="body" sz="quarter" idx="13" hasCustomPrompt="1"/>
          </p:nvPr>
        </p:nvSpPr>
        <p:spPr>
          <a:xfrm>
            <a:off x="609600" y="1133856"/>
            <a:ext cx="10972801" cy="274320"/>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3" name="Content Placeholder 2"/>
          <p:cNvSpPr>
            <a:spLocks noGrp="1"/>
          </p:cNvSpPr>
          <p:nvPr>
            <p:ph idx="1"/>
          </p:nvPr>
        </p:nvSpPr>
        <p:spPr>
          <a:xfrm>
            <a:off x="609600" y="1676401"/>
            <a:ext cx="10972801"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8291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335912"/>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6" name="Footer Placeholder 12"/>
          <p:cNvSpPr>
            <a:spLocks noGrp="1"/>
          </p:cNvSpPr>
          <p:nvPr>
            <p:ph type="ftr" sz="quarter" idx="3"/>
          </p:nvPr>
        </p:nvSpPr>
        <p:spPr>
          <a:xfrm>
            <a:off x="457202" y="6407835"/>
            <a:ext cx="7559473" cy="252000"/>
          </a:xfrm>
          <a:prstGeom prst="rect">
            <a:avLst/>
          </a:prstGeom>
        </p:spPr>
        <p:txBody>
          <a:bodyPr lIns="0" rIns="0"/>
          <a:lstStyle>
            <a:lvl1pPr>
              <a:defRPr sz="700">
                <a:solidFill>
                  <a:schemeClr val="tx1"/>
                </a:solidFill>
              </a:defRPr>
            </a:lvl1pPr>
          </a:lstStyle>
          <a:p>
            <a:r>
              <a:rPr lang="en-US" dirty="0"/>
              <a:t>Copyright © 2021 Deloitte Development LLC. All rights reserved.</a:t>
            </a:r>
            <a:endParaRPr lang="en-GB" dirty="0"/>
          </a:p>
        </p:txBody>
      </p:sp>
    </p:spTree>
    <p:custDataLst>
      <p:tags r:id="rId1"/>
    </p:custDataLst>
    <p:extLst>
      <p:ext uri="{BB962C8B-B14F-4D97-AF65-F5344CB8AC3E}">
        <p14:creationId xmlns:p14="http://schemas.microsoft.com/office/powerpoint/2010/main" val="39363765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opyright">
            <a:extLst>
              <a:ext uri="{FF2B5EF4-FFF2-40B4-BE49-F238E27FC236}">
                <a16:creationId xmlns:a16="http://schemas.microsoft.com/office/drawing/2014/main" id="{DF09F051-A0EE-4A49-AC25-A3F0C2C11889}"/>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7876379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339069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dirty="0"/>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245522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2" imgW="270" imgH="270" progId="TCLayout.ActiveDocument.1">
                  <p:embed/>
                </p:oleObj>
              </mc:Choice>
              <mc:Fallback>
                <p:oleObj name="think-cell Slide" r:id="rId42" imgW="270" imgH="270" progId="TCLayout.ActiveDocument.1">
                  <p:embed/>
                  <p:pic>
                    <p:nvPicPr>
                      <p:cNvPr id="4" name="Object 3" hidden="1"/>
                      <p:cNvPicPr/>
                      <p:nvPr/>
                    </p:nvPicPr>
                    <p:blipFill>
                      <a:blip r:embed="rId4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dirty="0">
                <a:solidFill>
                  <a:schemeClr val="tx1"/>
                </a:solidFill>
                <a:latin typeface="+mn-lt"/>
                <a:cs typeface="Calibri" panose="020F0502020204030204" pitchFamily="34" charset="0"/>
              </a:rPr>
              <a:t>Copyright © 2021 Deloitte Development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34" r:id="rId31"/>
    <p:sldLayoutId id="2147484041" r:id="rId32"/>
    <p:sldLayoutId id="2147484042" r:id="rId33"/>
    <p:sldLayoutId id="2147484231" r:id="rId34"/>
    <p:sldLayoutId id="2147484043" r:id="rId35"/>
    <p:sldLayoutId id="2147484044" r:id="rId36"/>
    <p:sldLayoutId id="2147484046" r:id="rId37"/>
    <p:sldLayoutId id="2147484229" r:id="rId3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5.xml"/><Relationship Id="rId1" Type="http://schemas.openxmlformats.org/officeDocument/2006/relationships/tags" Target="../tags/tag14.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15.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3.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16.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5.xml"/><Relationship Id="rId1" Type="http://schemas.openxmlformats.org/officeDocument/2006/relationships/tags" Target="../tags/tag1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5.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5.xml"/><Relationship Id="rId1" Type="http://schemas.openxmlformats.org/officeDocument/2006/relationships/tags" Target="../tags/tag19.xm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7.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20.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8.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21.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9.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22.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6.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0.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23.xml"/><Relationship Id="rId6" Type="http://schemas.openxmlformats.org/officeDocument/2006/relationships/image" Target="../media/image17.png"/><Relationship Id="rId5" Type="http://schemas.openxmlformats.org/officeDocument/2006/relationships/image" Target="../media/image21.png"/><Relationship Id="rId10" Type="http://schemas.openxmlformats.org/officeDocument/2006/relationships/image" Target="../media/image24.png"/><Relationship Id="rId4" Type="http://schemas.openxmlformats.org/officeDocument/2006/relationships/image" Target="../media/image13.png"/><Relationship Id="rId9" Type="http://schemas.openxmlformats.org/officeDocument/2006/relationships/image" Target="../media/image23.png"/></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1.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24.xml"/><Relationship Id="rId6" Type="http://schemas.openxmlformats.org/officeDocument/2006/relationships/image" Target="../media/image17.png"/><Relationship Id="rId5" Type="http://schemas.openxmlformats.org/officeDocument/2006/relationships/image" Target="../media/image21.png"/><Relationship Id="rId10"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23.png"/></Relationships>
</file>

<file path=ppt/slides/_rels/slide2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2.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25.xml"/><Relationship Id="rId6" Type="http://schemas.openxmlformats.org/officeDocument/2006/relationships/image" Target="../media/image17.png"/><Relationship Id="rId5" Type="http://schemas.openxmlformats.org/officeDocument/2006/relationships/image" Target="../media/image21.png"/><Relationship Id="rId10" Type="http://schemas.openxmlformats.org/officeDocument/2006/relationships/image" Target="../media/image15.png"/><Relationship Id="rId4" Type="http://schemas.openxmlformats.org/officeDocument/2006/relationships/image" Target="../media/image13.png"/><Relationship Id="rId9"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23.xml"/><Relationship Id="rId7" Type="http://schemas.openxmlformats.org/officeDocument/2006/relationships/image" Target="../media/image20.png"/><Relationship Id="rId2" Type="http://schemas.openxmlformats.org/officeDocument/2006/relationships/slideLayout" Target="../slideLayouts/slideLayout35.xml"/><Relationship Id="rId1" Type="http://schemas.openxmlformats.org/officeDocument/2006/relationships/tags" Target="../tags/tag26.xml"/><Relationship Id="rId6" Type="http://schemas.openxmlformats.org/officeDocument/2006/relationships/image" Target="../media/image19.png"/><Relationship Id="rId11" Type="http://schemas.openxmlformats.org/officeDocument/2006/relationships/image" Target="../media/image17.png"/><Relationship Id="rId5" Type="http://schemas.openxmlformats.org/officeDocument/2006/relationships/image" Target="../media/image18.png"/><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image" Target="../media/image1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5.xml"/><Relationship Id="rId1" Type="http://schemas.openxmlformats.org/officeDocument/2006/relationships/tags" Target="../tags/tag27.xm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23.png"/><Relationship Id="rId2" Type="http://schemas.openxmlformats.org/officeDocument/2006/relationships/slideLayout" Target="../slideLayouts/slideLayout35.xml"/><Relationship Id="rId1" Type="http://schemas.openxmlformats.org/officeDocument/2006/relationships/tags" Target="../tags/tag28.xml"/><Relationship Id="rId6" Type="http://schemas.openxmlformats.org/officeDocument/2006/relationships/image" Target="../media/image22.png"/><Relationship Id="rId5" Type="http://schemas.openxmlformats.org/officeDocument/2006/relationships/image" Target="../media/image16.png"/><Relationship Id="rId4" Type="http://schemas.openxmlformats.org/officeDocument/2006/relationships/image" Target="../media/image17.png"/></Relationships>
</file>

<file path=ppt/slides/_rels/slide2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6.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29.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2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7.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30.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2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8.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31.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2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9.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32.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0.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33.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3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1.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34.xml"/><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23.png"/></Relationships>
</file>

<file path=ppt/slides/_rels/slide3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2.xml"/><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35.xml"/><Relationship Id="rId6" Type="http://schemas.openxmlformats.org/officeDocument/2006/relationships/image" Target="../media/image17.png"/><Relationship Id="rId5" Type="http://schemas.openxmlformats.org/officeDocument/2006/relationships/image" Target="../media/image21.png"/><Relationship Id="rId10" Type="http://schemas.openxmlformats.org/officeDocument/2006/relationships/image" Target="../media/image25.png"/><Relationship Id="rId4" Type="http://schemas.openxmlformats.org/officeDocument/2006/relationships/image" Target="../media/image13.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33.xml"/><Relationship Id="rId7" Type="http://schemas.openxmlformats.org/officeDocument/2006/relationships/image" Target="../media/image13.png"/><Relationship Id="rId2" Type="http://schemas.openxmlformats.org/officeDocument/2006/relationships/slideLayout" Target="../slideLayouts/slideLayout35.xml"/><Relationship Id="rId1" Type="http://schemas.openxmlformats.org/officeDocument/2006/relationships/tags" Target="../tags/tag36.xml"/><Relationship Id="rId6" Type="http://schemas.openxmlformats.org/officeDocument/2006/relationships/image" Target="../media/image20.png"/><Relationship Id="rId11" Type="http://schemas.openxmlformats.org/officeDocument/2006/relationships/image" Target="../media/image17.png"/><Relationship Id="rId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image" Target="../media/image18.png"/><Relationship Id="rId9" Type="http://schemas.openxmlformats.org/officeDocument/2006/relationships/image" Target="../media/image15.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5.xml"/><Relationship Id="rId1" Type="http://schemas.openxmlformats.org/officeDocument/2006/relationships/tags" Target="../tags/tag37.xml"/><Relationship Id="rId4" Type="http://schemas.openxmlformats.org/officeDocument/2006/relationships/image" Target="../media/image12.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4.xml"/><Relationship Id="rId1" Type="http://schemas.openxmlformats.org/officeDocument/2006/relationships/tags" Target="../tags/tag38.xml"/><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5.xml"/><Relationship Id="rId1" Type="http://schemas.openxmlformats.org/officeDocument/2006/relationships/tags" Target="../tags/tag39.xml"/><Relationship Id="rId5" Type="http://schemas.openxmlformats.org/officeDocument/2006/relationships/hyperlink" Target="https://www.km.deloitteresources.com/sites/live/consulting/_layouts/DTTS.DR.KAMDocumentForms/KAMDisplay.aspx?List=513ae4d5-443f-4bc1-9f25-8f68dc5aa0c0&amp;ID=5601781" TargetMode="External"/><Relationship Id="rId4" Type="http://schemas.openxmlformats.org/officeDocument/2006/relationships/image" Target="../media/image26.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5.xml"/><Relationship Id="rId1" Type="http://schemas.openxmlformats.org/officeDocument/2006/relationships/tags" Target="../tags/tag40.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5.xml"/><Relationship Id="rId1" Type="http://schemas.openxmlformats.org/officeDocument/2006/relationships/tags" Target="../tags/tag4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5.xml"/><Relationship Id="rId1" Type="http://schemas.openxmlformats.org/officeDocument/2006/relationships/tags" Target="../tags/tag42.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35.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4.xml"/><Relationship Id="rId1" Type="http://schemas.openxmlformats.org/officeDocument/2006/relationships/tags" Target="../tags/tag43.xml"/><Relationship Id="rId4" Type="http://schemas.openxmlformats.org/officeDocument/2006/relationships/image" Target="../media/image2.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5.xml"/><Relationship Id="rId1" Type="http://schemas.openxmlformats.org/officeDocument/2006/relationships/tags" Target="../tags/tag4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consulting.deloitteresources.com/sandd/cmt/Pages/Agile-and-Hybrid-Agile.aspx" TargetMode="Externa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8.xml"/><Relationship Id="rId1" Type="http://schemas.openxmlformats.org/officeDocument/2006/relationships/tags" Target="../tags/tag45.xml"/><Relationship Id="rId6" Type="http://schemas.openxmlformats.org/officeDocument/2006/relationships/hyperlink" Target="https://consulting.deloitteresources.com/sandd/cmt/Pages/methodcoaching.aspx" TargetMode="External"/><Relationship Id="rId5" Type="http://schemas.openxmlformats.org/officeDocument/2006/relationships/hyperlink" Target="mailto:servicedeliveryexcellence@deloitte.com" TargetMode="External"/><Relationship Id="rId4" Type="http://schemas.openxmlformats.org/officeDocument/2006/relationships/image" Target="../media/image29.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5.xml"/><Relationship Id="rId1" Type="http://schemas.openxmlformats.org/officeDocument/2006/relationships/tags" Target="../tags/tag4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5.xml"/><Relationship Id="rId1" Type="http://schemas.openxmlformats.org/officeDocument/2006/relationships/tags" Target="../tags/tag48.xml"/><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1.xml"/><Relationship Id="rId1" Type="http://schemas.openxmlformats.org/officeDocument/2006/relationships/tags" Target="../tags/tag49.xml"/></Relationships>
</file>

<file path=ppt/slides/_rels/slide46.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46.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5.xml"/><Relationship Id="rId1" Type="http://schemas.openxmlformats.org/officeDocument/2006/relationships/tags" Target="../tags/tag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4.xml"/><Relationship Id="rId1" Type="http://schemas.openxmlformats.org/officeDocument/2006/relationships/tags" Target="../tags/tag9.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5.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5.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1FD9077-485D-4D30-978B-77FE98684B31}"/>
              </a:ext>
            </a:extLst>
          </p:cNvPr>
          <p:cNvPicPr>
            <a:picLocks noGrp="1" noChangeAspect="1"/>
          </p:cNvPicPr>
          <p:nvPr>
            <p:ph type="pic" sz="quarter" idx="11"/>
          </p:nvPr>
        </p:nvPicPr>
        <p:blipFill>
          <a:blip r:embed="rId4"/>
          <a:srcRect l="2190" r="2190"/>
          <a:stretch>
            <a:fillRect/>
          </a:stretch>
        </p:blipFill>
        <p:spPr/>
      </p:pic>
      <p:sp>
        <p:nvSpPr>
          <p:cNvPr id="3" name="Title 2">
            <a:extLst>
              <a:ext uri="{FF2B5EF4-FFF2-40B4-BE49-F238E27FC236}">
                <a16:creationId xmlns:a16="http://schemas.microsoft.com/office/drawing/2014/main" id="{D67D4A8A-B2BC-4ADE-8E3C-CE4EE9664910}"/>
              </a:ext>
            </a:extLst>
          </p:cNvPr>
          <p:cNvSpPr>
            <a:spLocks noGrp="1"/>
          </p:cNvSpPr>
          <p:nvPr>
            <p:ph type="ctrTitle"/>
          </p:nvPr>
        </p:nvSpPr>
        <p:spPr/>
        <p:txBody>
          <a:bodyPr/>
          <a:lstStyle/>
          <a:p>
            <a:r>
              <a:rPr lang="en-US" dirty="0"/>
              <a:t>Introduction to Agile: </a:t>
            </a:r>
            <a:br>
              <a:rPr lang="en-US" dirty="0"/>
            </a:br>
            <a:r>
              <a:rPr lang="en-US" dirty="0"/>
              <a:t>Scrum Basics</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BEF54530-206A-4AA0-B71F-63EF4242DB10}"/>
              </a:ext>
            </a:extLst>
          </p:cNvPr>
          <p:cNvSpPr>
            <a:spLocks noGrp="1"/>
          </p:cNvSpPr>
          <p:nvPr>
            <p:ph type="title"/>
          </p:nvPr>
        </p:nvSpPr>
        <p:spPr/>
        <p:txBody>
          <a:bodyPr/>
          <a:lstStyle/>
          <a:p>
            <a:r>
              <a:rPr lang="en-US" dirty="0"/>
              <a:t>Agile Guiding Principles</a:t>
            </a:r>
          </a:p>
        </p:txBody>
      </p:sp>
      <p:sp>
        <p:nvSpPr>
          <p:cNvPr id="8" name="Text Placeholder 7">
            <a:extLst>
              <a:ext uri="{FF2B5EF4-FFF2-40B4-BE49-F238E27FC236}">
                <a16:creationId xmlns:a16="http://schemas.microsoft.com/office/drawing/2014/main" id="{5CE069F2-99F7-4FB8-A20E-D872A5C04A41}"/>
              </a:ext>
            </a:extLst>
          </p:cNvPr>
          <p:cNvSpPr>
            <a:spLocks noGrp="1"/>
          </p:cNvSpPr>
          <p:nvPr>
            <p:ph type="body" sz="quarter" idx="13"/>
          </p:nvPr>
        </p:nvSpPr>
        <p:spPr/>
        <p:txBody>
          <a:bodyPr/>
          <a:lstStyle/>
          <a:p>
            <a:r>
              <a:rPr lang="en-US" dirty="0"/>
              <a:t> </a:t>
            </a:r>
          </a:p>
        </p:txBody>
      </p:sp>
      <p:sp>
        <p:nvSpPr>
          <p:cNvPr id="6" name="Rectangle 5">
            <a:extLst>
              <a:ext uri="{FF2B5EF4-FFF2-40B4-BE49-F238E27FC236}">
                <a16:creationId xmlns:a16="http://schemas.microsoft.com/office/drawing/2014/main" id="{96E745E6-1FE1-4A34-8FBB-BB0B155587E9}"/>
              </a:ext>
            </a:extLst>
          </p:cNvPr>
          <p:cNvSpPr/>
          <p:nvPr/>
        </p:nvSpPr>
        <p:spPr bwMode="gray">
          <a:xfrm>
            <a:off x="467759" y="6270882"/>
            <a:ext cx="11287636" cy="360919"/>
          </a:xfrm>
          <a:prstGeom prst="rect">
            <a:avLst/>
          </a:prstGeom>
          <a:solidFill>
            <a:schemeClr val="bg2"/>
          </a:solidFill>
          <a:ln w="19050" algn="ctr">
            <a:noFill/>
            <a:miter lim="800000"/>
            <a:headEnd/>
            <a:tailEnd/>
          </a:ln>
        </p:spPr>
        <p:txBody>
          <a:bodyPr wrap="square" lIns="66836" tIns="66836" rIns="66836" bIns="66836" rtlCol="0" anchor="ctr"/>
          <a:lstStyle/>
          <a:p>
            <a:pPr algn="ctr">
              <a:lnSpc>
                <a:spcPct val="106000"/>
              </a:lnSpc>
            </a:pPr>
            <a:r>
              <a:rPr lang="en-US" dirty="0">
                <a:sym typeface="Frutiger Next Pro Light" charset="0"/>
              </a:rPr>
              <a:t>The most successful Agile projects follow all of these principles</a:t>
            </a:r>
          </a:p>
        </p:txBody>
      </p:sp>
      <p:graphicFrame>
        <p:nvGraphicFramePr>
          <p:cNvPr id="7" name="Table 6">
            <a:extLst>
              <a:ext uri="{FF2B5EF4-FFF2-40B4-BE49-F238E27FC236}">
                <a16:creationId xmlns:a16="http://schemas.microsoft.com/office/drawing/2014/main" id="{44E506C5-FD55-4131-90F1-770719311A76}"/>
              </a:ext>
            </a:extLst>
          </p:cNvPr>
          <p:cNvGraphicFramePr>
            <a:graphicFrameLocks noGrp="1"/>
          </p:cNvGraphicFramePr>
          <p:nvPr>
            <p:extLst>
              <p:ext uri="{D42A27DB-BD31-4B8C-83A1-F6EECF244321}">
                <p14:modId xmlns:p14="http://schemas.microsoft.com/office/powerpoint/2010/main" val="1087291930"/>
              </p:ext>
            </p:extLst>
          </p:nvPr>
        </p:nvGraphicFramePr>
        <p:xfrm>
          <a:off x="571351" y="1329012"/>
          <a:ext cx="11046122" cy="4614064"/>
        </p:xfrm>
        <a:graphic>
          <a:graphicData uri="http://schemas.openxmlformats.org/drawingml/2006/table">
            <a:tbl>
              <a:tblPr firstRow="1" bandRow="1">
                <a:tableStyleId>{5C22544A-7EE6-4342-B048-85BDC9FD1C3A}</a:tableStyleId>
              </a:tblPr>
              <a:tblGrid>
                <a:gridCol w="624112">
                  <a:extLst>
                    <a:ext uri="{9D8B030D-6E8A-4147-A177-3AD203B41FA5}">
                      <a16:colId xmlns:a16="http://schemas.microsoft.com/office/drawing/2014/main" val="20000"/>
                    </a:ext>
                  </a:extLst>
                </a:gridCol>
                <a:gridCol w="4898948">
                  <a:extLst>
                    <a:ext uri="{9D8B030D-6E8A-4147-A177-3AD203B41FA5}">
                      <a16:colId xmlns:a16="http://schemas.microsoft.com/office/drawing/2014/main" val="20001"/>
                    </a:ext>
                  </a:extLst>
                </a:gridCol>
                <a:gridCol w="711355">
                  <a:extLst>
                    <a:ext uri="{9D8B030D-6E8A-4147-A177-3AD203B41FA5}">
                      <a16:colId xmlns:a16="http://schemas.microsoft.com/office/drawing/2014/main" val="20002"/>
                    </a:ext>
                  </a:extLst>
                </a:gridCol>
                <a:gridCol w="4811707">
                  <a:extLst>
                    <a:ext uri="{9D8B030D-6E8A-4147-A177-3AD203B41FA5}">
                      <a16:colId xmlns:a16="http://schemas.microsoft.com/office/drawing/2014/main" val="20003"/>
                    </a:ext>
                  </a:extLst>
                </a:gridCol>
              </a:tblGrid>
              <a:tr h="706532">
                <a:tc>
                  <a:txBody>
                    <a:bodyPr/>
                    <a:lstStyle/>
                    <a:p>
                      <a:pPr algn="ctr"/>
                      <a:r>
                        <a:rPr lang="en-US" sz="1600" b="0" dirty="0">
                          <a:solidFill>
                            <a:schemeClr val="accent1"/>
                          </a:solidFill>
                          <a:latin typeface="+mn-lt"/>
                          <a:ea typeface="Verdana" panose="020B0604030504040204" pitchFamily="34" charset="0"/>
                        </a:rPr>
                        <a:t>1</a:t>
                      </a:r>
                    </a:p>
                  </a:txBody>
                  <a:tcPr marL="68728" marR="68728" marT="34365" marB="34365" anchor="ctr">
                    <a:lnL w="12700" cmpd="sng">
                      <a:noFill/>
                    </a:lnL>
                    <a:lnR w="12700" cmpd="sng">
                      <a:noFill/>
                    </a:lnR>
                    <a:lnT w="127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0" dirty="0">
                          <a:solidFill>
                            <a:schemeClr val="tx1"/>
                          </a:solidFill>
                          <a:latin typeface="+mn-lt"/>
                          <a:ea typeface="Verdana" panose="020B0604030504040204" pitchFamily="34" charset="0"/>
                        </a:rPr>
                        <a:t>Our highest priority is to satisfy the customer</a:t>
                      </a:r>
                      <a:r>
                        <a:rPr lang="en-US" sz="1600" b="0" baseline="0" dirty="0">
                          <a:solidFill>
                            <a:schemeClr val="tx1"/>
                          </a:solidFill>
                          <a:latin typeface="+mn-lt"/>
                          <a:ea typeface="Verdana" panose="020B0604030504040204" pitchFamily="34" charset="0"/>
                        </a:rPr>
                        <a:t> </a:t>
                      </a:r>
                      <a:r>
                        <a:rPr lang="en-US" sz="1600" b="0" dirty="0">
                          <a:solidFill>
                            <a:schemeClr val="tx1"/>
                          </a:solidFill>
                          <a:latin typeface="+mn-lt"/>
                          <a:ea typeface="Verdana" panose="020B0604030504040204" pitchFamily="34" charset="0"/>
                        </a:rPr>
                        <a:t>through </a:t>
                      </a:r>
                      <a:r>
                        <a:rPr lang="en-US" sz="1600" b="1" dirty="0">
                          <a:solidFill>
                            <a:schemeClr val="tx1"/>
                          </a:solidFill>
                          <a:latin typeface="+mn-lt"/>
                          <a:ea typeface="Verdana" panose="020B0604030504040204" pitchFamily="34" charset="0"/>
                        </a:rPr>
                        <a:t>early and continuous delivery of valuable software</a:t>
                      </a:r>
                      <a:r>
                        <a:rPr lang="en-US" sz="1600" b="0" dirty="0">
                          <a:solidFill>
                            <a:schemeClr val="tx1"/>
                          </a:solidFill>
                          <a:latin typeface="+mn-lt"/>
                          <a:ea typeface="Verdana" panose="020B0604030504040204" pitchFamily="34" charset="0"/>
                        </a:rPr>
                        <a:t>.</a:t>
                      </a:r>
                    </a:p>
                  </a:txBody>
                  <a:tcPr marL="68728" marR="68728" marT="34365" marB="34365" anchor="ctr">
                    <a:lnL w="12700" cmpd="sng">
                      <a:noFill/>
                    </a:lnL>
                    <a:lnR w="12700" cap="flat" cmpd="sng" algn="ctr">
                      <a:solidFill>
                        <a:schemeClr val="bg1">
                          <a:lumMod val="75000"/>
                        </a:schemeClr>
                      </a:solidFill>
                      <a:prstDash val="sysDash"/>
                      <a:round/>
                      <a:headEnd type="none" w="med" len="med"/>
                      <a:tailEnd type="none" w="med" len="med"/>
                    </a:lnR>
                    <a:lnT w="127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latin typeface="+mn-lt"/>
                          <a:ea typeface="Verdana" panose="020B0604030504040204" pitchFamily="34" charset="0"/>
                        </a:rPr>
                        <a:t>7</a:t>
                      </a:r>
                    </a:p>
                  </a:txBody>
                  <a:tcPr marL="68728" marR="68728" marT="34365" marB="34365" anchor="ctr">
                    <a:lnL w="12700" cap="flat" cmpd="sng" algn="ctr">
                      <a:solidFill>
                        <a:schemeClr val="bg1">
                          <a:lumMod val="75000"/>
                        </a:schemeClr>
                      </a:solidFill>
                      <a:prstDash val="sysDash"/>
                      <a:round/>
                      <a:headEnd type="none" w="med" len="med"/>
                      <a:tailEnd type="none" w="med" len="med"/>
                    </a:lnL>
                    <a:lnR w="12700" cmpd="sng">
                      <a:noFill/>
                    </a:lnR>
                    <a:lnT w="127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chemeClr val="tx1"/>
                          </a:solidFill>
                          <a:latin typeface="+mn-lt"/>
                          <a:ea typeface="Verdana" panose="020B0604030504040204" pitchFamily="34" charset="0"/>
                        </a:rPr>
                        <a:t>Working software is the primary measure of progress.</a:t>
                      </a:r>
                    </a:p>
                  </a:txBody>
                  <a:tcPr marL="68728" marR="68728" marT="34365" marB="34365" anchor="ctr">
                    <a:lnL w="12700" cmpd="sng">
                      <a:noFill/>
                    </a:lnL>
                    <a:lnR w="12700" cmpd="sng">
                      <a:noFill/>
                    </a:lnR>
                    <a:lnT w="127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00060">
                <a:tc>
                  <a:txBody>
                    <a:bodyPr/>
                    <a:lstStyle/>
                    <a:p>
                      <a:pPr algn="ctr"/>
                      <a:r>
                        <a:rPr lang="en-US" sz="1600" dirty="0">
                          <a:solidFill>
                            <a:schemeClr val="accent1"/>
                          </a:solidFill>
                          <a:latin typeface="+mn-lt"/>
                          <a:ea typeface="Verdana" panose="020B0604030504040204" pitchFamily="34" charset="0"/>
                        </a:rPr>
                        <a:t>2</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tx1"/>
                          </a:solidFill>
                          <a:latin typeface="+mn-lt"/>
                          <a:ea typeface="Verdana" panose="020B0604030504040204" pitchFamily="34" charset="0"/>
                        </a:rPr>
                        <a:t>Welcome changing requirements</a:t>
                      </a:r>
                      <a:r>
                        <a:rPr lang="en-US" sz="1600" dirty="0">
                          <a:solidFill>
                            <a:schemeClr val="tx1"/>
                          </a:solidFill>
                          <a:latin typeface="+mn-lt"/>
                          <a:ea typeface="Verdana" panose="020B0604030504040204" pitchFamily="34" charset="0"/>
                        </a:rPr>
                        <a:t>, even late in </a:t>
                      </a:r>
                    </a:p>
                    <a:p>
                      <a:pPr algn="l"/>
                      <a:r>
                        <a:rPr lang="en-US" sz="1600" dirty="0">
                          <a:solidFill>
                            <a:schemeClr val="tx1"/>
                          </a:solidFill>
                          <a:latin typeface="+mn-lt"/>
                          <a:ea typeface="Verdana" panose="020B0604030504040204" pitchFamily="34" charset="0"/>
                        </a:rPr>
                        <a:t>development. Agile processes harness change</a:t>
                      </a:r>
                      <a:r>
                        <a:rPr lang="en-US" sz="1600" baseline="0" dirty="0">
                          <a:solidFill>
                            <a:schemeClr val="tx1"/>
                          </a:solidFill>
                          <a:latin typeface="+mn-lt"/>
                          <a:ea typeface="Verdana" panose="020B0604030504040204" pitchFamily="34" charset="0"/>
                        </a:rPr>
                        <a:t> </a:t>
                      </a:r>
                      <a:r>
                        <a:rPr lang="en-US" sz="1600" dirty="0">
                          <a:solidFill>
                            <a:schemeClr val="tx1"/>
                          </a:solidFill>
                          <a:latin typeface="+mn-lt"/>
                          <a:ea typeface="Verdana" panose="020B0604030504040204" pitchFamily="34" charset="0"/>
                        </a:rPr>
                        <a:t>for the customer's competitive advantage.</a:t>
                      </a:r>
                    </a:p>
                  </a:txBody>
                  <a:tcPr marL="68728" marR="68728" marT="34365" marB="34365"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accent1"/>
                          </a:solidFill>
                          <a:latin typeface="+mn-lt"/>
                          <a:ea typeface="Verdana" panose="020B0604030504040204" pitchFamily="34" charset="0"/>
                        </a:rPr>
                        <a:t>8</a:t>
                      </a:r>
                    </a:p>
                  </a:txBody>
                  <a:tcPr marL="68728" marR="68728" marT="34365" marB="34365"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tx1"/>
                          </a:solidFill>
                          <a:latin typeface="+mn-lt"/>
                          <a:ea typeface="Verdana" panose="020B0604030504040204" pitchFamily="34" charset="0"/>
                        </a:rPr>
                        <a:t>Agile processes promote </a:t>
                      </a:r>
                      <a:r>
                        <a:rPr lang="en-US" sz="1600" b="1" dirty="0">
                          <a:solidFill>
                            <a:schemeClr val="tx1"/>
                          </a:solidFill>
                          <a:latin typeface="+mn-lt"/>
                          <a:ea typeface="Verdana" panose="020B0604030504040204" pitchFamily="34" charset="0"/>
                        </a:rPr>
                        <a:t>sustainable development</a:t>
                      </a:r>
                      <a:r>
                        <a:rPr lang="en-US" sz="1600" dirty="0">
                          <a:solidFill>
                            <a:schemeClr val="tx1"/>
                          </a:solidFill>
                          <a:latin typeface="+mn-lt"/>
                          <a:ea typeface="Verdana" panose="020B0604030504040204" pitchFamily="34" charset="0"/>
                        </a:rPr>
                        <a:t>. The sponsors, developers, and users should be able to maintain a constant pace indefinitely.</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00060">
                <a:tc>
                  <a:txBody>
                    <a:bodyPr/>
                    <a:lstStyle/>
                    <a:p>
                      <a:pPr algn="ctr"/>
                      <a:r>
                        <a:rPr lang="en-US" sz="1600" dirty="0">
                          <a:solidFill>
                            <a:schemeClr val="accent1"/>
                          </a:solidFill>
                          <a:latin typeface="+mn-lt"/>
                          <a:ea typeface="Verdana" panose="020B0604030504040204" pitchFamily="34" charset="0"/>
                        </a:rPr>
                        <a:t>3</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tx1"/>
                          </a:solidFill>
                          <a:latin typeface="+mn-lt"/>
                          <a:ea typeface="Verdana" panose="020B0604030504040204" pitchFamily="34" charset="0"/>
                        </a:rPr>
                        <a:t>Deliver working software frequently</a:t>
                      </a:r>
                      <a:r>
                        <a:rPr lang="en-US" sz="1600" dirty="0">
                          <a:solidFill>
                            <a:schemeClr val="tx1"/>
                          </a:solidFill>
                          <a:latin typeface="+mn-lt"/>
                          <a:ea typeface="Verdana" panose="020B0604030504040204" pitchFamily="34" charset="0"/>
                        </a:rPr>
                        <a:t>, from a</a:t>
                      </a:r>
                      <a:r>
                        <a:rPr lang="en-US" sz="1600" baseline="0" dirty="0">
                          <a:solidFill>
                            <a:schemeClr val="tx1"/>
                          </a:solidFill>
                          <a:latin typeface="+mn-lt"/>
                          <a:ea typeface="Verdana" panose="020B0604030504040204" pitchFamily="34" charset="0"/>
                        </a:rPr>
                        <a:t> </a:t>
                      </a:r>
                      <a:r>
                        <a:rPr lang="en-US" sz="1600" dirty="0">
                          <a:solidFill>
                            <a:schemeClr val="tx1"/>
                          </a:solidFill>
                          <a:latin typeface="+mn-lt"/>
                          <a:ea typeface="Verdana" panose="020B0604030504040204" pitchFamily="34" charset="0"/>
                        </a:rPr>
                        <a:t>couple of weeks to a couple of months, with a</a:t>
                      </a:r>
                      <a:r>
                        <a:rPr lang="en-US" sz="1600" baseline="0" dirty="0">
                          <a:solidFill>
                            <a:schemeClr val="tx1"/>
                          </a:solidFill>
                          <a:latin typeface="+mn-lt"/>
                          <a:ea typeface="Verdana" panose="020B0604030504040204" pitchFamily="34" charset="0"/>
                        </a:rPr>
                        <a:t> </a:t>
                      </a:r>
                      <a:r>
                        <a:rPr lang="en-US" sz="1600" dirty="0">
                          <a:solidFill>
                            <a:schemeClr val="tx1"/>
                          </a:solidFill>
                          <a:latin typeface="+mn-lt"/>
                          <a:ea typeface="Verdana" panose="020B0604030504040204" pitchFamily="34" charset="0"/>
                        </a:rPr>
                        <a:t>preference to the shorter timescale.</a:t>
                      </a:r>
                    </a:p>
                  </a:txBody>
                  <a:tcPr marL="68728" marR="68728" marT="34365" marB="34365"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accent1"/>
                          </a:solidFill>
                          <a:latin typeface="+mn-lt"/>
                          <a:ea typeface="Verdana" panose="020B0604030504040204" pitchFamily="34" charset="0"/>
                        </a:rPr>
                        <a:t>9</a:t>
                      </a:r>
                    </a:p>
                  </a:txBody>
                  <a:tcPr marL="68728" marR="68728" marT="34365" marB="34365"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600" b="1" dirty="0">
                          <a:solidFill>
                            <a:schemeClr val="tx1"/>
                          </a:solidFill>
                          <a:latin typeface="+mn-lt"/>
                          <a:ea typeface="Verdana" panose="020B0604030504040204" pitchFamily="34" charset="0"/>
                        </a:rPr>
                        <a:t>Continuous attention to technical excellence and good design</a:t>
                      </a:r>
                      <a:r>
                        <a:rPr lang="en-US" sz="1600" dirty="0">
                          <a:solidFill>
                            <a:schemeClr val="tx1"/>
                          </a:solidFill>
                          <a:latin typeface="+mn-lt"/>
                          <a:ea typeface="Verdana" panose="020B0604030504040204" pitchFamily="34" charset="0"/>
                        </a:rPr>
                        <a:t> enhances agility.</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06532">
                <a:tc>
                  <a:txBody>
                    <a:bodyPr/>
                    <a:lstStyle/>
                    <a:p>
                      <a:pPr algn="ctr"/>
                      <a:r>
                        <a:rPr lang="en-US" sz="1600" dirty="0">
                          <a:solidFill>
                            <a:schemeClr val="accent1"/>
                          </a:solidFill>
                          <a:latin typeface="+mn-lt"/>
                          <a:ea typeface="Verdana" panose="020B0604030504040204" pitchFamily="34" charset="0"/>
                        </a:rPr>
                        <a:t>4</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tx1"/>
                          </a:solidFill>
                          <a:latin typeface="+mn-lt"/>
                          <a:ea typeface="Verdana" panose="020B0604030504040204" pitchFamily="34" charset="0"/>
                        </a:rPr>
                        <a:t>Business people and developers </a:t>
                      </a:r>
                      <a:r>
                        <a:rPr lang="en-US" sz="1600" b="0" dirty="0">
                          <a:solidFill>
                            <a:schemeClr val="tx1"/>
                          </a:solidFill>
                          <a:latin typeface="+mn-lt"/>
                          <a:ea typeface="Verdana" panose="020B0604030504040204" pitchFamily="34" charset="0"/>
                        </a:rPr>
                        <a:t>must</a:t>
                      </a:r>
                      <a:r>
                        <a:rPr lang="en-US" sz="1600" b="1" dirty="0">
                          <a:solidFill>
                            <a:schemeClr val="tx1"/>
                          </a:solidFill>
                          <a:latin typeface="+mn-lt"/>
                          <a:ea typeface="Verdana" panose="020B0604030504040204" pitchFamily="34" charset="0"/>
                        </a:rPr>
                        <a:t> work together daily throughout the project</a:t>
                      </a:r>
                      <a:r>
                        <a:rPr lang="en-US" sz="1600" dirty="0">
                          <a:solidFill>
                            <a:schemeClr val="tx1"/>
                          </a:solidFill>
                          <a:latin typeface="+mn-lt"/>
                          <a:ea typeface="Verdana" panose="020B0604030504040204" pitchFamily="34" charset="0"/>
                        </a:rPr>
                        <a:t>.</a:t>
                      </a:r>
                    </a:p>
                  </a:txBody>
                  <a:tcPr marL="68728" marR="68728" marT="34365" marB="34365"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accent1"/>
                          </a:solidFill>
                          <a:latin typeface="+mn-lt"/>
                          <a:ea typeface="Verdana" panose="020B0604030504040204" pitchFamily="34" charset="0"/>
                        </a:rPr>
                        <a:t>10</a:t>
                      </a:r>
                    </a:p>
                  </a:txBody>
                  <a:tcPr marL="68728" marR="68728" marT="34365" marB="34365"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600" b="1" dirty="0">
                          <a:solidFill>
                            <a:schemeClr val="tx1"/>
                          </a:solidFill>
                          <a:latin typeface="+mn-lt"/>
                          <a:ea typeface="Verdana" panose="020B0604030504040204" pitchFamily="34" charset="0"/>
                        </a:rPr>
                        <a:t>Simplicity </a:t>
                      </a:r>
                      <a:r>
                        <a:rPr lang="en-US" sz="1600" dirty="0">
                          <a:solidFill>
                            <a:schemeClr val="tx1"/>
                          </a:solidFill>
                          <a:latin typeface="+mn-lt"/>
                          <a:ea typeface="Verdana" panose="020B0604030504040204" pitchFamily="34" charset="0"/>
                        </a:rPr>
                        <a:t>- the art of maximizing the amount of work not done--is essential.</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00060">
                <a:tc>
                  <a:txBody>
                    <a:bodyPr/>
                    <a:lstStyle/>
                    <a:p>
                      <a:pPr algn="ctr"/>
                      <a:r>
                        <a:rPr lang="en-US" sz="1600" dirty="0">
                          <a:solidFill>
                            <a:schemeClr val="accent1"/>
                          </a:solidFill>
                          <a:latin typeface="+mn-lt"/>
                          <a:ea typeface="Verdana" panose="020B0604030504040204" pitchFamily="34" charset="0"/>
                        </a:rPr>
                        <a:t>5</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tx1"/>
                          </a:solidFill>
                          <a:latin typeface="+mn-lt"/>
                          <a:ea typeface="Verdana" panose="020B0604030504040204" pitchFamily="34" charset="0"/>
                        </a:rPr>
                        <a:t>Build projects around motivated individuals</a:t>
                      </a:r>
                      <a:r>
                        <a:rPr lang="en-US" sz="1600" dirty="0">
                          <a:solidFill>
                            <a:schemeClr val="tx1"/>
                          </a:solidFill>
                          <a:latin typeface="+mn-lt"/>
                          <a:ea typeface="Verdana" panose="020B0604030504040204" pitchFamily="34" charset="0"/>
                        </a:rPr>
                        <a:t>.</a:t>
                      </a:r>
                      <a:r>
                        <a:rPr lang="en-US" sz="1600" baseline="0" dirty="0">
                          <a:solidFill>
                            <a:schemeClr val="tx1"/>
                          </a:solidFill>
                          <a:latin typeface="+mn-lt"/>
                          <a:ea typeface="Verdana" panose="020B0604030504040204" pitchFamily="34" charset="0"/>
                        </a:rPr>
                        <a:t> </a:t>
                      </a:r>
                      <a:r>
                        <a:rPr lang="en-US" sz="1600" dirty="0">
                          <a:solidFill>
                            <a:schemeClr val="tx1"/>
                          </a:solidFill>
                          <a:latin typeface="+mn-lt"/>
                          <a:ea typeface="Verdana" panose="020B0604030504040204" pitchFamily="34" charset="0"/>
                        </a:rPr>
                        <a:t>Give them the environment and support they need, and trust them to get the job done.</a:t>
                      </a:r>
                    </a:p>
                  </a:txBody>
                  <a:tcPr marL="68728" marR="68728" marT="34365" marB="34365"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accent1"/>
                          </a:solidFill>
                          <a:latin typeface="+mn-lt"/>
                          <a:ea typeface="Verdana" panose="020B0604030504040204" pitchFamily="34" charset="0"/>
                        </a:rPr>
                        <a:t>11</a:t>
                      </a:r>
                    </a:p>
                  </a:txBody>
                  <a:tcPr marL="68728" marR="68728" marT="34365" marB="34365"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tx1"/>
                          </a:solidFill>
                          <a:latin typeface="+mn-lt"/>
                          <a:ea typeface="Verdana" panose="020B0604030504040204" pitchFamily="34" charset="0"/>
                        </a:rPr>
                        <a:t>The best architectures, requirements, and designs emerge from </a:t>
                      </a:r>
                      <a:r>
                        <a:rPr lang="en-US" sz="1600" b="1" dirty="0">
                          <a:solidFill>
                            <a:schemeClr val="tx1"/>
                          </a:solidFill>
                          <a:latin typeface="+mn-lt"/>
                          <a:ea typeface="Verdana" panose="020B0604030504040204" pitchFamily="34" charset="0"/>
                        </a:rPr>
                        <a:t>self-organizing teams</a:t>
                      </a:r>
                      <a:r>
                        <a:rPr lang="en-US" sz="1600" dirty="0">
                          <a:solidFill>
                            <a:schemeClr val="tx1"/>
                          </a:solidFill>
                          <a:latin typeface="+mn-lt"/>
                          <a:ea typeface="Verdana" panose="020B0604030504040204" pitchFamily="34" charset="0"/>
                        </a:rPr>
                        <a:t>.</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00060">
                <a:tc>
                  <a:txBody>
                    <a:bodyPr/>
                    <a:lstStyle/>
                    <a:p>
                      <a:pPr algn="ctr"/>
                      <a:r>
                        <a:rPr lang="en-US" sz="1600" dirty="0">
                          <a:solidFill>
                            <a:schemeClr val="accent1"/>
                          </a:solidFill>
                          <a:latin typeface="+mn-lt"/>
                          <a:ea typeface="Verdana" panose="020B0604030504040204" pitchFamily="34" charset="0"/>
                        </a:rPr>
                        <a:t>6</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600" dirty="0">
                          <a:solidFill>
                            <a:schemeClr val="tx1"/>
                          </a:solidFill>
                          <a:latin typeface="+mn-lt"/>
                          <a:ea typeface="Verdana" panose="020B0604030504040204" pitchFamily="34" charset="0"/>
                        </a:rPr>
                        <a:t>The most efficient and effective method of conveying information to and within a development team is </a:t>
                      </a:r>
                      <a:r>
                        <a:rPr lang="en-US" sz="1600" b="1" dirty="0">
                          <a:solidFill>
                            <a:schemeClr val="tx1"/>
                          </a:solidFill>
                          <a:latin typeface="+mn-lt"/>
                          <a:ea typeface="Verdana" panose="020B0604030504040204" pitchFamily="34" charset="0"/>
                        </a:rPr>
                        <a:t>face-to-face conversation</a:t>
                      </a:r>
                      <a:r>
                        <a:rPr lang="en-US" sz="1600" dirty="0">
                          <a:solidFill>
                            <a:schemeClr val="tx1"/>
                          </a:solidFill>
                          <a:latin typeface="+mn-lt"/>
                          <a:ea typeface="Verdana" panose="020B0604030504040204" pitchFamily="34" charset="0"/>
                        </a:rPr>
                        <a:t>.</a:t>
                      </a:r>
                    </a:p>
                  </a:txBody>
                  <a:tcPr marL="68728" marR="68728" marT="34365" marB="34365"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600" dirty="0">
                          <a:solidFill>
                            <a:schemeClr val="accent1"/>
                          </a:solidFill>
                          <a:latin typeface="+mn-lt"/>
                          <a:ea typeface="Verdana" panose="020B0604030504040204" pitchFamily="34" charset="0"/>
                        </a:rPr>
                        <a:t>12</a:t>
                      </a:r>
                    </a:p>
                  </a:txBody>
                  <a:tcPr marL="68728" marR="68728" marT="34365" marB="34365"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600" dirty="0">
                          <a:solidFill>
                            <a:schemeClr val="tx1"/>
                          </a:solidFill>
                          <a:latin typeface="+mn-lt"/>
                          <a:ea typeface="Verdana" panose="020B0604030504040204" pitchFamily="34" charset="0"/>
                        </a:rPr>
                        <a:t>At regular intervals, the </a:t>
                      </a:r>
                      <a:r>
                        <a:rPr lang="en-US" sz="1600" b="1" dirty="0">
                          <a:solidFill>
                            <a:schemeClr val="tx1"/>
                          </a:solidFill>
                          <a:latin typeface="+mn-lt"/>
                          <a:ea typeface="Verdana" panose="020B0604030504040204" pitchFamily="34" charset="0"/>
                        </a:rPr>
                        <a:t>team reflects on how to become more effective,</a:t>
                      </a:r>
                      <a:r>
                        <a:rPr lang="en-US" sz="1600" dirty="0">
                          <a:solidFill>
                            <a:schemeClr val="tx1"/>
                          </a:solidFill>
                          <a:latin typeface="+mn-lt"/>
                          <a:ea typeface="Verdana" panose="020B0604030504040204" pitchFamily="34" charset="0"/>
                        </a:rPr>
                        <a:t> then tunes and adjusts its behavior accordingly.</a:t>
                      </a:r>
                    </a:p>
                  </a:txBody>
                  <a:tcPr marL="68728" marR="68728" marT="34365" marB="34365"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005779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989F33C5-9FDC-40D5-A738-F3BADAE44741}"/>
              </a:ext>
            </a:extLst>
          </p:cNvPr>
          <p:cNvPicPr>
            <a:picLocks noChangeAspect="1"/>
          </p:cNvPicPr>
          <p:nvPr/>
        </p:nvPicPr>
        <p:blipFill>
          <a:blip r:embed="rId4">
            <a:biLevel thresh="50000"/>
          </a:blip>
          <a:stretch>
            <a:fillRect/>
          </a:stretch>
        </p:blipFill>
        <p:spPr>
          <a:xfrm>
            <a:off x="3712563" y="1040789"/>
            <a:ext cx="4789551" cy="4789551"/>
          </a:xfrm>
          <a:prstGeom prst="rect">
            <a:avLst/>
          </a:prstGeom>
        </p:spPr>
      </p:pic>
    </p:spTree>
    <p:custDataLst>
      <p:tags r:id="rId1"/>
    </p:custDataLst>
    <p:extLst>
      <p:ext uri="{BB962C8B-B14F-4D97-AF65-F5344CB8AC3E}">
        <p14:creationId xmlns:p14="http://schemas.microsoft.com/office/powerpoint/2010/main" val="8941141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E2A3B-FB60-49D3-BC32-5B93A9F9C258}"/>
              </a:ext>
            </a:extLst>
          </p:cNvPr>
          <p:cNvSpPr>
            <a:spLocks noGrp="1"/>
          </p:cNvSpPr>
          <p:nvPr>
            <p:ph type="ctrTitle"/>
          </p:nvPr>
        </p:nvSpPr>
        <p:spPr/>
        <p:txBody>
          <a:bodyPr/>
          <a:lstStyle/>
          <a:p>
            <a:r>
              <a:rPr lang="en-US" sz="2400" b="1" dirty="0">
                <a:solidFill>
                  <a:schemeClr val="tx1"/>
                </a:solidFill>
              </a:rPr>
              <a:t>Agile overview</a:t>
            </a:r>
            <a:endParaRPr lang="en-US" sz="2000" dirty="0"/>
          </a:p>
        </p:txBody>
      </p:sp>
      <p:sp>
        <p:nvSpPr>
          <p:cNvPr id="3" name="Subtitle 2">
            <a:extLst>
              <a:ext uri="{FF2B5EF4-FFF2-40B4-BE49-F238E27FC236}">
                <a16:creationId xmlns:a16="http://schemas.microsoft.com/office/drawing/2014/main" id="{F18CB8F1-2387-41B9-96B9-DBE9AFDA5C29}"/>
              </a:ext>
            </a:extLst>
          </p:cNvPr>
          <p:cNvSpPr>
            <a:spLocks noGrp="1"/>
          </p:cNvSpPr>
          <p:nvPr>
            <p:ph type="subTitle" idx="1"/>
          </p:nvPr>
        </p:nvSpPr>
        <p:spPr/>
        <p:txBody>
          <a:bodyPr/>
          <a:lstStyle/>
          <a:p>
            <a:r>
              <a:rPr lang="en-US" sz="2000" dirty="0">
                <a:solidFill>
                  <a:schemeClr val="tx1"/>
                </a:solidFill>
              </a:rPr>
              <a:t>Objective: Provide an overview of agile concepts </a:t>
            </a:r>
          </a:p>
        </p:txBody>
      </p:sp>
      <p:pic>
        <p:nvPicPr>
          <p:cNvPr id="7" name="Picture 6">
            <a:extLst>
              <a:ext uri="{FF2B5EF4-FFF2-40B4-BE49-F238E27FC236}">
                <a16:creationId xmlns:a16="http://schemas.microsoft.com/office/drawing/2014/main" id="{7D3D07F9-9213-409B-93B2-ED1DAF6209D2}"/>
              </a:ext>
            </a:extLst>
          </p:cNvPr>
          <p:cNvPicPr>
            <a:picLocks noChangeAspect="1"/>
          </p:cNvPicPr>
          <p:nvPr/>
        </p:nvPicPr>
        <p:blipFill>
          <a:blip r:embed="rId4"/>
          <a:stretch>
            <a:fillRect/>
          </a:stretch>
        </p:blipFill>
        <p:spPr>
          <a:xfrm>
            <a:off x="-93827" y="497004"/>
            <a:ext cx="3312983" cy="3168791"/>
          </a:xfrm>
          <a:prstGeom prst="rect">
            <a:avLst/>
          </a:prstGeom>
        </p:spPr>
      </p:pic>
      <p:graphicFrame>
        <p:nvGraphicFramePr>
          <p:cNvPr id="8" name="Table 3">
            <a:extLst>
              <a:ext uri="{FF2B5EF4-FFF2-40B4-BE49-F238E27FC236}">
                <a16:creationId xmlns:a16="http://schemas.microsoft.com/office/drawing/2014/main" id="{2BA1D412-2737-46FE-9ECD-628ABE7CD91B}"/>
              </a:ext>
            </a:extLst>
          </p:cNvPr>
          <p:cNvGraphicFramePr>
            <a:graphicFrameLocks noGrp="1"/>
          </p:cNvGraphicFramePr>
          <p:nvPr>
            <p:extLst>
              <p:ext uri="{D42A27DB-BD31-4B8C-83A1-F6EECF244321}">
                <p14:modId xmlns:p14="http://schemas.microsoft.com/office/powerpoint/2010/main" val="1320856176"/>
              </p:ext>
            </p:extLst>
          </p:nvPr>
        </p:nvGraphicFramePr>
        <p:xfrm>
          <a:off x="3327400" y="3846700"/>
          <a:ext cx="8127999" cy="2656840"/>
        </p:xfrm>
        <a:graphic>
          <a:graphicData uri="http://schemas.openxmlformats.org/drawingml/2006/table">
            <a:tbl>
              <a:tblPr firstRow="1">
                <a:tableStyleId>{7E9639D4-E3E2-4D34-9284-5A2195B3D0D7}</a:tableStyleId>
              </a:tblPr>
              <a:tblGrid>
                <a:gridCol w="2709333">
                  <a:extLst>
                    <a:ext uri="{9D8B030D-6E8A-4147-A177-3AD203B41FA5}">
                      <a16:colId xmlns:a16="http://schemas.microsoft.com/office/drawing/2014/main" val="1302357475"/>
                    </a:ext>
                  </a:extLst>
                </a:gridCol>
                <a:gridCol w="2709333">
                  <a:extLst>
                    <a:ext uri="{9D8B030D-6E8A-4147-A177-3AD203B41FA5}">
                      <a16:colId xmlns:a16="http://schemas.microsoft.com/office/drawing/2014/main" val="3582792877"/>
                    </a:ext>
                  </a:extLst>
                </a:gridCol>
                <a:gridCol w="2709333">
                  <a:extLst>
                    <a:ext uri="{9D8B030D-6E8A-4147-A177-3AD203B41FA5}">
                      <a16:colId xmlns:a16="http://schemas.microsoft.com/office/drawing/2014/main" val="2400945895"/>
                    </a:ext>
                  </a:extLst>
                </a:gridCol>
              </a:tblGrid>
              <a:tr h="370840">
                <a:tc>
                  <a:txBody>
                    <a:bodyPr/>
                    <a:lstStyle/>
                    <a:p>
                      <a:pPr algn="ctr"/>
                      <a:r>
                        <a:rPr lang="en-US" dirty="0"/>
                        <a:t>To Do</a:t>
                      </a:r>
                    </a:p>
                  </a:txBody>
                  <a:tcPr>
                    <a:solidFill>
                      <a:schemeClr val="tx2"/>
                    </a:solidFill>
                  </a:tcPr>
                </a:tc>
                <a:tc>
                  <a:txBody>
                    <a:bodyPr/>
                    <a:lstStyle/>
                    <a:p>
                      <a:pPr algn="ctr"/>
                      <a:r>
                        <a:rPr lang="en-US" dirty="0"/>
                        <a:t>In Progress</a:t>
                      </a:r>
                    </a:p>
                  </a:txBody>
                  <a:tcPr>
                    <a:solidFill>
                      <a:schemeClr val="tx2"/>
                    </a:solidFill>
                  </a:tcPr>
                </a:tc>
                <a:tc>
                  <a:txBody>
                    <a:bodyPr/>
                    <a:lstStyle/>
                    <a:p>
                      <a:pPr algn="ctr"/>
                      <a:r>
                        <a:rPr lang="en-US" dirty="0"/>
                        <a:t>Complete</a:t>
                      </a:r>
                    </a:p>
                  </a:txBody>
                  <a:tcPr>
                    <a:solidFill>
                      <a:schemeClr val="tx2"/>
                    </a:solidFill>
                  </a:tcPr>
                </a:tc>
                <a:extLst>
                  <a:ext uri="{0D108BD9-81ED-4DB2-BD59-A6C34878D82A}">
                    <a16:rowId xmlns:a16="http://schemas.microsoft.com/office/drawing/2014/main" val="2502423330"/>
                  </a:ext>
                </a:extLst>
              </a:tr>
              <a:tr h="2286000">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4201607972"/>
                  </a:ext>
                </a:extLst>
              </a:tr>
            </a:tbl>
          </a:graphicData>
        </a:graphic>
      </p:graphicFrame>
      <p:sp>
        <p:nvSpPr>
          <p:cNvPr id="9" name="Rectangle: Folded Corner 8">
            <a:extLst>
              <a:ext uri="{FF2B5EF4-FFF2-40B4-BE49-F238E27FC236}">
                <a16:creationId xmlns:a16="http://schemas.microsoft.com/office/drawing/2014/main" id="{B36AD5E1-A30C-412B-9D5B-981C5DB3AB59}"/>
              </a:ext>
            </a:extLst>
          </p:cNvPr>
          <p:cNvSpPr/>
          <p:nvPr/>
        </p:nvSpPr>
        <p:spPr bwMode="gray">
          <a:xfrm>
            <a:off x="6442450" y="4393515"/>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hat is agile?</a:t>
            </a:r>
          </a:p>
        </p:txBody>
      </p:sp>
      <p:sp>
        <p:nvSpPr>
          <p:cNvPr id="10" name="Rectangle: Folded Corner 9">
            <a:extLst>
              <a:ext uri="{FF2B5EF4-FFF2-40B4-BE49-F238E27FC236}">
                <a16:creationId xmlns:a16="http://schemas.microsoft.com/office/drawing/2014/main" id="{E79AB073-9D53-405C-9200-98E41AD28FAB}"/>
              </a:ext>
            </a:extLst>
          </p:cNvPr>
          <p:cNvSpPr/>
          <p:nvPr/>
        </p:nvSpPr>
        <p:spPr bwMode="gray">
          <a:xfrm>
            <a:off x="4728472" y="4396982"/>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gile overview</a:t>
            </a:r>
          </a:p>
        </p:txBody>
      </p:sp>
      <p:sp>
        <p:nvSpPr>
          <p:cNvPr id="11" name="Rectangle: Folded Corner 10">
            <a:extLst>
              <a:ext uri="{FF2B5EF4-FFF2-40B4-BE49-F238E27FC236}">
                <a16:creationId xmlns:a16="http://schemas.microsoft.com/office/drawing/2014/main" id="{D426284F-44B7-454F-B249-899F4F7592B6}"/>
              </a:ext>
            </a:extLst>
          </p:cNvPr>
          <p:cNvSpPr/>
          <p:nvPr/>
        </p:nvSpPr>
        <p:spPr bwMode="gray">
          <a:xfrm>
            <a:off x="3550033" y="5448527"/>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ringing it all together</a:t>
            </a:r>
          </a:p>
        </p:txBody>
      </p:sp>
      <p:sp>
        <p:nvSpPr>
          <p:cNvPr id="12" name="Rectangle: Folded Corner 11">
            <a:extLst>
              <a:ext uri="{FF2B5EF4-FFF2-40B4-BE49-F238E27FC236}">
                <a16:creationId xmlns:a16="http://schemas.microsoft.com/office/drawing/2014/main" id="{436CD548-896A-4B5E-BEB8-5828A6B5FF13}"/>
              </a:ext>
            </a:extLst>
          </p:cNvPr>
          <p:cNvSpPr/>
          <p:nvPr/>
        </p:nvSpPr>
        <p:spPr bwMode="gray">
          <a:xfrm>
            <a:off x="4728472" y="5448526"/>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losing</a:t>
            </a:r>
          </a:p>
        </p:txBody>
      </p:sp>
    </p:spTree>
    <p:custDataLst>
      <p:tags r:id="rId1"/>
    </p:custDataLst>
    <p:extLst>
      <p:ext uri="{BB962C8B-B14F-4D97-AF65-F5344CB8AC3E}">
        <p14:creationId xmlns:p14="http://schemas.microsoft.com/office/powerpoint/2010/main" val="3026504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500"/>
                                  </p:stCondLst>
                                  <p:childTnLst>
                                    <p:animMotion origin="layout" path="M -2.29167E-6 4.81481E-6 L 0.22709 0.00231 " pathEditMode="relative" rAng="0" ptsTypes="AA">
                                      <p:cBhvr>
                                        <p:cTn id="6" dur="2000" fill="hold"/>
                                        <p:tgtEl>
                                          <p:spTgt spid="9"/>
                                        </p:tgtEl>
                                        <p:attrNameLst>
                                          <p:attrName>ppt_x</p:attrName>
                                          <p:attrName>ppt_y</p:attrName>
                                        </p:attrNameLst>
                                      </p:cBhvr>
                                      <p:rCtr x="11354" y="116"/>
                                    </p:animMotion>
                                  </p:childTnLst>
                                </p:cTn>
                              </p:par>
                            </p:childTnLst>
                          </p:cTn>
                        </p:par>
                        <p:par>
                          <p:cTn id="7" fill="hold">
                            <p:stCondLst>
                              <p:cond delay="2500"/>
                            </p:stCondLst>
                            <p:childTnLst>
                              <p:par>
                                <p:cTn id="8" presetID="42" presetClass="path" presetSubtype="0" accel="50000" decel="50000" fill="hold" grpId="0" nodeType="afterEffect">
                                  <p:stCondLst>
                                    <p:cond delay="0"/>
                                  </p:stCondLst>
                                  <p:childTnLst>
                                    <p:animMotion origin="layout" path="M 2.5E-6 1.85185E-6 L 0.14049 -0.00046 " pathEditMode="relative" rAng="0" ptsTypes="AA">
                                      <p:cBhvr>
                                        <p:cTn id="9" dur="2000" fill="hold"/>
                                        <p:tgtEl>
                                          <p:spTgt spid="10"/>
                                        </p:tgtEl>
                                        <p:attrNameLst>
                                          <p:attrName>ppt_x</p:attrName>
                                          <p:attrName>ppt_y</p:attrName>
                                        </p:attrNameLst>
                                      </p:cBhvr>
                                      <p:rCtr x="701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hidden="1"/>
          <p:cNvSpPr/>
          <p:nvPr/>
        </p:nvSpPr>
        <p:spPr bwMode="gray">
          <a:xfrm>
            <a:off x="1609190" y="2015613"/>
            <a:ext cx="8908848" cy="3902092"/>
          </a:xfrm>
          <a:prstGeom prst="rect">
            <a:avLst/>
          </a:prstGeom>
          <a:noFill/>
          <a:ln w="38100" algn="ctr">
            <a:solidFill>
              <a:schemeClr val="accent1"/>
            </a:solidFill>
            <a:miter lim="800000"/>
            <a:headEnd/>
            <a:tailEnd/>
          </a:ln>
        </p:spPr>
        <p:txBody>
          <a:bodyPr wrap="square" lIns="66667" tIns="66667" rIns="66667" bIns="66667" rtlCol="0" anchor="ctr"/>
          <a:lstStyle/>
          <a:p>
            <a:pPr algn="ctr">
              <a:lnSpc>
                <a:spcPct val="106000"/>
              </a:lnSpc>
              <a:buFont typeface="Wingdings 2" pitchFamily="18" charset="2"/>
              <a:buNone/>
            </a:pPr>
            <a:endParaRPr lang="en-US" sz="1200" b="1" dirty="0">
              <a:solidFill>
                <a:schemeClr val="bg1"/>
              </a:solidFill>
            </a:endParaRPr>
          </a:p>
        </p:txBody>
      </p:sp>
      <p:sp>
        <p:nvSpPr>
          <p:cNvPr id="11" name="Title 10"/>
          <p:cNvSpPr>
            <a:spLocks noGrp="1"/>
          </p:cNvSpPr>
          <p:nvPr>
            <p:ph type="title"/>
          </p:nvPr>
        </p:nvSpPr>
        <p:spPr/>
        <p:txBody>
          <a:bodyPr/>
          <a:lstStyle/>
          <a:p>
            <a:r>
              <a:rPr lang="en-US" dirty="0"/>
              <a:t>Process overview</a:t>
            </a:r>
          </a:p>
        </p:txBody>
      </p:sp>
      <p:sp>
        <p:nvSpPr>
          <p:cNvPr id="428" name="Rectangle 427">
            <a:extLst>
              <a:ext uri="{FF2B5EF4-FFF2-40B4-BE49-F238E27FC236}">
                <a16:creationId xmlns:a16="http://schemas.microsoft.com/office/drawing/2014/main" id="{45A87A05-1D20-44B5-97AF-5897A61D8F23}"/>
              </a:ext>
            </a:extLst>
          </p:cNvPr>
          <p:cNvSpPr>
            <a:spLocks/>
          </p:cNvSpPr>
          <p:nvPr/>
        </p:nvSpPr>
        <p:spPr bwMode="gray">
          <a:xfrm>
            <a:off x="5212545" y="1541665"/>
            <a:ext cx="3684526" cy="1323534"/>
          </a:xfrm>
          <a:prstGeom prst="rect">
            <a:avLst/>
          </a:prstGeom>
          <a:noFill/>
          <a:ln w="38100" algn="ctr">
            <a:solidFill>
              <a:schemeClr val="accent6"/>
            </a:solidFill>
            <a:miter lim="800000"/>
            <a:headEnd/>
            <a:tailEnd/>
          </a:ln>
          <a:effectLst/>
        </p:spPr>
        <p:txBody>
          <a:bodyPr wrap="square" lIns="28337" tIns="28337" rIns="28337" bIns="28337" rtlCol="0" anchor="ctr"/>
          <a:lstStyle/>
          <a:p>
            <a:pPr lvl="0" algn="ctr">
              <a:defRPr/>
            </a:pPr>
            <a:r>
              <a:rPr lang="en-US" sz="1200" kern="0" dirty="0">
                <a:solidFill>
                  <a:prstClr val="black"/>
                </a:solidFill>
                <a:latin typeface="Verdana"/>
              </a:rPr>
              <a:t>Iteratively develop the product through Minimum Viable Product sets (MVP) in potentially deployable increments and increase efficiency and quality through frequent feedback and improvement loops.</a:t>
            </a:r>
          </a:p>
        </p:txBody>
      </p:sp>
      <p:sp>
        <p:nvSpPr>
          <p:cNvPr id="429" name="Rectangle 428">
            <a:extLst>
              <a:ext uri="{FF2B5EF4-FFF2-40B4-BE49-F238E27FC236}">
                <a16:creationId xmlns:a16="http://schemas.microsoft.com/office/drawing/2014/main" id="{E7860FF9-9BC1-469E-B5BF-8D76A439D9DF}"/>
              </a:ext>
            </a:extLst>
          </p:cNvPr>
          <p:cNvSpPr>
            <a:spLocks/>
          </p:cNvSpPr>
          <p:nvPr/>
        </p:nvSpPr>
        <p:spPr bwMode="gray">
          <a:xfrm>
            <a:off x="8970200" y="1541665"/>
            <a:ext cx="1484045" cy="1323534"/>
          </a:xfrm>
          <a:prstGeom prst="rect">
            <a:avLst/>
          </a:prstGeom>
          <a:noFill/>
          <a:ln w="38100" algn="ctr">
            <a:solidFill>
              <a:srgbClr val="86BC25"/>
            </a:solidFill>
            <a:miter lim="800000"/>
            <a:headEnd/>
            <a:tailEnd/>
          </a:ln>
          <a:effectLst/>
        </p:spPr>
        <p:txBody>
          <a:bodyPr wrap="square" lIns="93268" tIns="28337" rIns="93268" bIns="28337" rtlCol="0" anchor="ctr"/>
          <a:lstStyle/>
          <a:p>
            <a:pPr lvl="0" algn="ctr">
              <a:defRPr/>
            </a:pPr>
            <a:r>
              <a:rPr lang="en-US" sz="1200" kern="0" dirty="0">
                <a:solidFill>
                  <a:prstClr val="black"/>
                </a:solidFill>
                <a:latin typeface="Verdana"/>
              </a:rPr>
              <a:t>Deploy the solution and provide subsequent support</a:t>
            </a:r>
          </a:p>
        </p:txBody>
      </p:sp>
      <p:sp>
        <p:nvSpPr>
          <p:cNvPr id="430" name="Rectangle 429">
            <a:extLst>
              <a:ext uri="{FF2B5EF4-FFF2-40B4-BE49-F238E27FC236}">
                <a16:creationId xmlns:a16="http://schemas.microsoft.com/office/drawing/2014/main" id="{03A161B6-65D0-4092-BC4B-30CDE45D4473}"/>
              </a:ext>
            </a:extLst>
          </p:cNvPr>
          <p:cNvSpPr>
            <a:spLocks/>
          </p:cNvSpPr>
          <p:nvPr/>
        </p:nvSpPr>
        <p:spPr bwMode="gray">
          <a:xfrm>
            <a:off x="3238296" y="1541665"/>
            <a:ext cx="1893001" cy="1323534"/>
          </a:xfrm>
          <a:prstGeom prst="rect">
            <a:avLst/>
          </a:prstGeom>
          <a:noFill/>
          <a:ln w="38100" algn="ctr">
            <a:solidFill>
              <a:srgbClr val="0097A9"/>
            </a:solidFill>
            <a:miter lim="800000"/>
            <a:headEnd/>
            <a:tailEnd/>
          </a:ln>
          <a:effectLst/>
        </p:spPr>
        <p:txBody>
          <a:bodyPr wrap="square" lIns="28337" tIns="28337" rIns="28337" bIns="28337" rtlCol="0" anchor="ctr"/>
          <a:lstStyle/>
          <a:p>
            <a:pPr lvl="0" algn="ctr">
              <a:defRPr/>
            </a:pPr>
            <a:r>
              <a:rPr lang="en-US" sz="1200" kern="0" dirty="0">
                <a:solidFill>
                  <a:prstClr val="black"/>
                </a:solidFill>
                <a:latin typeface="Verdana"/>
              </a:rPr>
              <a:t>Initiate the Product Backlog and establish the foundational architecture and infrastructure</a:t>
            </a:r>
          </a:p>
          <a:p>
            <a:pPr marL="0" marR="0" lvl="0" indent="0" defTabSz="621781" eaLnBrk="1" fontAlgn="auto" latinLnBrk="0" hangingPunct="1">
              <a:lnSpc>
                <a:spcPct val="106000"/>
              </a:lnSpc>
              <a:spcBef>
                <a:spcPts val="0"/>
              </a:spcBef>
              <a:spcAft>
                <a:spcPts val="0"/>
              </a:spcAft>
              <a:buClrTx/>
              <a:buSzTx/>
              <a:buFontTx/>
              <a:buNone/>
              <a:tabLst/>
              <a:defRPr/>
            </a:pPr>
            <a:endParaRPr kumimoji="0" lang="en-US" sz="510" b="0" i="0" u="none" strike="noStrike" kern="0" cap="none" spc="0" normalizeH="0" baseline="0" noProof="0" dirty="0">
              <a:ln>
                <a:noFill/>
              </a:ln>
              <a:solidFill>
                <a:srgbClr val="86BC25"/>
              </a:solidFill>
              <a:effectLst/>
              <a:uLnTx/>
              <a:uFillTx/>
              <a:latin typeface="Verdana"/>
            </a:endParaRPr>
          </a:p>
        </p:txBody>
      </p:sp>
      <p:sp>
        <p:nvSpPr>
          <p:cNvPr id="431" name="Rectangle 430">
            <a:extLst>
              <a:ext uri="{FF2B5EF4-FFF2-40B4-BE49-F238E27FC236}">
                <a16:creationId xmlns:a16="http://schemas.microsoft.com/office/drawing/2014/main" id="{5654B8AD-8FF1-4F46-9785-2A6D56002C47}"/>
              </a:ext>
            </a:extLst>
          </p:cNvPr>
          <p:cNvSpPr/>
          <p:nvPr/>
        </p:nvSpPr>
        <p:spPr bwMode="gray">
          <a:xfrm>
            <a:off x="3238489" y="1311392"/>
            <a:ext cx="1892808" cy="181244"/>
          </a:xfrm>
          <a:prstGeom prst="rect">
            <a:avLst/>
          </a:prstGeom>
          <a:noFill/>
          <a:ln w="19050" algn="ctr">
            <a:noFill/>
            <a:prstDash val="sysDash"/>
            <a:miter lim="800000"/>
            <a:headEnd/>
            <a:tailEnd/>
          </a:ln>
        </p:spPr>
        <p:txBody>
          <a:bodyPr wrap="square" lIns="59849" tIns="59849" rIns="59849" bIns="59849" rtlCol="0" anchor="ctr"/>
          <a:lstStyle/>
          <a:p>
            <a:pPr marL="0" marR="0" lvl="0" indent="0" algn="ctr" defTabSz="615593"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rPr>
              <a:t>Discovery</a:t>
            </a:r>
            <a:endParaRPr kumimoji="0" lang="en-US" sz="1200" b="1" i="0" u="none" strike="noStrike" kern="0" cap="none" spc="0" normalizeH="0" baseline="0" noProof="0" dirty="0">
              <a:ln>
                <a:noFill/>
              </a:ln>
              <a:solidFill>
                <a:prstClr val="black"/>
              </a:solidFill>
              <a:effectLst/>
              <a:uLnTx/>
              <a:uFillTx/>
              <a:latin typeface="Verdana"/>
            </a:endParaRPr>
          </a:p>
        </p:txBody>
      </p:sp>
      <p:sp>
        <p:nvSpPr>
          <p:cNvPr id="432" name="Rectangle 431">
            <a:extLst>
              <a:ext uri="{FF2B5EF4-FFF2-40B4-BE49-F238E27FC236}">
                <a16:creationId xmlns:a16="http://schemas.microsoft.com/office/drawing/2014/main" id="{DD06192B-5467-4CD1-8447-DAF4C4FE024B}"/>
              </a:ext>
            </a:extLst>
          </p:cNvPr>
          <p:cNvSpPr/>
          <p:nvPr/>
        </p:nvSpPr>
        <p:spPr bwMode="gray">
          <a:xfrm>
            <a:off x="5293895" y="1297789"/>
            <a:ext cx="3568390" cy="194847"/>
          </a:xfrm>
          <a:prstGeom prst="rect">
            <a:avLst/>
          </a:prstGeom>
          <a:noFill/>
          <a:ln w="19050" algn="ctr">
            <a:noFill/>
            <a:prstDash val="sysDash"/>
            <a:miter lim="800000"/>
            <a:headEnd/>
            <a:tailEnd/>
          </a:ln>
        </p:spPr>
        <p:txBody>
          <a:bodyPr wrap="square" lIns="59849" tIns="59849" rIns="59849" bIns="59849" rtlCol="0" anchor="ctr"/>
          <a:lstStyle/>
          <a:p>
            <a:pPr marL="0" marR="0" lvl="0" indent="0" algn="ctr" defTabSz="615593"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Verdana"/>
              </a:rPr>
              <a:t>Sprint Cycle(s)</a:t>
            </a:r>
          </a:p>
        </p:txBody>
      </p:sp>
      <p:sp>
        <p:nvSpPr>
          <p:cNvPr id="433" name="Rectangle 432">
            <a:extLst>
              <a:ext uri="{FF2B5EF4-FFF2-40B4-BE49-F238E27FC236}">
                <a16:creationId xmlns:a16="http://schemas.microsoft.com/office/drawing/2014/main" id="{B7D3C950-499C-486B-91F0-0F10C6E2CBDE}"/>
              </a:ext>
            </a:extLst>
          </p:cNvPr>
          <p:cNvSpPr/>
          <p:nvPr/>
        </p:nvSpPr>
        <p:spPr bwMode="gray">
          <a:xfrm>
            <a:off x="8958093" y="1321271"/>
            <a:ext cx="1510942" cy="171365"/>
          </a:xfrm>
          <a:prstGeom prst="rect">
            <a:avLst/>
          </a:prstGeom>
          <a:noFill/>
          <a:ln w="19050" algn="ctr">
            <a:noFill/>
            <a:prstDash val="sysDash"/>
            <a:miter lim="800000"/>
            <a:headEnd/>
            <a:tailEnd/>
          </a:ln>
        </p:spPr>
        <p:txBody>
          <a:bodyPr wrap="square" lIns="59849" tIns="59849" rIns="59849" bIns="59849" rtlCol="0" anchor="ctr"/>
          <a:lstStyle/>
          <a:p>
            <a:pPr marL="0" marR="0" lvl="0" indent="0" algn="ctr" defTabSz="615593"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Verdana"/>
              </a:rPr>
              <a:t>Release</a:t>
            </a:r>
          </a:p>
        </p:txBody>
      </p:sp>
      <p:grpSp>
        <p:nvGrpSpPr>
          <p:cNvPr id="435" name="Group 434">
            <a:extLst>
              <a:ext uri="{FF2B5EF4-FFF2-40B4-BE49-F238E27FC236}">
                <a16:creationId xmlns:a16="http://schemas.microsoft.com/office/drawing/2014/main" id="{4A459430-C87D-454A-8387-2E45329DE5EB}"/>
              </a:ext>
            </a:extLst>
          </p:cNvPr>
          <p:cNvGrpSpPr/>
          <p:nvPr/>
        </p:nvGrpSpPr>
        <p:grpSpPr>
          <a:xfrm>
            <a:off x="4623064" y="3033500"/>
            <a:ext cx="2841986" cy="3349970"/>
            <a:chOff x="4638832" y="3033500"/>
            <a:chExt cx="2841986" cy="3349970"/>
          </a:xfrm>
        </p:grpSpPr>
        <p:sp>
          <p:nvSpPr>
            <p:cNvPr id="436" name="Rectangle 435">
              <a:extLst>
                <a:ext uri="{FF2B5EF4-FFF2-40B4-BE49-F238E27FC236}">
                  <a16:creationId xmlns:a16="http://schemas.microsoft.com/office/drawing/2014/main" id="{5A961A9A-8A22-4BE7-A8EC-48CD5B8C157B}"/>
                </a:ext>
              </a:extLst>
            </p:cNvPr>
            <p:cNvSpPr/>
            <p:nvPr/>
          </p:nvSpPr>
          <p:spPr bwMode="gray">
            <a:xfrm>
              <a:off x="4638832" y="3033500"/>
              <a:ext cx="2841986" cy="3349970"/>
            </a:xfrm>
            <a:prstGeom prst="rect">
              <a:avLst/>
            </a:prstGeom>
            <a:solidFill>
              <a:sysClr val="window" lastClr="FFFFFF">
                <a:alpha val="80000"/>
              </a:sysClr>
            </a:solidFill>
            <a:ln w="38100" algn="ctr">
              <a:solidFill>
                <a:srgbClr val="97999B"/>
              </a:solidFill>
              <a:miter lim="800000"/>
              <a:headEnd/>
              <a:tailEnd/>
            </a:ln>
            <a:effectLst/>
          </p:spPr>
          <p:txBody>
            <a:bodyPr wrap="square" lIns="28337" tIns="28337" rIns="28337" bIns="28337" rtlCol="0" anchor="t"/>
            <a:lstStyle/>
            <a:p>
              <a:pPr marL="0" marR="0" lvl="0" indent="0" algn="ctr" defTabSz="621781"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rPr>
                <a:t>3 Scrum Team roles</a:t>
              </a:r>
            </a:p>
          </p:txBody>
        </p:sp>
        <p:grpSp>
          <p:nvGrpSpPr>
            <p:cNvPr id="437" name="Group 436">
              <a:extLst>
                <a:ext uri="{FF2B5EF4-FFF2-40B4-BE49-F238E27FC236}">
                  <a16:creationId xmlns:a16="http://schemas.microsoft.com/office/drawing/2014/main" id="{0EBDF6CB-82B0-46EB-82DA-C746819A9DA4}"/>
                </a:ext>
              </a:extLst>
            </p:cNvPr>
            <p:cNvGrpSpPr/>
            <p:nvPr/>
          </p:nvGrpSpPr>
          <p:grpSpPr>
            <a:xfrm>
              <a:off x="4917167" y="4421010"/>
              <a:ext cx="610288" cy="826695"/>
              <a:chOff x="8520050" y="784921"/>
              <a:chExt cx="530071" cy="710473"/>
            </a:xfrm>
          </p:grpSpPr>
          <p:sp>
            <p:nvSpPr>
              <p:cNvPr id="507" name="Rectangle 506">
                <a:extLst>
                  <a:ext uri="{FF2B5EF4-FFF2-40B4-BE49-F238E27FC236}">
                    <a16:creationId xmlns:a16="http://schemas.microsoft.com/office/drawing/2014/main" id="{EBD7BD4D-5D29-424D-B2A3-46BE1F57CE63}"/>
                  </a:ext>
                </a:extLst>
              </p:cNvPr>
              <p:cNvSpPr/>
              <p:nvPr/>
            </p:nvSpPr>
            <p:spPr>
              <a:xfrm>
                <a:off x="8520050" y="1151534"/>
                <a:ext cx="530071" cy="343860"/>
              </a:xfrm>
              <a:prstGeom prst="rect">
                <a:avLst/>
              </a:prstGeom>
            </p:spPr>
            <p:txBody>
              <a:bodyPr wrap="square" lIns="0" rIns="0">
                <a:spAutoFit/>
              </a:bodyPr>
              <a:lstStyle/>
              <a:p>
                <a:pPr marL="0" marR="0" lvl="0" indent="0" algn="ctr" defTabSz="914400" eaLnBrk="1" fontAlgn="auto" latinLnBrk="0" hangingPunct="1">
                  <a:lnSpc>
                    <a:spcPct val="100000"/>
                  </a:lnSpc>
                  <a:spcBef>
                    <a:spcPts val="0"/>
                  </a:spcBef>
                  <a:spcAft>
                    <a:spcPts val="0"/>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Product</a:t>
                </a:r>
                <a:b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b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owner</a:t>
                </a:r>
              </a:p>
            </p:txBody>
          </p:sp>
          <p:grpSp>
            <p:nvGrpSpPr>
              <p:cNvPr id="508" name="Group 507">
                <a:extLst>
                  <a:ext uri="{FF2B5EF4-FFF2-40B4-BE49-F238E27FC236}">
                    <a16:creationId xmlns:a16="http://schemas.microsoft.com/office/drawing/2014/main" id="{D9A07571-F1E5-4D6B-A57C-1E95B4F78A2E}"/>
                  </a:ext>
                </a:extLst>
              </p:cNvPr>
              <p:cNvGrpSpPr/>
              <p:nvPr/>
            </p:nvGrpSpPr>
            <p:grpSpPr>
              <a:xfrm>
                <a:off x="8619128" y="784921"/>
                <a:ext cx="368776" cy="368777"/>
                <a:chOff x="8658291" y="478163"/>
                <a:chExt cx="368776" cy="368777"/>
              </a:xfrm>
            </p:grpSpPr>
            <p:grpSp>
              <p:nvGrpSpPr>
                <p:cNvPr id="509" name="Group 64">
                  <a:extLst>
                    <a:ext uri="{FF2B5EF4-FFF2-40B4-BE49-F238E27FC236}">
                      <a16:creationId xmlns:a16="http://schemas.microsoft.com/office/drawing/2014/main" id="{EA257365-E20D-4042-BB0C-8D18DE7C7486}"/>
                    </a:ext>
                  </a:extLst>
                </p:cNvPr>
                <p:cNvGrpSpPr>
                  <a:grpSpLocks noChangeAspect="1"/>
                </p:cNvGrpSpPr>
                <p:nvPr/>
              </p:nvGrpSpPr>
              <p:grpSpPr bwMode="auto">
                <a:xfrm rot="8100000">
                  <a:off x="8658291" y="478163"/>
                  <a:ext cx="368776" cy="368777"/>
                  <a:chOff x="701" y="2170"/>
                  <a:chExt cx="587" cy="587"/>
                </a:xfrm>
              </p:grpSpPr>
              <p:sp>
                <p:nvSpPr>
                  <p:cNvPr id="520" name="Oval 65">
                    <a:extLst>
                      <a:ext uri="{FF2B5EF4-FFF2-40B4-BE49-F238E27FC236}">
                        <a16:creationId xmlns:a16="http://schemas.microsoft.com/office/drawing/2014/main" id="{BF01F09C-DE89-451D-8087-71E9FA20537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21" name="Line 66">
                    <a:extLst>
                      <a:ext uri="{FF2B5EF4-FFF2-40B4-BE49-F238E27FC236}">
                        <a16:creationId xmlns:a16="http://schemas.microsoft.com/office/drawing/2014/main" id="{5F67C968-AB27-4378-9E27-A4905918CDE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22" name="Line 67">
                    <a:extLst>
                      <a:ext uri="{FF2B5EF4-FFF2-40B4-BE49-F238E27FC236}">
                        <a16:creationId xmlns:a16="http://schemas.microsoft.com/office/drawing/2014/main" id="{F0806A0D-8DE4-4BDA-A9AF-6D933E9A04C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23" name="Line 69">
                    <a:extLst>
                      <a:ext uri="{FF2B5EF4-FFF2-40B4-BE49-F238E27FC236}">
                        <a16:creationId xmlns:a16="http://schemas.microsoft.com/office/drawing/2014/main" id="{AE5F2FA8-EA61-4779-93E6-D258DC17A387}"/>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24" name="Line 74">
                    <a:extLst>
                      <a:ext uri="{FF2B5EF4-FFF2-40B4-BE49-F238E27FC236}">
                        <a16:creationId xmlns:a16="http://schemas.microsoft.com/office/drawing/2014/main" id="{B2A61019-874F-4599-9C4F-5033B1935D1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25" name="Freeform 78">
                    <a:extLst>
                      <a:ext uri="{FF2B5EF4-FFF2-40B4-BE49-F238E27FC236}">
                        <a16:creationId xmlns:a16="http://schemas.microsoft.com/office/drawing/2014/main" id="{D3B635EC-9B8F-4D5C-ADEF-90EFA5EB48E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26" name="Freeform 80">
                    <a:extLst>
                      <a:ext uri="{FF2B5EF4-FFF2-40B4-BE49-F238E27FC236}">
                        <a16:creationId xmlns:a16="http://schemas.microsoft.com/office/drawing/2014/main" id="{BC86AD7C-21BD-4531-8F5E-F2852F28BC3D}"/>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nvGrpSpPr>
                <p:cNvPr id="510" name="Group 509">
                  <a:extLst>
                    <a:ext uri="{FF2B5EF4-FFF2-40B4-BE49-F238E27FC236}">
                      <a16:creationId xmlns:a16="http://schemas.microsoft.com/office/drawing/2014/main" id="{5B41709C-96D0-4B35-B392-51B6E297E8CB}"/>
                    </a:ext>
                  </a:extLst>
                </p:cNvPr>
                <p:cNvGrpSpPr/>
                <p:nvPr/>
              </p:nvGrpSpPr>
              <p:grpSpPr>
                <a:xfrm>
                  <a:off x="8749618" y="524463"/>
                  <a:ext cx="136805" cy="278689"/>
                  <a:chOff x="2806700" y="2803319"/>
                  <a:chExt cx="433387" cy="882861"/>
                </a:xfrm>
              </p:grpSpPr>
              <p:grpSp>
                <p:nvGrpSpPr>
                  <p:cNvPr id="511" name="Group 510">
                    <a:extLst>
                      <a:ext uri="{FF2B5EF4-FFF2-40B4-BE49-F238E27FC236}">
                        <a16:creationId xmlns:a16="http://schemas.microsoft.com/office/drawing/2014/main" id="{8F493ED5-5DFD-43C0-82BE-F02208654316}"/>
                      </a:ext>
                    </a:extLst>
                  </p:cNvPr>
                  <p:cNvGrpSpPr>
                    <a:grpSpLocks noChangeAspect="1"/>
                  </p:cNvGrpSpPr>
                  <p:nvPr/>
                </p:nvGrpSpPr>
                <p:grpSpPr bwMode="auto">
                  <a:xfrm>
                    <a:off x="2806700" y="3043242"/>
                    <a:ext cx="433387" cy="642938"/>
                    <a:chOff x="1768" y="1917"/>
                    <a:chExt cx="273" cy="405"/>
                  </a:xfrm>
                </p:grpSpPr>
                <p:sp>
                  <p:nvSpPr>
                    <p:cNvPr id="513" name="Freeform 52">
                      <a:extLst>
                        <a:ext uri="{FF2B5EF4-FFF2-40B4-BE49-F238E27FC236}">
                          <a16:creationId xmlns:a16="http://schemas.microsoft.com/office/drawing/2014/main" id="{BBA14CB0-4839-46C8-9F48-0A0F31A54D53}"/>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14" name="Line 54">
                      <a:extLst>
                        <a:ext uri="{FF2B5EF4-FFF2-40B4-BE49-F238E27FC236}">
                          <a16:creationId xmlns:a16="http://schemas.microsoft.com/office/drawing/2014/main" id="{4A460B3D-E0EA-4C2F-86ED-1FBBD1E35FBD}"/>
                        </a:ext>
                      </a:extLst>
                    </p:cNvPr>
                    <p:cNvSpPr>
                      <a:spLocks noChangeShapeType="1"/>
                    </p:cNvSpPr>
                    <p:nvPr/>
                  </p:nvSpPr>
                  <p:spPr bwMode="auto">
                    <a:xfrm flipV="1">
                      <a:off x="1877" y="1995"/>
                      <a:ext cx="0" cy="327"/>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15" name="Line 55">
                      <a:extLst>
                        <a:ext uri="{FF2B5EF4-FFF2-40B4-BE49-F238E27FC236}">
                          <a16:creationId xmlns:a16="http://schemas.microsoft.com/office/drawing/2014/main" id="{ED792E6C-827B-40F1-98B2-C266FA9EF6FB}"/>
                        </a:ext>
                      </a:extLst>
                    </p:cNvPr>
                    <p:cNvSpPr>
                      <a:spLocks noChangeShapeType="1"/>
                    </p:cNvSpPr>
                    <p:nvPr/>
                  </p:nvSpPr>
                  <p:spPr bwMode="auto">
                    <a:xfrm flipV="1">
                      <a:off x="2009" y="1995"/>
                      <a:ext cx="0" cy="153"/>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16" name="Freeform 56">
                      <a:extLst>
                        <a:ext uri="{FF2B5EF4-FFF2-40B4-BE49-F238E27FC236}">
                          <a16:creationId xmlns:a16="http://schemas.microsoft.com/office/drawing/2014/main" id="{CD4D492D-6803-4254-84D0-9FA77BB27893}"/>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17" name="Line 57">
                      <a:extLst>
                        <a:ext uri="{FF2B5EF4-FFF2-40B4-BE49-F238E27FC236}">
                          <a16:creationId xmlns:a16="http://schemas.microsoft.com/office/drawing/2014/main" id="{77CAE028-07C8-4476-8BCC-596C6A48A8C5}"/>
                        </a:ext>
                      </a:extLst>
                    </p:cNvPr>
                    <p:cNvSpPr>
                      <a:spLocks noChangeShapeType="1"/>
                    </p:cNvSpPr>
                    <p:nvPr/>
                  </p:nvSpPr>
                  <p:spPr bwMode="auto">
                    <a:xfrm>
                      <a:off x="1943" y="2135"/>
                      <a:ext cx="0" cy="186"/>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18" name="Freeform 58">
                      <a:extLst>
                        <a:ext uri="{FF2B5EF4-FFF2-40B4-BE49-F238E27FC236}">
                          <a16:creationId xmlns:a16="http://schemas.microsoft.com/office/drawing/2014/main" id="{7990CACF-CE9E-4D70-909C-4B9FBDD5B2C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19" name="Rectangle 518">
                      <a:extLst>
                        <a:ext uri="{FF2B5EF4-FFF2-40B4-BE49-F238E27FC236}">
                          <a16:creationId xmlns:a16="http://schemas.microsoft.com/office/drawing/2014/main" id="{4522E746-1872-4F85-86B4-99280673E8D4}"/>
                        </a:ext>
                      </a:extLst>
                    </p:cNvPr>
                    <p:cNvSpPr>
                      <a:spLocks noChangeArrowheads="1"/>
                    </p:cNvSpPr>
                    <p:nvPr/>
                  </p:nvSpPr>
                  <p:spPr bwMode="auto">
                    <a:xfrm>
                      <a:off x="1768" y="2102"/>
                      <a:ext cx="132" cy="109"/>
                    </a:xfrm>
                    <a:prstGeom prst="rect">
                      <a:avLst/>
                    </a:prstGeom>
                    <a:solidFill>
                      <a:sysClr val="windowText" lastClr="000000">
                        <a:lumMod val="50000"/>
                        <a:lumOff val="50000"/>
                      </a:sysClr>
                    </a:solidFill>
                    <a:ln w="14288">
                      <a:solidFill>
                        <a:sysClr val="windowText" lastClr="000000">
                          <a:lumMod val="65000"/>
                          <a:lumOff val="35000"/>
                        </a:sysClr>
                      </a:solidFill>
                      <a:prstDash val="solid"/>
                      <a:miter lim="800000"/>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512" name="Oval 511">
                    <a:extLst>
                      <a:ext uri="{FF2B5EF4-FFF2-40B4-BE49-F238E27FC236}">
                        <a16:creationId xmlns:a16="http://schemas.microsoft.com/office/drawing/2014/main" id="{602A7D14-DFBD-4445-B8C6-341A636016A6}"/>
                      </a:ext>
                    </a:extLst>
                  </p:cNvPr>
                  <p:cNvSpPr/>
                  <p:nvPr/>
                </p:nvSpPr>
                <p:spPr bwMode="gray">
                  <a:xfrm>
                    <a:off x="2981633" y="2803319"/>
                    <a:ext cx="193842" cy="193842"/>
                  </a:xfrm>
                  <a:prstGeom prst="ellipse">
                    <a:avLst/>
                  </a:prstGeom>
                  <a:solidFill>
                    <a:srgbClr val="00A3E0"/>
                  </a:solidFill>
                  <a:ln w="15875">
                    <a:solidFill>
                      <a:sysClr val="windowText" lastClr="000000">
                        <a:lumMod val="65000"/>
                        <a:lumOff val="35000"/>
                      </a:sysClr>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grpSp>
        <p:grpSp>
          <p:nvGrpSpPr>
            <p:cNvPr id="438" name="Group 437">
              <a:extLst>
                <a:ext uri="{FF2B5EF4-FFF2-40B4-BE49-F238E27FC236}">
                  <a16:creationId xmlns:a16="http://schemas.microsoft.com/office/drawing/2014/main" id="{B2D1AFE1-4BC8-424A-88E3-717CF63AF4EF}"/>
                </a:ext>
              </a:extLst>
            </p:cNvPr>
            <p:cNvGrpSpPr/>
            <p:nvPr/>
          </p:nvGrpSpPr>
          <p:grpSpPr>
            <a:xfrm>
              <a:off x="5664951" y="3398613"/>
              <a:ext cx="861069" cy="975032"/>
              <a:chOff x="8994581" y="422468"/>
              <a:chExt cx="747890" cy="837956"/>
            </a:xfrm>
          </p:grpSpPr>
          <p:grpSp>
            <p:nvGrpSpPr>
              <p:cNvPr id="465" name="Group 464">
                <a:extLst>
                  <a:ext uri="{FF2B5EF4-FFF2-40B4-BE49-F238E27FC236}">
                    <a16:creationId xmlns:a16="http://schemas.microsoft.com/office/drawing/2014/main" id="{DB98399C-5683-40DC-911A-1831DDD3A900}"/>
                  </a:ext>
                </a:extLst>
              </p:cNvPr>
              <p:cNvGrpSpPr/>
              <p:nvPr/>
            </p:nvGrpSpPr>
            <p:grpSpPr>
              <a:xfrm>
                <a:off x="9125469" y="422468"/>
                <a:ext cx="473625" cy="473627"/>
                <a:chOff x="2866777" y="2597362"/>
                <a:chExt cx="473625" cy="473627"/>
              </a:xfrm>
            </p:grpSpPr>
            <p:grpSp>
              <p:nvGrpSpPr>
                <p:cNvPr id="467" name="Group 64">
                  <a:extLst>
                    <a:ext uri="{FF2B5EF4-FFF2-40B4-BE49-F238E27FC236}">
                      <a16:creationId xmlns:a16="http://schemas.microsoft.com/office/drawing/2014/main" id="{C4C4B36F-2885-44C0-8000-8D2D657AB600}"/>
                    </a:ext>
                  </a:extLst>
                </p:cNvPr>
                <p:cNvGrpSpPr>
                  <a:grpSpLocks noChangeAspect="1"/>
                </p:cNvGrpSpPr>
                <p:nvPr/>
              </p:nvGrpSpPr>
              <p:grpSpPr bwMode="auto">
                <a:xfrm rot="8100000">
                  <a:off x="2866777" y="2597362"/>
                  <a:ext cx="473625" cy="473627"/>
                  <a:chOff x="701" y="2170"/>
                  <a:chExt cx="587" cy="587"/>
                </a:xfrm>
              </p:grpSpPr>
              <p:sp>
                <p:nvSpPr>
                  <p:cNvPr id="499" name="Oval 65">
                    <a:extLst>
                      <a:ext uri="{FF2B5EF4-FFF2-40B4-BE49-F238E27FC236}">
                        <a16:creationId xmlns:a16="http://schemas.microsoft.com/office/drawing/2014/main" id="{EF2B1D9D-BADA-48A3-960D-CE1910A9659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01" name="Line 66">
                    <a:extLst>
                      <a:ext uri="{FF2B5EF4-FFF2-40B4-BE49-F238E27FC236}">
                        <a16:creationId xmlns:a16="http://schemas.microsoft.com/office/drawing/2014/main" id="{ADE9859C-2BAE-408A-80E6-1959A2D1827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02" name="Line 67">
                    <a:extLst>
                      <a:ext uri="{FF2B5EF4-FFF2-40B4-BE49-F238E27FC236}">
                        <a16:creationId xmlns:a16="http://schemas.microsoft.com/office/drawing/2014/main" id="{9FA227BD-D0B3-4C64-B057-7BC5672DB86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03" name="Line 69">
                    <a:extLst>
                      <a:ext uri="{FF2B5EF4-FFF2-40B4-BE49-F238E27FC236}">
                        <a16:creationId xmlns:a16="http://schemas.microsoft.com/office/drawing/2014/main" id="{CBBAB37E-592A-419D-A42F-C5112DF034B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04" name="Line 74">
                    <a:extLst>
                      <a:ext uri="{FF2B5EF4-FFF2-40B4-BE49-F238E27FC236}">
                        <a16:creationId xmlns:a16="http://schemas.microsoft.com/office/drawing/2014/main" id="{A6B347BE-2EDE-4399-B304-402FF9BE525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05" name="Freeform 78">
                    <a:extLst>
                      <a:ext uri="{FF2B5EF4-FFF2-40B4-BE49-F238E27FC236}">
                        <a16:creationId xmlns:a16="http://schemas.microsoft.com/office/drawing/2014/main" id="{A55A26FB-2B5E-4026-A87C-36DD8F6C8DF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06" name="Freeform 80">
                    <a:extLst>
                      <a:ext uri="{FF2B5EF4-FFF2-40B4-BE49-F238E27FC236}">
                        <a16:creationId xmlns:a16="http://schemas.microsoft.com/office/drawing/2014/main" id="{A6814A1A-E329-4F3C-82C2-00B63A7C50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nvGrpSpPr>
                <p:cNvPr id="468" name="Group 467">
                  <a:extLst>
                    <a:ext uri="{FF2B5EF4-FFF2-40B4-BE49-F238E27FC236}">
                      <a16:creationId xmlns:a16="http://schemas.microsoft.com/office/drawing/2014/main" id="{810A575D-06A5-46EC-85DE-06AC67836853}"/>
                    </a:ext>
                  </a:extLst>
                </p:cNvPr>
                <p:cNvGrpSpPr/>
                <p:nvPr/>
              </p:nvGrpSpPr>
              <p:grpSpPr>
                <a:xfrm>
                  <a:off x="2923050" y="2665148"/>
                  <a:ext cx="356509" cy="349884"/>
                  <a:chOff x="468738" y="2241878"/>
                  <a:chExt cx="1655483" cy="1624719"/>
                </a:xfrm>
              </p:grpSpPr>
              <p:sp>
                <p:nvSpPr>
                  <p:cNvPr id="469" name="Freeform 5">
                    <a:extLst>
                      <a:ext uri="{FF2B5EF4-FFF2-40B4-BE49-F238E27FC236}">
                        <a16:creationId xmlns:a16="http://schemas.microsoft.com/office/drawing/2014/main" id="{00E0D75A-01A6-4891-928C-3E45C3576988}"/>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70" name="Freeform 6">
                    <a:extLst>
                      <a:ext uri="{FF2B5EF4-FFF2-40B4-BE49-F238E27FC236}">
                        <a16:creationId xmlns:a16="http://schemas.microsoft.com/office/drawing/2014/main" id="{5D1904E9-AAAF-40F2-B6A2-3D12CDE7A41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71" name="Line 7">
                    <a:extLst>
                      <a:ext uri="{FF2B5EF4-FFF2-40B4-BE49-F238E27FC236}">
                        <a16:creationId xmlns:a16="http://schemas.microsoft.com/office/drawing/2014/main" id="{3462C96E-1887-4993-A07F-92BCF3C60C5A}"/>
                      </a:ext>
                    </a:extLst>
                  </p:cNvPr>
                  <p:cNvSpPr>
                    <a:spLocks noChangeShapeType="1"/>
                  </p:cNvSpPr>
                  <p:nvPr/>
                </p:nvSpPr>
                <p:spPr bwMode="auto">
                  <a:xfrm flipH="1">
                    <a:off x="1772614" y="3068155"/>
                    <a:ext cx="325237" cy="0"/>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72" name="Freeform 8">
                    <a:extLst>
                      <a:ext uri="{FF2B5EF4-FFF2-40B4-BE49-F238E27FC236}">
                        <a16:creationId xmlns:a16="http://schemas.microsoft.com/office/drawing/2014/main" id="{DD8B797E-41AA-493B-A1FF-19CC68D5BAD1}"/>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73" name="Line 9">
                    <a:extLst>
                      <a:ext uri="{FF2B5EF4-FFF2-40B4-BE49-F238E27FC236}">
                        <a16:creationId xmlns:a16="http://schemas.microsoft.com/office/drawing/2014/main" id="{19CA6E26-8B2D-4BE5-A511-2A4344CE75CC}"/>
                      </a:ext>
                    </a:extLst>
                  </p:cNvPr>
                  <p:cNvSpPr>
                    <a:spLocks noChangeShapeType="1"/>
                  </p:cNvSpPr>
                  <p:nvPr/>
                </p:nvSpPr>
                <p:spPr bwMode="auto">
                  <a:xfrm>
                    <a:off x="492178" y="3068155"/>
                    <a:ext cx="328167" cy="0"/>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nvGrpSpPr>
                  <p:cNvPr id="474" name="Group 473">
                    <a:extLst>
                      <a:ext uri="{FF2B5EF4-FFF2-40B4-BE49-F238E27FC236}">
                        <a16:creationId xmlns:a16="http://schemas.microsoft.com/office/drawing/2014/main" id="{DA6580B9-18B8-4E37-819D-F82C8EAA0FFA}"/>
                      </a:ext>
                    </a:extLst>
                  </p:cNvPr>
                  <p:cNvGrpSpPr/>
                  <p:nvPr/>
                </p:nvGrpSpPr>
                <p:grpSpPr>
                  <a:xfrm>
                    <a:off x="1207113" y="2241878"/>
                    <a:ext cx="178734" cy="348678"/>
                    <a:chOff x="1207113" y="2241878"/>
                    <a:chExt cx="178734" cy="348678"/>
                  </a:xfrm>
                </p:grpSpPr>
                <p:sp>
                  <p:nvSpPr>
                    <p:cNvPr id="497" name="Freeform 10">
                      <a:extLst>
                        <a:ext uri="{FF2B5EF4-FFF2-40B4-BE49-F238E27FC236}">
                          <a16:creationId xmlns:a16="http://schemas.microsoft.com/office/drawing/2014/main" id="{9F329804-E151-4769-B7BA-36DA4D2B25F0}"/>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98" name="Line 11">
                      <a:extLst>
                        <a:ext uri="{FF2B5EF4-FFF2-40B4-BE49-F238E27FC236}">
                          <a16:creationId xmlns:a16="http://schemas.microsoft.com/office/drawing/2014/main" id="{0AD4A9E2-698C-417B-8A82-FF1E4EBBC7CE}"/>
                        </a:ext>
                      </a:extLst>
                    </p:cNvPr>
                    <p:cNvSpPr>
                      <a:spLocks noChangeShapeType="1"/>
                    </p:cNvSpPr>
                    <p:nvPr/>
                  </p:nvSpPr>
                  <p:spPr bwMode="auto">
                    <a:xfrm>
                      <a:off x="1295014" y="2265319"/>
                      <a:ext cx="0" cy="325237"/>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475" name="Freeform 12">
                    <a:extLst>
                      <a:ext uri="{FF2B5EF4-FFF2-40B4-BE49-F238E27FC236}">
                        <a16:creationId xmlns:a16="http://schemas.microsoft.com/office/drawing/2014/main" id="{D1432C88-5D1C-4898-B02B-B216E1DDC2F1}"/>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76" name="Line 13">
                    <a:extLst>
                      <a:ext uri="{FF2B5EF4-FFF2-40B4-BE49-F238E27FC236}">
                        <a16:creationId xmlns:a16="http://schemas.microsoft.com/office/drawing/2014/main" id="{10996E22-3E56-4693-A100-DF06A6E48689}"/>
                      </a:ext>
                    </a:extLst>
                  </p:cNvPr>
                  <p:cNvSpPr>
                    <a:spLocks noChangeShapeType="1"/>
                  </p:cNvSpPr>
                  <p:nvPr/>
                </p:nvSpPr>
                <p:spPr bwMode="auto">
                  <a:xfrm flipH="1">
                    <a:off x="1634901" y="2499724"/>
                    <a:ext cx="231475" cy="23147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77" name="Freeform 14">
                    <a:extLst>
                      <a:ext uri="{FF2B5EF4-FFF2-40B4-BE49-F238E27FC236}">
                        <a16:creationId xmlns:a16="http://schemas.microsoft.com/office/drawing/2014/main" id="{66D14144-09A1-453E-B31D-893F42C5AF19}"/>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78" name="Line 15">
                    <a:extLst>
                      <a:ext uri="{FF2B5EF4-FFF2-40B4-BE49-F238E27FC236}">
                        <a16:creationId xmlns:a16="http://schemas.microsoft.com/office/drawing/2014/main" id="{122CD7D6-5E81-43C8-8A4F-BB3C67025705}"/>
                      </a:ext>
                    </a:extLst>
                  </p:cNvPr>
                  <p:cNvSpPr>
                    <a:spLocks noChangeShapeType="1"/>
                  </p:cNvSpPr>
                  <p:nvPr/>
                </p:nvSpPr>
                <p:spPr bwMode="auto">
                  <a:xfrm flipV="1">
                    <a:off x="726583" y="3408042"/>
                    <a:ext cx="231475" cy="22854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79" name="Freeform 16">
                    <a:extLst>
                      <a:ext uri="{FF2B5EF4-FFF2-40B4-BE49-F238E27FC236}">
                        <a16:creationId xmlns:a16="http://schemas.microsoft.com/office/drawing/2014/main" id="{76E19821-12C6-4912-9C8C-215B74CD67F9}"/>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0" name="Line 17">
                    <a:extLst>
                      <a:ext uri="{FF2B5EF4-FFF2-40B4-BE49-F238E27FC236}">
                        <a16:creationId xmlns:a16="http://schemas.microsoft.com/office/drawing/2014/main" id="{7E67ED66-90A4-49A3-8852-5A41E0DD3A5D}"/>
                      </a:ext>
                    </a:extLst>
                  </p:cNvPr>
                  <p:cNvSpPr>
                    <a:spLocks noChangeShapeType="1"/>
                  </p:cNvSpPr>
                  <p:nvPr/>
                </p:nvSpPr>
                <p:spPr bwMode="auto">
                  <a:xfrm flipH="1" flipV="1">
                    <a:off x="1634901" y="3408042"/>
                    <a:ext cx="231475" cy="22854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1" name="Freeform 18">
                    <a:extLst>
                      <a:ext uri="{FF2B5EF4-FFF2-40B4-BE49-F238E27FC236}">
                        <a16:creationId xmlns:a16="http://schemas.microsoft.com/office/drawing/2014/main" id="{D01D7F69-4DEB-470D-B0D8-019B5706E61F}"/>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2" name="Line 19">
                    <a:extLst>
                      <a:ext uri="{FF2B5EF4-FFF2-40B4-BE49-F238E27FC236}">
                        <a16:creationId xmlns:a16="http://schemas.microsoft.com/office/drawing/2014/main" id="{DF8DD026-DF40-4691-839A-9205E727B026}"/>
                      </a:ext>
                    </a:extLst>
                  </p:cNvPr>
                  <p:cNvSpPr>
                    <a:spLocks noChangeShapeType="1"/>
                  </p:cNvSpPr>
                  <p:nvPr/>
                </p:nvSpPr>
                <p:spPr bwMode="auto">
                  <a:xfrm>
                    <a:off x="726583" y="2499724"/>
                    <a:ext cx="231475" cy="23147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3" name="Freeform 35">
                    <a:extLst>
                      <a:ext uri="{FF2B5EF4-FFF2-40B4-BE49-F238E27FC236}">
                        <a16:creationId xmlns:a16="http://schemas.microsoft.com/office/drawing/2014/main" id="{612B9CCC-71B2-4501-B0F8-336A611932CD}"/>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4" name="Freeform 36">
                    <a:extLst>
                      <a:ext uri="{FF2B5EF4-FFF2-40B4-BE49-F238E27FC236}">
                        <a16:creationId xmlns:a16="http://schemas.microsoft.com/office/drawing/2014/main" id="{E477D1DA-2EB5-4924-8CD2-5BC42271B736}"/>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5" name="Freeform 37">
                    <a:extLst>
                      <a:ext uri="{FF2B5EF4-FFF2-40B4-BE49-F238E27FC236}">
                        <a16:creationId xmlns:a16="http://schemas.microsoft.com/office/drawing/2014/main" id="{43A8D533-D48C-4F75-AA3E-3431442F4174}"/>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6" name="Freeform 38">
                    <a:extLst>
                      <a:ext uri="{FF2B5EF4-FFF2-40B4-BE49-F238E27FC236}">
                        <a16:creationId xmlns:a16="http://schemas.microsoft.com/office/drawing/2014/main" id="{00A0A1C5-94F7-424F-8445-BE482C9C7744}"/>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7" name="Freeform 39">
                    <a:extLst>
                      <a:ext uri="{FF2B5EF4-FFF2-40B4-BE49-F238E27FC236}">
                        <a16:creationId xmlns:a16="http://schemas.microsoft.com/office/drawing/2014/main" id="{E73C0AF2-243E-46E5-AA49-6084E0118A83}"/>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8" name="Freeform 40">
                    <a:extLst>
                      <a:ext uri="{FF2B5EF4-FFF2-40B4-BE49-F238E27FC236}">
                        <a16:creationId xmlns:a16="http://schemas.microsoft.com/office/drawing/2014/main" id="{F7C76455-924D-4A33-9168-3BFB4B81443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89" name="Freeform 41">
                    <a:extLst>
                      <a:ext uri="{FF2B5EF4-FFF2-40B4-BE49-F238E27FC236}">
                        <a16:creationId xmlns:a16="http://schemas.microsoft.com/office/drawing/2014/main" id="{25698BF0-54E8-4E57-B53E-0DC9A0E25A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90" name="Line 42">
                    <a:extLst>
                      <a:ext uri="{FF2B5EF4-FFF2-40B4-BE49-F238E27FC236}">
                        <a16:creationId xmlns:a16="http://schemas.microsoft.com/office/drawing/2014/main" id="{C6248F99-E812-4613-A4E5-69F1461B4B5E}"/>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91" name="Freeform 43">
                    <a:extLst>
                      <a:ext uri="{FF2B5EF4-FFF2-40B4-BE49-F238E27FC236}">
                        <a16:creationId xmlns:a16="http://schemas.microsoft.com/office/drawing/2014/main" id="{A184F481-25E7-4751-9CDE-8E7539480E16}"/>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92" name="Freeform 44">
                    <a:extLst>
                      <a:ext uri="{FF2B5EF4-FFF2-40B4-BE49-F238E27FC236}">
                        <a16:creationId xmlns:a16="http://schemas.microsoft.com/office/drawing/2014/main" id="{43EF1EF9-999F-4279-BE21-5291E5D0AA14}"/>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93" name="Freeform 45">
                    <a:extLst>
                      <a:ext uri="{FF2B5EF4-FFF2-40B4-BE49-F238E27FC236}">
                        <a16:creationId xmlns:a16="http://schemas.microsoft.com/office/drawing/2014/main" id="{D7913FC5-7BAE-413C-B045-14DF68870955}"/>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nvGrpSpPr>
                  <p:cNvPr id="494" name="Group 493">
                    <a:extLst>
                      <a:ext uri="{FF2B5EF4-FFF2-40B4-BE49-F238E27FC236}">
                        <a16:creationId xmlns:a16="http://schemas.microsoft.com/office/drawing/2014/main" id="{6BD2F11C-0572-4ED6-AFAF-ADD671C3A6E5}"/>
                      </a:ext>
                    </a:extLst>
                  </p:cNvPr>
                  <p:cNvGrpSpPr/>
                  <p:nvPr/>
                </p:nvGrpSpPr>
                <p:grpSpPr>
                  <a:xfrm flipV="1">
                    <a:off x="1202047" y="3517919"/>
                    <a:ext cx="178734" cy="348678"/>
                    <a:chOff x="1207113" y="2241878"/>
                    <a:chExt cx="178734" cy="348678"/>
                  </a:xfrm>
                </p:grpSpPr>
                <p:sp>
                  <p:nvSpPr>
                    <p:cNvPr id="495" name="Freeform 10">
                      <a:extLst>
                        <a:ext uri="{FF2B5EF4-FFF2-40B4-BE49-F238E27FC236}">
                          <a16:creationId xmlns:a16="http://schemas.microsoft.com/office/drawing/2014/main" id="{4DDA93E7-E9C3-41A5-874E-247F0EB0F4E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96" name="Line 11">
                      <a:extLst>
                        <a:ext uri="{FF2B5EF4-FFF2-40B4-BE49-F238E27FC236}">
                          <a16:creationId xmlns:a16="http://schemas.microsoft.com/office/drawing/2014/main" id="{F459252D-1A2D-4CE5-8CFD-D08C063668C0}"/>
                        </a:ext>
                      </a:extLst>
                    </p:cNvPr>
                    <p:cNvSpPr>
                      <a:spLocks noChangeShapeType="1"/>
                    </p:cNvSpPr>
                    <p:nvPr/>
                  </p:nvSpPr>
                  <p:spPr bwMode="auto">
                    <a:xfrm>
                      <a:off x="1295014" y="2265319"/>
                      <a:ext cx="0" cy="325237"/>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grpSp>
          <p:sp>
            <p:nvSpPr>
              <p:cNvPr id="466" name="Rectangle 465">
                <a:extLst>
                  <a:ext uri="{FF2B5EF4-FFF2-40B4-BE49-F238E27FC236}">
                    <a16:creationId xmlns:a16="http://schemas.microsoft.com/office/drawing/2014/main" id="{F848B2E1-05C8-4028-9BA8-5D9FA0818139}"/>
                  </a:ext>
                </a:extLst>
              </p:cNvPr>
              <p:cNvSpPr/>
              <p:nvPr/>
            </p:nvSpPr>
            <p:spPr>
              <a:xfrm>
                <a:off x="8994581" y="916564"/>
                <a:ext cx="747890" cy="34386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Scrum Master</a:t>
                </a:r>
              </a:p>
            </p:txBody>
          </p:sp>
        </p:grpSp>
        <p:grpSp>
          <p:nvGrpSpPr>
            <p:cNvPr id="440" name="Group 439">
              <a:extLst>
                <a:ext uri="{FF2B5EF4-FFF2-40B4-BE49-F238E27FC236}">
                  <a16:creationId xmlns:a16="http://schemas.microsoft.com/office/drawing/2014/main" id="{2F2CDFE3-00D2-4223-A956-04CBE7B58F07}"/>
                </a:ext>
              </a:extLst>
            </p:cNvPr>
            <p:cNvGrpSpPr/>
            <p:nvPr/>
          </p:nvGrpSpPr>
          <p:grpSpPr>
            <a:xfrm>
              <a:off x="6273608" y="4428583"/>
              <a:ext cx="1166850" cy="853339"/>
              <a:chOff x="8018209" y="654428"/>
              <a:chExt cx="838506" cy="606759"/>
            </a:xfrm>
          </p:grpSpPr>
          <p:grpSp>
            <p:nvGrpSpPr>
              <p:cNvPr id="441" name="Group 440">
                <a:extLst>
                  <a:ext uri="{FF2B5EF4-FFF2-40B4-BE49-F238E27FC236}">
                    <a16:creationId xmlns:a16="http://schemas.microsoft.com/office/drawing/2014/main" id="{EEE3279F-70CB-4BBD-8FEB-49CABA8F3858}"/>
                  </a:ext>
                </a:extLst>
              </p:cNvPr>
              <p:cNvGrpSpPr/>
              <p:nvPr/>
            </p:nvGrpSpPr>
            <p:grpSpPr>
              <a:xfrm>
                <a:off x="8264916" y="654428"/>
                <a:ext cx="343857" cy="343859"/>
                <a:chOff x="3646311" y="2599143"/>
                <a:chExt cx="515816" cy="515818"/>
              </a:xfrm>
            </p:grpSpPr>
            <p:grpSp>
              <p:nvGrpSpPr>
                <p:cNvPr id="443" name="Group 64">
                  <a:extLst>
                    <a:ext uri="{FF2B5EF4-FFF2-40B4-BE49-F238E27FC236}">
                      <a16:creationId xmlns:a16="http://schemas.microsoft.com/office/drawing/2014/main" id="{9777D7BB-3C45-4F4E-8BA5-F67A32E4AE38}"/>
                    </a:ext>
                  </a:extLst>
                </p:cNvPr>
                <p:cNvGrpSpPr>
                  <a:grpSpLocks noChangeAspect="1"/>
                </p:cNvGrpSpPr>
                <p:nvPr/>
              </p:nvGrpSpPr>
              <p:grpSpPr bwMode="auto">
                <a:xfrm rot="8100000">
                  <a:off x="3646311" y="2599143"/>
                  <a:ext cx="515816" cy="515818"/>
                  <a:chOff x="701" y="2170"/>
                  <a:chExt cx="587" cy="587"/>
                </a:xfrm>
              </p:grpSpPr>
              <p:sp>
                <p:nvSpPr>
                  <p:cNvPr id="458" name="Oval 65">
                    <a:extLst>
                      <a:ext uri="{FF2B5EF4-FFF2-40B4-BE49-F238E27FC236}">
                        <a16:creationId xmlns:a16="http://schemas.microsoft.com/office/drawing/2014/main" id="{F7F88CF5-1CD4-49AF-99C1-8F6434BD1D0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9" name="Line 66">
                    <a:extLst>
                      <a:ext uri="{FF2B5EF4-FFF2-40B4-BE49-F238E27FC236}">
                        <a16:creationId xmlns:a16="http://schemas.microsoft.com/office/drawing/2014/main" id="{5F0C69D1-9B5C-4C5B-802F-97BB6B0B414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60" name="Line 67">
                    <a:extLst>
                      <a:ext uri="{FF2B5EF4-FFF2-40B4-BE49-F238E27FC236}">
                        <a16:creationId xmlns:a16="http://schemas.microsoft.com/office/drawing/2014/main" id="{7FD0592D-8493-4FC2-B607-E4EFC1F511C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61" name="Line 69">
                    <a:extLst>
                      <a:ext uri="{FF2B5EF4-FFF2-40B4-BE49-F238E27FC236}">
                        <a16:creationId xmlns:a16="http://schemas.microsoft.com/office/drawing/2014/main" id="{283E48A4-34CE-4580-B668-D1555203375D}"/>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62" name="Line 74">
                    <a:extLst>
                      <a:ext uri="{FF2B5EF4-FFF2-40B4-BE49-F238E27FC236}">
                        <a16:creationId xmlns:a16="http://schemas.microsoft.com/office/drawing/2014/main" id="{BDA34552-484D-4A3F-901C-09053B6DD4C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63" name="Freeform 78">
                    <a:extLst>
                      <a:ext uri="{FF2B5EF4-FFF2-40B4-BE49-F238E27FC236}">
                        <a16:creationId xmlns:a16="http://schemas.microsoft.com/office/drawing/2014/main" id="{39819443-66F2-4C8E-B9C0-D5278E4418F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64" name="Freeform 80">
                    <a:extLst>
                      <a:ext uri="{FF2B5EF4-FFF2-40B4-BE49-F238E27FC236}">
                        <a16:creationId xmlns:a16="http://schemas.microsoft.com/office/drawing/2014/main" id="{4998BB3F-0358-4CD7-AE1B-C7EDBFE557B1}"/>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nvGrpSpPr>
                <p:cNvPr id="444" name="Group 443">
                  <a:extLst>
                    <a:ext uri="{FF2B5EF4-FFF2-40B4-BE49-F238E27FC236}">
                      <a16:creationId xmlns:a16="http://schemas.microsoft.com/office/drawing/2014/main" id="{C1CAE0B7-4167-47CD-8F0D-9739F2692960}"/>
                    </a:ext>
                  </a:extLst>
                </p:cNvPr>
                <p:cNvGrpSpPr/>
                <p:nvPr/>
              </p:nvGrpSpPr>
              <p:grpSpPr>
                <a:xfrm>
                  <a:off x="3707533" y="2731244"/>
                  <a:ext cx="389644" cy="289271"/>
                  <a:chOff x="3707533" y="2731244"/>
                  <a:chExt cx="389644" cy="289271"/>
                </a:xfrm>
              </p:grpSpPr>
              <p:sp>
                <p:nvSpPr>
                  <p:cNvPr id="445" name="Freeform 33">
                    <a:extLst>
                      <a:ext uri="{FF2B5EF4-FFF2-40B4-BE49-F238E27FC236}">
                        <a16:creationId xmlns:a16="http://schemas.microsoft.com/office/drawing/2014/main" id="{D1B84878-25E5-4DD4-9D55-6E3BABCA0DDD}"/>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46" name="Freeform 34">
                    <a:extLst>
                      <a:ext uri="{FF2B5EF4-FFF2-40B4-BE49-F238E27FC236}">
                        <a16:creationId xmlns:a16="http://schemas.microsoft.com/office/drawing/2014/main" id="{F4076C38-70B1-4763-B3BF-A8138AC17BCB}"/>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47" name="Freeform 37">
                    <a:extLst>
                      <a:ext uri="{FF2B5EF4-FFF2-40B4-BE49-F238E27FC236}">
                        <a16:creationId xmlns:a16="http://schemas.microsoft.com/office/drawing/2014/main" id="{9588386D-450E-4EAE-B1F0-631C3BA74448}"/>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48" name="Freeform 38">
                    <a:extLst>
                      <a:ext uri="{FF2B5EF4-FFF2-40B4-BE49-F238E27FC236}">
                        <a16:creationId xmlns:a16="http://schemas.microsoft.com/office/drawing/2014/main" id="{0330219B-C902-4357-B4B8-655B658FBD1B}"/>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49" name="Freeform 32">
                    <a:extLst>
                      <a:ext uri="{FF2B5EF4-FFF2-40B4-BE49-F238E27FC236}">
                        <a16:creationId xmlns:a16="http://schemas.microsoft.com/office/drawing/2014/main" id="{2D49BCA0-6889-4A32-9FB0-E18B892647A6}"/>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0" name="Freeform 35">
                    <a:extLst>
                      <a:ext uri="{FF2B5EF4-FFF2-40B4-BE49-F238E27FC236}">
                        <a16:creationId xmlns:a16="http://schemas.microsoft.com/office/drawing/2014/main" id="{A4601023-9F7F-49F2-98D9-89529EC2A1D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1" name="Freeform 36">
                    <a:extLst>
                      <a:ext uri="{FF2B5EF4-FFF2-40B4-BE49-F238E27FC236}">
                        <a16:creationId xmlns:a16="http://schemas.microsoft.com/office/drawing/2014/main" id="{D78E5DD2-1E46-4BF3-86B6-B3EC00D5161D}"/>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2" name="Freeform 25">
                    <a:extLst>
                      <a:ext uri="{FF2B5EF4-FFF2-40B4-BE49-F238E27FC236}">
                        <a16:creationId xmlns:a16="http://schemas.microsoft.com/office/drawing/2014/main" id="{7DE353CB-9D67-4D45-9C02-F9829E3BD241}"/>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3" name="Freeform 39">
                    <a:extLst>
                      <a:ext uri="{FF2B5EF4-FFF2-40B4-BE49-F238E27FC236}">
                        <a16:creationId xmlns:a16="http://schemas.microsoft.com/office/drawing/2014/main" id="{C96DD23B-B6F2-4348-9764-ADE4DC12F025}"/>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4" name="Freeform 26">
                    <a:extLst>
                      <a:ext uri="{FF2B5EF4-FFF2-40B4-BE49-F238E27FC236}">
                        <a16:creationId xmlns:a16="http://schemas.microsoft.com/office/drawing/2014/main" id="{074BD3EE-6F28-4014-BCA7-9FBBF7ECBF5D}"/>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5" name="Rectangle 27">
                    <a:extLst>
                      <a:ext uri="{FF2B5EF4-FFF2-40B4-BE49-F238E27FC236}">
                        <a16:creationId xmlns:a16="http://schemas.microsoft.com/office/drawing/2014/main" id="{CFEE2925-9768-40AF-A61C-332065F2FC7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6" name="Line 29">
                    <a:extLst>
                      <a:ext uri="{FF2B5EF4-FFF2-40B4-BE49-F238E27FC236}">
                        <a16:creationId xmlns:a16="http://schemas.microsoft.com/office/drawing/2014/main" id="{47B0827F-9438-4201-AE02-5E60977E7FB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457" name="Line 31">
                    <a:extLst>
                      <a:ext uri="{FF2B5EF4-FFF2-40B4-BE49-F238E27FC236}">
                        <a16:creationId xmlns:a16="http://schemas.microsoft.com/office/drawing/2014/main" id="{DA094AF8-2022-4F67-994F-7AAC00D5EA49}"/>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46633" tIns="23317" rIns="46633" bIns="2331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sp>
            <p:nvSpPr>
              <p:cNvPr id="442" name="Rectangle 441">
                <a:extLst>
                  <a:ext uri="{FF2B5EF4-FFF2-40B4-BE49-F238E27FC236}">
                    <a16:creationId xmlns:a16="http://schemas.microsoft.com/office/drawing/2014/main" id="{9D70A420-BEAC-4C2A-9530-1C9964768801}"/>
                  </a:ext>
                </a:extLst>
              </p:cNvPr>
              <p:cNvSpPr/>
              <p:nvPr/>
            </p:nvSpPr>
            <p:spPr>
              <a:xfrm>
                <a:off x="8018209" y="976693"/>
                <a:ext cx="838506" cy="284494"/>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Development </a:t>
                </a:r>
                <a:b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b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team</a:t>
                </a:r>
              </a:p>
            </p:txBody>
          </p:sp>
        </p:grpSp>
      </p:grpSp>
      <p:grpSp>
        <p:nvGrpSpPr>
          <p:cNvPr id="527" name="Group 526">
            <a:extLst>
              <a:ext uri="{FF2B5EF4-FFF2-40B4-BE49-F238E27FC236}">
                <a16:creationId xmlns:a16="http://schemas.microsoft.com/office/drawing/2014/main" id="{B0209400-F58F-4C3A-ABFC-83E121BC40E0}"/>
              </a:ext>
            </a:extLst>
          </p:cNvPr>
          <p:cNvGrpSpPr/>
          <p:nvPr/>
        </p:nvGrpSpPr>
        <p:grpSpPr>
          <a:xfrm>
            <a:off x="7597771" y="3033500"/>
            <a:ext cx="2846862" cy="3387602"/>
            <a:chOff x="7597771" y="3033500"/>
            <a:chExt cx="2846862" cy="3387602"/>
          </a:xfrm>
        </p:grpSpPr>
        <p:sp>
          <p:nvSpPr>
            <p:cNvPr id="533" name="Rectangle 532">
              <a:extLst>
                <a:ext uri="{FF2B5EF4-FFF2-40B4-BE49-F238E27FC236}">
                  <a16:creationId xmlns:a16="http://schemas.microsoft.com/office/drawing/2014/main" id="{0E332DB3-3BB7-4FE6-95DD-EB740950A8D0}"/>
                </a:ext>
              </a:extLst>
            </p:cNvPr>
            <p:cNvSpPr/>
            <p:nvPr/>
          </p:nvSpPr>
          <p:spPr bwMode="gray">
            <a:xfrm>
              <a:off x="7597771" y="3033500"/>
              <a:ext cx="2841986" cy="3349970"/>
            </a:xfrm>
            <a:prstGeom prst="rect">
              <a:avLst/>
            </a:prstGeom>
            <a:solidFill>
              <a:sysClr val="window" lastClr="FFFFFF">
                <a:alpha val="80000"/>
              </a:sysClr>
            </a:solidFill>
            <a:ln w="38100" algn="ctr">
              <a:solidFill>
                <a:srgbClr val="97999B"/>
              </a:solidFill>
              <a:miter lim="800000"/>
              <a:headEnd/>
              <a:tailEnd/>
            </a:ln>
            <a:effectLst/>
          </p:spPr>
          <p:txBody>
            <a:bodyPr wrap="square" lIns="28337" tIns="28337" rIns="28337" bIns="28337" rtlCol="0" anchor="t"/>
            <a:lstStyle/>
            <a:p>
              <a:pPr marL="0" marR="0" lvl="0" indent="0" algn="ctr" defTabSz="621781"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rPr>
                <a:t>8 Artifacts</a:t>
              </a:r>
            </a:p>
          </p:txBody>
        </p:sp>
        <p:grpSp>
          <p:nvGrpSpPr>
            <p:cNvPr id="528" name="Group 527">
              <a:extLst>
                <a:ext uri="{FF2B5EF4-FFF2-40B4-BE49-F238E27FC236}">
                  <a16:creationId xmlns:a16="http://schemas.microsoft.com/office/drawing/2014/main" id="{1D27F3EA-0411-411E-9652-20EC9E91D910}"/>
                </a:ext>
              </a:extLst>
            </p:cNvPr>
            <p:cNvGrpSpPr/>
            <p:nvPr/>
          </p:nvGrpSpPr>
          <p:grpSpPr>
            <a:xfrm>
              <a:off x="9293571" y="4455058"/>
              <a:ext cx="1151062" cy="853497"/>
              <a:chOff x="9315678" y="3487467"/>
              <a:chExt cx="1491726" cy="1094447"/>
            </a:xfrm>
          </p:grpSpPr>
          <p:pic>
            <p:nvPicPr>
              <p:cNvPr id="734" name="Picture 733">
                <a:extLst>
                  <a:ext uri="{FF2B5EF4-FFF2-40B4-BE49-F238E27FC236}">
                    <a16:creationId xmlns:a16="http://schemas.microsoft.com/office/drawing/2014/main" id="{71D26636-9C29-4D20-9020-C5AFDE6890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98681" y="3487467"/>
                <a:ext cx="507708" cy="622662"/>
              </a:xfrm>
              <a:prstGeom prst="rect">
                <a:avLst/>
              </a:prstGeom>
            </p:spPr>
          </p:pic>
          <p:sp>
            <p:nvSpPr>
              <p:cNvPr id="735" name="Rectangle 734">
                <a:extLst>
                  <a:ext uri="{FF2B5EF4-FFF2-40B4-BE49-F238E27FC236}">
                    <a16:creationId xmlns:a16="http://schemas.microsoft.com/office/drawing/2014/main" id="{3A783BA0-0299-40B1-8819-C13930EC241A}"/>
                  </a:ext>
                </a:extLst>
              </p:cNvPr>
              <p:cNvSpPr/>
              <p:nvPr/>
            </p:nvSpPr>
            <p:spPr>
              <a:xfrm>
                <a:off x="9315678" y="4068849"/>
                <a:ext cx="1491726" cy="5130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Impediment List</a:t>
                </a:r>
              </a:p>
            </p:txBody>
          </p:sp>
        </p:grpSp>
        <p:grpSp>
          <p:nvGrpSpPr>
            <p:cNvPr id="529" name="Group 528">
              <a:extLst>
                <a:ext uri="{FF2B5EF4-FFF2-40B4-BE49-F238E27FC236}">
                  <a16:creationId xmlns:a16="http://schemas.microsoft.com/office/drawing/2014/main" id="{37ADDAAF-442E-4C63-AB90-A85A394CD0CA}"/>
                </a:ext>
              </a:extLst>
            </p:cNvPr>
            <p:cNvGrpSpPr/>
            <p:nvPr/>
          </p:nvGrpSpPr>
          <p:grpSpPr>
            <a:xfrm>
              <a:off x="8095968" y="5502903"/>
              <a:ext cx="923036" cy="822254"/>
              <a:chOff x="10547223" y="3810233"/>
              <a:chExt cx="1196215" cy="1054385"/>
            </a:xfrm>
          </p:grpSpPr>
          <p:grpSp>
            <p:nvGrpSpPr>
              <p:cNvPr id="686" name="Group 685">
                <a:extLst>
                  <a:ext uri="{FF2B5EF4-FFF2-40B4-BE49-F238E27FC236}">
                    <a16:creationId xmlns:a16="http://schemas.microsoft.com/office/drawing/2014/main" id="{215F90B8-8CF6-410B-B0F8-7507B15B49C5}"/>
                  </a:ext>
                </a:extLst>
              </p:cNvPr>
              <p:cNvGrpSpPr/>
              <p:nvPr/>
            </p:nvGrpSpPr>
            <p:grpSpPr>
              <a:xfrm>
                <a:off x="10876726" y="3810233"/>
                <a:ext cx="525213" cy="410894"/>
                <a:chOff x="4480719" y="1094841"/>
                <a:chExt cx="2277304" cy="1781624"/>
              </a:xfrm>
            </p:grpSpPr>
            <p:grpSp>
              <p:nvGrpSpPr>
                <p:cNvPr id="688" name="Group 687">
                  <a:extLst>
                    <a:ext uri="{FF2B5EF4-FFF2-40B4-BE49-F238E27FC236}">
                      <a16:creationId xmlns:a16="http://schemas.microsoft.com/office/drawing/2014/main" id="{B31D2979-04B8-4EDA-97B7-B980779C181B}"/>
                    </a:ext>
                  </a:extLst>
                </p:cNvPr>
                <p:cNvGrpSpPr/>
                <p:nvPr/>
              </p:nvGrpSpPr>
              <p:grpSpPr>
                <a:xfrm>
                  <a:off x="4480719" y="1094841"/>
                  <a:ext cx="2277304" cy="1781624"/>
                  <a:chOff x="4920717" y="1439069"/>
                  <a:chExt cx="1837306" cy="1437396"/>
                </a:xfrm>
              </p:grpSpPr>
              <p:grpSp>
                <p:nvGrpSpPr>
                  <p:cNvPr id="706" name="Group 705">
                    <a:extLst>
                      <a:ext uri="{FF2B5EF4-FFF2-40B4-BE49-F238E27FC236}">
                        <a16:creationId xmlns:a16="http://schemas.microsoft.com/office/drawing/2014/main" id="{E84A786D-5C50-4A91-9517-BC6F33A355D4}"/>
                      </a:ext>
                    </a:extLst>
                  </p:cNvPr>
                  <p:cNvGrpSpPr/>
                  <p:nvPr/>
                </p:nvGrpSpPr>
                <p:grpSpPr>
                  <a:xfrm>
                    <a:off x="4920717" y="1662738"/>
                    <a:ext cx="1837306" cy="1213727"/>
                    <a:chOff x="1364343" y="2171201"/>
                    <a:chExt cx="5924088" cy="3913464"/>
                  </a:xfrm>
                </p:grpSpPr>
                <p:sp>
                  <p:nvSpPr>
                    <p:cNvPr id="716" name="Rounded Rectangle 28">
                      <a:extLst>
                        <a:ext uri="{FF2B5EF4-FFF2-40B4-BE49-F238E27FC236}">
                          <a16:creationId xmlns:a16="http://schemas.microsoft.com/office/drawing/2014/main" id="{97754683-166A-433A-82F3-AA79E856D86C}"/>
                        </a:ext>
                      </a:extLst>
                    </p:cNvPr>
                    <p:cNvSpPr/>
                    <p:nvPr/>
                  </p:nvSpPr>
                  <p:spPr bwMode="gray">
                    <a:xfrm>
                      <a:off x="1364343" y="2171201"/>
                      <a:ext cx="5796613" cy="3804969"/>
                    </a:xfrm>
                    <a:prstGeom prst="roundRect">
                      <a:avLst>
                        <a:gd name="adj" fmla="val 1948"/>
                      </a:avLst>
                    </a:prstGeom>
                    <a:solidFill>
                      <a:sysClr val="window" lastClr="FFFFFF"/>
                    </a:solidFill>
                    <a:ln w="12700" algn="ctr">
                      <a:solidFill>
                        <a:srgbClr val="86BC25"/>
                      </a:solidFill>
                      <a:miter lim="800000"/>
                      <a:headEnd/>
                      <a:tailEnd/>
                    </a:ln>
                  </p:spPr>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a:ln>
                          <a:noFill/>
                        </a:ln>
                        <a:solidFill>
                          <a:prstClr val="white"/>
                        </a:solidFill>
                        <a:effectLst/>
                        <a:uLnTx/>
                        <a:uFillTx/>
                        <a:latin typeface="Verdana"/>
                      </a:endParaRPr>
                    </a:p>
                  </p:txBody>
                </p:sp>
                <p:sp>
                  <p:nvSpPr>
                    <p:cNvPr id="717" name="Rectangle 716">
                      <a:extLst>
                        <a:ext uri="{FF2B5EF4-FFF2-40B4-BE49-F238E27FC236}">
                          <a16:creationId xmlns:a16="http://schemas.microsoft.com/office/drawing/2014/main" id="{7005C17E-4C67-47BE-B6A9-FF811CE84747}"/>
                        </a:ext>
                      </a:extLst>
                    </p:cNvPr>
                    <p:cNvSpPr/>
                    <p:nvPr/>
                  </p:nvSpPr>
                  <p:spPr bwMode="gray">
                    <a:xfrm>
                      <a:off x="1527569" y="2323062"/>
                      <a:ext cx="5470161" cy="3501247"/>
                    </a:xfrm>
                    <a:prstGeom prst="rect">
                      <a:avLst/>
                    </a:prstGeom>
                    <a:noFill/>
                    <a:ln w="12700" algn="ctr">
                      <a:solidFill>
                        <a:srgbClr val="00ABAB"/>
                      </a:solidFill>
                      <a:prstDash val="sysDot"/>
                      <a:miter lim="800000"/>
                      <a:headEnd/>
                      <a:tailEnd/>
                    </a:ln>
                  </p:spPr>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a:ln>
                          <a:noFill/>
                        </a:ln>
                        <a:solidFill>
                          <a:prstClr val="white"/>
                        </a:solidFill>
                        <a:effectLst/>
                        <a:uLnTx/>
                        <a:uFillTx/>
                        <a:latin typeface="Verdana"/>
                      </a:endParaRPr>
                    </a:p>
                  </p:txBody>
                </p:sp>
                <p:grpSp>
                  <p:nvGrpSpPr>
                    <p:cNvPr id="718" name="Group 717">
                      <a:extLst>
                        <a:ext uri="{FF2B5EF4-FFF2-40B4-BE49-F238E27FC236}">
                          <a16:creationId xmlns:a16="http://schemas.microsoft.com/office/drawing/2014/main" id="{97913EF3-6914-48E7-9F24-7DD1B60E07A1}"/>
                        </a:ext>
                      </a:extLst>
                    </p:cNvPr>
                    <p:cNvGrpSpPr/>
                    <p:nvPr/>
                  </p:nvGrpSpPr>
                  <p:grpSpPr>
                    <a:xfrm>
                      <a:off x="5868157" y="5040386"/>
                      <a:ext cx="1420274" cy="1044279"/>
                      <a:chOff x="7590809" y="5020516"/>
                      <a:chExt cx="1420274" cy="1044279"/>
                    </a:xfrm>
                  </p:grpSpPr>
                  <p:grpSp>
                    <p:nvGrpSpPr>
                      <p:cNvPr id="719" name="Group 718">
                        <a:extLst>
                          <a:ext uri="{FF2B5EF4-FFF2-40B4-BE49-F238E27FC236}">
                            <a16:creationId xmlns:a16="http://schemas.microsoft.com/office/drawing/2014/main" id="{7D9152C0-6309-4034-9F0D-3A86DF656C83}"/>
                          </a:ext>
                        </a:extLst>
                      </p:cNvPr>
                      <p:cNvGrpSpPr/>
                      <p:nvPr/>
                    </p:nvGrpSpPr>
                    <p:grpSpPr>
                      <a:xfrm rot="2700000">
                        <a:off x="8912807" y="5102582"/>
                        <a:ext cx="97666" cy="98886"/>
                        <a:chOff x="9987239" y="5621210"/>
                        <a:chExt cx="110620" cy="112002"/>
                      </a:xfrm>
                    </p:grpSpPr>
                    <p:sp>
                      <p:nvSpPr>
                        <p:cNvPr id="730" name="Line 20">
                          <a:extLst>
                            <a:ext uri="{FF2B5EF4-FFF2-40B4-BE49-F238E27FC236}">
                              <a16:creationId xmlns:a16="http://schemas.microsoft.com/office/drawing/2014/main" id="{702941EB-1C86-4929-A794-719345A044D6}"/>
                            </a:ext>
                          </a:extLst>
                        </p:cNvPr>
                        <p:cNvSpPr>
                          <a:spLocks noChangeShapeType="1"/>
                        </p:cNvSpPr>
                        <p:nvPr/>
                      </p:nvSpPr>
                      <p:spPr bwMode="auto">
                        <a:xfrm>
                          <a:off x="10042549" y="5621210"/>
                          <a:ext cx="0" cy="31804"/>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31" name="Line 21">
                          <a:extLst>
                            <a:ext uri="{FF2B5EF4-FFF2-40B4-BE49-F238E27FC236}">
                              <a16:creationId xmlns:a16="http://schemas.microsoft.com/office/drawing/2014/main" id="{69594D19-20D4-4BEC-B119-ECB5EF058AF6}"/>
                            </a:ext>
                          </a:extLst>
                        </p:cNvPr>
                        <p:cNvSpPr>
                          <a:spLocks noChangeShapeType="1"/>
                        </p:cNvSpPr>
                        <p:nvPr/>
                      </p:nvSpPr>
                      <p:spPr bwMode="auto">
                        <a:xfrm>
                          <a:off x="10042549" y="5700026"/>
                          <a:ext cx="0" cy="33186"/>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32" name="Line 22">
                          <a:extLst>
                            <a:ext uri="{FF2B5EF4-FFF2-40B4-BE49-F238E27FC236}">
                              <a16:creationId xmlns:a16="http://schemas.microsoft.com/office/drawing/2014/main" id="{780E23A1-F338-4AEA-A6C1-10ECEB3685C2}"/>
                            </a:ext>
                          </a:extLst>
                        </p:cNvPr>
                        <p:cNvSpPr>
                          <a:spLocks noChangeShapeType="1"/>
                        </p:cNvSpPr>
                        <p:nvPr/>
                      </p:nvSpPr>
                      <p:spPr bwMode="auto">
                        <a:xfrm flipH="1">
                          <a:off x="10064673"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33" name="Line 23">
                          <a:extLst>
                            <a:ext uri="{FF2B5EF4-FFF2-40B4-BE49-F238E27FC236}">
                              <a16:creationId xmlns:a16="http://schemas.microsoft.com/office/drawing/2014/main" id="{87FA6096-3182-4B20-8B84-BC2FF0A0C55C}"/>
                            </a:ext>
                          </a:extLst>
                        </p:cNvPr>
                        <p:cNvSpPr>
                          <a:spLocks noChangeShapeType="1"/>
                        </p:cNvSpPr>
                        <p:nvPr/>
                      </p:nvSpPr>
                      <p:spPr bwMode="auto">
                        <a:xfrm flipH="1">
                          <a:off x="9987239"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nvGrpSpPr>
                      <p:cNvPr id="720" name="Group 719">
                        <a:extLst>
                          <a:ext uri="{FF2B5EF4-FFF2-40B4-BE49-F238E27FC236}">
                            <a16:creationId xmlns:a16="http://schemas.microsoft.com/office/drawing/2014/main" id="{533D11F9-FBED-4D9A-9E2C-7205365CC5BA}"/>
                          </a:ext>
                        </a:extLst>
                      </p:cNvPr>
                      <p:cNvGrpSpPr/>
                      <p:nvPr/>
                    </p:nvGrpSpPr>
                    <p:grpSpPr>
                      <a:xfrm>
                        <a:off x="7590809" y="5209427"/>
                        <a:ext cx="1374405" cy="855368"/>
                        <a:chOff x="7590809" y="5209427"/>
                        <a:chExt cx="1374405" cy="855368"/>
                      </a:xfrm>
                    </p:grpSpPr>
                    <p:sp>
                      <p:nvSpPr>
                        <p:cNvPr id="724" name="Rounded Rectangle 90">
                          <a:extLst>
                            <a:ext uri="{FF2B5EF4-FFF2-40B4-BE49-F238E27FC236}">
                              <a16:creationId xmlns:a16="http://schemas.microsoft.com/office/drawing/2014/main" id="{202AA2B8-9E1E-4F92-A386-C0DA27DF8A5E}"/>
                            </a:ext>
                          </a:extLst>
                        </p:cNvPr>
                        <p:cNvSpPr/>
                        <p:nvPr/>
                      </p:nvSpPr>
                      <p:spPr bwMode="gray">
                        <a:xfrm flipH="1" flipV="1">
                          <a:off x="8075037" y="5209427"/>
                          <a:ext cx="890177" cy="823566"/>
                        </a:xfrm>
                        <a:custGeom>
                          <a:avLst/>
                          <a:gdLst>
                            <a:gd name="connsiteX0" fmla="*/ 0 w 6095195"/>
                            <a:gd name="connsiteY0" fmla="*/ 124917 h 3804969"/>
                            <a:gd name="connsiteX1" fmla="*/ 124917 w 6095195"/>
                            <a:gd name="connsiteY1" fmla="*/ 0 h 3804969"/>
                            <a:gd name="connsiteX2" fmla="*/ 5970278 w 6095195"/>
                            <a:gd name="connsiteY2" fmla="*/ 0 h 3804969"/>
                            <a:gd name="connsiteX3" fmla="*/ 6095195 w 6095195"/>
                            <a:gd name="connsiteY3" fmla="*/ 124917 h 3804969"/>
                            <a:gd name="connsiteX4" fmla="*/ 6095195 w 6095195"/>
                            <a:gd name="connsiteY4" fmla="*/ 3680052 h 3804969"/>
                            <a:gd name="connsiteX5" fmla="*/ 5970278 w 6095195"/>
                            <a:gd name="connsiteY5" fmla="*/ 3804969 h 3804969"/>
                            <a:gd name="connsiteX6" fmla="*/ 124917 w 6095195"/>
                            <a:gd name="connsiteY6" fmla="*/ 3804969 h 3804969"/>
                            <a:gd name="connsiteX7" fmla="*/ 0 w 6095195"/>
                            <a:gd name="connsiteY7" fmla="*/ 3680052 h 3804969"/>
                            <a:gd name="connsiteX8" fmla="*/ 0 w 6095195"/>
                            <a:gd name="connsiteY8" fmla="*/ 124917 h 3804969"/>
                            <a:gd name="connsiteX0" fmla="*/ 6095195 w 6186635"/>
                            <a:gd name="connsiteY0" fmla="*/ 124917 h 3804969"/>
                            <a:gd name="connsiteX1" fmla="*/ 6095195 w 6186635"/>
                            <a:gd name="connsiteY1" fmla="*/ 3680052 h 3804969"/>
                            <a:gd name="connsiteX2" fmla="*/ 5970278 w 6186635"/>
                            <a:gd name="connsiteY2" fmla="*/ 3804969 h 3804969"/>
                            <a:gd name="connsiteX3" fmla="*/ 124917 w 6186635"/>
                            <a:gd name="connsiteY3" fmla="*/ 3804969 h 3804969"/>
                            <a:gd name="connsiteX4" fmla="*/ 0 w 6186635"/>
                            <a:gd name="connsiteY4" fmla="*/ 3680052 h 3804969"/>
                            <a:gd name="connsiteX5" fmla="*/ 0 w 6186635"/>
                            <a:gd name="connsiteY5" fmla="*/ 124917 h 3804969"/>
                            <a:gd name="connsiteX6" fmla="*/ 124917 w 6186635"/>
                            <a:gd name="connsiteY6" fmla="*/ 0 h 3804969"/>
                            <a:gd name="connsiteX7" fmla="*/ 5970278 w 6186635"/>
                            <a:gd name="connsiteY7" fmla="*/ 0 h 3804969"/>
                            <a:gd name="connsiteX8" fmla="*/ 6186635 w 6186635"/>
                            <a:gd name="connsiteY8" fmla="*/ 216357 h 3804969"/>
                            <a:gd name="connsiteX0" fmla="*/ 6095195 w 6095195"/>
                            <a:gd name="connsiteY0" fmla="*/ 124917 h 3804969"/>
                            <a:gd name="connsiteX1" fmla="*/ 6095195 w 6095195"/>
                            <a:gd name="connsiteY1" fmla="*/ 3680052 h 3804969"/>
                            <a:gd name="connsiteX2" fmla="*/ 5970278 w 6095195"/>
                            <a:gd name="connsiteY2" fmla="*/ 3804969 h 3804969"/>
                            <a:gd name="connsiteX3" fmla="*/ 124917 w 6095195"/>
                            <a:gd name="connsiteY3" fmla="*/ 3804969 h 3804969"/>
                            <a:gd name="connsiteX4" fmla="*/ 0 w 6095195"/>
                            <a:gd name="connsiteY4" fmla="*/ 3680052 h 3804969"/>
                            <a:gd name="connsiteX5" fmla="*/ 0 w 6095195"/>
                            <a:gd name="connsiteY5" fmla="*/ 124917 h 3804969"/>
                            <a:gd name="connsiteX6" fmla="*/ 124917 w 6095195"/>
                            <a:gd name="connsiteY6" fmla="*/ 0 h 3804969"/>
                            <a:gd name="connsiteX7" fmla="*/ 5970278 w 6095195"/>
                            <a:gd name="connsiteY7" fmla="*/ 0 h 3804969"/>
                            <a:gd name="connsiteX0" fmla="*/ 6095195 w 6095195"/>
                            <a:gd name="connsiteY0" fmla="*/ 3680052 h 3804969"/>
                            <a:gd name="connsiteX1" fmla="*/ 5970278 w 6095195"/>
                            <a:gd name="connsiteY1" fmla="*/ 3804969 h 3804969"/>
                            <a:gd name="connsiteX2" fmla="*/ 124917 w 6095195"/>
                            <a:gd name="connsiteY2" fmla="*/ 3804969 h 3804969"/>
                            <a:gd name="connsiteX3" fmla="*/ 0 w 6095195"/>
                            <a:gd name="connsiteY3" fmla="*/ 3680052 h 3804969"/>
                            <a:gd name="connsiteX4" fmla="*/ 0 w 6095195"/>
                            <a:gd name="connsiteY4" fmla="*/ 124917 h 3804969"/>
                            <a:gd name="connsiteX5" fmla="*/ 124917 w 6095195"/>
                            <a:gd name="connsiteY5" fmla="*/ 0 h 3804969"/>
                            <a:gd name="connsiteX6" fmla="*/ 5970278 w 6095195"/>
                            <a:gd name="connsiteY6" fmla="*/ 0 h 3804969"/>
                            <a:gd name="connsiteX0" fmla="*/ 6095195 w 6095195"/>
                            <a:gd name="connsiteY0" fmla="*/ 3680052 h 3804969"/>
                            <a:gd name="connsiteX1" fmla="*/ 5970278 w 6095195"/>
                            <a:gd name="connsiteY1" fmla="*/ 3804969 h 3804969"/>
                            <a:gd name="connsiteX2" fmla="*/ 124917 w 6095195"/>
                            <a:gd name="connsiteY2" fmla="*/ 3804969 h 3804969"/>
                            <a:gd name="connsiteX3" fmla="*/ 0 w 6095195"/>
                            <a:gd name="connsiteY3" fmla="*/ 3680052 h 3804969"/>
                            <a:gd name="connsiteX4" fmla="*/ 0 w 6095195"/>
                            <a:gd name="connsiteY4" fmla="*/ 124917 h 3804969"/>
                            <a:gd name="connsiteX5" fmla="*/ 124917 w 6095195"/>
                            <a:gd name="connsiteY5" fmla="*/ 0 h 3804969"/>
                            <a:gd name="connsiteX6" fmla="*/ 5970278 w 6095195"/>
                            <a:gd name="connsiteY6" fmla="*/ 0 h 3804969"/>
                            <a:gd name="connsiteX0" fmla="*/ 5970278 w 5970278"/>
                            <a:gd name="connsiteY0" fmla="*/ 3804969 h 3804969"/>
                            <a:gd name="connsiteX1" fmla="*/ 124917 w 5970278"/>
                            <a:gd name="connsiteY1" fmla="*/ 3804969 h 3804969"/>
                            <a:gd name="connsiteX2" fmla="*/ 0 w 5970278"/>
                            <a:gd name="connsiteY2" fmla="*/ 3680052 h 3804969"/>
                            <a:gd name="connsiteX3" fmla="*/ 0 w 5970278"/>
                            <a:gd name="connsiteY3" fmla="*/ 124917 h 3804969"/>
                            <a:gd name="connsiteX4" fmla="*/ 124917 w 5970278"/>
                            <a:gd name="connsiteY4" fmla="*/ 0 h 3804969"/>
                            <a:gd name="connsiteX5" fmla="*/ 5970278 w 5970278"/>
                            <a:gd name="connsiteY5" fmla="*/ 0 h 3804969"/>
                            <a:gd name="connsiteX0" fmla="*/ 5970278 w 5970278"/>
                            <a:gd name="connsiteY0" fmla="*/ 3804969 h 3804969"/>
                            <a:gd name="connsiteX1" fmla="*/ 0 w 5970278"/>
                            <a:gd name="connsiteY1" fmla="*/ 3680052 h 3804969"/>
                            <a:gd name="connsiteX2" fmla="*/ 0 w 5970278"/>
                            <a:gd name="connsiteY2" fmla="*/ 124917 h 3804969"/>
                            <a:gd name="connsiteX3" fmla="*/ 124917 w 5970278"/>
                            <a:gd name="connsiteY3" fmla="*/ 0 h 3804969"/>
                            <a:gd name="connsiteX4" fmla="*/ 5970278 w 5970278"/>
                            <a:gd name="connsiteY4" fmla="*/ 0 h 3804969"/>
                            <a:gd name="connsiteX0" fmla="*/ 0 w 5970278"/>
                            <a:gd name="connsiteY0" fmla="*/ 3680052 h 3680052"/>
                            <a:gd name="connsiteX1" fmla="*/ 0 w 5970278"/>
                            <a:gd name="connsiteY1" fmla="*/ 124917 h 3680052"/>
                            <a:gd name="connsiteX2" fmla="*/ 124917 w 5970278"/>
                            <a:gd name="connsiteY2" fmla="*/ 0 h 3680052"/>
                            <a:gd name="connsiteX3" fmla="*/ 5970278 w 5970278"/>
                            <a:gd name="connsiteY3" fmla="*/ 0 h 3680052"/>
                            <a:gd name="connsiteX0" fmla="*/ 0 w 5970278"/>
                            <a:gd name="connsiteY0" fmla="*/ 3680198 h 3680198"/>
                            <a:gd name="connsiteX1" fmla="*/ 0 w 5970278"/>
                            <a:gd name="connsiteY1" fmla="*/ 125063 h 3680198"/>
                            <a:gd name="connsiteX2" fmla="*/ 124917 w 5970278"/>
                            <a:gd name="connsiteY2" fmla="*/ 146 h 3680198"/>
                            <a:gd name="connsiteX3" fmla="*/ 884488 w 5970278"/>
                            <a:gd name="connsiteY3" fmla="*/ 0 h 3680198"/>
                            <a:gd name="connsiteX4" fmla="*/ 5970278 w 5970278"/>
                            <a:gd name="connsiteY4" fmla="*/ 146 h 3680198"/>
                            <a:gd name="connsiteX0" fmla="*/ 0 w 884488"/>
                            <a:gd name="connsiteY0" fmla="*/ 3680198 h 3680198"/>
                            <a:gd name="connsiteX1" fmla="*/ 0 w 884488"/>
                            <a:gd name="connsiteY1" fmla="*/ 125063 h 3680198"/>
                            <a:gd name="connsiteX2" fmla="*/ 124917 w 884488"/>
                            <a:gd name="connsiteY2" fmla="*/ 146 h 3680198"/>
                            <a:gd name="connsiteX3" fmla="*/ 884488 w 884488"/>
                            <a:gd name="connsiteY3" fmla="*/ 0 h 3680198"/>
                            <a:gd name="connsiteX0" fmla="*/ 5689 w 890177"/>
                            <a:gd name="connsiteY0" fmla="*/ 3680198 h 3680198"/>
                            <a:gd name="connsiteX1" fmla="*/ 0 w 890177"/>
                            <a:gd name="connsiteY1" fmla="*/ 823566 h 3680198"/>
                            <a:gd name="connsiteX2" fmla="*/ 5689 w 890177"/>
                            <a:gd name="connsiteY2" fmla="*/ 125063 h 3680198"/>
                            <a:gd name="connsiteX3" fmla="*/ 130606 w 890177"/>
                            <a:gd name="connsiteY3" fmla="*/ 146 h 3680198"/>
                            <a:gd name="connsiteX4" fmla="*/ 890177 w 890177"/>
                            <a:gd name="connsiteY4" fmla="*/ 0 h 3680198"/>
                            <a:gd name="connsiteX0" fmla="*/ 0 w 890177"/>
                            <a:gd name="connsiteY0" fmla="*/ 823566 h 823566"/>
                            <a:gd name="connsiteX1" fmla="*/ 5689 w 890177"/>
                            <a:gd name="connsiteY1" fmla="*/ 125063 h 823566"/>
                            <a:gd name="connsiteX2" fmla="*/ 130606 w 890177"/>
                            <a:gd name="connsiteY2" fmla="*/ 146 h 823566"/>
                            <a:gd name="connsiteX3" fmla="*/ 890177 w 890177"/>
                            <a:gd name="connsiteY3" fmla="*/ 0 h 823566"/>
                          </a:gdLst>
                          <a:ahLst/>
                          <a:cxnLst>
                            <a:cxn ang="0">
                              <a:pos x="connsiteX0" y="connsiteY0"/>
                            </a:cxn>
                            <a:cxn ang="0">
                              <a:pos x="connsiteX1" y="connsiteY1"/>
                            </a:cxn>
                            <a:cxn ang="0">
                              <a:pos x="connsiteX2" y="connsiteY2"/>
                            </a:cxn>
                            <a:cxn ang="0">
                              <a:pos x="connsiteX3" y="connsiteY3"/>
                            </a:cxn>
                          </a:cxnLst>
                          <a:rect l="l" t="t" r="r" b="b"/>
                          <a:pathLst>
                            <a:path w="890177" h="823566">
                              <a:moveTo>
                                <a:pt x="0" y="823566"/>
                              </a:moveTo>
                              <a:cubicBezTo>
                                <a:pt x="1896" y="590732"/>
                                <a:pt x="3793" y="357897"/>
                                <a:pt x="5689" y="125063"/>
                              </a:cubicBezTo>
                              <a:cubicBezTo>
                                <a:pt x="5689" y="56073"/>
                                <a:pt x="61616" y="146"/>
                                <a:pt x="130606" y="146"/>
                              </a:cubicBezTo>
                              <a:lnTo>
                                <a:pt x="890177" y="0"/>
                              </a:lnTo>
                            </a:path>
                          </a:pathLst>
                        </a:custGeom>
                        <a:noFill/>
                        <a:ln w="19050" algn="ctr">
                          <a:solidFill>
                            <a:srgbClr val="00ABAB"/>
                          </a:solidFill>
                          <a:prstDash val="sysDot"/>
                          <a:miter lim="800000"/>
                          <a:headEnd/>
                          <a:tailEnd/>
                        </a:ln>
                      </p:spPr>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a:ln>
                              <a:noFill/>
                            </a:ln>
                            <a:solidFill>
                              <a:prstClr val="white"/>
                            </a:solidFill>
                            <a:effectLst/>
                            <a:uLnTx/>
                            <a:uFillTx/>
                            <a:latin typeface="Verdana"/>
                          </a:endParaRPr>
                        </a:p>
                      </p:txBody>
                    </p:sp>
                    <p:sp>
                      <p:nvSpPr>
                        <p:cNvPr id="725" name="Freeform 8">
                          <a:extLst>
                            <a:ext uri="{FF2B5EF4-FFF2-40B4-BE49-F238E27FC236}">
                              <a16:creationId xmlns:a16="http://schemas.microsoft.com/office/drawing/2014/main" id="{4A78D156-2DC4-4DF8-AA6E-3A3E06378F57}"/>
                            </a:ext>
                          </a:extLst>
                        </p:cNvPr>
                        <p:cNvSpPr>
                          <a:spLocks/>
                        </p:cNvSpPr>
                        <p:nvPr/>
                      </p:nvSpPr>
                      <p:spPr bwMode="auto">
                        <a:xfrm>
                          <a:off x="7590809" y="6001189"/>
                          <a:ext cx="63606" cy="63606"/>
                        </a:xfrm>
                        <a:custGeom>
                          <a:avLst/>
                          <a:gdLst>
                            <a:gd name="T0" fmla="*/ 46 w 46"/>
                            <a:gd name="T1" fmla="*/ 15 h 46"/>
                            <a:gd name="T2" fmla="*/ 31 w 46"/>
                            <a:gd name="T3" fmla="*/ 46 h 46"/>
                            <a:gd name="T4" fmla="*/ 0 w 46"/>
                            <a:gd name="T5" fmla="*/ 31 h 46"/>
                            <a:gd name="T6" fmla="*/ 15 w 46"/>
                            <a:gd name="T7" fmla="*/ 0 h 46"/>
                            <a:gd name="T8" fmla="*/ 46 w 46"/>
                            <a:gd name="T9" fmla="*/ 15 h 46"/>
                          </a:gdLst>
                          <a:ahLst/>
                          <a:cxnLst>
                            <a:cxn ang="0">
                              <a:pos x="T0" y="T1"/>
                            </a:cxn>
                            <a:cxn ang="0">
                              <a:pos x="T2" y="T3"/>
                            </a:cxn>
                            <a:cxn ang="0">
                              <a:pos x="T4" y="T5"/>
                            </a:cxn>
                            <a:cxn ang="0">
                              <a:pos x="T6" y="T7"/>
                            </a:cxn>
                            <a:cxn ang="0">
                              <a:pos x="T8" y="T9"/>
                            </a:cxn>
                          </a:cxnLst>
                          <a:rect l="0" t="0" r="r" b="b"/>
                          <a:pathLst>
                            <a:path w="46" h="46">
                              <a:moveTo>
                                <a:pt x="46" y="15"/>
                              </a:moveTo>
                              <a:lnTo>
                                <a:pt x="31" y="46"/>
                              </a:lnTo>
                              <a:lnTo>
                                <a:pt x="0" y="31"/>
                              </a:lnTo>
                              <a:lnTo>
                                <a:pt x="15" y="0"/>
                              </a:lnTo>
                              <a:lnTo>
                                <a:pt x="46" y="15"/>
                              </a:lnTo>
                              <a:close/>
                            </a:path>
                          </a:pathLst>
                        </a:custGeom>
                        <a:solidFill>
                          <a:srgbClr val="000000"/>
                        </a:solidFill>
                        <a:ln w="9525">
                          <a:solidFill>
                            <a:srgbClr val="FFFFFF"/>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nvGrpSpPr>
                        <p:cNvPr id="726" name="Group 725">
                          <a:extLst>
                            <a:ext uri="{FF2B5EF4-FFF2-40B4-BE49-F238E27FC236}">
                              <a16:creationId xmlns:a16="http://schemas.microsoft.com/office/drawing/2014/main" id="{3E81610B-283C-415B-B43F-63E83B863A98}"/>
                            </a:ext>
                          </a:extLst>
                        </p:cNvPr>
                        <p:cNvGrpSpPr/>
                        <p:nvPr/>
                      </p:nvGrpSpPr>
                      <p:grpSpPr>
                        <a:xfrm>
                          <a:off x="7730615" y="6017525"/>
                          <a:ext cx="268222" cy="45719"/>
                          <a:chOff x="13267244" y="1468053"/>
                          <a:chExt cx="353456" cy="60248"/>
                        </a:xfrm>
                        <a:solidFill>
                          <a:srgbClr val="000000"/>
                        </a:solidFill>
                      </p:grpSpPr>
                      <p:sp>
                        <p:nvSpPr>
                          <p:cNvPr id="727" name="Freeform 24">
                            <a:extLst>
                              <a:ext uri="{FF2B5EF4-FFF2-40B4-BE49-F238E27FC236}">
                                <a16:creationId xmlns:a16="http://schemas.microsoft.com/office/drawing/2014/main" id="{96F056E4-867F-4045-A66A-65B263713F16}"/>
                              </a:ext>
                            </a:extLst>
                          </p:cNvPr>
                          <p:cNvSpPr>
                            <a:spLocks/>
                          </p:cNvSpPr>
                          <p:nvPr/>
                        </p:nvSpPr>
                        <p:spPr bwMode="auto">
                          <a:xfrm>
                            <a:off x="13560452"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28" name="Freeform 25">
                            <a:extLst>
                              <a:ext uri="{FF2B5EF4-FFF2-40B4-BE49-F238E27FC236}">
                                <a16:creationId xmlns:a16="http://schemas.microsoft.com/office/drawing/2014/main" id="{EE8EB0B0-EA90-4394-8231-085ECFA19531}"/>
                              </a:ext>
                            </a:extLst>
                          </p:cNvPr>
                          <p:cNvSpPr>
                            <a:spLocks/>
                          </p:cNvSpPr>
                          <p:nvPr/>
                        </p:nvSpPr>
                        <p:spPr bwMode="auto">
                          <a:xfrm>
                            <a:off x="13413847"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29" name="Freeform 26">
                            <a:extLst>
                              <a:ext uri="{FF2B5EF4-FFF2-40B4-BE49-F238E27FC236}">
                                <a16:creationId xmlns:a16="http://schemas.microsoft.com/office/drawing/2014/main" id="{9FADFDA9-24C2-4594-BCCC-1C9B82D01C84}"/>
                              </a:ext>
                            </a:extLst>
                          </p:cNvPr>
                          <p:cNvSpPr>
                            <a:spLocks/>
                          </p:cNvSpPr>
                          <p:nvPr/>
                        </p:nvSpPr>
                        <p:spPr bwMode="auto">
                          <a:xfrm>
                            <a:off x="13267244"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grpSp>
                    <p:nvGrpSpPr>
                      <p:cNvPr id="721" name="Group 720">
                        <a:extLst>
                          <a:ext uri="{FF2B5EF4-FFF2-40B4-BE49-F238E27FC236}">
                            <a16:creationId xmlns:a16="http://schemas.microsoft.com/office/drawing/2014/main" id="{E2F78B19-C07D-465F-96C5-F7819FFFB60F}"/>
                          </a:ext>
                        </a:extLst>
                      </p:cNvPr>
                      <p:cNvGrpSpPr/>
                      <p:nvPr/>
                    </p:nvGrpSpPr>
                    <p:grpSpPr>
                      <a:xfrm>
                        <a:off x="8923091" y="5020516"/>
                        <a:ext cx="61047" cy="61792"/>
                        <a:chOff x="11477325" y="5164988"/>
                        <a:chExt cx="164679" cy="166688"/>
                      </a:xfrm>
                      <a:noFill/>
                    </p:grpSpPr>
                    <p:sp>
                      <p:nvSpPr>
                        <p:cNvPr id="722" name="Freeform 874">
                          <a:extLst>
                            <a:ext uri="{FF2B5EF4-FFF2-40B4-BE49-F238E27FC236}">
                              <a16:creationId xmlns:a16="http://schemas.microsoft.com/office/drawing/2014/main" id="{60886991-4348-4BCD-AC57-809812F189E5}"/>
                            </a:ext>
                          </a:extLst>
                        </p:cNvPr>
                        <p:cNvSpPr>
                          <a:spLocks/>
                        </p:cNvSpPr>
                        <p:nvPr/>
                      </p:nvSpPr>
                      <p:spPr bwMode="auto">
                        <a:xfrm>
                          <a:off x="11477325" y="5164988"/>
                          <a:ext cx="164679" cy="166688"/>
                        </a:xfrm>
                        <a:custGeom>
                          <a:avLst/>
                          <a:gdLst>
                            <a:gd name="T0" fmla="*/ 0 w 66"/>
                            <a:gd name="T1" fmla="*/ 33 h 66"/>
                            <a:gd name="T2" fmla="*/ 33 w 66"/>
                            <a:gd name="T3" fmla="*/ 0 h 66"/>
                            <a:gd name="T4" fmla="*/ 66 w 66"/>
                            <a:gd name="T5" fmla="*/ 33 h 66"/>
                            <a:gd name="T6" fmla="*/ 33 w 66"/>
                            <a:gd name="T7" fmla="*/ 66 h 66"/>
                            <a:gd name="T8" fmla="*/ 0 w 66"/>
                            <a:gd name="T9" fmla="*/ 33 h 66"/>
                          </a:gdLst>
                          <a:ahLst/>
                          <a:cxnLst>
                            <a:cxn ang="0">
                              <a:pos x="T0" y="T1"/>
                            </a:cxn>
                            <a:cxn ang="0">
                              <a:pos x="T2" y="T3"/>
                            </a:cxn>
                            <a:cxn ang="0">
                              <a:pos x="T4" y="T5"/>
                            </a:cxn>
                            <a:cxn ang="0">
                              <a:pos x="T6" y="T7"/>
                            </a:cxn>
                            <a:cxn ang="0">
                              <a:pos x="T8" y="T9"/>
                            </a:cxn>
                          </a:cxnLst>
                          <a:rect l="0" t="0" r="r" b="b"/>
                          <a:pathLst>
                            <a:path w="66" h="66">
                              <a:moveTo>
                                <a:pt x="0" y="33"/>
                              </a:moveTo>
                              <a:cubicBezTo>
                                <a:pt x="16" y="24"/>
                                <a:pt x="26" y="15"/>
                                <a:pt x="33" y="0"/>
                              </a:cubicBezTo>
                              <a:cubicBezTo>
                                <a:pt x="40" y="15"/>
                                <a:pt x="50" y="24"/>
                                <a:pt x="66" y="33"/>
                              </a:cubicBezTo>
                              <a:cubicBezTo>
                                <a:pt x="50" y="42"/>
                                <a:pt x="40" y="51"/>
                                <a:pt x="33" y="66"/>
                              </a:cubicBezTo>
                              <a:cubicBezTo>
                                <a:pt x="26" y="51"/>
                                <a:pt x="16" y="42"/>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23" name="Freeform 875">
                          <a:extLst>
                            <a:ext uri="{FF2B5EF4-FFF2-40B4-BE49-F238E27FC236}">
                              <a16:creationId xmlns:a16="http://schemas.microsoft.com/office/drawing/2014/main" id="{390B3DB9-2011-4FC4-B4D3-547094DA667D}"/>
                            </a:ext>
                          </a:extLst>
                        </p:cNvPr>
                        <p:cNvSpPr>
                          <a:spLocks/>
                        </p:cNvSpPr>
                        <p:nvPr/>
                      </p:nvSpPr>
                      <p:spPr bwMode="auto">
                        <a:xfrm>
                          <a:off x="11477325" y="5164988"/>
                          <a:ext cx="164679" cy="166688"/>
                        </a:xfrm>
                        <a:custGeom>
                          <a:avLst/>
                          <a:gdLst>
                            <a:gd name="T0" fmla="*/ 0 w 66"/>
                            <a:gd name="T1" fmla="*/ 33 h 66"/>
                            <a:gd name="T2" fmla="*/ 33 w 66"/>
                            <a:gd name="T3" fmla="*/ 0 h 66"/>
                            <a:gd name="T4" fmla="*/ 66 w 66"/>
                            <a:gd name="T5" fmla="*/ 33 h 66"/>
                            <a:gd name="T6" fmla="*/ 33 w 66"/>
                            <a:gd name="T7" fmla="*/ 66 h 66"/>
                            <a:gd name="T8" fmla="*/ 0 w 66"/>
                            <a:gd name="T9" fmla="*/ 33 h 66"/>
                          </a:gdLst>
                          <a:ahLst/>
                          <a:cxnLst>
                            <a:cxn ang="0">
                              <a:pos x="T0" y="T1"/>
                            </a:cxn>
                            <a:cxn ang="0">
                              <a:pos x="T2" y="T3"/>
                            </a:cxn>
                            <a:cxn ang="0">
                              <a:pos x="T4" y="T5"/>
                            </a:cxn>
                            <a:cxn ang="0">
                              <a:pos x="T6" y="T7"/>
                            </a:cxn>
                            <a:cxn ang="0">
                              <a:pos x="T8" y="T9"/>
                            </a:cxn>
                          </a:cxnLst>
                          <a:rect l="0" t="0" r="r" b="b"/>
                          <a:pathLst>
                            <a:path w="66" h="66">
                              <a:moveTo>
                                <a:pt x="0" y="33"/>
                              </a:moveTo>
                              <a:cubicBezTo>
                                <a:pt x="16" y="24"/>
                                <a:pt x="26" y="15"/>
                                <a:pt x="33" y="0"/>
                              </a:cubicBezTo>
                              <a:cubicBezTo>
                                <a:pt x="40" y="15"/>
                                <a:pt x="50" y="24"/>
                                <a:pt x="66" y="33"/>
                              </a:cubicBezTo>
                              <a:cubicBezTo>
                                <a:pt x="50" y="42"/>
                                <a:pt x="40" y="51"/>
                                <a:pt x="33" y="66"/>
                              </a:cubicBezTo>
                              <a:cubicBezTo>
                                <a:pt x="26" y="51"/>
                                <a:pt x="16" y="42"/>
                                <a:pt x="0" y="33"/>
                              </a:cubicBezTo>
                              <a:close/>
                            </a:path>
                          </a:pathLst>
                        </a:custGeom>
                        <a:grpFill/>
                        <a:ln w="15875" cap="flat">
                          <a:solidFill>
                            <a:srgbClr val="44566B"/>
                          </a:solidFill>
                          <a:prstDash val="solid"/>
                          <a:miter lim="800000"/>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grpSp>
              <p:grpSp>
                <p:nvGrpSpPr>
                  <p:cNvPr id="707" name="Group 706">
                    <a:extLst>
                      <a:ext uri="{FF2B5EF4-FFF2-40B4-BE49-F238E27FC236}">
                        <a16:creationId xmlns:a16="http://schemas.microsoft.com/office/drawing/2014/main" id="{5B280687-3582-42D3-9EE2-0C3329023842}"/>
                      </a:ext>
                    </a:extLst>
                  </p:cNvPr>
                  <p:cNvGrpSpPr/>
                  <p:nvPr/>
                </p:nvGrpSpPr>
                <p:grpSpPr>
                  <a:xfrm>
                    <a:off x="5009328" y="1439069"/>
                    <a:ext cx="1604306" cy="110141"/>
                    <a:chOff x="798768" y="2308608"/>
                    <a:chExt cx="5172818" cy="355131"/>
                  </a:xfrm>
                </p:grpSpPr>
                <p:sp>
                  <p:nvSpPr>
                    <p:cNvPr id="709" name="Rounded Rectangle 569">
                      <a:extLst>
                        <a:ext uri="{FF2B5EF4-FFF2-40B4-BE49-F238E27FC236}">
                          <a16:creationId xmlns:a16="http://schemas.microsoft.com/office/drawing/2014/main" id="{ED27563E-C5A2-4B92-AC3F-33B89F1B8286}"/>
                        </a:ext>
                      </a:extLst>
                    </p:cNvPr>
                    <p:cNvSpPr/>
                    <p:nvPr/>
                  </p:nvSpPr>
                  <p:spPr bwMode="gray">
                    <a:xfrm>
                      <a:off x="798768" y="2308608"/>
                      <a:ext cx="5172818" cy="355131"/>
                    </a:xfrm>
                    <a:prstGeom prst="roundRect">
                      <a:avLst>
                        <a:gd name="adj" fmla="val 10551"/>
                      </a:avLst>
                    </a:prstGeom>
                    <a:noFill/>
                    <a:ln w="9525" algn="ctr">
                      <a:solidFill>
                        <a:srgbClr val="00A1DE"/>
                      </a:solidFill>
                      <a:prstDash val="sysDot"/>
                      <a:miter lim="800000"/>
                      <a:headEnd/>
                      <a:tailEnd/>
                    </a:ln>
                  </p:spPr>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a:ln>
                          <a:noFill/>
                        </a:ln>
                        <a:solidFill>
                          <a:prstClr val="white"/>
                        </a:solidFill>
                        <a:effectLst/>
                        <a:uLnTx/>
                        <a:uFillTx/>
                        <a:latin typeface="Verdana"/>
                      </a:endParaRPr>
                    </a:p>
                  </p:txBody>
                </p:sp>
                <p:grpSp>
                  <p:nvGrpSpPr>
                    <p:cNvPr id="710" name="Group 709">
                      <a:extLst>
                        <a:ext uri="{FF2B5EF4-FFF2-40B4-BE49-F238E27FC236}">
                          <a16:creationId xmlns:a16="http://schemas.microsoft.com/office/drawing/2014/main" id="{7802DC6E-69E9-448E-ACF3-0913F70DE261}"/>
                        </a:ext>
                      </a:extLst>
                    </p:cNvPr>
                    <p:cNvGrpSpPr/>
                    <p:nvPr/>
                  </p:nvGrpSpPr>
                  <p:grpSpPr>
                    <a:xfrm rot="2700000" flipH="1" flipV="1">
                      <a:off x="5832079" y="2533365"/>
                      <a:ext cx="89632" cy="90751"/>
                      <a:chOff x="9987239" y="5621210"/>
                      <a:chExt cx="110620" cy="112002"/>
                    </a:xfrm>
                  </p:grpSpPr>
                  <p:sp>
                    <p:nvSpPr>
                      <p:cNvPr id="712" name="Line 20">
                        <a:extLst>
                          <a:ext uri="{FF2B5EF4-FFF2-40B4-BE49-F238E27FC236}">
                            <a16:creationId xmlns:a16="http://schemas.microsoft.com/office/drawing/2014/main" id="{02A9B725-8347-4B09-B201-D74E570F4297}"/>
                          </a:ext>
                        </a:extLst>
                      </p:cNvPr>
                      <p:cNvSpPr>
                        <a:spLocks noChangeShapeType="1"/>
                      </p:cNvSpPr>
                      <p:nvPr/>
                    </p:nvSpPr>
                    <p:spPr bwMode="auto">
                      <a:xfrm>
                        <a:off x="10042549" y="5621210"/>
                        <a:ext cx="0" cy="31804"/>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13" name="Line 21">
                        <a:extLst>
                          <a:ext uri="{FF2B5EF4-FFF2-40B4-BE49-F238E27FC236}">
                            <a16:creationId xmlns:a16="http://schemas.microsoft.com/office/drawing/2014/main" id="{98C695EB-54DA-4156-B6F9-3B48E3DAF6A2}"/>
                          </a:ext>
                        </a:extLst>
                      </p:cNvPr>
                      <p:cNvSpPr>
                        <a:spLocks noChangeShapeType="1"/>
                      </p:cNvSpPr>
                      <p:nvPr/>
                    </p:nvSpPr>
                    <p:spPr bwMode="auto">
                      <a:xfrm>
                        <a:off x="10042549" y="5700026"/>
                        <a:ext cx="0" cy="33186"/>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14" name="Line 22">
                        <a:extLst>
                          <a:ext uri="{FF2B5EF4-FFF2-40B4-BE49-F238E27FC236}">
                            <a16:creationId xmlns:a16="http://schemas.microsoft.com/office/drawing/2014/main" id="{D1E31F2A-F137-443B-A510-35A6BF1C7C69}"/>
                          </a:ext>
                        </a:extLst>
                      </p:cNvPr>
                      <p:cNvSpPr>
                        <a:spLocks noChangeShapeType="1"/>
                      </p:cNvSpPr>
                      <p:nvPr/>
                    </p:nvSpPr>
                    <p:spPr bwMode="auto">
                      <a:xfrm flipH="1">
                        <a:off x="10064673"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15" name="Line 23">
                        <a:extLst>
                          <a:ext uri="{FF2B5EF4-FFF2-40B4-BE49-F238E27FC236}">
                            <a16:creationId xmlns:a16="http://schemas.microsoft.com/office/drawing/2014/main" id="{49BEB738-218A-4C55-A5F2-83DD956182CE}"/>
                          </a:ext>
                        </a:extLst>
                      </p:cNvPr>
                      <p:cNvSpPr>
                        <a:spLocks noChangeShapeType="1"/>
                      </p:cNvSpPr>
                      <p:nvPr/>
                    </p:nvSpPr>
                    <p:spPr bwMode="auto">
                      <a:xfrm flipH="1">
                        <a:off x="9987239"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711" name="Freeform 8">
                      <a:extLst>
                        <a:ext uri="{FF2B5EF4-FFF2-40B4-BE49-F238E27FC236}">
                          <a16:creationId xmlns:a16="http://schemas.microsoft.com/office/drawing/2014/main" id="{7D716991-9480-48B0-9675-3213EFB31F56}"/>
                        </a:ext>
                      </a:extLst>
                    </p:cNvPr>
                    <p:cNvSpPr>
                      <a:spLocks/>
                    </p:cNvSpPr>
                    <p:nvPr/>
                  </p:nvSpPr>
                  <p:spPr bwMode="auto">
                    <a:xfrm flipH="1" flipV="1">
                      <a:off x="868600" y="2349295"/>
                      <a:ext cx="58373" cy="58374"/>
                    </a:xfrm>
                    <a:custGeom>
                      <a:avLst/>
                      <a:gdLst>
                        <a:gd name="T0" fmla="*/ 46 w 46"/>
                        <a:gd name="T1" fmla="*/ 15 h 46"/>
                        <a:gd name="T2" fmla="*/ 31 w 46"/>
                        <a:gd name="T3" fmla="*/ 46 h 46"/>
                        <a:gd name="T4" fmla="*/ 0 w 46"/>
                        <a:gd name="T5" fmla="*/ 31 h 46"/>
                        <a:gd name="T6" fmla="*/ 15 w 46"/>
                        <a:gd name="T7" fmla="*/ 0 h 46"/>
                        <a:gd name="T8" fmla="*/ 46 w 46"/>
                        <a:gd name="T9" fmla="*/ 15 h 46"/>
                      </a:gdLst>
                      <a:ahLst/>
                      <a:cxnLst>
                        <a:cxn ang="0">
                          <a:pos x="T0" y="T1"/>
                        </a:cxn>
                        <a:cxn ang="0">
                          <a:pos x="T2" y="T3"/>
                        </a:cxn>
                        <a:cxn ang="0">
                          <a:pos x="T4" y="T5"/>
                        </a:cxn>
                        <a:cxn ang="0">
                          <a:pos x="T6" y="T7"/>
                        </a:cxn>
                        <a:cxn ang="0">
                          <a:pos x="T8" y="T9"/>
                        </a:cxn>
                      </a:cxnLst>
                      <a:rect l="0" t="0" r="r" b="b"/>
                      <a:pathLst>
                        <a:path w="46" h="46">
                          <a:moveTo>
                            <a:pt x="46" y="15"/>
                          </a:moveTo>
                          <a:lnTo>
                            <a:pt x="31" y="46"/>
                          </a:lnTo>
                          <a:lnTo>
                            <a:pt x="0" y="31"/>
                          </a:lnTo>
                          <a:lnTo>
                            <a:pt x="15" y="0"/>
                          </a:lnTo>
                          <a:lnTo>
                            <a:pt x="46" y="15"/>
                          </a:lnTo>
                          <a:close/>
                        </a:path>
                      </a:pathLst>
                    </a:custGeom>
                    <a:solidFill>
                      <a:srgbClr val="000000"/>
                    </a:solidFill>
                    <a:ln w="9525">
                      <a:solidFill>
                        <a:srgbClr val="FFFFFF"/>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cxnSp>
                <p:nvCxnSpPr>
                  <p:cNvPr id="708" name="Straight Connector 707">
                    <a:extLst>
                      <a:ext uri="{FF2B5EF4-FFF2-40B4-BE49-F238E27FC236}">
                        <a16:creationId xmlns:a16="http://schemas.microsoft.com/office/drawing/2014/main" id="{538CA17F-A9DE-4422-A423-16540F2139D8}"/>
                      </a:ext>
                    </a:extLst>
                  </p:cNvPr>
                  <p:cNvCxnSpPr/>
                  <p:nvPr/>
                </p:nvCxnSpPr>
                <p:spPr>
                  <a:xfrm>
                    <a:off x="5090319" y="1490472"/>
                    <a:ext cx="1377397" cy="0"/>
                  </a:xfrm>
                  <a:prstGeom prst="line">
                    <a:avLst/>
                  </a:prstGeom>
                  <a:noFill/>
                  <a:ln w="9525" cap="flat" cmpd="sng" algn="ctr">
                    <a:solidFill>
                      <a:srgbClr val="00A3E0"/>
                    </a:solidFill>
                    <a:prstDash val="solid"/>
                  </a:ln>
                  <a:effectLst/>
                </p:spPr>
              </p:cxnSp>
            </p:grpSp>
            <p:grpSp>
              <p:nvGrpSpPr>
                <p:cNvPr id="689" name="Group 688">
                  <a:extLst>
                    <a:ext uri="{FF2B5EF4-FFF2-40B4-BE49-F238E27FC236}">
                      <a16:creationId xmlns:a16="http://schemas.microsoft.com/office/drawing/2014/main" id="{4A615155-79EC-4994-B741-78971F2FA19A}"/>
                    </a:ext>
                  </a:extLst>
                </p:cNvPr>
                <p:cNvGrpSpPr/>
                <p:nvPr/>
              </p:nvGrpSpPr>
              <p:grpSpPr>
                <a:xfrm>
                  <a:off x="4836112" y="1705964"/>
                  <a:ext cx="1524000" cy="841685"/>
                  <a:chOff x="7071519" y="3039269"/>
                  <a:chExt cx="1524000" cy="841685"/>
                </a:xfrm>
              </p:grpSpPr>
              <p:sp>
                <p:nvSpPr>
                  <p:cNvPr id="690" name="Freeform 844">
                    <a:extLst>
                      <a:ext uri="{FF2B5EF4-FFF2-40B4-BE49-F238E27FC236}">
                        <a16:creationId xmlns:a16="http://schemas.microsoft.com/office/drawing/2014/main" id="{AE5987D4-4820-4ECE-9FCA-C2F962054766}"/>
                      </a:ext>
                    </a:extLst>
                  </p:cNvPr>
                  <p:cNvSpPr/>
                  <p:nvPr/>
                </p:nvSpPr>
                <p:spPr bwMode="gray">
                  <a:xfrm>
                    <a:off x="7223919" y="3039269"/>
                    <a:ext cx="1193800" cy="628650"/>
                  </a:xfrm>
                  <a:custGeom>
                    <a:avLst/>
                    <a:gdLst>
                      <a:gd name="connsiteX0" fmla="*/ 0 w 1193800"/>
                      <a:gd name="connsiteY0" fmla="*/ 0 h 628650"/>
                      <a:gd name="connsiteX1" fmla="*/ 101600 w 1193800"/>
                      <a:gd name="connsiteY1" fmla="*/ 12700 h 628650"/>
                      <a:gd name="connsiteX2" fmla="*/ 146050 w 1193800"/>
                      <a:gd name="connsiteY2" fmla="*/ 25400 h 628650"/>
                      <a:gd name="connsiteX3" fmla="*/ 393700 w 1193800"/>
                      <a:gd name="connsiteY3" fmla="*/ 31750 h 628650"/>
                      <a:gd name="connsiteX4" fmla="*/ 419100 w 1193800"/>
                      <a:gd name="connsiteY4" fmla="*/ 76200 h 628650"/>
                      <a:gd name="connsiteX5" fmla="*/ 438150 w 1193800"/>
                      <a:gd name="connsiteY5" fmla="*/ 101600 h 628650"/>
                      <a:gd name="connsiteX6" fmla="*/ 450850 w 1193800"/>
                      <a:gd name="connsiteY6" fmla="*/ 127000 h 628650"/>
                      <a:gd name="connsiteX7" fmla="*/ 476250 w 1193800"/>
                      <a:gd name="connsiteY7" fmla="*/ 165100 h 628650"/>
                      <a:gd name="connsiteX8" fmla="*/ 488950 w 1193800"/>
                      <a:gd name="connsiteY8" fmla="*/ 184150 h 628650"/>
                      <a:gd name="connsiteX9" fmla="*/ 501650 w 1193800"/>
                      <a:gd name="connsiteY9" fmla="*/ 209550 h 628650"/>
                      <a:gd name="connsiteX10" fmla="*/ 527050 w 1193800"/>
                      <a:gd name="connsiteY10" fmla="*/ 234950 h 628650"/>
                      <a:gd name="connsiteX11" fmla="*/ 546100 w 1193800"/>
                      <a:gd name="connsiteY11" fmla="*/ 266700 h 628650"/>
                      <a:gd name="connsiteX12" fmla="*/ 565150 w 1193800"/>
                      <a:gd name="connsiteY12" fmla="*/ 285750 h 628650"/>
                      <a:gd name="connsiteX13" fmla="*/ 596900 w 1193800"/>
                      <a:gd name="connsiteY13" fmla="*/ 330200 h 628650"/>
                      <a:gd name="connsiteX14" fmla="*/ 622300 w 1193800"/>
                      <a:gd name="connsiteY14" fmla="*/ 349250 h 628650"/>
                      <a:gd name="connsiteX15" fmla="*/ 647700 w 1193800"/>
                      <a:gd name="connsiteY15" fmla="*/ 374650 h 628650"/>
                      <a:gd name="connsiteX16" fmla="*/ 692150 w 1193800"/>
                      <a:gd name="connsiteY16" fmla="*/ 406400 h 628650"/>
                      <a:gd name="connsiteX17" fmla="*/ 736600 w 1193800"/>
                      <a:gd name="connsiteY17" fmla="*/ 425450 h 628650"/>
                      <a:gd name="connsiteX18" fmla="*/ 774700 w 1193800"/>
                      <a:gd name="connsiteY18" fmla="*/ 431800 h 628650"/>
                      <a:gd name="connsiteX19" fmla="*/ 800100 w 1193800"/>
                      <a:gd name="connsiteY19" fmla="*/ 438150 h 628650"/>
                      <a:gd name="connsiteX20" fmla="*/ 819150 w 1193800"/>
                      <a:gd name="connsiteY20" fmla="*/ 444500 h 628650"/>
                      <a:gd name="connsiteX21" fmla="*/ 908050 w 1193800"/>
                      <a:gd name="connsiteY21" fmla="*/ 457200 h 628650"/>
                      <a:gd name="connsiteX22" fmla="*/ 933450 w 1193800"/>
                      <a:gd name="connsiteY22" fmla="*/ 476250 h 628650"/>
                      <a:gd name="connsiteX23" fmla="*/ 946150 w 1193800"/>
                      <a:gd name="connsiteY23" fmla="*/ 495300 h 628650"/>
                      <a:gd name="connsiteX24" fmla="*/ 996950 w 1193800"/>
                      <a:gd name="connsiteY24" fmla="*/ 520700 h 628650"/>
                      <a:gd name="connsiteX25" fmla="*/ 1047750 w 1193800"/>
                      <a:gd name="connsiteY25" fmla="*/ 558800 h 628650"/>
                      <a:gd name="connsiteX26" fmla="*/ 1085850 w 1193800"/>
                      <a:gd name="connsiteY26" fmla="*/ 584200 h 628650"/>
                      <a:gd name="connsiteX27" fmla="*/ 1136650 w 1193800"/>
                      <a:gd name="connsiteY27" fmla="*/ 603250 h 628650"/>
                      <a:gd name="connsiteX28" fmla="*/ 1174750 w 1193800"/>
                      <a:gd name="connsiteY28" fmla="*/ 615950 h 628650"/>
                      <a:gd name="connsiteX29" fmla="*/ 1193800 w 1193800"/>
                      <a:gd name="connsiteY29" fmla="*/ 628650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93800" h="628650">
                        <a:moveTo>
                          <a:pt x="0" y="0"/>
                        </a:moveTo>
                        <a:cubicBezTo>
                          <a:pt x="28460" y="2846"/>
                          <a:pt x="71479" y="5749"/>
                          <a:pt x="101600" y="12700"/>
                        </a:cubicBezTo>
                        <a:cubicBezTo>
                          <a:pt x="116615" y="16165"/>
                          <a:pt x="130673" y="24397"/>
                          <a:pt x="146050" y="25400"/>
                        </a:cubicBezTo>
                        <a:cubicBezTo>
                          <a:pt x="228452" y="30774"/>
                          <a:pt x="311150" y="29633"/>
                          <a:pt x="393700" y="31750"/>
                        </a:cubicBezTo>
                        <a:cubicBezTo>
                          <a:pt x="406102" y="56554"/>
                          <a:pt x="404141" y="55257"/>
                          <a:pt x="419100" y="76200"/>
                        </a:cubicBezTo>
                        <a:cubicBezTo>
                          <a:pt x="425251" y="84812"/>
                          <a:pt x="432541" y="92625"/>
                          <a:pt x="438150" y="101600"/>
                        </a:cubicBezTo>
                        <a:cubicBezTo>
                          <a:pt x="443167" y="109627"/>
                          <a:pt x="445980" y="118883"/>
                          <a:pt x="450850" y="127000"/>
                        </a:cubicBezTo>
                        <a:cubicBezTo>
                          <a:pt x="458703" y="140088"/>
                          <a:pt x="467783" y="152400"/>
                          <a:pt x="476250" y="165100"/>
                        </a:cubicBezTo>
                        <a:cubicBezTo>
                          <a:pt x="480483" y="171450"/>
                          <a:pt x="485537" y="177324"/>
                          <a:pt x="488950" y="184150"/>
                        </a:cubicBezTo>
                        <a:cubicBezTo>
                          <a:pt x="493183" y="192617"/>
                          <a:pt x="495970" y="201977"/>
                          <a:pt x="501650" y="209550"/>
                        </a:cubicBezTo>
                        <a:cubicBezTo>
                          <a:pt x="508834" y="219129"/>
                          <a:pt x="519699" y="225499"/>
                          <a:pt x="527050" y="234950"/>
                        </a:cubicBezTo>
                        <a:cubicBezTo>
                          <a:pt x="534627" y="244692"/>
                          <a:pt x="538695" y="256826"/>
                          <a:pt x="546100" y="266700"/>
                        </a:cubicBezTo>
                        <a:cubicBezTo>
                          <a:pt x="551488" y="273884"/>
                          <a:pt x="559401" y="278851"/>
                          <a:pt x="565150" y="285750"/>
                        </a:cubicBezTo>
                        <a:cubicBezTo>
                          <a:pt x="583178" y="307383"/>
                          <a:pt x="574024" y="307324"/>
                          <a:pt x="596900" y="330200"/>
                        </a:cubicBezTo>
                        <a:cubicBezTo>
                          <a:pt x="604384" y="337684"/>
                          <a:pt x="614335" y="342281"/>
                          <a:pt x="622300" y="349250"/>
                        </a:cubicBezTo>
                        <a:cubicBezTo>
                          <a:pt x="631311" y="357135"/>
                          <a:pt x="638689" y="366765"/>
                          <a:pt x="647700" y="374650"/>
                        </a:cubicBezTo>
                        <a:cubicBezTo>
                          <a:pt x="654114" y="380262"/>
                          <a:pt x="682388" y="400822"/>
                          <a:pt x="692150" y="406400"/>
                        </a:cubicBezTo>
                        <a:cubicBezTo>
                          <a:pt x="704504" y="413459"/>
                          <a:pt x="722028" y="422212"/>
                          <a:pt x="736600" y="425450"/>
                        </a:cubicBezTo>
                        <a:cubicBezTo>
                          <a:pt x="749169" y="428243"/>
                          <a:pt x="762075" y="429275"/>
                          <a:pt x="774700" y="431800"/>
                        </a:cubicBezTo>
                        <a:cubicBezTo>
                          <a:pt x="783258" y="433512"/>
                          <a:pt x="791709" y="435752"/>
                          <a:pt x="800100" y="438150"/>
                        </a:cubicBezTo>
                        <a:cubicBezTo>
                          <a:pt x="806536" y="439989"/>
                          <a:pt x="812558" y="443337"/>
                          <a:pt x="819150" y="444500"/>
                        </a:cubicBezTo>
                        <a:cubicBezTo>
                          <a:pt x="848629" y="449702"/>
                          <a:pt x="878417" y="452967"/>
                          <a:pt x="908050" y="457200"/>
                        </a:cubicBezTo>
                        <a:cubicBezTo>
                          <a:pt x="916517" y="463550"/>
                          <a:pt x="925966" y="468766"/>
                          <a:pt x="933450" y="476250"/>
                        </a:cubicBezTo>
                        <a:cubicBezTo>
                          <a:pt x="938846" y="481646"/>
                          <a:pt x="939898" y="490923"/>
                          <a:pt x="946150" y="495300"/>
                        </a:cubicBezTo>
                        <a:cubicBezTo>
                          <a:pt x="961660" y="506157"/>
                          <a:pt x="996950" y="520700"/>
                          <a:pt x="996950" y="520700"/>
                        </a:cubicBezTo>
                        <a:cubicBezTo>
                          <a:pt x="1029966" y="564721"/>
                          <a:pt x="998498" y="531935"/>
                          <a:pt x="1047750" y="558800"/>
                        </a:cubicBezTo>
                        <a:cubicBezTo>
                          <a:pt x="1061150" y="566109"/>
                          <a:pt x="1071370" y="579373"/>
                          <a:pt x="1085850" y="584200"/>
                        </a:cubicBezTo>
                        <a:cubicBezTo>
                          <a:pt x="1142466" y="603072"/>
                          <a:pt x="1053128" y="572878"/>
                          <a:pt x="1136650" y="603250"/>
                        </a:cubicBezTo>
                        <a:cubicBezTo>
                          <a:pt x="1149231" y="607825"/>
                          <a:pt x="1163611" y="608524"/>
                          <a:pt x="1174750" y="615950"/>
                        </a:cubicBezTo>
                        <a:lnTo>
                          <a:pt x="1193800" y="628650"/>
                        </a:lnTo>
                      </a:path>
                    </a:pathLst>
                  </a:custGeom>
                  <a:noFill/>
                  <a:ln w="19050" algn="ctr">
                    <a:solidFill>
                      <a:srgbClr val="86BC25"/>
                    </a:solidFill>
                    <a:miter lim="800000"/>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cxnSp>
                <p:nvCxnSpPr>
                  <p:cNvPr id="691" name="Straight Connector 690">
                    <a:extLst>
                      <a:ext uri="{FF2B5EF4-FFF2-40B4-BE49-F238E27FC236}">
                        <a16:creationId xmlns:a16="http://schemas.microsoft.com/office/drawing/2014/main" id="{788E6D84-C385-4FC5-8E4C-243A773FE3A3}"/>
                      </a:ext>
                    </a:extLst>
                  </p:cNvPr>
                  <p:cNvCxnSpPr>
                    <a:stCxn id="690" idx="0"/>
                    <a:endCxn id="690" idx="27"/>
                  </p:cNvCxnSpPr>
                  <p:nvPr/>
                </p:nvCxnSpPr>
                <p:spPr>
                  <a:xfrm>
                    <a:off x="7223919" y="3039269"/>
                    <a:ext cx="1136650" cy="603250"/>
                  </a:xfrm>
                  <a:prstGeom prst="line">
                    <a:avLst/>
                  </a:prstGeom>
                  <a:noFill/>
                  <a:ln w="9525" cap="flat" cmpd="sng" algn="ctr">
                    <a:solidFill>
                      <a:srgbClr val="53565A"/>
                    </a:solidFill>
                    <a:prstDash val="sysDot"/>
                  </a:ln>
                  <a:effectLst/>
                </p:spPr>
              </p:cxnSp>
              <p:cxnSp>
                <p:nvCxnSpPr>
                  <p:cNvPr id="692" name="Straight Connector 691">
                    <a:extLst>
                      <a:ext uri="{FF2B5EF4-FFF2-40B4-BE49-F238E27FC236}">
                        <a16:creationId xmlns:a16="http://schemas.microsoft.com/office/drawing/2014/main" id="{AC070625-26FE-4C10-9425-DD34CABF898C}"/>
                      </a:ext>
                    </a:extLst>
                  </p:cNvPr>
                  <p:cNvCxnSpPr/>
                  <p:nvPr/>
                </p:nvCxnSpPr>
                <p:spPr>
                  <a:xfrm flipH="1">
                    <a:off x="7071519" y="3667919"/>
                    <a:ext cx="1524000" cy="0"/>
                  </a:xfrm>
                  <a:prstGeom prst="line">
                    <a:avLst/>
                  </a:prstGeom>
                  <a:noFill/>
                  <a:ln w="9525" cap="flat" cmpd="sng" algn="ctr">
                    <a:solidFill>
                      <a:srgbClr val="53565A"/>
                    </a:solidFill>
                    <a:prstDash val="solid"/>
                  </a:ln>
                  <a:effectLst/>
                </p:spPr>
              </p:cxnSp>
              <p:cxnSp>
                <p:nvCxnSpPr>
                  <p:cNvPr id="693" name="Straight Connector 692">
                    <a:extLst>
                      <a:ext uri="{FF2B5EF4-FFF2-40B4-BE49-F238E27FC236}">
                        <a16:creationId xmlns:a16="http://schemas.microsoft.com/office/drawing/2014/main" id="{E8840F41-389F-483C-8732-9F67A952B5C8}"/>
                      </a:ext>
                    </a:extLst>
                  </p:cNvPr>
                  <p:cNvCxnSpPr/>
                  <p:nvPr/>
                </p:nvCxnSpPr>
                <p:spPr>
                  <a:xfrm>
                    <a:off x="7071519" y="3667919"/>
                    <a:ext cx="0" cy="209550"/>
                  </a:xfrm>
                  <a:prstGeom prst="line">
                    <a:avLst/>
                  </a:prstGeom>
                  <a:noFill/>
                  <a:ln w="9525" cap="flat" cmpd="sng" algn="ctr">
                    <a:solidFill>
                      <a:srgbClr val="53565A"/>
                    </a:solidFill>
                    <a:prstDash val="solid"/>
                  </a:ln>
                  <a:effectLst/>
                </p:spPr>
              </p:cxnSp>
              <p:cxnSp>
                <p:nvCxnSpPr>
                  <p:cNvPr id="694" name="Straight Connector 693">
                    <a:extLst>
                      <a:ext uri="{FF2B5EF4-FFF2-40B4-BE49-F238E27FC236}">
                        <a16:creationId xmlns:a16="http://schemas.microsoft.com/office/drawing/2014/main" id="{C96F95E4-933A-4E38-A8D7-714F4349EBF4}"/>
                      </a:ext>
                    </a:extLst>
                  </p:cNvPr>
                  <p:cNvCxnSpPr/>
                  <p:nvPr/>
                </p:nvCxnSpPr>
                <p:spPr>
                  <a:xfrm>
                    <a:off x="7223919" y="3668713"/>
                    <a:ext cx="0" cy="209550"/>
                  </a:xfrm>
                  <a:prstGeom prst="line">
                    <a:avLst/>
                  </a:prstGeom>
                  <a:noFill/>
                  <a:ln w="9525" cap="flat" cmpd="sng" algn="ctr">
                    <a:solidFill>
                      <a:srgbClr val="53565A"/>
                    </a:solidFill>
                    <a:prstDash val="solid"/>
                  </a:ln>
                  <a:effectLst/>
                </p:spPr>
              </p:cxnSp>
              <p:cxnSp>
                <p:nvCxnSpPr>
                  <p:cNvPr id="695" name="Straight Connector 694">
                    <a:extLst>
                      <a:ext uri="{FF2B5EF4-FFF2-40B4-BE49-F238E27FC236}">
                        <a16:creationId xmlns:a16="http://schemas.microsoft.com/office/drawing/2014/main" id="{CAB22125-5AE2-4CD3-B7E4-504CB4BC759B}"/>
                      </a:ext>
                    </a:extLst>
                  </p:cNvPr>
                  <p:cNvCxnSpPr/>
                  <p:nvPr/>
                </p:nvCxnSpPr>
                <p:spPr>
                  <a:xfrm>
                    <a:off x="7376319" y="3667919"/>
                    <a:ext cx="0" cy="209550"/>
                  </a:xfrm>
                  <a:prstGeom prst="line">
                    <a:avLst/>
                  </a:prstGeom>
                  <a:noFill/>
                  <a:ln w="9525" cap="flat" cmpd="sng" algn="ctr">
                    <a:solidFill>
                      <a:srgbClr val="53565A"/>
                    </a:solidFill>
                    <a:prstDash val="solid"/>
                  </a:ln>
                  <a:effectLst/>
                </p:spPr>
              </p:cxnSp>
              <p:cxnSp>
                <p:nvCxnSpPr>
                  <p:cNvPr id="696" name="Straight Connector 695">
                    <a:extLst>
                      <a:ext uri="{FF2B5EF4-FFF2-40B4-BE49-F238E27FC236}">
                        <a16:creationId xmlns:a16="http://schemas.microsoft.com/office/drawing/2014/main" id="{D2F8298D-21B4-4B8A-9B6D-E960B57959E4}"/>
                      </a:ext>
                    </a:extLst>
                  </p:cNvPr>
                  <p:cNvCxnSpPr/>
                  <p:nvPr/>
                </p:nvCxnSpPr>
                <p:spPr>
                  <a:xfrm>
                    <a:off x="7528719" y="3671404"/>
                    <a:ext cx="0" cy="209550"/>
                  </a:xfrm>
                  <a:prstGeom prst="line">
                    <a:avLst/>
                  </a:prstGeom>
                  <a:noFill/>
                  <a:ln w="9525" cap="flat" cmpd="sng" algn="ctr">
                    <a:solidFill>
                      <a:srgbClr val="53565A"/>
                    </a:solidFill>
                    <a:prstDash val="solid"/>
                  </a:ln>
                  <a:effectLst/>
                </p:spPr>
              </p:cxnSp>
              <p:cxnSp>
                <p:nvCxnSpPr>
                  <p:cNvPr id="697" name="Straight Connector 696">
                    <a:extLst>
                      <a:ext uri="{FF2B5EF4-FFF2-40B4-BE49-F238E27FC236}">
                        <a16:creationId xmlns:a16="http://schemas.microsoft.com/office/drawing/2014/main" id="{506ADFC9-403B-4F60-89B6-21A24A45787C}"/>
                      </a:ext>
                    </a:extLst>
                  </p:cNvPr>
                  <p:cNvCxnSpPr/>
                  <p:nvPr/>
                </p:nvCxnSpPr>
                <p:spPr>
                  <a:xfrm>
                    <a:off x="7681119" y="3667919"/>
                    <a:ext cx="0" cy="209550"/>
                  </a:xfrm>
                  <a:prstGeom prst="line">
                    <a:avLst/>
                  </a:prstGeom>
                  <a:noFill/>
                  <a:ln w="9525" cap="flat" cmpd="sng" algn="ctr">
                    <a:solidFill>
                      <a:srgbClr val="53565A"/>
                    </a:solidFill>
                    <a:prstDash val="solid"/>
                  </a:ln>
                  <a:effectLst/>
                </p:spPr>
              </p:cxnSp>
              <p:cxnSp>
                <p:nvCxnSpPr>
                  <p:cNvPr id="698" name="Straight Connector 697">
                    <a:extLst>
                      <a:ext uri="{FF2B5EF4-FFF2-40B4-BE49-F238E27FC236}">
                        <a16:creationId xmlns:a16="http://schemas.microsoft.com/office/drawing/2014/main" id="{34BDBF56-D5FB-48E9-B296-9F0A929A4C02}"/>
                      </a:ext>
                    </a:extLst>
                  </p:cNvPr>
                  <p:cNvCxnSpPr/>
                  <p:nvPr/>
                </p:nvCxnSpPr>
                <p:spPr>
                  <a:xfrm>
                    <a:off x="7833519" y="3667919"/>
                    <a:ext cx="0" cy="209550"/>
                  </a:xfrm>
                  <a:prstGeom prst="line">
                    <a:avLst/>
                  </a:prstGeom>
                  <a:noFill/>
                  <a:ln w="9525" cap="flat" cmpd="sng" algn="ctr">
                    <a:solidFill>
                      <a:srgbClr val="53565A"/>
                    </a:solidFill>
                    <a:prstDash val="solid"/>
                  </a:ln>
                  <a:effectLst/>
                </p:spPr>
              </p:cxnSp>
              <p:cxnSp>
                <p:nvCxnSpPr>
                  <p:cNvPr id="699" name="Straight Connector 698">
                    <a:extLst>
                      <a:ext uri="{FF2B5EF4-FFF2-40B4-BE49-F238E27FC236}">
                        <a16:creationId xmlns:a16="http://schemas.microsoft.com/office/drawing/2014/main" id="{A53D0B8E-2020-491A-AF8D-7AA05541F4D7}"/>
                      </a:ext>
                    </a:extLst>
                  </p:cNvPr>
                  <p:cNvCxnSpPr/>
                  <p:nvPr/>
                </p:nvCxnSpPr>
                <p:spPr>
                  <a:xfrm>
                    <a:off x="7985919" y="3667919"/>
                    <a:ext cx="0" cy="209550"/>
                  </a:xfrm>
                  <a:prstGeom prst="line">
                    <a:avLst/>
                  </a:prstGeom>
                  <a:noFill/>
                  <a:ln w="9525" cap="flat" cmpd="sng" algn="ctr">
                    <a:solidFill>
                      <a:srgbClr val="53565A"/>
                    </a:solidFill>
                    <a:prstDash val="solid"/>
                  </a:ln>
                  <a:effectLst/>
                </p:spPr>
              </p:cxnSp>
              <p:cxnSp>
                <p:nvCxnSpPr>
                  <p:cNvPr id="700" name="Straight Connector 699">
                    <a:extLst>
                      <a:ext uri="{FF2B5EF4-FFF2-40B4-BE49-F238E27FC236}">
                        <a16:creationId xmlns:a16="http://schemas.microsoft.com/office/drawing/2014/main" id="{F556EDBB-4BB5-47E6-AC61-8E96FFE6AC47}"/>
                      </a:ext>
                    </a:extLst>
                  </p:cNvPr>
                  <p:cNvCxnSpPr/>
                  <p:nvPr/>
                </p:nvCxnSpPr>
                <p:spPr>
                  <a:xfrm>
                    <a:off x="8138319" y="3667919"/>
                    <a:ext cx="0" cy="209550"/>
                  </a:xfrm>
                  <a:prstGeom prst="line">
                    <a:avLst/>
                  </a:prstGeom>
                  <a:noFill/>
                  <a:ln w="9525" cap="flat" cmpd="sng" algn="ctr">
                    <a:solidFill>
                      <a:srgbClr val="53565A"/>
                    </a:solidFill>
                    <a:prstDash val="solid"/>
                  </a:ln>
                  <a:effectLst/>
                </p:spPr>
              </p:cxnSp>
              <p:cxnSp>
                <p:nvCxnSpPr>
                  <p:cNvPr id="702" name="Straight Connector 701">
                    <a:extLst>
                      <a:ext uri="{FF2B5EF4-FFF2-40B4-BE49-F238E27FC236}">
                        <a16:creationId xmlns:a16="http://schemas.microsoft.com/office/drawing/2014/main" id="{E3D50FD9-E4EF-4F2E-A517-48D6A6CD7A4B}"/>
                      </a:ext>
                    </a:extLst>
                  </p:cNvPr>
                  <p:cNvCxnSpPr/>
                  <p:nvPr/>
                </p:nvCxnSpPr>
                <p:spPr>
                  <a:xfrm>
                    <a:off x="8290719" y="3667919"/>
                    <a:ext cx="0" cy="209550"/>
                  </a:xfrm>
                  <a:prstGeom prst="line">
                    <a:avLst/>
                  </a:prstGeom>
                  <a:noFill/>
                  <a:ln w="9525" cap="flat" cmpd="sng" algn="ctr">
                    <a:solidFill>
                      <a:srgbClr val="53565A"/>
                    </a:solidFill>
                    <a:prstDash val="solid"/>
                  </a:ln>
                  <a:effectLst/>
                </p:spPr>
              </p:cxnSp>
              <p:cxnSp>
                <p:nvCxnSpPr>
                  <p:cNvPr id="703" name="Straight Connector 702">
                    <a:extLst>
                      <a:ext uri="{FF2B5EF4-FFF2-40B4-BE49-F238E27FC236}">
                        <a16:creationId xmlns:a16="http://schemas.microsoft.com/office/drawing/2014/main" id="{EF41B71B-6F0D-4477-BFCE-1FE5C0DE3A9E}"/>
                      </a:ext>
                    </a:extLst>
                  </p:cNvPr>
                  <p:cNvCxnSpPr/>
                  <p:nvPr/>
                </p:nvCxnSpPr>
                <p:spPr>
                  <a:xfrm>
                    <a:off x="8421688" y="3667919"/>
                    <a:ext cx="0" cy="209550"/>
                  </a:xfrm>
                  <a:prstGeom prst="line">
                    <a:avLst/>
                  </a:prstGeom>
                  <a:noFill/>
                  <a:ln w="9525" cap="flat" cmpd="sng" algn="ctr">
                    <a:solidFill>
                      <a:srgbClr val="53565A"/>
                    </a:solidFill>
                    <a:prstDash val="solid"/>
                  </a:ln>
                  <a:effectLst/>
                </p:spPr>
              </p:cxnSp>
              <p:cxnSp>
                <p:nvCxnSpPr>
                  <p:cNvPr id="705" name="Straight Connector 704">
                    <a:extLst>
                      <a:ext uri="{FF2B5EF4-FFF2-40B4-BE49-F238E27FC236}">
                        <a16:creationId xmlns:a16="http://schemas.microsoft.com/office/drawing/2014/main" id="{532BF1AA-6F78-434B-A0E4-3D0D0F4D4097}"/>
                      </a:ext>
                    </a:extLst>
                  </p:cNvPr>
                  <p:cNvCxnSpPr/>
                  <p:nvPr/>
                </p:nvCxnSpPr>
                <p:spPr>
                  <a:xfrm>
                    <a:off x="8578057" y="3667919"/>
                    <a:ext cx="0" cy="209550"/>
                  </a:xfrm>
                  <a:prstGeom prst="line">
                    <a:avLst/>
                  </a:prstGeom>
                  <a:noFill/>
                  <a:ln w="9525" cap="flat" cmpd="sng" algn="ctr">
                    <a:solidFill>
                      <a:srgbClr val="53565A"/>
                    </a:solidFill>
                    <a:prstDash val="solid"/>
                  </a:ln>
                  <a:effectLst/>
                </p:spPr>
              </p:cxnSp>
            </p:grpSp>
          </p:grpSp>
          <p:sp>
            <p:nvSpPr>
              <p:cNvPr id="687" name="Rectangle 686">
                <a:extLst>
                  <a:ext uri="{FF2B5EF4-FFF2-40B4-BE49-F238E27FC236}">
                    <a16:creationId xmlns:a16="http://schemas.microsoft.com/office/drawing/2014/main" id="{3BF42BC1-7945-4E85-8F56-189AB015C09D}"/>
                  </a:ext>
                </a:extLst>
              </p:cNvPr>
              <p:cNvSpPr/>
              <p:nvPr/>
            </p:nvSpPr>
            <p:spPr>
              <a:xfrm>
                <a:off x="10547223" y="4351553"/>
                <a:ext cx="1196215" cy="5130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Verdana"/>
                  </a:rPr>
                  <a:t>Burndown Chart</a:t>
                </a:r>
              </a:p>
            </p:txBody>
          </p:sp>
        </p:grpSp>
        <p:grpSp>
          <p:nvGrpSpPr>
            <p:cNvPr id="531" name="Group 530">
              <a:extLst>
                <a:ext uri="{FF2B5EF4-FFF2-40B4-BE49-F238E27FC236}">
                  <a16:creationId xmlns:a16="http://schemas.microsoft.com/office/drawing/2014/main" id="{E7D15CEB-666B-484A-B426-926CB778A185}"/>
                </a:ext>
              </a:extLst>
            </p:cNvPr>
            <p:cNvGrpSpPr/>
            <p:nvPr/>
          </p:nvGrpSpPr>
          <p:grpSpPr>
            <a:xfrm>
              <a:off x="9014091" y="5421430"/>
              <a:ext cx="1043944" cy="999672"/>
              <a:chOff x="8989600" y="2636382"/>
              <a:chExt cx="1352906" cy="1281890"/>
            </a:xfrm>
          </p:grpSpPr>
          <p:grpSp>
            <p:nvGrpSpPr>
              <p:cNvPr id="579" name="Group 578">
                <a:extLst>
                  <a:ext uri="{FF2B5EF4-FFF2-40B4-BE49-F238E27FC236}">
                    <a16:creationId xmlns:a16="http://schemas.microsoft.com/office/drawing/2014/main" id="{467ED10E-E352-4196-AFA3-95A08F468861}"/>
                  </a:ext>
                </a:extLst>
              </p:cNvPr>
              <p:cNvGrpSpPr/>
              <p:nvPr/>
            </p:nvGrpSpPr>
            <p:grpSpPr>
              <a:xfrm>
                <a:off x="9206157" y="2636382"/>
                <a:ext cx="789526" cy="732810"/>
                <a:chOff x="4946745" y="2220309"/>
                <a:chExt cx="1627798" cy="1510866"/>
              </a:xfrm>
            </p:grpSpPr>
            <p:grpSp>
              <p:nvGrpSpPr>
                <p:cNvPr id="581" name="Group 580">
                  <a:extLst>
                    <a:ext uri="{FF2B5EF4-FFF2-40B4-BE49-F238E27FC236}">
                      <a16:creationId xmlns:a16="http://schemas.microsoft.com/office/drawing/2014/main" id="{373408A8-6464-488B-8D3E-79A36D81F0E0}"/>
                    </a:ext>
                  </a:extLst>
                </p:cNvPr>
                <p:cNvGrpSpPr/>
                <p:nvPr/>
              </p:nvGrpSpPr>
              <p:grpSpPr>
                <a:xfrm>
                  <a:off x="4946745" y="2220309"/>
                  <a:ext cx="1221490" cy="1047560"/>
                  <a:chOff x="5252501" y="2482528"/>
                  <a:chExt cx="609978" cy="523122"/>
                </a:xfrm>
              </p:grpSpPr>
              <p:sp>
                <p:nvSpPr>
                  <p:cNvPr id="634" name="Line 66">
                    <a:extLst>
                      <a:ext uri="{FF2B5EF4-FFF2-40B4-BE49-F238E27FC236}">
                        <a16:creationId xmlns:a16="http://schemas.microsoft.com/office/drawing/2014/main" id="{98A33CDC-7B32-4276-A8BF-9CBF06921B27}"/>
                      </a:ext>
                    </a:extLst>
                  </p:cNvPr>
                  <p:cNvSpPr>
                    <a:spLocks noChangeShapeType="1"/>
                  </p:cNvSpPr>
                  <p:nvPr/>
                </p:nvSpPr>
                <p:spPr bwMode="auto">
                  <a:xfrm rot="8100000">
                    <a:off x="5559844" y="248252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5" name="Line 67">
                    <a:extLst>
                      <a:ext uri="{FF2B5EF4-FFF2-40B4-BE49-F238E27FC236}">
                        <a16:creationId xmlns:a16="http://schemas.microsoft.com/office/drawing/2014/main" id="{8B52FBA8-4A67-4640-8220-ECC90C26EF16}"/>
                      </a:ext>
                    </a:extLst>
                  </p:cNvPr>
                  <p:cNvSpPr>
                    <a:spLocks noChangeShapeType="1"/>
                  </p:cNvSpPr>
                  <p:nvPr/>
                </p:nvSpPr>
                <p:spPr bwMode="auto">
                  <a:xfrm rot="8100000">
                    <a:off x="5269164" y="2793573"/>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6" name="Line 74">
                    <a:extLst>
                      <a:ext uri="{FF2B5EF4-FFF2-40B4-BE49-F238E27FC236}">
                        <a16:creationId xmlns:a16="http://schemas.microsoft.com/office/drawing/2014/main" id="{891CC8E4-6B8D-4178-A395-DF447EA413CE}"/>
                      </a:ext>
                    </a:extLst>
                  </p:cNvPr>
                  <p:cNvSpPr>
                    <a:spLocks noChangeShapeType="1"/>
                  </p:cNvSpPr>
                  <p:nvPr/>
                </p:nvSpPr>
                <p:spPr bwMode="auto">
                  <a:xfrm rot="8100000">
                    <a:off x="5252501" y="281023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7" name="Freeform 1575">
                    <a:extLst>
                      <a:ext uri="{FF2B5EF4-FFF2-40B4-BE49-F238E27FC236}">
                        <a16:creationId xmlns:a16="http://schemas.microsoft.com/office/drawing/2014/main" id="{33B9DBA5-DA13-4686-964C-5F7C98F187D6}"/>
                      </a:ext>
                    </a:extLst>
                  </p:cNvPr>
                  <p:cNvSpPr>
                    <a:spLocks/>
                  </p:cNvSpPr>
                  <p:nvPr/>
                </p:nvSpPr>
                <p:spPr bwMode="auto">
                  <a:xfrm>
                    <a:off x="5387554" y="2869396"/>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8" name="Freeform 1576">
                    <a:extLst>
                      <a:ext uri="{FF2B5EF4-FFF2-40B4-BE49-F238E27FC236}">
                        <a16:creationId xmlns:a16="http://schemas.microsoft.com/office/drawing/2014/main" id="{42C01AAD-C785-42F7-93E3-8D548383DAD7}"/>
                      </a:ext>
                    </a:extLst>
                  </p:cNvPr>
                  <p:cNvSpPr>
                    <a:spLocks/>
                  </p:cNvSpPr>
                  <p:nvPr/>
                </p:nvSpPr>
                <p:spPr bwMode="auto">
                  <a:xfrm>
                    <a:off x="5387554" y="2722777"/>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9" name="Freeform 1577">
                    <a:extLst>
                      <a:ext uri="{FF2B5EF4-FFF2-40B4-BE49-F238E27FC236}">
                        <a16:creationId xmlns:a16="http://schemas.microsoft.com/office/drawing/2014/main" id="{B46729D9-14BE-4824-A0E9-E9887212A72F}"/>
                      </a:ext>
                    </a:extLst>
                  </p:cNvPr>
                  <p:cNvSpPr>
                    <a:spLocks/>
                  </p:cNvSpPr>
                  <p:nvPr/>
                </p:nvSpPr>
                <p:spPr bwMode="auto">
                  <a:xfrm>
                    <a:off x="5589515" y="2722777"/>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0" name="Freeform 1578">
                    <a:extLst>
                      <a:ext uri="{FF2B5EF4-FFF2-40B4-BE49-F238E27FC236}">
                        <a16:creationId xmlns:a16="http://schemas.microsoft.com/office/drawing/2014/main" id="{7958C670-EDFD-4661-8FDF-6B8DD6C3E616}"/>
                      </a:ext>
                    </a:extLst>
                  </p:cNvPr>
                  <p:cNvSpPr>
                    <a:spLocks noEditPoints="1"/>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1" name="Freeform 1579">
                    <a:extLst>
                      <a:ext uri="{FF2B5EF4-FFF2-40B4-BE49-F238E27FC236}">
                        <a16:creationId xmlns:a16="http://schemas.microsoft.com/office/drawing/2014/main" id="{6244579C-1C43-4EC9-8236-B33E979601E1}"/>
                      </a:ext>
                    </a:extLst>
                  </p:cNvPr>
                  <p:cNvSpPr>
                    <a:spLocks/>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2" name="Freeform 1580">
                    <a:extLst>
                      <a:ext uri="{FF2B5EF4-FFF2-40B4-BE49-F238E27FC236}">
                        <a16:creationId xmlns:a16="http://schemas.microsoft.com/office/drawing/2014/main" id="{9E7A7F1A-92CF-468A-81EF-0B9C4D310139}"/>
                      </a:ext>
                    </a:extLst>
                  </p:cNvPr>
                  <p:cNvSpPr>
                    <a:spLocks/>
                  </p:cNvSpPr>
                  <p:nvPr/>
                </p:nvSpPr>
                <p:spPr bwMode="auto">
                  <a:xfrm>
                    <a:off x="5595826" y="2728701"/>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3" name="Freeform 1581">
                    <a:extLst>
                      <a:ext uri="{FF2B5EF4-FFF2-40B4-BE49-F238E27FC236}">
                        <a16:creationId xmlns:a16="http://schemas.microsoft.com/office/drawing/2014/main" id="{6A12502E-09EE-49F4-8C64-06B5F9578A11}"/>
                      </a:ext>
                    </a:extLst>
                  </p:cNvPr>
                  <p:cNvSpPr>
                    <a:spLocks noEditPoints="1"/>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4" name="Freeform 1582">
                    <a:extLst>
                      <a:ext uri="{FF2B5EF4-FFF2-40B4-BE49-F238E27FC236}">
                        <a16:creationId xmlns:a16="http://schemas.microsoft.com/office/drawing/2014/main" id="{81DF156B-E287-4C91-A80D-49919B5B1930}"/>
                      </a:ext>
                    </a:extLst>
                  </p:cNvPr>
                  <p:cNvSpPr>
                    <a:spLocks/>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5" name="Freeform 1583">
                    <a:extLst>
                      <a:ext uri="{FF2B5EF4-FFF2-40B4-BE49-F238E27FC236}">
                        <a16:creationId xmlns:a16="http://schemas.microsoft.com/office/drawing/2014/main" id="{FDD4D269-AD5F-4F24-BD6B-574F90E9FFB9}"/>
                      </a:ext>
                    </a:extLst>
                  </p:cNvPr>
                  <p:cNvSpPr>
                    <a:spLocks/>
                  </p:cNvSpPr>
                  <p:nvPr/>
                </p:nvSpPr>
                <p:spPr bwMode="auto">
                  <a:xfrm>
                    <a:off x="5330752" y="2728701"/>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6" name="Freeform 1584">
                    <a:extLst>
                      <a:ext uri="{FF2B5EF4-FFF2-40B4-BE49-F238E27FC236}">
                        <a16:creationId xmlns:a16="http://schemas.microsoft.com/office/drawing/2014/main" id="{B5875A72-2E7D-45A9-82ED-8B7C325B5C33}"/>
                      </a:ext>
                    </a:extLst>
                  </p:cNvPr>
                  <p:cNvSpPr>
                    <a:spLocks/>
                  </p:cNvSpPr>
                  <p:nvPr/>
                </p:nvSpPr>
                <p:spPr bwMode="auto">
                  <a:xfrm>
                    <a:off x="5589515" y="260577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7" name="Freeform 1585">
                    <a:extLst>
                      <a:ext uri="{FF2B5EF4-FFF2-40B4-BE49-F238E27FC236}">
                        <a16:creationId xmlns:a16="http://schemas.microsoft.com/office/drawing/2014/main" id="{6BA956B0-8610-4082-92C5-81C1662DEBBA}"/>
                      </a:ext>
                    </a:extLst>
                  </p:cNvPr>
                  <p:cNvSpPr>
                    <a:spLocks/>
                  </p:cNvSpPr>
                  <p:nvPr/>
                </p:nvSpPr>
                <p:spPr bwMode="auto">
                  <a:xfrm>
                    <a:off x="5340219" y="2605776"/>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8" name="Freeform 1586">
                    <a:extLst>
                      <a:ext uri="{FF2B5EF4-FFF2-40B4-BE49-F238E27FC236}">
                        <a16:creationId xmlns:a16="http://schemas.microsoft.com/office/drawing/2014/main" id="{DA5BA85E-1C2B-4DA8-89DE-35EF0345C224}"/>
                      </a:ext>
                    </a:extLst>
                  </p:cNvPr>
                  <p:cNvSpPr>
                    <a:spLocks/>
                  </p:cNvSpPr>
                  <p:nvPr/>
                </p:nvSpPr>
                <p:spPr bwMode="auto">
                  <a:xfrm>
                    <a:off x="5580048" y="2602814"/>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49" name="Freeform 1587">
                    <a:extLst>
                      <a:ext uri="{FF2B5EF4-FFF2-40B4-BE49-F238E27FC236}">
                        <a16:creationId xmlns:a16="http://schemas.microsoft.com/office/drawing/2014/main" id="{C9DB8214-8117-4731-AE0A-E0E60590DE7B}"/>
                      </a:ext>
                    </a:extLst>
                  </p:cNvPr>
                  <p:cNvSpPr>
                    <a:spLocks/>
                  </p:cNvSpPr>
                  <p:nvPr/>
                </p:nvSpPr>
                <p:spPr bwMode="auto">
                  <a:xfrm>
                    <a:off x="5338642" y="2602814"/>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0" name="Freeform 1588">
                    <a:extLst>
                      <a:ext uri="{FF2B5EF4-FFF2-40B4-BE49-F238E27FC236}">
                        <a16:creationId xmlns:a16="http://schemas.microsoft.com/office/drawing/2014/main" id="{44C865A7-91EC-4332-8BBC-CE7455E9E5B2}"/>
                      </a:ext>
                    </a:extLst>
                  </p:cNvPr>
                  <p:cNvSpPr>
                    <a:spLocks/>
                  </p:cNvSpPr>
                  <p:nvPr/>
                </p:nvSpPr>
                <p:spPr bwMode="auto">
                  <a:xfrm>
                    <a:off x="5381243" y="2722777"/>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ysClr val="windowText" lastClr="000000">
                      <a:lumMod val="65000"/>
                      <a:lumOff val="35000"/>
                    </a:sysClr>
                  </a:solidFill>
                  <a:ln w="9525">
                    <a:no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1" name="Rectangle 1589">
                    <a:extLst>
                      <a:ext uri="{FF2B5EF4-FFF2-40B4-BE49-F238E27FC236}">
                        <a16:creationId xmlns:a16="http://schemas.microsoft.com/office/drawing/2014/main" id="{FA285B94-4C6A-4BF7-9386-DB18C1B1A047}"/>
                      </a:ext>
                    </a:extLst>
                  </p:cNvPr>
                  <p:cNvSpPr>
                    <a:spLocks noChangeArrowheads="1"/>
                  </p:cNvSpPr>
                  <p:nvPr/>
                </p:nvSpPr>
                <p:spPr bwMode="auto">
                  <a:xfrm>
                    <a:off x="5583204" y="2789422"/>
                    <a:ext cx="11045" cy="213265"/>
                  </a:xfrm>
                  <a:prstGeom prst="rect">
                    <a:avLst/>
                  </a:pr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2" name="Rectangle 1590">
                    <a:extLst>
                      <a:ext uri="{FF2B5EF4-FFF2-40B4-BE49-F238E27FC236}">
                        <a16:creationId xmlns:a16="http://schemas.microsoft.com/office/drawing/2014/main" id="{836E87E1-FC5E-4AE2-8FA0-DEB9F85504D0}"/>
                      </a:ext>
                    </a:extLst>
                  </p:cNvPr>
                  <p:cNvSpPr>
                    <a:spLocks noChangeArrowheads="1"/>
                  </p:cNvSpPr>
                  <p:nvPr/>
                </p:nvSpPr>
                <p:spPr bwMode="auto">
                  <a:xfrm>
                    <a:off x="5583204" y="2656131"/>
                    <a:ext cx="11045" cy="111076"/>
                  </a:xfrm>
                  <a:prstGeom prst="rect">
                    <a:avLst/>
                  </a:pr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3" name="Freeform 1591">
                    <a:extLst>
                      <a:ext uri="{FF2B5EF4-FFF2-40B4-BE49-F238E27FC236}">
                        <a16:creationId xmlns:a16="http://schemas.microsoft.com/office/drawing/2014/main" id="{0B6909C5-4BC3-487F-83A2-E37085945238}"/>
                      </a:ext>
                    </a:extLst>
                  </p:cNvPr>
                  <p:cNvSpPr>
                    <a:spLocks/>
                  </p:cNvSpPr>
                  <p:nvPr/>
                </p:nvSpPr>
                <p:spPr bwMode="auto">
                  <a:xfrm>
                    <a:off x="5611605" y="2953814"/>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4" name="Freeform 1592">
                    <a:extLst>
                      <a:ext uri="{FF2B5EF4-FFF2-40B4-BE49-F238E27FC236}">
                        <a16:creationId xmlns:a16="http://schemas.microsoft.com/office/drawing/2014/main" id="{395E569A-6AD5-4BEE-A783-FEBD5A0C3E81}"/>
                      </a:ext>
                    </a:extLst>
                  </p:cNvPr>
                  <p:cNvSpPr>
                    <a:spLocks/>
                  </p:cNvSpPr>
                  <p:nvPr/>
                </p:nvSpPr>
                <p:spPr bwMode="auto">
                  <a:xfrm>
                    <a:off x="5611605" y="2946409"/>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5" name="Freeform 1593">
                    <a:extLst>
                      <a:ext uri="{FF2B5EF4-FFF2-40B4-BE49-F238E27FC236}">
                        <a16:creationId xmlns:a16="http://schemas.microsoft.com/office/drawing/2014/main" id="{91826163-AA66-41B8-95C8-80E2F06D8C9A}"/>
                      </a:ext>
                    </a:extLst>
                  </p:cNvPr>
                  <p:cNvSpPr>
                    <a:spLocks noEditPoints="1"/>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6" name="Freeform 1594">
                    <a:extLst>
                      <a:ext uri="{FF2B5EF4-FFF2-40B4-BE49-F238E27FC236}">
                        <a16:creationId xmlns:a16="http://schemas.microsoft.com/office/drawing/2014/main" id="{7EB0A345-DBD3-4555-A6E2-BC328CD306FC}"/>
                      </a:ext>
                    </a:extLst>
                  </p:cNvPr>
                  <p:cNvSpPr>
                    <a:spLocks/>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7" name="Freeform 1595">
                    <a:extLst>
                      <a:ext uri="{FF2B5EF4-FFF2-40B4-BE49-F238E27FC236}">
                        <a16:creationId xmlns:a16="http://schemas.microsoft.com/office/drawing/2014/main" id="{CE7BB218-ED0C-4605-B031-B6B9306F8BDC}"/>
                      </a:ext>
                    </a:extLst>
                  </p:cNvPr>
                  <p:cNvSpPr>
                    <a:spLocks/>
                  </p:cNvSpPr>
                  <p:nvPr/>
                </p:nvSpPr>
                <p:spPr bwMode="auto">
                  <a:xfrm>
                    <a:off x="5414377" y="2907902"/>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8" name="Freeform 1596">
                    <a:extLst>
                      <a:ext uri="{FF2B5EF4-FFF2-40B4-BE49-F238E27FC236}">
                        <a16:creationId xmlns:a16="http://schemas.microsoft.com/office/drawing/2014/main" id="{F33B9D4D-46A3-4934-8B4D-F5E6A132B021}"/>
                      </a:ext>
                    </a:extLst>
                  </p:cNvPr>
                  <p:cNvSpPr>
                    <a:spLocks/>
                  </p:cNvSpPr>
                  <p:nvPr/>
                </p:nvSpPr>
                <p:spPr bwMode="auto">
                  <a:xfrm>
                    <a:off x="5409643" y="2881244"/>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59" name="Freeform 1672">
                    <a:extLst>
                      <a:ext uri="{FF2B5EF4-FFF2-40B4-BE49-F238E27FC236}">
                        <a16:creationId xmlns:a16="http://schemas.microsoft.com/office/drawing/2014/main" id="{6DB3B5C3-3663-48F9-BEA0-EEC34F403733}"/>
                      </a:ext>
                    </a:extLst>
                  </p:cNvPr>
                  <p:cNvSpPr>
                    <a:spLocks/>
                  </p:cNvSpPr>
                  <p:nvPr/>
                </p:nvSpPr>
                <p:spPr bwMode="auto">
                  <a:xfrm>
                    <a:off x="5687340" y="2614663"/>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0" name="Freeform 1673">
                    <a:extLst>
                      <a:ext uri="{FF2B5EF4-FFF2-40B4-BE49-F238E27FC236}">
                        <a16:creationId xmlns:a16="http://schemas.microsoft.com/office/drawing/2014/main" id="{209B22DB-D023-4EF3-80E7-CECF72BECB29}"/>
                      </a:ext>
                    </a:extLst>
                  </p:cNvPr>
                  <p:cNvSpPr>
                    <a:spLocks/>
                  </p:cNvSpPr>
                  <p:nvPr/>
                </p:nvSpPr>
                <p:spPr bwMode="auto">
                  <a:xfrm>
                    <a:off x="5772543" y="2583562"/>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1" name="Freeform 1674">
                    <a:extLst>
                      <a:ext uri="{FF2B5EF4-FFF2-40B4-BE49-F238E27FC236}">
                        <a16:creationId xmlns:a16="http://schemas.microsoft.com/office/drawing/2014/main" id="{5DD93AA3-D101-4B7C-A2C9-675BFF568FF6}"/>
                      </a:ext>
                    </a:extLst>
                  </p:cNvPr>
                  <p:cNvSpPr>
                    <a:spLocks/>
                  </p:cNvSpPr>
                  <p:nvPr/>
                </p:nvSpPr>
                <p:spPr bwMode="auto">
                  <a:xfrm>
                    <a:off x="5636850" y="2682789"/>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2" name="Freeform 1675">
                    <a:extLst>
                      <a:ext uri="{FF2B5EF4-FFF2-40B4-BE49-F238E27FC236}">
                        <a16:creationId xmlns:a16="http://schemas.microsoft.com/office/drawing/2014/main" id="{C137378B-DFB5-4E12-85BB-E98DCCE27BBE}"/>
                      </a:ext>
                    </a:extLst>
                  </p:cNvPr>
                  <p:cNvSpPr>
                    <a:spLocks/>
                  </p:cNvSpPr>
                  <p:nvPr/>
                </p:nvSpPr>
                <p:spPr bwMode="auto">
                  <a:xfrm>
                    <a:off x="5644739" y="2666498"/>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3" name="Freeform 1676">
                    <a:extLst>
                      <a:ext uri="{FF2B5EF4-FFF2-40B4-BE49-F238E27FC236}">
                        <a16:creationId xmlns:a16="http://schemas.microsoft.com/office/drawing/2014/main" id="{A4FFDEA6-28B8-400B-BFFE-F7FAE946D11D}"/>
                      </a:ext>
                    </a:extLst>
                  </p:cNvPr>
                  <p:cNvSpPr>
                    <a:spLocks/>
                  </p:cNvSpPr>
                  <p:nvPr/>
                </p:nvSpPr>
                <p:spPr bwMode="auto">
                  <a:xfrm>
                    <a:off x="5632117" y="2700561"/>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4" name="Freeform 1677">
                    <a:extLst>
                      <a:ext uri="{FF2B5EF4-FFF2-40B4-BE49-F238E27FC236}">
                        <a16:creationId xmlns:a16="http://schemas.microsoft.com/office/drawing/2014/main" id="{1BE52258-BF13-4239-A46B-05478434E423}"/>
                      </a:ext>
                    </a:extLst>
                  </p:cNvPr>
                  <p:cNvSpPr>
                    <a:spLocks/>
                  </p:cNvSpPr>
                  <p:nvPr/>
                </p:nvSpPr>
                <p:spPr bwMode="auto">
                  <a:xfrm>
                    <a:off x="5630538" y="2716853"/>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5" name="Freeform 1678">
                    <a:extLst>
                      <a:ext uri="{FF2B5EF4-FFF2-40B4-BE49-F238E27FC236}">
                        <a16:creationId xmlns:a16="http://schemas.microsoft.com/office/drawing/2014/main" id="{3E30820D-C32E-4F6B-B538-102DF0C5AB62}"/>
                      </a:ext>
                    </a:extLst>
                  </p:cNvPr>
                  <p:cNvSpPr>
                    <a:spLocks/>
                  </p:cNvSpPr>
                  <p:nvPr/>
                </p:nvSpPr>
                <p:spPr bwMode="auto">
                  <a:xfrm>
                    <a:off x="5628961" y="2734625"/>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6" name="Freeform 1679">
                    <a:extLst>
                      <a:ext uri="{FF2B5EF4-FFF2-40B4-BE49-F238E27FC236}">
                        <a16:creationId xmlns:a16="http://schemas.microsoft.com/office/drawing/2014/main" id="{DE8E89D9-EBA7-462B-A12D-2EA0DB9B77EE}"/>
                      </a:ext>
                    </a:extLst>
                  </p:cNvPr>
                  <p:cNvSpPr>
                    <a:spLocks/>
                  </p:cNvSpPr>
                  <p:nvPr/>
                </p:nvSpPr>
                <p:spPr bwMode="auto">
                  <a:xfrm>
                    <a:off x="5701541" y="2604296"/>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7" name="Freeform 1680">
                    <a:extLst>
                      <a:ext uri="{FF2B5EF4-FFF2-40B4-BE49-F238E27FC236}">
                        <a16:creationId xmlns:a16="http://schemas.microsoft.com/office/drawing/2014/main" id="{FC27AC40-0272-486B-BD68-807F57962CD6}"/>
                      </a:ext>
                    </a:extLst>
                  </p:cNvPr>
                  <p:cNvSpPr>
                    <a:spLocks/>
                  </p:cNvSpPr>
                  <p:nvPr/>
                </p:nvSpPr>
                <p:spPr bwMode="auto">
                  <a:xfrm>
                    <a:off x="5720475" y="2598372"/>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8" name="Freeform 1681">
                    <a:extLst>
                      <a:ext uri="{FF2B5EF4-FFF2-40B4-BE49-F238E27FC236}">
                        <a16:creationId xmlns:a16="http://schemas.microsoft.com/office/drawing/2014/main" id="{16796A8E-093F-4B3D-B8D9-26EB94F591EC}"/>
                      </a:ext>
                    </a:extLst>
                  </p:cNvPr>
                  <p:cNvSpPr>
                    <a:spLocks/>
                  </p:cNvSpPr>
                  <p:nvPr/>
                </p:nvSpPr>
                <p:spPr bwMode="auto">
                  <a:xfrm>
                    <a:off x="5652628" y="2651688"/>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69" name="Freeform 1682">
                    <a:extLst>
                      <a:ext uri="{FF2B5EF4-FFF2-40B4-BE49-F238E27FC236}">
                        <a16:creationId xmlns:a16="http://schemas.microsoft.com/office/drawing/2014/main" id="{F390F449-7BF5-454D-8437-04554866FE6F}"/>
                      </a:ext>
                    </a:extLst>
                  </p:cNvPr>
                  <p:cNvSpPr>
                    <a:spLocks/>
                  </p:cNvSpPr>
                  <p:nvPr/>
                </p:nvSpPr>
                <p:spPr bwMode="auto">
                  <a:xfrm>
                    <a:off x="5663673" y="2638359"/>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0" name="Freeform 1683">
                    <a:extLst>
                      <a:ext uri="{FF2B5EF4-FFF2-40B4-BE49-F238E27FC236}">
                        <a16:creationId xmlns:a16="http://schemas.microsoft.com/office/drawing/2014/main" id="{092D419C-DEB3-445F-A859-96113FFDD02B}"/>
                      </a:ext>
                    </a:extLst>
                  </p:cNvPr>
                  <p:cNvSpPr>
                    <a:spLocks/>
                  </p:cNvSpPr>
                  <p:nvPr/>
                </p:nvSpPr>
                <p:spPr bwMode="auto">
                  <a:xfrm>
                    <a:off x="5674717" y="2626510"/>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2" name="Freeform 1684">
                    <a:extLst>
                      <a:ext uri="{FF2B5EF4-FFF2-40B4-BE49-F238E27FC236}">
                        <a16:creationId xmlns:a16="http://schemas.microsoft.com/office/drawing/2014/main" id="{11C69620-9CF5-4D05-AE0C-0D5C685BA930}"/>
                      </a:ext>
                    </a:extLst>
                  </p:cNvPr>
                  <p:cNvSpPr>
                    <a:spLocks/>
                  </p:cNvSpPr>
                  <p:nvPr/>
                </p:nvSpPr>
                <p:spPr bwMode="auto">
                  <a:xfrm>
                    <a:off x="5736253" y="2590966"/>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3" name="Freeform 1685">
                    <a:extLst>
                      <a:ext uri="{FF2B5EF4-FFF2-40B4-BE49-F238E27FC236}">
                        <a16:creationId xmlns:a16="http://schemas.microsoft.com/office/drawing/2014/main" id="{7A914000-D407-4B22-8AD1-0F10116C1675}"/>
                      </a:ext>
                    </a:extLst>
                  </p:cNvPr>
                  <p:cNvSpPr>
                    <a:spLocks/>
                  </p:cNvSpPr>
                  <p:nvPr/>
                </p:nvSpPr>
                <p:spPr bwMode="auto">
                  <a:xfrm>
                    <a:off x="5819877" y="2627992"/>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4" name="Freeform 1686">
                    <a:extLst>
                      <a:ext uri="{FF2B5EF4-FFF2-40B4-BE49-F238E27FC236}">
                        <a16:creationId xmlns:a16="http://schemas.microsoft.com/office/drawing/2014/main" id="{CE3E5A6A-2F5D-4ECB-A5B0-A8375680907A}"/>
                      </a:ext>
                    </a:extLst>
                  </p:cNvPr>
                  <p:cNvSpPr>
                    <a:spLocks/>
                  </p:cNvSpPr>
                  <p:nvPr/>
                </p:nvSpPr>
                <p:spPr bwMode="auto">
                  <a:xfrm>
                    <a:off x="5800943" y="2622068"/>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5" name="Freeform 1687">
                    <a:extLst>
                      <a:ext uri="{FF2B5EF4-FFF2-40B4-BE49-F238E27FC236}">
                        <a16:creationId xmlns:a16="http://schemas.microsoft.com/office/drawing/2014/main" id="{F7F9161B-F005-4FCF-9B9B-49D441EE5AD8}"/>
                      </a:ext>
                    </a:extLst>
                  </p:cNvPr>
                  <p:cNvSpPr>
                    <a:spLocks/>
                  </p:cNvSpPr>
                  <p:nvPr/>
                </p:nvSpPr>
                <p:spPr bwMode="auto">
                  <a:xfrm>
                    <a:off x="5834078" y="2619106"/>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6" name="Freeform 1688">
                    <a:extLst>
                      <a:ext uri="{FF2B5EF4-FFF2-40B4-BE49-F238E27FC236}">
                        <a16:creationId xmlns:a16="http://schemas.microsoft.com/office/drawing/2014/main" id="{DEB21773-6664-4881-A1E5-ABD07DF9181B}"/>
                      </a:ext>
                    </a:extLst>
                  </p:cNvPr>
                  <p:cNvSpPr>
                    <a:spLocks/>
                  </p:cNvSpPr>
                  <p:nvPr/>
                </p:nvSpPr>
                <p:spPr bwMode="auto">
                  <a:xfrm>
                    <a:off x="5835655" y="2602814"/>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7" name="Freeform 1689">
                    <a:extLst>
                      <a:ext uri="{FF2B5EF4-FFF2-40B4-BE49-F238E27FC236}">
                        <a16:creationId xmlns:a16="http://schemas.microsoft.com/office/drawing/2014/main" id="{8E17B86F-9F6A-47CD-90A0-0AF99D1AD635}"/>
                      </a:ext>
                    </a:extLst>
                  </p:cNvPr>
                  <p:cNvSpPr>
                    <a:spLocks/>
                  </p:cNvSpPr>
                  <p:nvPr/>
                </p:nvSpPr>
                <p:spPr bwMode="auto">
                  <a:xfrm>
                    <a:off x="5775698" y="2599852"/>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8" name="Freeform 1690">
                    <a:extLst>
                      <a:ext uri="{FF2B5EF4-FFF2-40B4-BE49-F238E27FC236}">
                        <a16:creationId xmlns:a16="http://schemas.microsoft.com/office/drawing/2014/main" id="{AEE6CC1E-725C-4C4F-A05E-1837B6525C72}"/>
                      </a:ext>
                    </a:extLst>
                  </p:cNvPr>
                  <p:cNvSpPr>
                    <a:spLocks/>
                  </p:cNvSpPr>
                  <p:nvPr/>
                </p:nvSpPr>
                <p:spPr bwMode="auto">
                  <a:xfrm>
                    <a:off x="5786743" y="2613182"/>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79" name="Freeform 1691">
                    <a:extLst>
                      <a:ext uri="{FF2B5EF4-FFF2-40B4-BE49-F238E27FC236}">
                        <a16:creationId xmlns:a16="http://schemas.microsoft.com/office/drawing/2014/main" id="{A3E8BCB5-A2DD-4E14-992D-135B61CDCC39}"/>
                      </a:ext>
                    </a:extLst>
                  </p:cNvPr>
                  <p:cNvSpPr>
                    <a:spLocks/>
                  </p:cNvSpPr>
                  <p:nvPr/>
                </p:nvSpPr>
                <p:spPr bwMode="auto">
                  <a:xfrm>
                    <a:off x="5791476" y="2583562"/>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80" name="Freeform 1692">
                    <a:extLst>
                      <a:ext uri="{FF2B5EF4-FFF2-40B4-BE49-F238E27FC236}">
                        <a16:creationId xmlns:a16="http://schemas.microsoft.com/office/drawing/2014/main" id="{B4EAD695-F0F8-47F1-BBC4-6B80AA4D821B}"/>
                      </a:ext>
                    </a:extLst>
                  </p:cNvPr>
                  <p:cNvSpPr>
                    <a:spLocks/>
                  </p:cNvSpPr>
                  <p:nvPr/>
                </p:nvSpPr>
                <p:spPr bwMode="auto">
                  <a:xfrm>
                    <a:off x="5772543" y="2567270"/>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81" name="Freeform 1693">
                    <a:extLst>
                      <a:ext uri="{FF2B5EF4-FFF2-40B4-BE49-F238E27FC236}">
                        <a16:creationId xmlns:a16="http://schemas.microsoft.com/office/drawing/2014/main" id="{D1C37D87-C639-49D5-BABC-13E19966522E}"/>
                      </a:ext>
                    </a:extLst>
                  </p:cNvPr>
                  <p:cNvSpPr>
                    <a:spLocks/>
                  </p:cNvSpPr>
                  <p:nvPr/>
                </p:nvSpPr>
                <p:spPr bwMode="auto">
                  <a:xfrm>
                    <a:off x="5753609" y="2586524"/>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82" name="Freeform 1694">
                    <a:extLst>
                      <a:ext uri="{FF2B5EF4-FFF2-40B4-BE49-F238E27FC236}">
                        <a16:creationId xmlns:a16="http://schemas.microsoft.com/office/drawing/2014/main" id="{9D476614-92D3-44CD-8D5F-0DEEB1662FF9}"/>
                      </a:ext>
                    </a:extLst>
                  </p:cNvPr>
                  <p:cNvSpPr>
                    <a:spLocks/>
                  </p:cNvSpPr>
                  <p:nvPr/>
                </p:nvSpPr>
                <p:spPr bwMode="auto">
                  <a:xfrm>
                    <a:off x="5783588" y="2534688"/>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83" name="Freeform 1695">
                    <a:extLst>
                      <a:ext uri="{FF2B5EF4-FFF2-40B4-BE49-F238E27FC236}">
                        <a16:creationId xmlns:a16="http://schemas.microsoft.com/office/drawing/2014/main" id="{2AFF7525-2987-4C06-9575-FDACF10D7DB0}"/>
                      </a:ext>
                    </a:extLst>
                  </p:cNvPr>
                  <p:cNvSpPr>
                    <a:spLocks/>
                  </p:cNvSpPr>
                  <p:nvPr/>
                </p:nvSpPr>
                <p:spPr bwMode="auto">
                  <a:xfrm>
                    <a:off x="5774121" y="2549498"/>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84" name="Freeform 1696">
                    <a:extLst>
                      <a:ext uri="{FF2B5EF4-FFF2-40B4-BE49-F238E27FC236}">
                        <a16:creationId xmlns:a16="http://schemas.microsoft.com/office/drawing/2014/main" id="{F6B579F5-7B49-4B64-94F5-A98CB9CD7612}"/>
                      </a:ext>
                    </a:extLst>
                  </p:cNvPr>
                  <p:cNvSpPr>
                    <a:spLocks/>
                  </p:cNvSpPr>
                  <p:nvPr/>
                </p:nvSpPr>
                <p:spPr bwMode="auto">
                  <a:xfrm>
                    <a:off x="5808833" y="2585042"/>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85" name="Freeform 1697">
                    <a:extLst>
                      <a:ext uri="{FF2B5EF4-FFF2-40B4-BE49-F238E27FC236}">
                        <a16:creationId xmlns:a16="http://schemas.microsoft.com/office/drawing/2014/main" id="{089793EB-5409-49A5-B8BF-6E4EE0D56FAB}"/>
                      </a:ext>
                    </a:extLst>
                  </p:cNvPr>
                  <p:cNvSpPr>
                    <a:spLocks/>
                  </p:cNvSpPr>
                  <p:nvPr/>
                </p:nvSpPr>
                <p:spPr bwMode="auto">
                  <a:xfrm>
                    <a:off x="5824611" y="2590966"/>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nvGrpSpPr>
                <p:cNvPr id="582" name="Group 581">
                  <a:extLst>
                    <a:ext uri="{FF2B5EF4-FFF2-40B4-BE49-F238E27FC236}">
                      <a16:creationId xmlns:a16="http://schemas.microsoft.com/office/drawing/2014/main" id="{A703DD4F-4636-43AA-BEB9-04B535A3D86D}"/>
                    </a:ext>
                  </a:extLst>
                </p:cNvPr>
                <p:cNvGrpSpPr/>
                <p:nvPr/>
              </p:nvGrpSpPr>
              <p:grpSpPr>
                <a:xfrm>
                  <a:off x="5353053" y="2683615"/>
                  <a:ext cx="1221490" cy="1047560"/>
                  <a:chOff x="5252501" y="2482528"/>
                  <a:chExt cx="609978" cy="523122"/>
                </a:xfrm>
              </p:grpSpPr>
              <p:sp>
                <p:nvSpPr>
                  <p:cNvPr id="583" name="Line 66">
                    <a:extLst>
                      <a:ext uri="{FF2B5EF4-FFF2-40B4-BE49-F238E27FC236}">
                        <a16:creationId xmlns:a16="http://schemas.microsoft.com/office/drawing/2014/main" id="{A912DCA9-5CE6-435E-8B45-B0959CA27FEB}"/>
                      </a:ext>
                    </a:extLst>
                  </p:cNvPr>
                  <p:cNvSpPr>
                    <a:spLocks noChangeShapeType="1"/>
                  </p:cNvSpPr>
                  <p:nvPr/>
                </p:nvSpPr>
                <p:spPr bwMode="auto">
                  <a:xfrm rot="8100000">
                    <a:off x="5559844" y="248252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84" name="Line 67">
                    <a:extLst>
                      <a:ext uri="{FF2B5EF4-FFF2-40B4-BE49-F238E27FC236}">
                        <a16:creationId xmlns:a16="http://schemas.microsoft.com/office/drawing/2014/main" id="{3735A6D9-3AF7-4B9F-983F-31C523358878}"/>
                      </a:ext>
                    </a:extLst>
                  </p:cNvPr>
                  <p:cNvSpPr>
                    <a:spLocks noChangeShapeType="1"/>
                  </p:cNvSpPr>
                  <p:nvPr/>
                </p:nvSpPr>
                <p:spPr bwMode="auto">
                  <a:xfrm rot="8100000">
                    <a:off x="5269164" y="2793573"/>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85" name="Line 74">
                    <a:extLst>
                      <a:ext uri="{FF2B5EF4-FFF2-40B4-BE49-F238E27FC236}">
                        <a16:creationId xmlns:a16="http://schemas.microsoft.com/office/drawing/2014/main" id="{D79F596C-94B2-4562-98C5-E70958155EEE}"/>
                      </a:ext>
                    </a:extLst>
                  </p:cNvPr>
                  <p:cNvSpPr>
                    <a:spLocks noChangeShapeType="1"/>
                  </p:cNvSpPr>
                  <p:nvPr/>
                </p:nvSpPr>
                <p:spPr bwMode="auto">
                  <a:xfrm rot="8100000">
                    <a:off x="5252501" y="281023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86" name="Freeform 1575">
                    <a:extLst>
                      <a:ext uri="{FF2B5EF4-FFF2-40B4-BE49-F238E27FC236}">
                        <a16:creationId xmlns:a16="http://schemas.microsoft.com/office/drawing/2014/main" id="{DE7859B2-6703-4C55-A9F8-1BA91C3253D1}"/>
                      </a:ext>
                    </a:extLst>
                  </p:cNvPr>
                  <p:cNvSpPr>
                    <a:spLocks/>
                  </p:cNvSpPr>
                  <p:nvPr/>
                </p:nvSpPr>
                <p:spPr bwMode="auto">
                  <a:xfrm>
                    <a:off x="5387554" y="2869396"/>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87" name="Freeform 1576">
                    <a:extLst>
                      <a:ext uri="{FF2B5EF4-FFF2-40B4-BE49-F238E27FC236}">
                        <a16:creationId xmlns:a16="http://schemas.microsoft.com/office/drawing/2014/main" id="{8D03D213-BBF8-45A5-AF02-6887B07C7BEE}"/>
                      </a:ext>
                    </a:extLst>
                  </p:cNvPr>
                  <p:cNvSpPr>
                    <a:spLocks/>
                  </p:cNvSpPr>
                  <p:nvPr/>
                </p:nvSpPr>
                <p:spPr bwMode="auto">
                  <a:xfrm>
                    <a:off x="5387554" y="2722777"/>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88" name="Freeform 1577">
                    <a:extLst>
                      <a:ext uri="{FF2B5EF4-FFF2-40B4-BE49-F238E27FC236}">
                        <a16:creationId xmlns:a16="http://schemas.microsoft.com/office/drawing/2014/main" id="{08814042-09CB-4814-87E6-F5C4AA019764}"/>
                      </a:ext>
                    </a:extLst>
                  </p:cNvPr>
                  <p:cNvSpPr>
                    <a:spLocks/>
                  </p:cNvSpPr>
                  <p:nvPr/>
                </p:nvSpPr>
                <p:spPr bwMode="auto">
                  <a:xfrm>
                    <a:off x="5589515" y="2722777"/>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89" name="Freeform 1578">
                    <a:extLst>
                      <a:ext uri="{FF2B5EF4-FFF2-40B4-BE49-F238E27FC236}">
                        <a16:creationId xmlns:a16="http://schemas.microsoft.com/office/drawing/2014/main" id="{B02881B2-5EA7-4EEF-A352-D80160B2AE8A}"/>
                      </a:ext>
                    </a:extLst>
                  </p:cNvPr>
                  <p:cNvSpPr>
                    <a:spLocks noEditPoints="1"/>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0" name="Freeform 1579">
                    <a:extLst>
                      <a:ext uri="{FF2B5EF4-FFF2-40B4-BE49-F238E27FC236}">
                        <a16:creationId xmlns:a16="http://schemas.microsoft.com/office/drawing/2014/main" id="{32916048-640C-4511-9F10-29176518ECB1}"/>
                      </a:ext>
                    </a:extLst>
                  </p:cNvPr>
                  <p:cNvSpPr>
                    <a:spLocks/>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1" name="Freeform 1580">
                    <a:extLst>
                      <a:ext uri="{FF2B5EF4-FFF2-40B4-BE49-F238E27FC236}">
                        <a16:creationId xmlns:a16="http://schemas.microsoft.com/office/drawing/2014/main" id="{0EBC724E-75FB-452E-B26E-6DD575C9ECA8}"/>
                      </a:ext>
                    </a:extLst>
                  </p:cNvPr>
                  <p:cNvSpPr>
                    <a:spLocks/>
                  </p:cNvSpPr>
                  <p:nvPr/>
                </p:nvSpPr>
                <p:spPr bwMode="auto">
                  <a:xfrm>
                    <a:off x="5595826" y="2728701"/>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2" name="Freeform 1581">
                    <a:extLst>
                      <a:ext uri="{FF2B5EF4-FFF2-40B4-BE49-F238E27FC236}">
                        <a16:creationId xmlns:a16="http://schemas.microsoft.com/office/drawing/2014/main" id="{4451ECFA-65F2-4D68-B6DE-ECCB9B77A02F}"/>
                      </a:ext>
                    </a:extLst>
                  </p:cNvPr>
                  <p:cNvSpPr>
                    <a:spLocks noEditPoints="1"/>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3" name="Freeform 1582">
                    <a:extLst>
                      <a:ext uri="{FF2B5EF4-FFF2-40B4-BE49-F238E27FC236}">
                        <a16:creationId xmlns:a16="http://schemas.microsoft.com/office/drawing/2014/main" id="{3F6E1EAE-665D-459B-B86A-2F89FC666308}"/>
                      </a:ext>
                    </a:extLst>
                  </p:cNvPr>
                  <p:cNvSpPr>
                    <a:spLocks/>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4" name="Freeform 1583">
                    <a:extLst>
                      <a:ext uri="{FF2B5EF4-FFF2-40B4-BE49-F238E27FC236}">
                        <a16:creationId xmlns:a16="http://schemas.microsoft.com/office/drawing/2014/main" id="{F375AB93-5004-4C1C-9D0A-5AE70059E4C7}"/>
                      </a:ext>
                    </a:extLst>
                  </p:cNvPr>
                  <p:cNvSpPr>
                    <a:spLocks/>
                  </p:cNvSpPr>
                  <p:nvPr/>
                </p:nvSpPr>
                <p:spPr bwMode="auto">
                  <a:xfrm>
                    <a:off x="5330752" y="2728701"/>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5" name="Freeform 1584">
                    <a:extLst>
                      <a:ext uri="{FF2B5EF4-FFF2-40B4-BE49-F238E27FC236}">
                        <a16:creationId xmlns:a16="http://schemas.microsoft.com/office/drawing/2014/main" id="{313741DE-C2B5-4C70-8133-575079A0FFD2}"/>
                      </a:ext>
                    </a:extLst>
                  </p:cNvPr>
                  <p:cNvSpPr>
                    <a:spLocks/>
                  </p:cNvSpPr>
                  <p:nvPr/>
                </p:nvSpPr>
                <p:spPr bwMode="auto">
                  <a:xfrm>
                    <a:off x="5589515" y="260577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6" name="Freeform 1585">
                    <a:extLst>
                      <a:ext uri="{FF2B5EF4-FFF2-40B4-BE49-F238E27FC236}">
                        <a16:creationId xmlns:a16="http://schemas.microsoft.com/office/drawing/2014/main" id="{AC47250D-5DAC-4141-B747-57C5C1305EDA}"/>
                      </a:ext>
                    </a:extLst>
                  </p:cNvPr>
                  <p:cNvSpPr>
                    <a:spLocks/>
                  </p:cNvSpPr>
                  <p:nvPr/>
                </p:nvSpPr>
                <p:spPr bwMode="auto">
                  <a:xfrm>
                    <a:off x="5340219" y="2605776"/>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7" name="Freeform 1586">
                    <a:extLst>
                      <a:ext uri="{FF2B5EF4-FFF2-40B4-BE49-F238E27FC236}">
                        <a16:creationId xmlns:a16="http://schemas.microsoft.com/office/drawing/2014/main" id="{02E1CD02-F97A-490E-9EA1-F42860AD2171}"/>
                      </a:ext>
                    </a:extLst>
                  </p:cNvPr>
                  <p:cNvSpPr>
                    <a:spLocks/>
                  </p:cNvSpPr>
                  <p:nvPr/>
                </p:nvSpPr>
                <p:spPr bwMode="auto">
                  <a:xfrm>
                    <a:off x="5580048" y="2602814"/>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8" name="Freeform 1587">
                    <a:extLst>
                      <a:ext uri="{FF2B5EF4-FFF2-40B4-BE49-F238E27FC236}">
                        <a16:creationId xmlns:a16="http://schemas.microsoft.com/office/drawing/2014/main" id="{6F0651E9-432A-44C7-A73D-6BF2D3561565}"/>
                      </a:ext>
                    </a:extLst>
                  </p:cNvPr>
                  <p:cNvSpPr>
                    <a:spLocks/>
                  </p:cNvSpPr>
                  <p:nvPr/>
                </p:nvSpPr>
                <p:spPr bwMode="auto">
                  <a:xfrm>
                    <a:off x="5338642" y="2602814"/>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99" name="Freeform 1588">
                    <a:extLst>
                      <a:ext uri="{FF2B5EF4-FFF2-40B4-BE49-F238E27FC236}">
                        <a16:creationId xmlns:a16="http://schemas.microsoft.com/office/drawing/2014/main" id="{AA2C2453-92B0-4B84-8093-2D14219FEB3B}"/>
                      </a:ext>
                    </a:extLst>
                  </p:cNvPr>
                  <p:cNvSpPr>
                    <a:spLocks/>
                  </p:cNvSpPr>
                  <p:nvPr/>
                </p:nvSpPr>
                <p:spPr bwMode="auto">
                  <a:xfrm>
                    <a:off x="5381243" y="2722777"/>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ysClr val="windowText" lastClr="000000">
                      <a:lumMod val="65000"/>
                      <a:lumOff val="35000"/>
                    </a:sysClr>
                  </a:solidFill>
                  <a:ln w="9525">
                    <a:no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0" name="Rectangle 1589">
                    <a:extLst>
                      <a:ext uri="{FF2B5EF4-FFF2-40B4-BE49-F238E27FC236}">
                        <a16:creationId xmlns:a16="http://schemas.microsoft.com/office/drawing/2014/main" id="{F903783C-B8E1-46C7-B6C0-3DB123C4F874}"/>
                      </a:ext>
                    </a:extLst>
                  </p:cNvPr>
                  <p:cNvSpPr>
                    <a:spLocks noChangeArrowheads="1"/>
                  </p:cNvSpPr>
                  <p:nvPr/>
                </p:nvSpPr>
                <p:spPr bwMode="auto">
                  <a:xfrm>
                    <a:off x="5583204" y="2789422"/>
                    <a:ext cx="11045" cy="213265"/>
                  </a:xfrm>
                  <a:prstGeom prst="rect">
                    <a:avLst/>
                  </a:pr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1" name="Rectangle 1590">
                    <a:extLst>
                      <a:ext uri="{FF2B5EF4-FFF2-40B4-BE49-F238E27FC236}">
                        <a16:creationId xmlns:a16="http://schemas.microsoft.com/office/drawing/2014/main" id="{3F676BCF-B75D-4C24-A5F9-3BAC3B6DC4F8}"/>
                      </a:ext>
                    </a:extLst>
                  </p:cNvPr>
                  <p:cNvSpPr>
                    <a:spLocks noChangeArrowheads="1"/>
                  </p:cNvSpPr>
                  <p:nvPr/>
                </p:nvSpPr>
                <p:spPr bwMode="auto">
                  <a:xfrm>
                    <a:off x="5583204" y="2656131"/>
                    <a:ext cx="11045" cy="111076"/>
                  </a:xfrm>
                  <a:prstGeom prst="rect">
                    <a:avLst/>
                  </a:pr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2" name="Freeform 1591">
                    <a:extLst>
                      <a:ext uri="{FF2B5EF4-FFF2-40B4-BE49-F238E27FC236}">
                        <a16:creationId xmlns:a16="http://schemas.microsoft.com/office/drawing/2014/main" id="{147574DA-258F-4E85-99B6-E796EFEAC768}"/>
                      </a:ext>
                    </a:extLst>
                  </p:cNvPr>
                  <p:cNvSpPr>
                    <a:spLocks/>
                  </p:cNvSpPr>
                  <p:nvPr/>
                </p:nvSpPr>
                <p:spPr bwMode="auto">
                  <a:xfrm>
                    <a:off x="5611605" y="2953814"/>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3" name="Freeform 1592">
                    <a:extLst>
                      <a:ext uri="{FF2B5EF4-FFF2-40B4-BE49-F238E27FC236}">
                        <a16:creationId xmlns:a16="http://schemas.microsoft.com/office/drawing/2014/main" id="{B7DB9A3D-6BC2-48D5-A344-92FEDE0045FF}"/>
                      </a:ext>
                    </a:extLst>
                  </p:cNvPr>
                  <p:cNvSpPr>
                    <a:spLocks/>
                  </p:cNvSpPr>
                  <p:nvPr/>
                </p:nvSpPr>
                <p:spPr bwMode="auto">
                  <a:xfrm>
                    <a:off x="5611605" y="2946409"/>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4" name="Freeform 1593">
                    <a:extLst>
                      <a:ext uri="{FF2B5EF4-FFF2-40B4-BE49-F238E27FC236}">
                        <a16:creationId xmlns:a16="http://schemas.microsoft.com/office/drawing/2014/main" id="{596ECF29-ECE7-48E3-9CC0-8ABE30505899}"/>
                      </a:ext>
                    </a:extLst>
                  </p:cNvPr>
                  <p:cNvSpPr>
                    <a:spLocks noEditPoints="1"/>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5" name="Freeform 1594">
                    <a:extLst>
                      <a:ext uri="{FF2B5EF4-FFF2-40B4-BE49-F238E27FC236}">
                        <a16:creationId xmlns:a16="http://schemas.microsoft.com/office/drawing/2014/main" id="{8991E37A-74E2-427D-A2D5-7395D87E6A5F}"/>
                      </a:ext>
                    </a:extLst>
                  </p:cNvPr>
                  <p:cNvSpPr>
                    <a:spLocks/>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6" name="Freeform 1595">
                    <a:extLst>
                      <a:ext uri="{FF2B5EF4-FFF2-40B4-BE49-F238E27FC236}">
                        <a16:creationId xmlns:a16="http://schemas.microsoft.com/office/drawing/2014/main" id="{B0D02A19-C896-4FFA-948B-F79CE6767471}"/>
                      </a:ext>
                    </a:extLst>
                  </p:cNvPr>
                  <p:cNvSpPr>
                    <a:spLocks/>
                  </p:cNvSpPr>
                  <p:nvPr/>
                </p:nvSpPr>
                <p:spPr bwMode="auto">
                  <a:xfrm>
                    <a:off x="5414377" y="2907902"/>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7" name="Freeform 1596">
                    <a:extLst>
                      <a:ext uri="{FF2B5EF4-FFF2-40B4-BE49-F238E27FC236}">
                        <a16:creationId xmlns:a16="http://schemas.microsoft.com/office/drawing/2014/main" id="{7267C0D4-A176-49BC-B3E4-EAE7E63013C8}"/>
                      </a:ext>
                    </a:extLst>
                  </p:cNvPr>
                  <p:cNvSpPr>
                    <a:spLocks/>
                  </p:cNvSpPr>
                  <p:nvPr/>
                </p:nvSpPr>
                <p:spPr bwMode="auto">
                  <a:xfrm>
                    <a:off x="5409643" y="2881244"/>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8" name="Freeform 1672">
                    <a:extLst>
                      <a:ext uri="{FF2B5EF4-FFF2-40B4-BE49-F238E27FC236}">
                        <a16:creationId xmlns:a16="http://schemas.microsoft.com/office/drawing/2014/main" id="{027F053F-EEA1-42B6-98F3-8273DAAA8738}"/>
                      </a:ext>
                    </a:extLst>
                  </p:cNvPr>
                  <p:cNvSpPr>
                    <a:spLocks/>
                  </p:cNvSpPr>
                  <p:nvPr/>
                </p:nvSpPr>
                <p:spPr bwMode="auto">
                  <a:xfrm>
                    <a:off x="5687340" y="2614663"/>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09" name="Freeform 1673">
                    <a:extLst>
                      <a:ext uri="{FF2B5EF4-FFF2-40B4-BE49-F238E27FC236}">
                        <a16:creationId xmlns:a16="http://schemas.microsoft.com/office/drawing/2014/main" id="{B394184E-E373-42E6-A3A6-48076FA4C3D2}"/>
                      </a:ext>
                    </a:extLst>
                  </p:cNvPr>
                  <p:cNvSpPr>
                    <a:spLocks/>
                  </p:cNvSpPr>
                  <p:nvPr/>
                </p:nvSpPr>
                <p:spPr bwMode="auto">
                  <a:xfrm>
                    <a:off x="5772543" y="2583562"/>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0" name="Freeform 1674">
                    <a:extLst>
                      <a:ext uri="{FF2B5EF4-FFF2-40B4-BE49-F238E27FC236}">
                        <a16:creationId xmlns:a16="http://schemas.microsoft.com/office/drawing/2014/main" id="{A3573AF3-4DA0-4DE1-95E8-9EEC87D1FF1D}"/>
                      </a:ext>
                    </a:extLst>
                  </p:cNvPr>
                  <p:cNvSpPr>
                    <a:spLocks/>
                  </p:cNvSpPr>
                  <p:nvPr/>
                </p:nvSpPr>
                <p:spPr bwMode="auto">
                  <a:xfrm>
                    <a:off x="5636850" y="2682789"/>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1" name="Freeform 1675">
                    <a:extLst>
                      <a:ext uri="{FF2B5EF4-FFF2-40B4-BE49-F238E27FC236}">
                        <a16:creationId xmlns:a16="http://schemas.microsoft.com/office/drawing/2014/main" id="{42E39A86-16F8-4B85-B296-03317FE6D890}"/>
                      </a:ext>
                    </a:extLst>
                  </p:cNvPr>
                  <p:cNvSpPr>
                    <a:spLocks/>
                  </p:cNvSpPr>
                  <p:nvPr/>
                </p:nvSpPr>
                <p:spPr bwMode="auto">
                  <a:xfrm>
                    <a:off x="5644739" y="2666498"/>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2" name="Freeform 1676">
                    <a:extLst>
                      <a:ext uri="{FF2B5EF4-FFF2-40B4-BE49-F238E27FC236}">
                        <a16:creationId xmlns:a16="http://schemas.microsoft.com/office/drawing/2014/main" id="{01A25A45-4DA1-4B7D-9BD9-A775BF29AFF4}"/>
                      </a:ext>
                    </a:extLst>
                  </p:cNvPr>
                  <p:cNvSpPr>
                    <a:spLocks/>
                  </p:cNvSpPr>
                  <p:nvPr/>
                </p:nvSpPr>
                <p:spPr bwMode="auto">
                  <a:xfrm>
                    <a:off x="5632117" y="2700561"/>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3" name="Freeform 1677">
                    <a:extLst>
                      <a:ext uri="{FF2B5EF4-FFF2-40B4-BE49-F238E27FC236}">
                        <a16:creationId xmlns:a16="http://schemas.microsoft.com/office/drawing/2014/main" id="{250D6ED9-B89E-4C0A-BDEE-C4CB227AB058}"/>
                      </a:ext>
                    </a:extLst>
                  </p:cNvPr>
                  <p:cNvSpPr>
                    <a:spLocks/>
                  </p:cNvSpPr>
                  <p:nvPr/>
                </p:nvSpPr>
                <p:spPr bwMode="auto">
                  <a:xfrm>
                    <a:off x="5630538" y="2716853"/>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4" name="Freeform 1678">
                    <a:extLst>
                      <a:ext uri="{FF2B5EF4-FFF2-40B4-BE49-F238E27FC236}">
                        <a16:creationId xmlns:a16="http://schemas.microsoft.com/office/drawing/2014/main" id="{EF73747B-5D96-4DE8-8A94-3DC74B3F0733}"/>
                      </a:ext>
                    </a:extLst>
                  </p:cNvPr>
                  <p:cNvSpPr>
                    <a:spLocks/>
                  </p:cNvSpPr>
                  <p:nvPr/>
                </p:nvSpPr>
                <p:spPr bwMode="auto">
                  <a:xfrm>
                    <a:off x="5628961" y="2734625"/>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5" name="Freeform 1679">
                    <a:extLst>
                      <a:ext uri="{FF2B5EF4-FFF2-40B4-BE49-F238E27FC236}">
                        <a16:creationId xmlns:a16="http://schemas.microsoft.com/office/drawing/2014/main" id="{90754A5C-D1E0-445D-B67A-CE61EF52B7AE}"/>
                      </a:ext>
                    </a:extLst>
                  </p:cNvPr>
                  <p:cNvSpPr>
                    <a:spLocks/>
                  </p:cNvSpPr>
                  <p:nvPr/>
                </p:nvSpPr>
                <p:spPr bwMode="auto">
                  <a:xfrm>
                    <a:off x="5701541" y="2604296"/>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6" name="Freeform 1680">
                    <a:extLst>
                      <a:ext uri="{FF2B5EF4-FFF2-40B4-BE49-F238E27FC236}">
                        <a16:creationId xmlns:a16="http://schemas.microsoft.com/office/drawing/2014/main" id="{17243433-A196-49C4-A011-C57E66A5AEEE}"/>
                      </a:ext>
                    </a:extLst>
                  </p:cNvPr>
                  <p:cNvSpPr>
                    <a:spLocks/>
                  </p:cNvSpPr>
                  <p:nvPr/>
                </p:nvSpPr>
                <p:spPr bwMode="auto">
                  <a:xfrm>
                    <a:off x="5720475" y="2598372"/>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7" name="Freeform 1681">
                    <a:extLst>
                      <a:ext uri="{FF2B5EF4-FFF2-40B4-BE49-F238E27FC236}">
                        <a16:creationId xmlns:a16="http://schemas.microsoft.com/office/drawing/2014/main" id="{FC418D27-DD9A-448F-8465-B124506D5C9C}"/>
                      </a:ext>
                    </a:extLst>
                  </p:cNvPr>
                  <p:cNvSpPr>
                    <a:spLocks/>
                  </p:cNvSpPr>
                  <p:nvPr/>
                </p:nvSpPr>
                <p:spPr bwMode="auto">
                  <a:xfrm>
                    <a:off x="5652628" y="2651688"/>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8" name="Freeform 1682">
                    <a:extLst>
                      <a:ext uri="{FF2B5EF4-FFF2-40B4-BE49-F238E27FC236}">
                        <a16:creationId xmlns:a16="http://schemas.microsoft.com/office/drawing/2014/main" id="{EAE2F516-8BE5-47F6-9258-FF623EB1B30D}"/>
                      </a:ext>
                    </a:extLst>
                  </p:cNvPr>
                  <p:cNvSpPr>
                    <a:spLocks/>
                  </p:cNvSpPr>
                  <p:nvPr/>
                </p:nvSpPr>
                <p:spPr bwMode="auto">
                  <a:xfrm>
                    <a:off x="5663673" y="2638359"/>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19" name="Freeform 1683">
                    <a:extLst>
                      <a:ext uri="{FF2B5EF4-FFF2-40B4-BE49-F238E27FC236}">
                        <a16:creationId xmlns:a16="http://schemas.microsoft.com/office/drawing/2014/main" id="{FB430732-C4BD-4DB8-868B-063D6CCB58C7}"/>
                      </a:ext>
                    </a:extLst>
                  </p:cNvPr>
                  <p:cNvSpPr>
                    <a:spLocks/>
                  </p:cNvSpPr>
                  <p:nvPr/>
                </p:nvSpPr>
                <p:spPr bwMode="auto">
                  <a:xfrm>
                    <a:off x="5674717" y="2626510"/>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0" name="Freeform 1684">
                    <a:extLst>
                      <a:ext uri="{FF2B5EF4-FFF2-40B4-BE49-F238E27FC236}">
                        <a16:creationId xmlns:a16="http://schemas.microsoft.com/office/drawing/2014/main" id="{D9E8803F-C605-4CC5-A95C-B6EE89F890EF}"/>
                      </a:ext>
                    </a:extLst>
                  </p:cNvPr>
                  <p:cNvSpPr>
                    <a:spLocks/>
                  </p:cNvSpPr>
                  <p:nvPr/>
                </p:nvSpPr>
                <p:spPr bwMode="auto">
                  <a:xfrm>
                    <a:off x="5736253" y="2590966"/>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1" name="Freeform 1685">
                    <a:extLst>
                      <a:ext uri="{FF2B5EF4-FFF2-40B4-BE49-F238E27FC236}">
                        <a16:creationId xmlns:a16="http://schemas.microsoft.com/office/drawing/2014/main" id="{A69A3BA2-F62F-48AD-AAB7-1875C73AE498}"/>
                      </a:ext>
                    </a:extLst>
                  </p:cNvPr>
                  <p:cNvSpPr>
                    <a:spLocks/>
                  </p:cNvSpPr>
                  <p:nvPr/>
                </p:nvSpPr>
                <p:spPr bwMode="auto">
                  <a:xfrm>
                    <a:off x="5819877" y="2627992"/>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2" name="Freeform 1686">
                    <a:extLst>
                      <a:ext uri="{FF2B5EF4-FFF2-40B4-BE49-F238E27FC236}">
                        <a16:creationId xmlns:a16="http://schemas.microsoft.com/office/drawing/2014/main" id="{B39CE095-BDFB-452D-8249-95F8D8664D13}"/>
                      </a:ext>
                    </a:extLst>
                  </p:cNvPr>
                  <p:cNvSpPr>
                    <a:spLocks/>
                  </p:cNvSpPr>
                  <p:nvPr/>
                </p:nvSpPr>
                <p:spPr bwMode="auto">
                  <a:xfrm>
                    <a:off x="5800943" y="2622068"/>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3" name="Freeform 1687">
                    <a:extLst>
                      <a:ext uri="{FF2B5EF4-FFF2-40B4-BE49-F238E27FC236}">
                        <a16:creationId xmlns:a16="http://schemas.microsoft.com/office/drawing/2014/main" id="{AEF543C7-80FD-4E73-A73F-9D5C268E78C3}"/>
                      </a:ext>
                    </a:extLst>
                  </p:cNvPr>
                  <p:cNvSpPr>
                    <a:spLocks/>
                  </p:cNvSpPr>
                  <p:nvPr/>
                </p:nvSpPr>
                <p:spPr bwMode="auto">
                  <a:xfrm>
                    <a:off x="5834078" y="2619106"/>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4" name="Freeform 1688">
                    <a:extLst>
                      <a:ext uri="{FF2B5EF4-FFF2-40B4-BE49-F238E27FC236}">
                        <a16:creationId xmlns:a16="http://schemas.microsoft.com/office/drawing/2014/main" id="{8588828F-E14B-45FC-95BF-0AEAF61B50E3}"/>
                      </a:ext>
                    </a:extLst>
                  </p:cNvPr>
                  <p:cNvSpPr>
                    <a:spLocks/>
                  </p:cNvSpPr>
                  <p:nvPr/>
                </p:nvSpPr>
                <p:spPr bwMode="auto">
                  <a:xfrm>
                    <a:off x="5835655" y="2602814"/>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5" name="Freeform 1689">
                    <a:extLst>
                      <a:ext uri="{FF2B5EF4-FFF2-40B4-BE49-F238E27FC236}">
                        <a16:creationId xmlns:a16="http://schemas.microsoft.com/office/drawing/2014/main" id="{ACD01F43-2D78-4AEE-AEE1-44A4AE15A19F}"/>
                      </a:ext>
                    </a:extLst>
                  </p:cNvPr>
                  <p:cNvSpPr>
                    <a:spLocks/>
                  </p:cNvSpPr>
                  <p:nvPr/>
                </p:nvSpPr>
                <p:spPr bwMode="auto">
                  <a:xfrm>
                    <a:off x="5775698" y="2599852"/>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6" name="Freeform 1690">
                    <a:extLst>
                      <a:ext uri="{FF2B5EF4-FFF2-40B4-BE49-F238E27FC236}">
                        <a16:creationId xmlns:a16="http://schemas.microsoft.com/office/drawing/2014/main" id="{B2FA0D32-5D67-4C1D-9AFD-A9A95A00E15C}"/>
                      </a:ext>
                    </a:extLst>
                  </p:cNvPr>
                  <p:cNvSpPr>
                    <a:spLocks/>
                  </p:cNvSpPr>
                  <p:nvPr/>
                </p:nvSpPr>
                <p:spPr bwMode="auto">
                  <a:xfrm>
                    <a:off x="5786743" y="2613182"/>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7" name="Freeform 1691">
                    <a:extLst>
                      <a:ext uri="{FF2B5EF4-FFF2-40B4-BE49-F238E27FC236}">
                        <a16:creationId xmlns:a16="http://schemas.microsoft.com/office/drawing/2014/main" id="{070A73F0-C9AE-477D-BFBE-8D6C70407DAB}"/>
                      </a:ext>
                    </a:extLst>
                  </p:cNvPr>
                  <p:cNvSpPr>
                    <a:spLocks/>
                  </p:cNvSpPr>
                  <p:nvPr/>
                </p:nvSpPr>
                <p:spPr bwMode="auto">
                  <a:xfrm>
                    <a:off x="5791476" y="2583562"/>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8" name="Freeform 1692">
                    <a:extLst>
                      <a:ext uri="{FF2B5EF4-FFF2-40B4-BE49-F238E27FC236}">
                        <a16:creationId xmlns:a16="http://schemas.microsoft.com/office/drawing/2014/main" id="{AB21EB16-9629-4613-8BAC-4D4397F73E11}"/>
                      </a:ext>
                    </a:extLst>
                  </p:cNvPr>
                  <p:cNvSpPr>
                    <a:spLocks/>
                  </p:cNvSpPr>
                  <p:nvPr/>
                </p:nvSpPr>
                <p:spPr bwMode="auto">
                  <a:xfrm>
                    <a:off x="5772543" y="2567270"/>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29" name="Freeform 1693">
                    <a:extLst>
                      <a:ext uri="{FF2B5EF4-FFF2-40B4-BE49-F238E27FC236}">
                        <a16:creationId xmlns:a16="http://schemas.microsoft.com/office/drawing/2014/main" id="{6C86D867-6C57-4082-B05A-AEAD1A339CDA}"/>
                      </a:ext>
                    </a:extLst>
                  </p:cNvPr>
                  <p:cNvSpPr>
                    <a:spLocks/>
                  </p:cNvSpPr>
                  <p:nvPr/>
                </p:nvSpPr>
                <p:spPr bwMode="auto">
                  <a:xfrm>
                    <a:off x="5753609" y="2586524"/>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0" name="Freeform 1694">
                    <a:extLst>
                      <a:ext uri="{FF2B5EF4-FFF2-40B4-BE49-F238E27FC236}">
                        <a16:creationId xmlns:a16="http://schemas.microsoft.com/office/drawing/2014/main" id="{0FA1F1A2-77A2-447B-A0B2-2A2DCC9D2E20}"/>
                      </a:ext>
                    </a:extLst>
                  </p:cNvPr>
                  <p:cNvSpPr>
                    <a:spLocks/>
                  </p:cNvSpPr>
                  <p:nvPr/>
                </p:nvSpPr>
                <p:spPr bwMode="auto">
                  <a:xfrm>
                    <a:off x="5783588" y="2534688"/>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1" name="Freeform 1695">
                    <a:extLst>
                      <a:ext uri="{FF2B5EF4-FFF2-40B4-BE49-F238E27FC236}">
                        <a16:creationId xmlns:a16="http://schemas.microsoft.com/office/drawing/2014/main" id="{B04590A0-2E7B-4010-A0E1-CFB677BE9864}"/>
                      </a:ext>
                    </a:extLst>
                  </p:cNvPr>
                  <p:cNvSpPr>
                    <a:spLocks/>
                  </p:cNvSpPr>
                  <p:nvPr/>
                </p:nvSpPr>
                <p:spPr bwMode="auto">
                  <a:xfrm>
                    <a:off x="5774121" y="2549498"/>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2" name="Freeform 1696">
                    <a:extLst>
                      <a:ext uri="{FF2B5EF4-FFF2-40B4-BE49-F238E27FC236}">
                        <a16:creationId xmlns:a16="http://schemas.microsoft.com/office/drawing/2014/main" id="{F884F2C3-A86D-4F0A-AECC-D02E3BA242FA}"/>
                      </a:ext>
                    </a:extLst>
                  </p:cNvPr>
                  <p:cNvSpPr>
                    <a:spLocks/>
                  </p:cNvSpPr>
                  <p:nvPr/>
                </p:nvSpPr>
                <p:spPr bwMode="auto">
                  <a:xfrm>
                    <a:off x="5808833" y="2585042"/>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633" name="Freeform 1697">
                    <a:extLst>
                      <a:ext uri="{FF2B5EF4-FFF2-40B4-BE49-F238E27FC236}">
                        <a16:creationId xmlns:a16="http://schemas.microsoft.com/office/drawing/2014/main" id="{7A9BDA2C-45C1-41B2-AD90-0E9FA87CB7CC}"/>
                      </a:ext>
                    </a:extLst>
                  </p:cNvPr>
                  <p:cNvSpPr>
                    <a:spLocks/>
                  </p:cNvSpPr>
                  <p:nvPr/>
                </p:nvSpPr>
                <p:spPr bwMode="auto">
                  <a:xfrm>
                    <a:off x="5824611" y="2590966"/>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sp>
            <p:nvSpPr>
              <p:cNvPr id="580" name="Rectangle 579">
                <a:extLst>
                  <a:ext uri="{FF2B5EF4-FFF2-40B4-BE49-F238E27FC236}">
                    <a16:creationId xmlns:a16="http://schemas.microsoft.com/office/drawing/2014/main" id="{5CD8CDDC-5212-4767-BF0D-44452D7B8F80}"/>
                  </a:ext>
                </a:extLst>
              </p:cNvPr>
              <p:cNvSpPr/>
              <p:nvPr/>
            </p:nvSpPr>
            <p:spPr>
              <a:xfrm>
                <a:off x="8989600" y="3405207"/>
                <a:ext cx="1352906" cy="5130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Product Increment</a:t>
                </a:r>
              </a:p>
            </p:txBody>
          </p:sp>
        </p:grpSp>
        <p:grpSp>
          <p:nvGrpSpPr>
            <p:cNvPr id="532" name="Group 531">
              <a:extLst>
                <a:ext uri="{FF2B5EF4-FFF2-40B4-BE49-F238E27FC236}">
                  <a16:creationId xmlns:a16="http://schemas.microsoft.com/office/drawing/2014/main" id="{4934B70C-B495-4B3A-85B3-0CB79FCF36AF}"/>
                </a:ext>
              </a:extLst>
            </p:cNvPr>
            <p:cNvGrpSpPr/>
            <p:nvPr/>
          </p:nvGrpSpPr>
          <p:grpSpPr>
            <a:xfrm>
              <a:off x="8576351" y="4426657"/>
              <a:ext cx="861070" cy="911990"/>
              <a:chOff x="8604456" y="3596820"/>
              <a:chExt cx="1115908" cy="1169454"/>
            </a:xfrm>
          </p:grpSpPr>
          <p:grpSp>
            <p:nvGrpSpPr>
              <p:cNvPr id="546" name="Group 545">
                <a:extLst>
                  <a:ext uri="{FF2B5EF4-FFF2-40B4-BE49-F238E27FC236}">
                    <a16:creationId xmlns:a16="http://schemas.microsoft.com/office/drawing/2014/main" id="{0BB33974-674B-4EEB-8ABE-0928D1067052}"/>
                  </a:ext>
                </a:extLst>
              </p:cNvPr>
              <p:cNvGrpSpPr/>
              <p:nvPr/>
            </p:nvGrpSpPr>
            <p:grpSpPr>
              <a:xfrm flipH="1">
                <a:off x="8929483" y="3596820"/>
                <a:ext cx="403204" cy="664050"/>
                <a:chOff x="8607957" y="605299"/>
                <a:chExt cx="2806962" cy="4622854"/>
              </a:xfrm>
            </p:grpSpPr>
            <p:sp>
              <p:nvSpPr>
                <p:cNvPr id="549" name="iBar:31/138">
                  <a:extLst>
                    <a:ext uri="{FF2B5EF4-FFF2-40B4-BE49-F238E27FC236}">
                      <a16:creationId xmlns:a16="http://schemas.microsoft.com/office/drawing/2014/main" id="{9C67E806-8D88-4AC5-807C-FE5F1678D1A5}"/>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txBody>
                <a:bodyPr wrap="none" t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0" name="Rectangle 549">
                  <a:extLst>
                    <a:ext uri="{FF2B5EF4-FFF2-40B4-BE49-F238E27FC236}">
                      <a16:creationId xmlns:a16="http://schemas.microsoft.com/office/drawing/2014/main" id="{D6BFEC94-CFAA-43F3-B72F-ED3B3AB6F1C2}"/>
                    </a:ext>
                  </a:extLst>
                </p:cNvPr>
                <p:cNvSpPr/>
                <p:nvPr/>
              </p:nvSpPr>
              <p:spPr>
                <a:xfrm>
                  <a:off x="8607957" y="1338943"/>
                  <a:ext cx="2806962" cy="2998220"/>
                </a:xfrm>
                <a:prstGeom prst="rect">
                  <a:avLst/>
                </a:prstGeom>
                <a:noFill/>
                <a:ln w="15875" cap="flat" cmpd="sng" algn="ctr">
                  <a:solidFill>
                    <a:srgbClr val="86BC25"/>
                  </a:solidFill>
                  <a:prstDash val="dash"/>
                </a:ln>
                <a:effectLst/>
              </p:spPr>
              <p:txBody>
                <a:bodyPr rtlCol="0" anchor="ctr"/>
                <a:lstStyle/>
                <a:p>
                  <a:pPr marL="0" marR="0" lvl="0" indent="0" algn="ctr" defTabSz="685709"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552" name="Group 551">
                  <a:extLst>
                    <a:ext uri="{FF2B5EF4-FFF2-40B4-BE49-F238E27FC236}">
                      <a16:creationId xmlns:a16="http://schemas.microsoft.com/office/drawing/2014/main" id="{1E03ED02-FB63-4FD0-9130-7812F67B78E3}"/>
                    </a:ext>
                  </a:extLst>
                </p:cNvPr>
                <p:cNvGrpSpPr/>
                <p:nvPr/>
              </p:nvGrpSpPr>
              <p:grpSpPr>
                <a:xfrm>
                  <a:off x="8776645" y="2392984"/>
                  <a:ext cx="2463737" cy="2835169"/>
                  <a:chOff x="8566719" y="2617154"/>
                  <a:chExt cx="2463737" cy="2835169"/>
                </a:xfrm>
              </p:grpSpPr>
              <p:sp>
                <p:nvSpPr>
                  <p:cNvPr id="568" name="Rectangle 567">
                    <a:extLst>
                      <a:ext uri="{FF2B5EF4-FFF2-40B4-BE49-F238E27FC236}">
                        <a16:creationId xmlns:a16="http://schemas.microsoft.com/office/drawing/2014/main" id="{A63BC5DE-0651-4B4A-9115-79DF95F6D478}"/>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a:ln>
                        <a:noFill/>
                      </a:ln>
                      <a:solidFill>
                        <a:prstClr val="white"/>
                      </a:solidFill>
                      <a:effectLst/>
                      <a:uLnTx/>
                      <a:uFillTx/>
                      <a:latin typeface="Verdana"/>
                    </a:endParaRPr>
                  </a:p>
                </p:txBody>
              </p:sp>
              <p:grpSp>
                <p:nvGrpSpPr>
                  <p:cNvPr id="569" name="Group 568">
                    <a:extLst>
                      <a:ext uri="{FF2B5EF4-FFF2-40B4-BE49-F238E27FC236}">
                        <a16:creationId xmlns:a16="http://schemas.microsoft.com/office/drawing/2014/main" id="{B9A0F5AC-4769-4150-83AF-F4D24AFD6F60}"/>
                      </a:ext>
                    </a:extLst>
                  </p:cNvPr>
                  <p:cNvGrpSpPr/>
                  <p:nvPr/>
                </p:nvGrpSpPr>
                <p:grpSpPr>
                  <a:xfrm>
                    <a:off x="8720849" y="2791575"/>
                    <a:ext cx="2190282" cy="2660748"/>
                    <a:chOff x="5195358" y="4591383"/>
                    <a:chExt cx="1906459" cy="2198965"/>
                  </a:xfrm>
                </p:grpSpPr>
                <p:grpSp>
                  <p:nvGrpSpPr>
                    <p:cNvPr id="570" name="Group 569">
                      <a:extLst>
                        <a:ext uri="{FF2B5EF4-FFF2-40B4-BE49-F238E27FC236}">
                          <a16:creationId xmlns:a16="http://schemas.microsoft.com/office/drawing/2014/main" id="{95A2E8F6-B972-4EB7-854B-C06BB1CD0682}"/>
                        </a:ext>
                      </a:extLst>
                    </p:cNvPr>
                    <p:cNvGrpSpPr/>
                    <p:nvPr/>
                  </p:nvGrpSpPr>
                  <p:grpSpPr>
                    <a:xfrm>
                      <a:off x="5195358" y="4591383"/>
                      <a:ext cx="1020183" cy="2178558"/>
                      <a:chOff x="10650533" y="3663550"/>
                      <a:chExt cx="575867" cy="1487984"/>
                    </a:xfrm>
                  </p:grpSpPr>
                  <p:grpSp>
                    <p:nvGrpSpPr>
                      <p:cNvPr id="572" name="Group 571">
                        <a:extLst>
                          <a:ext uri="{FF2B5EF4-FFF2-40B4-BE49-F238E27FC236}">
                            <a16:creationId xmlns:a16="http://schemas.microsoft.com/office/drawing/2014/main" id="{C0338E32-8C57-42D0-A3D3-DD781D0B7462}"/>
                          </a:ext>
                        </a:extLst>
                      </p:cNvPr>
                      <p:cNvGrpSpPr/>
                      <p:nvPr/>
                    </p:nvGrpSpPr>
                    <p:grpSpPr>
                      <a:xfrm>
                        <a:off x="10650533" y="3663550"/>
                        <a:ext cx="575867" cy="728623"/>
                        <a:chOff x="5717961" y="2827338"/>
                        <a:chExt cx="282576" cy="387350"/>
                      </a:xfrm>
                    </p:grpSpPr>
                    <p:sp>
                      <p:nvSpPr>
                        <p:cNvPr id="574" name="Freeform 1754">
                          <a:extLst>
                            <a:ext uri="{FF2B5EF4-FFF2-40B4-BE49-F238E27FC236}">
                              <a16:creationId xmlns:a16="http://schemas.microsoft.com/office/drawing/2014/main" id="{A577C03E-885F-419D-BC43-EB23B7EF9EE3}"/>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75" name="Freeform 1755">
                          <a:extLst>
                            <a:ext uri="{FF2B5EF4-FFF2-40B4-BE49-F238E27FC236}">
                              <a16:creationId xmlns:a16="http://schemas.microsoft.com/office/drawing/2014/main" id="{A73D2A7F-A64B-4F43-B919-6CE46732313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76" name="Freeform 1756">
                          <a:extLst>
                            <a:ext uri="{FF2B5EF4-FFF2-40B4-BE49-F238E27FC236}">
                              <a16:creationId xmlns:a16="http://schemas.microsoft.com/office/drawing/2014/main" id="{E4032673-3847-4382-86B5-F10DBDB1F3D2}"/>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77" name="Freeform 1757">
                          <a:extLst>
                            <a:ext uri="{FF2B5EF4-FFF2-40B4-BE49-F238E27FC236}">
                              <a16:creationId xmlns:a16="http://schemas.microsoft.com/office/drawing/2014/main" id="{C2A3E957-D7CE-44F8-8922-6FC97862F79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578" name="Freeform 1758">
                          <a:extLst>
                            <a:ext uri="{FF2B5EF4-FFF2-40B4-BE49-F238E27FC236}">
                              <a16:creationId xmlns:a16="http://schemas.microsoft.com/office/drawing/2014/main" id="{676ECC5C-BA06-49B6-A023-91DF9294E4EB}"/>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573" name="TextBox 572">
                        <a:extLst>
                          <a:ext uri="{FF2B5EF4-FFF2-40B4-BE49-F238E27FC236}">
                            <a16:creationId xmlns:a16="http://schemas.microsoft.com/office/drawing/2014/main" id="{F516D99D-9DEC-46B3-9B72-7FE813D6B394}"/>
                          </a:ext>
                        </a:extLst>
                      </p:cNvPr>
                      <p:cNvSpPr txBox="1"/>
                      <p:nvPr/>
                    </p:nvSpPr>
                    <p:spPr>
                      <a:xfrm>
                        <a:off x="10688952" y="3755729"/>
                        <a:ext cx="499030" cy="139580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Pct val="25000"/>
                          <a:buFontTx/>
                          <a:buNone/>
                          <a:tabLst/>
                          <a:defRPr/>
                        </a:pPr>
                        <a:endParaRPr kumimoji="0" lang="en-US" b="0" i="0" u="none" strike="noStrike" kern="0" cap="none" spc="0" normalizeH="0" baseline="0" noProof="0">
                          <a:ln>
                            <a:noFill/>
                          </a:ln>
                          <a:solidFill>
                            <a:srgbClr val="009A4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571" name="TextBox 570">
                      <a:extLst>
                        <a:ext uri="{FF2B5EF4-FFF2-40B4-BE49-F238E27FC236}">
                          <a16:creationId xmlns:a16="http://schemas.microsoft.com/office/drawing/2014/main" id="{A9D5DBC3-7F50-47B2-94BE-C6599549943C}"/>
                        </a:ext>
                      </a:extLst>
                    </p:cNvPr>
                    <p:cNvSpPr txBox="1"/>
                    <p:nvPr/>
                  </p:nvSpPr>
                  <p:spPr>
                    <a:xfrm>
                      <a:off x="6328159" y="4746749"/>
                      <a:ext cx="773658" cy="204359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Pct val="25000"/>
                        <a:buFontTx/>
                        <a:buNone/>
                        <a:tabLst/>
                        <a:defRPr/>
                      </a:pPr>
                      <a:endParaRPr kumimoji="0" lang="nb-NO"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53" name="Group 552">
                  <a:extLst>
                    <a:ext uri="{FF2B5EF4-FFF2-40B4-BE49-F238E27FC236}">
                      <a16:creationId xmlns:a16="http://schemas.microsoft.com/office/drawing/2014/main" id="{98173013-55DA-4D6A-A67E-60B8E96FB1F5}"/>
                    </a:ext>
                  </a:extLst>
                </p:cNvPr>
                <p:cNvGrpSpPr/>
                <p:nvPr/>
              </p:nvGrpSpPr>
              <p:grpSpPr>
                <a:xfrm>
                  <a:off x="9538998" y="605299"/>
                  <a:ext cx="944881" cy="858986"/>
                  <a:chOff x="3369813" y="4950013"/>
                  <a:chExt cx="440826" cy="400751"/>
                </a:xfrm>
              </p:grpSpPr>
              <p:sp>
                <p:nvSpPr>
                  <p:cNvPr id="563" name="Oval 562">
                    <a:extLst>
                      <a:ext uri="{FF2B5EF4-FFF2-40B4-BE49-F238E27FC236}">
                        <a16:creationId xmlns:a16="http://schemas.microsoft.com/office/drawing/2014/main" id="{52281B2E-71AD-4E58-AD62-DED43D48335F}"/>
                      </a:ext>
                    </a:extLst>
                  </p:cNvPr>
                  <p:cNvSpPr/>
                  <p:nvPr/>
                </p:nvSpPr>
                <p:spPr bwMode="gray">
                  <a:xfrm>
                    <a:off x="3369813" y="4950013"/>
                    <a:ext cx="440826" cy="400751"/>
                  </a:xfrm>
                  <a:prstGeom prst="ellipse">
                    <a:avLst/>
                  </a:prstGeom>
                  <a:solidFill>
                    <a:sysClr val="window" lastClr="FFFFFF"/>
                  </a:solidFill>
                  <a:ln w="19050" algn="ctr">
                    <a:noFill/>
                    <a:miter lim="800000"/>
                    <a:headEnd/>
                    <a:tailEnd/>
                  </a:ln>
                </p:spPr>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a:ln>
                        <a:noFill/>
                      </a:ln>
                      <a:solidFill>
                        <a:prstClr val="white"/>
                      </a:solidFill>
                      <a:effectLst/>
                      <a:uLnTx/>
                      <a:uFillTx/>
                      <a:latin typeface="Verdana"/>
                    </a:endParaRPr>
                  </a:p>
                </p:txBody>
              </p:sp>
              <p:grpSp>
                <p:nvGrpSpPr>
                  <p:cNvPr id="565" name="Group 226">
                    <a:extLst>
                      <a:ext uri="{FF2B5EF4-FFF2-40B4-BE49-F238E27FC236}">
                        <a16:creationId xmlns:a16="http://schemas.microsoft.com/office/drawing/2014/main" id="{C9375D4C-5513-4E56-B367-FD4827956ED7}"/>
                      </a:ext>
                    </a:extLst>
                  </p:cNvPr>
                  <p:cNvGrpSpPr>
                    <a:grpSpLocks noChangeAspect="1"/>
                  </p:cNvGrpSpPr>
                  <p:nvPr/>
                </p:nvGrpSpPr>
                <p:grpSpPr bwMode="auto">
                  <a:xfrm>
                    <a:off x="3437467" y="4997632"/>
                    <a:ext cx="305517" cy="305518"/>
                    <a:chOff x="5048" y="783"/>
                    <a:chExt cx="340" cy="340"/>
                  </a:xfrm>
                  <a:solidFill>
                    <a:sysClr val="window" lastClr="FFFFFF"/>
                  </a:solidFill>
                </p:grpSpPr>
                <p:sp>
                  <p:nvSpPr>
                    <p:cNvPr id="566" name="Freeform 227">
                      <a:extLst>
                        <a:ext uri="{FF2B5EF4-FFF2-40B4-BE49-F238E27FC236}">
                          <a16:creationId xmlns:a16="http://schemas.microsoft.com/office/drawing/2014/main" id="{FF02B313-7FE5-4F22-8986-2EC7FEEC0D28}"/>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black"/>
                        </a:solidFill>
                        <a:effectLst/>
                        <a:uLnTx/>
                        <a:uFillTx/>
                        <a:latin typeface="Verdana"/>
                      </a:endParaRPr>
                    </a:p>
                  </p:txBody>
                </p:sp>
                <p:sp>
                  <p:nvSpPr>
                    <p:cNvPr id="567" name="Freeform 228">
                      <a:extLst>
                        <a:ext uri="{FF2B5EF4-FFF2-40B4-BE49-F238E27FC236}">
                          <a16:creationId xmlns:a16="http://schemas.microsoft.com/office/drawing/2014/main" id="{BB022555-F9DF-4A74-984D-27D95ECCE7B7}"/>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black"/>
                        </a:solidFill>
                        <a:effectLst/>
                        <a:uLnTx/>
                        <a:uFillTx/>
                        <a:latin typeface="Verdana"/>
                      </a:endParaRPr>
                    </a:p>
                  </p:txBody>
                </p:sp>
              </p:grpSp>
            </p:grpSp>
            <p:cxnSp>
              <p:nvCxnSpPr>
                <p:cNvPr id="555" name="Straight Connector 554">
                  <a:extLst>
                    <a:ext uri="{FF2B5EF4-FFF2-40B4-BE49-F238E27FC236}">
                      <a16:creationId xmlns:a16="http://schemas.microsoft.com/office/drawing/2014/main" id="{D97738A1-F905-45F1-A9F8-BD38336D2463}"/>
                    </a:ext>
                  </a:extLst>
                </p:cNvPr>
                <p:cNvCxnSpPr/>
                <p:nvPr/>
              </p:nvCxnSpPr>
              <p:spPr>
                <a:xfrm>
                  <a:off x="9128919" y="2755404"/>
                  <a:ext cx="762000" cy="0"/>
                </a:xfrm>
                <a:prstGeom prst="line">
                  <a:avLst/>
                </a:prstGeom>
                <a:noFill/>
                <a:ln w="12700" cap="flat" cmpd="sng" algn="ctr">
                  <a:solidFill>
                    <a:srgbClr val="53565A"/>
                  </a:solidFill>
                  <a:prstDash val="solid"/>
                </a:ln>
                <a:effectLst/>
              </p:spPr>
            </p:cxnSp>
            <p:cxnSp>
              <p:nvCxnSpPr>
                <p:cNvPr id="556" name="Straight Connector 555">
                  <a:extLst>
                    <a:ext uri="{FF2B5EF4-FFF2-40B4-BE49-F238E27FC236}">
                      <a16:creationId xmlns:a16="http://schemas.microsoft.com/office/drawing/2014/main" id="{A18E3F2E-4C0C-42EE-B037-D1688A886F54}"/>
                    </a:ext>
                  </a:extLst>
                </p:cNvPr>
                <p:cNvCxnSpPr/>
                <p:nvPr/>
              </p:nvCxnSpPr>
              <p:spPr>
                <a:xfrm>
                  <a:off x="9128919" y="2976928"/>
                  <a:ext cx="762000" cy="0"/>
                </a:xfrm>
                <a:prstGeom prst="line">
                  <a:avLst/>
                </a:prstGeom>
                <a:noFill/>
                <a:ln w="12700" cap="flat" cmpd="sng" algn="ctr">
                  <a:solidFill>
                    <a:srgbClr val="53565A"/>
                  </a:solidFill>
                  <a:prstDash val="solid"/>
                </a:ln>
                <a:effectLst/>
              </p:spPr>
            </p:cxnSp>
            <p:cxnSp>
              <p:nvCxnSpPr>
                <p:cNvPr id="557" name="Straight Connector 556">
                  <a:extLst>
                    <a:ext uri="{FF2B5EF4-FFF2-40B4-BE49-F238E27FC236}">
                      <a16:creationId xmlns:a16="http://schemas.microsoft.com/office/drawing/2014/main" id="{855A578B-296E-491C-B43A-48B2D6DF3A19}"/>
                    </a:ext>
                  </a:extLst>
                </p:cNvPr>
                <p:cNvCxnSpPr/>
                <p:nvPr/>
              </p:nvCxnSpPr>
              <p:spPr>
                <a:xfrm>
                  <a:off x="9128919" y="3191669"/>
                  <a:ext cx="762000" cy="0"/>
                </a:xfrm>
                <a:prstGeom prst="line">
                  <a:avLst/>
                </a:prstGeom>
                <a:noFill/>
                <a:ln w="12700" cap="flat" cmpd="sng" algn="ctr">
                  <a:solidFill>
                    <a:srgbClr val="53565A"/>
                  </a:solidFill>
                  <a:prstDash val="solid"/>
                </a:ln>
                <a:effectLst/>
              </p:spPr>
            </p:cxnSp>
            <p:cxnSp>
              <p:nvCxnSpPr>
                <p:cNvPr id="558" name="Straight Connector 557">
                  <a:extLst>
                    <a:ext uri="{FF2B5EF4-FFF2-40B4-BE49-F238E27FC236}">
                      <a16:creationId xmlns:a16="http://schemas.microsoft.com/office/drawing/2014/main" id="{49A8E687-A726-4E11-917C-159FFB4B8AC0}"/>
                    </a:ext>
                  </a:extLst>
                </p:cNvPr>
                <p:cNvCxnSpPr/>
                <p:nvPr/>
              </p:nvCxnSpPr>
              <p:spPr>
                <a:xfrm>
                  <a:off x="9128919" y="3377600"/>
                  <a:ext cx="762000" cy="0"/>
                </a:xfrm>
                <a:prstGeom prst="line">
                  <a:avLst/>
                </a:prstGeom>
                <a:noFill/>
                <a:ln w="12700" cap="flat" cmpd="sng" algn="ctr">
                  <a:solidFill>
                    <a:srgbClr val="53565A"/>
                  </a:solidFill>
                  <a:prstDash val="solid"/>
                </a:ln>
                <a:effectLst/>
              </p:spPr>
            </p:cxnSp>
            <p:cxnSp>
              <p:nvCxnSpPr>
                <p:cNvPr id="559" name="Straight Connector 558">
                  <a:extLst>
                    <a:ext uri="{FF2B5EF4-FFF2-40B4-BE49-F238E27FC236}">
                      <a16:creationId xmlns:a16="http://schemas.microsoft.com/office/drawing/2014/main" id="{766E84C9-3415-402C-BCBB-61D394129ACF}"/>
                    </a:ext>
                  </a:extLst>
                </p:cNvPr>
                <p:cNvCxnSpPr/>
                <p:nvPr/>
              </p:nvCxnSpPr>
              <p:spPr>
                <a:xfrm>
                  <a:off x="10232225" y="2755404"/>
                  <a:ext cx="762000" cy="0"/>
                </a:xfrm>
                <a:prstGeom prst="line">
                  <a:avLst/>
                </a:prstGeom>
                <a:noFill/>
                <a:ln w="12700" cap="flat" cmpd="sng" algn="ctr">
                  <a:solidFill>
                    <a:sysClr val="window" lastClr="FFFFFF"/>
                  </a:solidFill>
                  <a:prstDash val="solid"/>
                </a:ln>
                <a:effectLst/>
              </p:spPr>
            </p:cxnSp>
            <p:cxnSp>
              <p:nvCxnSpPr>
                <p:cNvPr id="560" name="Straight Connector 559">
                  <a:extLst>
                    <a:ext uri="{FF2B5EF4-FFF2-40B4-BE49-F238E27FC236}">
                      <a16:creationId xmlns:a16="http://schemas.microsoft.com/office/drawing/2014/main" id="{7C19D18E-47D9-4B41-A03F-BA7850EDC7B1}"/>
                    </a:ext>
                  </a:extLst>
                </p:cNvPr>
                <p:cNvCxnSpPr/>
                <p:nvPr/>
              </p:nvCxnSpPr>
              <p:spPr>
                <a:xfrm>
                  <a:off x="10232225" y="2976928"/>
                  <a:ext cx="762000" cy="0"/>
                </a:xfrm>
                <a:prstGeom prst="line">
                  <a:avLst/>
                </a:prstGeom>
                <a:noFill/>
                <a:ln w="12700" cap="flat" cmpd="sng" algn="ctr">
                  <a:solidFill>
                    <a:sysClr val="window" lastClr="FFFFFF"/>
                  </a:solidFill>
                  <a:prstDash val="solid"/>
                </a:ln>
                <a:effectLst/>
              </p:spPr>
            </p:cxnSp>
            <p:cxnSp>
              <p:nvCxnSpPr>
                <p:cNvPr id="561" name="Straight Connector 560">
                  <a:extLst>
                    <a:ext uri="{FF2B5EF4-FFF2-40B4-BE49-F238E27FC236}">
                      <a16:creationId xmlns:a16="http://schemas.microsoft.com/office/drawing/2014/main" id="{EDE0BEB6-9229-412C-9B31-D36A2E545BDA}"/>
                    </a:ext>
                  </a:extLst>
                </p:cNvPr>
                <p:cNvCxnSpPr/>
                <p:nvPr/>
              </p:nvCxnSpPr>
              <p:spPr>
                <a:xfrm>
                  <a:off x="10232225" y="3191669"/>
                  <a:ext cx="762000" cy="0"/>
                </a:xfrm>
                <a:prstGeom prst="line">
                  <a:avLst/>
                </a:prstGeom>
                <a:noFill/>
                <a:ln w="12700" cap="flat" cmpd="sng" algn="ctr">
                  <a:solidFill>
                    <a:sysClr val="window" lastClr="FFFFFF"/>
                  </a:solidFill>
                  <a:prstDash val="solid"/>
                </a:ln>
                <a:effectLst/>
              </p:spPr>
            </p:cxnSp>
            <p:cxnSp>
              <p:nvCxnSpPr>
                <p:cNvPr id="562" name="Straight Connector 561">
                  <a:extLst>
                    <a:ext uri="{FF2B5EF4-FFF2-40B4-BE49-F238E27FC236}">
                      <a16:creationId xmlns:a16="http://schemas.microsoft.com/office/drawing/2014/main" id="{6E3D0A04-F058-44A4-B56A-D541DC649314}"/>
                    </a:ext>
                  </a:extLst>
                </p:cNvPr>
                <p:cNvCxnSpPr/>
                <p:nvPr/>
              </p:nvCxnSpPr>
              <p:spPr>
                <a:xfrm>
                  <a:off x="10232225" y="3377600"/>
                  <a:ext cx="762000" cy="0"/>
                </a:xfrm>
                <a:prstGeom prst="line">
                  <a:avLst/>
                </a:prstGeom>
                <a:noFill/>
                <a:ln w="12700" cap="flat" cmpd="sng" algn="ctr">
                  <a:solidFill>
                    <a:sysClr val="window" lastClr="FFFFFF"/>
                  </a:solidFill>
                  <a:prstDash val="solid"/>
                </a:ln>
                <a:effectLst/>
              </p:spPr>
            </p:cxnSp>
          </p:grpSp>
          <p:sp>
            <p:nvSpPr>
              <p:cNvPr id="547" name="Rectangle 546">
                <a:extLst>
                  <a:ext uri="{FF2B5EF4-FFF2-40B4-BE49-F238E27FC236}">
                    <a16:creationId xmlns:a16="http://schemas.microsoft.com/office/drawing/2014/main" id="{47C06836-33F9-4AF3-AA7B-62A60EDFC2C4}"/>
                  </a:ext>
                </a:extLst>
              </p:cNvPr>
              <p:cNvSpPr/>
              <p:nvPr/>
            </p:nvSpPr>
            <p:spPr>
              <a:xfrm>
                <a:off x="8604456" y="4253209"/>
                <a:ext cx="1115908" cy="5130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Verdana"/>
                  </a:rPr>
                  <a:t>Sprint Backlog</a:t>
                </a:r>
              </a:p>
            </p:txBody>
          </p:sp>
        </p:grpSp>
        <p:grpSp>
          <p:nvGrpSpPr>
            <p:cNvPr id="534" name="Group 533">
              <a:extLst>
                <a:ext uri="{FF2B5EF4-FFF2-40B4-BE49-F238E27FC236}">
                  <a16:creationId xmlns:a16="http://schemas.microsoft.com/office/drawing/2014/main" id="{42116670-8F4F-48E9-B593-972500972960}"/>
                </a:ext>
              </a:extLst>
            </p:cNvPr>
            <p:cNvGrpSpPr/>
            <p:nvPr/>
          </p:nvGrpSpPr>
          <p:grpSpPr>
            <a:xfrm>
              <a:off x="9416903" y="3513396"/>
              <a:ext cx="861069" cy="843597"/>
              <a:chOff x="8121519" y="2538377"/>
              <a:chExt cx="1115908" cy="1081754"/>
            </a:xfrm>
          </p:grpSpPr>
          <p:pic>
            <p:nvPicPr>
              <p:cNvPr id="544" name="Picture 543">
                <a:extLst>
                  <a:ext uri="{FF2B5EF4-FFF2-40B4-BE49-F238E27FC236}">
                    <a16:creationId xmlns:a16="http://schemas.microsoft.com/office/drawing/2014/main" id="{3C0FE1D6-EA4A-4C9D-9E0A-618F879909DB}"/>
                  </a:ext>
                </a:extLst>
              </p:cNvPr>
              <p:cNvPicPr>
                <a:picLocks noChangeAspect="1"/>
              </p:cNvPicPr>
              <p:nvPr/>
            </p:nvPicPr>
            <p:blipFill>
              <a:blip r:embed="rId5"/>
              <a:stretch>
                <a:fillRect/>
              </a:stretch>
            </p:blipFill>
            <p:spPr>
              <a:xfrm>
                <a:off x="8387353" y="2538377"/>
                <a:ext cx="625322" cy="446658"/>
              </a:xfrm>
              <a:prstGeom prst="rect">
                <a:avLst/>
              </a:prstGeom>
            </p:spPr>
          </p:pic>
          <p:sp>
            <p:nvSpPr>
              <p:cNvPr id="545" name="Rectangle 544">
                <a:extLst>
                  <a:ext uri="{FF2B5EF4-FFF2-40B4-BE49-F238E27FC236}">
                    <a16:creationId xmlns:a16="http://schemas.microsoft.com/office/drawing/2014/main" id="{5D5BA873-FCDF-4ECC-9100-EE77F3967D9F}"/>
                  </a:ext>
                </a:extLst>
              </p:cNvPr>
              <p:cNvSpPr/>
              <p:nvPr/>
            </p:nvSpPr>
            <p:spPr>
              <a:xfrm>
                <a:off x="8121519" y="3107066"/>
                <a:ext cx="1115908" cy="5130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Product Backlog </a:t>
                </a:r>
              </a:p>
            </p:txBody>
          </p:sp>
        </p:grpSp>
        <p:grpSp>
          <p:nvGrpSpPr>
            <p:cNvPr id="535" name="Group 534">
              <a:extLst>
                <a:ext uri="{FF2B5EF4-FFF2-40B4-BE49-F238E27FC236}">
                  <a16:creationId xmlns:a16="http://schemas.microsoft.com/office/drawing/2014/main" id="{EE59A2D9-ACCA-444A-877B-BEA856291B7A}"/>
                </a:ext>
              </a:extLst>
            </p:cNvPr>
            <p:cNvGrpSpPr/>
            <p:nvPr/>
          </p:nvGrpSpPr>
          <p:grpSpPr>
            <a:xfrm>
              <a:off x="7710408" y="4404577"/>
              <a:ext cx="861069" cy="713928"/>
              <a:chOff x="10657277" y="2438153"/>
              <a:chExt cx="1115908" cy="915478"/>
            </a:xfrm>
          </p:grpSpPr>
          <p:pic>
            <p:nvPicPr>
              <p:cNvPr id="542" name="Picture 541">
                <a:extLst>
                  <a:ext uri="{FF2B5EF4-FFF2-40B4-BE49-F238E27FC236}">
                    <a16:creationId xmlns:a16="http://schemas.microsoft.com/office/drawing/2014/main" id="{DE228FA6-DF8E-439F-A62E-C6A51D11FFE1}"/>
                  </a:ext>
                </a:extLst>
              </p:cNvPr>
              <p:cNvPicPr>
                <a:picLocks noChangeAspect="1"/>
              </p:cNvPicPr>
              <p:nvPr/>
            </p:nvPicPr>
            <p:blipFill rotWithShape="1">
              <a:blip r:embed="rId6"/>
              <a:srcRect b="35370"/>
              <a:stretch/>
            </p:blipFill>
            <p:spPr>
              <a:xfrm>
                <a:off x="10747906" y="2438153"/>
                <a:ext cx="934650" cy="606484"/>
              </a:xfrm>
              <a:prstGeom prst="rect">
                <a:avLst/>
              </a:prstGeom>
            </p:spPr>
          </p:pic>
          <p:sp>
            <p:nvSpPr>
              <p:cNvPr id="543" name="Rectangle 542">
                <a:extLst>
                  <a:ext uri="{FF2B5EF4-FFF2-40B4-BE49-F238E27FC236}">
                    <a16:creationId xmlns:a16="http://schemas.microsoft.com/office/drawing/2014/main" id="{E1652FE6-3235-4B9A-9B2F-A09EDEE000F6}"/>
                  </a:ext>
                </a:extLst>
              </p:cNvPr>
              <p:cNvSpPr/>
              <p:nvPr/>
            </p:nvSpPr>
            <p:spPr>
              <a:xfrm>
                <a:off x="10657277" y="3037899"/>
                <a:ext cx="1115908" cy="3157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Roadmap</a:t>
                </a:r>
              </a:p>
            </p:txBody>
          </p:sp>
        </p:grpSp>
        <p:grpSp>
          <p:nvGrpSpPr>
            <p:cNvPr id="536" name="Group 535">
              <a:extLst>
                <a:ext uri="{FF2B5EF4-FFF2-40B4-BE49-F238E27FC236}">
                  <a16:creationId xmlns:a16="http://schemas.microsoft.com/office/drawing/2014/main" id="{AE24C9C9-D03F-4B30-A876-134764ACCC2D}"/>
                </a:ext>
              </a:extLst>
            </p:cNvPr>
            <p:cNvGrpSpPr/>
            <p:nvPr/>
          </p:nvGrpSpPr>
          <p:grpSpPr>
            <a:xfrm>
              <a:off x="7652956" y="3465443"/>
              <a:ext cx="861069" cy="847701"/>
              <a:chOff x="8187941" y="2193055"/>
              <a:chExt cx="1115908" cy="1087017"/>
            </a:xfrm>
          </p:grpSpPr>
          <p:pic>
            <p:nvPicPr>
              <p:cNvPr id="540" name="Picture 539">
                <a:extLst>
                  <a:ext uri="{FF2B5EF4-FFF2-40B4-BE49-F238E27FC236}">
                    <a16:creationId xmlns:a16="http://schemas.microsoft.com/office/drawing/2014/main" id="{EA9B8CF7-B21C-47FC-A656-6B4BAE365BAB}"/>
                  </a:ext>
                </a:extLst>
              </p:cNvPr>
              <p:cNvPicPr>
                <a:picLocks noChangeAspect="1"/>
              </p:cNvPicPr>
              <p:nvPr/>
            </p:nvPicPr>
            <p:blipFill rotWithShape="1">
              <a:blip r:embed="rId7"/>
              <a:srcRect b="25355"/>
              <a:stretch/>
            </p:blipFill>
            <p:spPr>
              <a:xfrm>
                <a:off x="8514866" y="2193055"/>
                <a:ext cx="481525" cy="689603"/>
              </a:xfrm>
              <a:prstGeom prst="rect">
                <a:avLst/>
              </a:prstGeom>
            </p:spPr>
          </p:pic>
          <p:sp>
            <p:nvSpPr>
              <p:cNvPr id="541" name="Rectangle 540">
                <a:extLst>
                  <a:ext uri="{FF2B5EF4-FFF2-40B4-BE49-F238E27FC236}">
                    <a16:creationId xmlns:a16="http://schemas.microsoft.com/office/drawing/2014/main" id="{A1981869-C36D-4635-8E43-DBD3E17CB762}"/>
                  </a:ext>
                </a:extLst>
              </p:cNvPr>
              <p:cNvSpPr/>
              <p:nvPr/>
            </p:nvSpPr>
            <p:spPr>
              <a:xfrm>
                <a:off x="8187941" y="2964340"/>
                <a:ext cx="1115908" cy="3157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DoD</a:t>
                </a:r>
              </a:p>
            </p:txBody>
          </p:sp>
        </p:grpSp>
        <p:grpSp>
          <p:nvGrpSpPr>
            <p:cNvPr id="537" name="Group 536">
              <a:extLst>
                <a:ext uri="{FF2B5EF4-FFF2-40B4-BE49-F238E27FC236}">
                  <a16:creationId xmlns:a16="http://schemas.microsoft.com/office/drawing/2014/main" id="{9994C06A-E031-4324-AF82-C6FB163D2316}"/>
                </a:ext>
              </a:extLst>
            </p:cNvPr>
            <p:cNvGrpSpPr/>
            <p:nvPr/>
          </p:nvGrpSpPr>
          <p:grpSpPr>
            <a:xfrm>
              <a:off x="8548394" y="3509725"/>
              <a:ext cx="861069" cy="803423"/>
              <a:chOff x="9348390" y="2249832"/>
              <a:chExt cx="1115908" cy="1030238"/>
            </a:xfrm>
          </p:grpSpPr>
          <p:pic>
            <p:nvPicPr>
              <p:cNvPr id="538" name="Picture 537">
                <a:extLst>
                  <a:ext uri="{FF2B5EF4-FFF2-40B4-BE49-F238E27FC236}">
                    <a16:creationId xmlns:a16="http://schemas.microsoft.com/office/drawing/2014/main" id="{D1932C64-1BE3-411E-B437-8D138C0DB18C}"/>
                  </a:ext>
                </a:extLst>
              </p:cNvPr>
              <p:cNvPicPr>
                <a:picLocks noChangeAspect="1"/>
              </p:cNvPicPr>
              <p:nvPr/>
            </p:nvPicPr>
            <p:blipFill rotWithShape="1">
              <a:blip r:embed="rId8"/>
              <a:srcRect b="25130"/>
              <a:stretch/>
            </p:blipFill>
            <p:spPr>
              <a:xfrm>
                <a:off x="9655656" y="2249832"/>
                <a:ext cx="492721" cy="679113"/>
              </a:xfrm>
              <a:prstGeom prst="rect">
                <a:avLst/>
              </a:prstGeom>
            </p:spPr>
          </p:pic>
          <p:sp>
            <p:nvSpPr>
              <p:cNvPr id="539" name="Rectangle 538">
                <a:extLst>
                  <a:ext uri="{FF2B5EF4-FFF2-40B4-BE49-F238E27FC236}">
                    <a16:creationId xmlns:a16="http://schemas.microsoft.com/office/drawing/2014/main" id="{4360CD11-8B10-4267-B615-50430DC29A36}"/>
                  </a:ext>
                </a:extLst>
              </p:cNvPr>
              <p:cNvSpPr/>
              <p:nvPr/>
            </p:nvSpPr>
            <p:spPr>
              <a:xfrm>
                <a:off x="9348390" y="2964338"/>
                <a:ext cx="1115908" cy="3157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DoR</a:t>
                </a:r>
              </a:p>
            </p:txBody>
          </p:sp>
        </p:grpSp>
      </p:grpSp>
      <p:grpSp>
        <p:nvGrpSpPr>
          <p:cNvPr id="736" name="Group 735">
            <a:extLst>
              <a:ext uri="{FF2B5EF4-FFF2-40B4-BE49-F238E27FC236}">
                <a16:creationId xmlns:a16="http://schemas.microsoft.com/office/drawing/2014/main" id="{805969BB-8AB4-4C6E-8263-2AF90B203941}"/>
              </a:ext>
            </a:extLst>
          </p:cNvPr>
          <p:cNvGrpSpPr/>
          <p:nvPr/>
        </p:nvGrpSpPr>
        <p:grpSpPr>
          <a:xfrm>
            <a:off x="1601814" y="3033500"/>
            <a:ext cx="2888529" cy="3349970"/>
            <a:chOff x="287387" y="2101899"/>
            <a:chExt cx="2807190" cy="3221357"/>
          </a:xfrm>
        </p:grpSpPr>
        <p:sp>
          <p:nvSpPr>
            <p:cNvPr id="743" name="Rectangle 742">
              <a:extLst>
                <a:ext uri="{FF2B5EF4-FFF2-40B4-BE49-F238E27FC236}">
                  <a16:creationId xmlns:a16="http://schemas.microsoft.com/office/drawing/2014/main" id="{AC5ACFB6-AE00-407F-8E4F-A7794AD35001}"/>
                </a:ext>
              </a:extLst>
            </p:cNvPr>
            <p:cNvSpPr/>
            <p:nvPr/>
          </p:nvSpPr>
          <p:spPr bwMode="gray">
            <a:xfrm>
              <a:off x="287387" y="2101899"/>
              <a:ext cx="2761958" cy="3221357"/>
            </a:xfrm>
            <a:prstGeom prst="rect">
              <a:avLst/>
            </a:prstGeom>
            <a:solidFill>
              <a:sysClr val="window" lastClr="FFFFFF">
                <a:alpha val="80000"/>
              </a:sysClr>
            </a:solidFill>
            <a:ln w="38100" algn="ctr">
              <a:solidFill>
                <a:srgbClr val="97999B"/>
              </a:solidFill>
              <a:miter lim="800000"/>
              <a:headEnd/>
              <a:tailEnd/>
            </a:ln>
            <a:effectLst/>
          </p:spPr>
          <p:txBody>
            <a:bodyPr wrap="square" lIns="28337" tIns="28337" rIns="28337" bIns="28337" rtlCol="0" anchor="t"/>
            <a:lstStyle/>
            <a:p>
              <a:pPr marL="0" marR="0" lvl="0" indent="0" algn="ctr" defTabSz="621781"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D0D0CE"/>
                  </a:solidFill>
                  <a:effectLst/>
                  <a:uLnTx/>
                  <a:uFillTx/>
                  <a:latin typeface="Verdana"/>
                </a:rPr>
                <a:t>6 Ceremonies</a:t>
              </a:r>
            </a:p>
          </p:txBody>
        </p:sp>
        <p:grpSp>
          <p:nvGrpSpPr>
            <p:cNvPr id="737" name="Group 736">
              <a:extLst>
                <a:ext uri="{FF2B5EF4-FFF2-40B4-BE49-F238E27FC236}">
                  <a16:creationId xmlns:a16="http://schemas.microsoft.com/office/drawing/2014/main" id="{A40CB45B-2AB8-4E93-84A8-FF976A5CA427}"/>
                </a:ext>
              </a:extLst>
            </p:cNvPr>
            <p:cNvGrpSpPr/>
            <p:nvPr/>
          </p:nvGrpSpPr>
          <p:grpSpPr>
            <a:xfrm>
              <a:off x="358535" y="2334562"/>
              <a:ext cx="836822" cy="1136452"/>
              <a:chOff x="478109" y="2089088"/>
              <a:chExt cx="1115908" cy="1515467"/>
            </a:xfrm>
          </p:grpSpPr>
          <p:grpSp>
            <p:nvGrpSpPr>
              <p:cNvPr id="805" name="Group 804">
                <a:extLst>
                  <a:ext uri="{FF2B5EF4-FFF2-40B4-BE49-F238E27FC236}">
                    <a16:creationId xmlns:a16="http://schemas.microsoft.com/office/drawing/2014/main" id="{28838F0F-4103-44BB-8F5D-16479EE400FA}"/>
                  </a:ext>
                </a:extLst>
              </p:cNvPr>
              <p:cNvGrpSpPr/>
              <p:nvPr/>
            </p:nvGrpSpPr>
            <p:grpSpPr>
              <a:xfrm>
                <a:off x="586693" y="2089088"/>
                <a:ext cx="803662" cy="1200210"/>
                <a:chOff x="4404171" y="1891503"/>
                <a:chExt cx="567661" cy="847759"/>
              </a:xfrm>
            </p:grpSpPr>
            <p:sp>
              <p:nvSpPr>
                <p:cNvPr id="807" name="Line 66">
                  <a:extLst>
                    <a:ext uri="{FF2B5EF4-FFF2-40B4-BE49-F238E27FC236}">
                      <a16:creationId xmlns:a16="http://schemas.microsoft.com/office/drawing/2014/main" id="{C422FC6E-AC17-4221-8EEB-388531DDA592}"/>
                    </a:ext>
                  </a:extLst>
                </p:cNvPr>
                <p:cNvSpPr>
                  <a:spLocks noChangeShapeType="1"/>
                </p:cNvSpPr>
                <p:nvPr/>
              </p:nvSpPr>
              <p:spPr bwMode="auto">
                <a:xfrm rot="8100000">
                  <a:off x="4711514" y="1891503"/>
                  <a:ext cx="0" cy="0"/>
                </a:xfrm>
                <a:prstGeom prst="line">
                  <a:avLst/>
                </a:prstGeom>
                <a:noFill/>
                <a:ln w="19050" cap="flat">
                  <a:solidFill>
                    <a:sysClr val="windowText" lastClr="000000">
                      <a:lumMod val="65000"/>
                      <a:lumOff val="35000"/>
                    </a:sysClr>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08" name="Line 67">
                  <a:extLst>
                    <a:ext uri="{FF2B5EF4-FFF2-40B4-BE49-F238E27FC236}">
                      <a16:creationId xmlns:a16="http://schemas.microsoft.com/office/drawing/2014/main" id="{393C867A-6ED5-41A0-A953-7CF84B1FC65A}"/>
                    </a:ext>
                  </a:extLst>
                </p:cNvPr>
                <p:cNvSpPr>
                  <a:spLocks noChangeShapeType="1"/>
                </p:cNvSpPr>
                <p:nvPr/>
              </p:nvSpPr>
              <p:spPr bwMode="auto">
                <a:xfrm rot="8100000">
                  <a:off x="4420834" y="220254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09" name="Line 69">
                  <a:extLst>
                    <a:ext uri="{FF2B5EF4-FFF2-40B4-BE49-F238E27FC236}">
                      <a16:creationId xmlns:a16="http://schemas.microsoft.com/office/drawing/2014/main" id="{CCAD82FB-1E7D-4D6D-AA65-C963846303D3}"/>
                    </a:ext>
                  </a:extLst>
                </p:cNvPr>
                <p:cNvSpPr>
                  <a:spLocks noChangeShapeType="1"/>
                </p:cNvSpPr>
                <p:nvPr/>
              </p:nvSpPr>
              <p:spPr bwMode="auto">
                <a:xfrm rot="8100000">
                  <a:off x="4732806" y="252748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0" name="Line 74">
                  <a:extLst>
                    <a:ext uri="{FF2B5EF4-FFF2-40B4-BE49-F238E27FC236}">
                      <a16:creationId xmlns:a16="http://schemas.microsoft.com/office/drawing/2014/main" id="{6033692A-42ED-46B0-95EC-D64F789A9333}"/>
                    </a:ext>
                  </a:extLst>
                </p:cNvPr>
                <p:cNvSpPr>
                  <a:spLocks noChangeShapeType="1"/>
                </p:cNvSpPr>
                <p:nvPr/>
              </p:nvSpPr>
              <p:spPr bwMode="auto">
                <a:xfrm rot="8100000">
                  <a:off x="4404171" y="221921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1" name="Line 66">
                  <a:extLst>
                    <a:ext uri="{FF2B5EF4-FFF2-40B4-BE49-F238E27FC236}">
                      <a16:creationId xmlns:a16="http://schemas.microsoft.com/office/drawing/2014/main" id="{2E6BF1C7-E9C5-4D61-BDFB-8081BC4F1D39}"/>
                    </a:ext>
                  </a:extLst>
                </p:cNvPr>
                <p:cNvSpPr>
                  <a:spLocks noChangeShapeType="1"/>
                </p:cNvSpPr>
                <p:nvPr/>
              </p:nvSpPr>
              <p:spPr bwMode="auto">
                <a:xfrm rot="8100000">
                  <a:off x="4711514" y="273926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2" name="Freeform 1186">
                  <a:extLst>
                    <a:ext uri="{FF2B5EF4-FFF2-40B4-BE49-F238E27FC236}">
                      <a16:creationId xmlns:a16="http://schemas.microsoft.com/office/drawing/2014/main" id="{B2877FAB-45FD-4B37-AB95-3FC898818F57}"/>
                    </a:ext>
                  </a:extLst>
                </p:cNvPr>
                <p:cNvSpPr>
                  <a:spLocks/>
                </p:cNvSpPr>
                <p:nvPr/>
              </p:nvSpPr>
              <p:spPr bwMode="auto">
                <a:xfrm>
                  <a:off x="4497396" y="2007469"/>
                  <a:ext cx="23834" cy="14151"/>
                </a:xfrm>
                <a:custGeom>
                  <a:avLst/>
                  <a:gdLst>
                    <a:gd name="T0" fmla="*/ 64 w 64"/>
                    <a:gd name="T1" fmla="*/ 39 h 39"/>
                    <a:gd name="T2" fmla="*/ 64 w 64"/>
                    <a:gd name="T3" fmla="*/ 7 h 39"/>
                    <a:gd name="T4" fmla="*/ 64 w 64"/>
                    <a:gd name="T5" fmla="*/ 7 h 39"/>
                    <a:gd name="T6" fmla="*/ 62 w 64"/>
                    <a:gd name="T7" fmla="*/ 4 h 39"/>
                    <a:gd name="T8" fmla="*/ 60 w 64"/>
                    <a:gd name="T9" fmla="*/ 2 h 39"/>
                    <a:gd name="T10" fmla="*/ 60 w 64"/>
                    <a:gd name="T11" fmla="*/ 2 h 39"/>
                    <a:gd name="T12" fmla="*/ 57 w 64"/>
                    <a:gd name="T13" fmla="*/ 0 h 39"/>
                    <a:gd name="T14" fmla="*/ 7 w 64"/>
                    <a:gd name="T15" fmla="*/ 0 h 39"/>
                    <a:gd name="T16" fmla="*/ 7 w 64"/>
                    <a:gd name="T17" fmla="*/ 0 h 39"/>
                    <a:gd name="T18" fmla="*/ 3 w 64"/>
                    <a:gd name="T19" fmla="*/ 0 h 39"/>
                    <a:gd name="T20" fmla="*/ 1 w 64"/>
                    <a:gd name="T21" fmla="*/ 2 h 39"/>
                    <a:gd name="T22" fmla="*/ 0 w 64"/>
                    <a:gd name="T23" fmla="*/ 4 h 39"/>
                    <a:gd name="T24" fmla="*/ 0 w 64"/>
                    <a:gd name="T25" fmla="*/ 7 h 39"/>
                    <a:gd name="T26" fmla="*/ 0 w 64"/>
                    <a:gd name="T2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9">
                      <a:moveTo>
                        <a:pt x="64" y="39"/>
                      </a:moveTo>
                      <a:lnTo>
                        <a:pt x="64" y="7"/>
                      </a:lnTo>
                      <a:lnTo>
                        <a:pt x="64" y="7"/>
                      </a:lnTo>
                      <a:lnTo>
                        <a:pt x="62" y="4"/>
                      </a:lnTo>
                      <a:lnTo>
                        <a:pt x="60" y="2"/>
                      </a:lnTo>
                      <a:lnTo>
                        <a:pt x="60" y="2"/>
                      </a:lnTo>
                      <a:lnTo>
                        <a:pt x="57" y="0"/>
                      </a:lnTo>
                      <a:lnTo>
                        <a:pt x="7" y="0"/>
                      </a:lnTo>
                      <a:lnTo>
                        <a:pt x="7" y="0"/>
                      </a:lnTo>
                      <a:lnTo>
                        <a:pt x="3" y="0"/>
                      </a:lnTo>
                      <a:lnTo>
                        <a:pt x="1" y="2"/>
                      </a:lnTo>
                      <a:lnTo>
                        <a:pt x="0" y="4"/>
                      </a:lnTo>
                      <a:lnTo>
                        <a:pt x="0" y="7"/>
                      </a:lnTo>
                      <a:lnTo>
                        <a:pt x="0" y="39"/>
                      </a:lnTo>
                    </a:path>
                  </a:pathLst>
                </a:cu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3" name="Freeform 1187">
                  <a:extLst>
                    <a:ext uri="{FF2B5EF4-FFF2-40B4-BE49-F238E27FC236}">
                      <a16:creationId xmlns:a16="http://schemas.microsoft.com/office/drawing/2014/main" id="{F6A11C8C-46EA-4367-A3DD-990D0C104AAE}"/>
                    </a:ext>
                  </a:extLst>
                </p:cNvPr>
                <p:cNvSpPr>
                  <a:spLocks/>
                </p:cNvSpPr>
                <p:nvPr/>
              </p:nvSpPr>
              <p:spPr bwMode="auto">
                <a:xfrm>
                  <a:off x="4497396" y="2186220"/>
                  <a:ext cx="23834" cy="30537"/>
                </a:xfrm>
                <a:custGeom>
                  <a:avLst/>
                  <a:gdLst>
                    <a:gd name="T0" fmla="*/ 64 w 64"/>
                    <a:gd name="T1" fmla="*/ 0 h 83"/>
                    <a:gd name="T2" fmla="*/ 64 w 64"/>
                    <a:gd name="T3" fmla="*/ 13 h 83"/>
                    <a:gd name="T4" fmla="*/ 31 w 64"/>
                    <a:gd name="T5" fmla="*/ 83 h 83"/>
                    <a:gd name="T6" fmla="*/ 0 w 64"/>
                    <a:gd name="T7" fmla="*/ 13 h 83"/>
                    <a:gd name="T8" fmla="*/ 0 w 64"/>
                    <a:gd name="T9" fmla="*/ 0 h 83"/>
                  </a:gdLst>
                  <a:ahLst/>
                  <a:cxnLst>
                    <a:cxn ang="0">
                      <a:pos x="T0" y="T1"/>
                    </a:cxn>
                    <a:cxn ang="0">
                      <a:pos x="T2" y="T3"/>
                    </a:cxn>
                    <a:cxn ang="0">
                      <a:pos x="T4" y="T5"/>
                    </a:cxn>
                    <a:cxn ang="0">
                      <a:pos x="T6" y="T7"/>
                    </a:cxn>
                    <a:cxn ang="0">
                      <a:pos x="T8" y="T9"/>
                    </a:cxn>
                  </a:cxnLst>
                  <a:rect l="0" t="0" r="r" b="b"/>
                  <a:pathLst>
                    <a:path w="64" h="83">
                      <a:moveTo>
                        <a:pt x="64" y="0"/>
                      </a:moveTo>
                      <a:lnTo>
                        <a:pt x="64" y="13"/>
                      </a:lnTo>
                      <a:lnTo>
                        <a:pt x="31" y="83"/>
                      </a:lnTo>
                      <a:lnTo>
                        <a:pt x="0" y="13"/>
                      </a:lnTo>
                      <a:lnTo>
                        <a:pt x="0" y="0"/>
                      </a:lnTo>
                    </a:path>
                  </a:pathLst>
                </a:cu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4" name="Rectangle 1188">
                  <a:extLst>
                    <a:ext uri="{FF2B5EF4-FFF2-40B4-BE49-F238E27FC236}">
                      <a16:creationId xmlns:a16="http://schemas.microsoft.com/office/drawing/2014/main" id="{578CAFAE-1CF3-45CC-8E15-FED613801499}"/>
                    </a:ext>
                  </a:extLst>
                </p:cNvPr>
                <p:cNvSpPr>
                  <a:spLocks noChangeArrowheads="1"/>
                </p:cNvSpPr>
                <p:nvPr/>
              </p:nvSpPr>
              <p:spPr bwMode="auto">
                <a:xfrm>
                  <a:off x="4497396" y="2033536"/>
                  <a:ext cx="23834" cy="151939"/>
                </a:xfrm>
                <a:prstGeom prst="rect">
                  <a:avLst/>
                </a:prstGeom>
                <a:noFill/>
                <a:ln w="6350">
                  <a:solidFill>
                    <a:sysClr val="windowText" lastClr="000000">
                      <a:lumMod val="65000"/>
                      <a:lumOff val="35000"/>
                    </a:sys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6" name="Freeform 1189">
                  <a:extLst>
                    <a:ext uri="{FF2B5EF4-FFF2-40B4-BE49-F238E27FC236}">
                      <a16:creationId xmlns:a16="http://schemas.microsoft.com/office/drawing/2014/main" id="{13BEF512-1363-4408-BDC7-7BF0C74C4977}"/>
                    </a:ext>
                  </a:extLst>
                </p:cNvPr>
                <p:cNvSpPr>
                  <a:spLocks/>
                </p:cNvSpPr>
                <p:nvPr/>
              </p:nvSpPr>
              <p:spPr bwMode="auto">
                <a:xfrm>
                  <a:off x="4828831" y="2065563"/>
                  <a:ext cx="143001" cy="143001"/>
                </a:xfrm>
                <a:custGeom>
                  <a:avLst/>
                  <a:gdLst>
                    <a:gd name="T0" fmla="*/ 384 w 384"/>
                    <a:gd name="T1" fmla="*/ 194 h 385"/>
                    <a:gd name="T2" fmla="*/ 381 w 384"/>
                    <a:gd name="T3" fmla="*/ 232 h 385"/>
                    <a:gd name="T4" fmla="*/ 371 w 384"/>
                    <a:gd name="T5" fmla="*/ 267 h 385"/>
                    <a:gd name="T6" fmla="*/ 353 w 384"/>
                    <a:gd name="T7" fmla="*/ 300 h 385"/>
                    <a:gd name="T8" fmla="*/ 329 w 384"/>
                    <a:gd name="T9" fmla="*/ 330 h 385"/>
                    <a:gd name="T10" fmla="*/ 314 w 384"/>
                    <a:gd name="T11" fmla="*/ 343 h 385"/>
                    <a:gd name="T12" fmla="*/ 283 w 384"/>
                    <a:gd name="T13" fmla="*/ 363 h 385"/>
                    <a:gd name="T14" fmla="*/ 250 w 384"/>
                    <a:gd name="T15" fmla="*/ 378 h 385"/>
                    <a:gd name="T16" fmla="*/ 211 w 384"/>
                    <a:gd name="T17" fmla="*/ 385 h 385"/>
                    <a:gd name="T18" fmla="*/ 193 w 384"/>
                    <a:gd name="T19" fmla="*/ 385 h 385"/>
                    <a:gd name="T20" fmla="*/ 154 w 384"/>
                    <a:gd name="T21" fmla="*/ 381 h 385"/>
                    <a:gd name="T22" fmla="*/ 119 w 384"/>
                    <a:gd name="T23" fmla="*/ 372 h 385"/>
                    <a:gd name="T24" fmla="*/ 86 w 384"/>
                    <a:gd name="T25" fmla="*/ 354 h 385"/>
                    <a:gd name="T26" fmla="*/ 57 w 384"/>
                    <a:gd name="T27" fmla="*/ 330 h 385"/>
                    <a:gd name="T28" fmla="*/ 42 w 384"/>
                    <a:gd name="T29" fmla="*/ 315 h 385"/>
                    <a:gd name="T30" fmla="*/ 22 w 384"/>
                    <a:gd name="T31" fmla="*/ 284 h 385"/>
                    <a:gd name="T32" fmla="*/ 7 w 384"/>
                    <a:gd name="T33" fmla="*/ 249 h 385"/>
                    <a:gd name="T34" fmla="*/ 0 w 384"/>
                    <a:gd name="T35" fmla="*/ 212 h 385"/>
                    <a:gd name="T36" fmla="*/ 0 w 384"/>
                    <a:gd name="T37" fmla="*/ 194 h 385"/>
                    <a:gd name="T38" fmla="*/ 3 w 384"/>
                    <a:gd name="T39" fmla="*/ 155 h 385"/>
                    <a:gd name="T40" fmla="*/ 15 w 384"/>
                    <a:gd name="T41" fmla="*/ 118 h 385"/>
                    <a:gd name="T42" fmla="*/ 31 w 384"/>
                    <a:gd name="T43" fmla="*/ 87 h 385"/>
                    <a:gd name="T44" fmla="*/ 57 w 384"/>
                    <a:gd name="T45" fmla="*/ 57 h 385"/>
                    <a:gd name="T46" fmla="*/ 70 w 384"/>
                    <a:gd name="T47" fmla="*/ 43 h 385"/>
                    <a:gd name="T48" fmla="*/ 101 w 384"/>
                    <a:gd name="T49" fmla="*/ 23 h 385"/>
                    <a:gd name="T50" fmla="*/ 136 w 384"/>
                    <a:gd name="T51" fmla="*/ 8 h 385"/>
                    <a:gd name="T52" fmla="*/ 173 w 384"/>
                    <a:gd name="T53" fmla="*/ 0 h 385"/>
                    <a:gd name="T54" fmla="*/ 193 w 384"/>
                    <a:gd name="T55" fmla="*/ 0 h 385"/>
                    <a:gd name="T56" fmla="*/ 232 w 384"/>
                    <a:gd name="T57" fmla="*/ 4 h 385"/>
                    <a:gd name="T58" fmla="*/ 267 w 384"/>
                    <a:gd name="T59" fmla="*/ 13 h 385"/>
                    <a:gd name="T60" fmla="*/ 300 w 384"/>
                    <a:gd name="T61" fmla="*/ 32 h 385"/>
                    <a:gd name="T62" fmla="*/ 329 w 384"/>
                    <a:gd name="T63" fmla="*/ 57 h 385"/>
                    <a:gd name="T64" fmla="*/ 342 w 384"/>
                    <a:gd name="T65" fmla="*/ 70 h 385"/>
                    <a:gd name="T66" fmla="*/ 362 w 384"/>
                    <a:gd name="T67" fmla="*/ 102 h 385"/>
                    <a:gd name="T68" fmla="*/ 377 w 384"/>
                    <a:gd name="T69" fmla="*/ 137 h 385"/>
                    <a:gd name="T70" fmla="*/ 384 w 384"/>
                    <a:gd name="T71" fmla="*/ 173 h 385"/>
                    <a:gd name="T72" fmla="*/ 384 w 384"/>
                    <a:gd name="T73" fmla="*/ 19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85">
                      <a:moveTo>
                        <a:pt x="384" y="194"/>
                      </a:moveTo>
                      <a:lnTo>
                        <a:pt x="384" y="194"/>
                      </a:lnTo>
                      <a:lnTo>
                        <a:pt x="384" y="212"/>
                      </a:lnTo>
                      <a:lnTo>
                        <a:pt x="381" y="232"/>
                      </a:lnTo>
                      <a:lnTo>
                        <a:pt x="377" y="249"/>
                      </a:lnTo>
                      <a:lnTo>
                        <a:pt x="371" y="267"/>
                      </a:lnTo>
                      <a:lnTo>
                        <a:pt x="362" y="284"/>
                      </a:lnTo>
                      <a:lnTo>
                        <a:pt x="353" y="300"/>
                      </a:lnTo>
                      <a:lnTo>
                        <a:pt x="342" y="315"/>
                      </a:lnTo>
                      <a:lnTo>
                        <a:pt x="329" y="330"/>
                      </a:lnTo>
                      <a:lnTo>
                        <a:pt x="329" y="330"/>
                      </a:lnTo>
                      <a:lnTo>
                        <a:pt x="314" y="343"/>
                      </a:lnTo>
                      <a:lnTo>
                        <a:pt x="300" y="354"/>
                      </a:lnTo>
                      <a:lnTo>
                        <a:pt x="283" y="363"/>
                      </a:lnTo>
                      <a:lnTo>
                        <a:pt x="267" y="372"/>
                      </a:lnTo>
                      <a:lnTo>
                        <a:pt x="250" y="378"/>
                      </a:lnTo>
                      <a:lnTo>
                        <a:pt x="232" y="381"/>
                      </a:lnTo>
                      <a:lnTo>
                        <a:pt x="211" y="385"/>
                      </a:lnTo>
                      <a:lnTo>
                        <a:pt x="193" y="385"/>
                      </a:lnTo>
                      <a:lnTo>
                        <a:pt x="193" y="385"/>
                      </a:lnTo>
                      <a:lnTo>
                        <a:pt x="173" y="385"/>
                      </a:lnTo>
                      <a:lnTo>
                        <a:pt x="154" y="381"/>
                      </a:lnTo>
                      <a:lnTo>
                        <a:pt x="136" y="378"/>
                      </a:lnTo>
                      <a:lnTo>
                        <a:pt x="119" y="372"/>
                      </a:lnTo>
                      <a:lnTo>
                        <a:pt x="101" y="363"/>
                      </a:lnTo>
                      <a:lnTo>
                        <a:pt x="86" y="354"/>
                      </a:lnTo>
                      <a:lnTo>
                        <a:pt x="70" y="343"/>
                      </a:lnTo>
                      <a:lnTo>
                        <a:pt x="57" y="330"/>
                      </a:lnTo>
                      <a:lnTo>
                        <a:pt x="57" y="330"/>
                      </a:lnTo>
                      <a:lnTo>
                        <a:pt x="42" y="315"/>
                      </a:lnTo>
                      <a:lnTo>
                        <a:pt x="31" y="300"/>
                      </a:lnTo>
                      <a:lnTo>
                        <a:pt x="22" y="284"/>
                      </a:lnTo>
                      <a:lnTo>
                        <a:pt x="15" y="267"/>
                      </a:lnTo>
                      <a:lnTo>
                        <a:pt x="7" y="249"/>
                      </a:lnTo>
                      <a:lnTo>
                        <a:pt x="3" y="232"/>
                      </a:lnTo>
                      <a:lnTo>
                        <a:pt x="0" y="212"/>
                      </a:lnTo>
                      <a:lnTo>
                        <a:pt x="0" y="194"/>
                      </a:lnTo>
                      <a:lnTo>
                        <a:pt x="0" y="194"/>
                      </a:lnTo>
                      <a:lnTo>
                        <a:pt x="0" y="173"/>
                      </a:lnTo>
                      <a:lnTo>
                        <a:pt x="3" y="155"/>
                      </a:lnTo>
                      <a:lnTo>
                        <a:pt x="7" y="137"/>
                      </a:lnTo>
                      <a:lnTo>
                        <a:pt x="15" y="118"/>
                      </a:lnTo>
                      <a:lnTo>
                        <a:pt x="22" y="102"/>
                      </a:lnTo>
                      <a:lnTo>
                        <a:pt x="31" y="87"/>
                      </a:lnTo>
                      <a:lnTo>
                        <a:pt x="42" y="70"/>
                      </a:lnTo>
                      <a:lnTo>
                        <a:pt x="57" y="57"/>
                      </a:lnTo>
                      <a:lnTo>
                        <a:pt x="57" y="57"/>
                      </a:lnTo>
                      <a:lnTo>
                        <a:pt x="70" y="43"/>
                      </a:lnTo>
                      <a:lnTo>
                        <a:pt x="86" y="32"/>
                      </a:lnTo>
                      <a:lnTo>
                        <a:pt x="101" y="23"/>
                      </a:lnTo>
                      <a:lnTo>
                        <a:pt x="119" y="13"/>
                      </a:lnTo>
                      <a:lnTo>
                        <a:pt x="136" y="8"/>
                      </a:lnTo>
                      <a:lnTo>
                        <a:pt x="154" y="4"/>
                      </a:lnTo>
                      <a:lnTo>
                        <a:pt x="173" y="0"/>
                      </a:lnTo>
                      <a:lnTo>
                        <a:pt x="193" y="0"/>
                      </a:lnTo>
                      <a:lnTo>
                        <a:pt x="193" y="0"/>
                      </a:lnTo>
                      <a:lnTo>
                        <a:pt x="211" y="0"/>
                      </a:lnTo>
                      <a:lnTo>
                        <a:pt x="232" y="4"/>
                      </a:lnTo>
                      <a:lnTo>
                        <a:pt x="250" y="8"/>
                      </a:lnTo>
                      <a:lnTo>
                        <a:pt x="267" y="13"/>
                      </a:lnTo>
                      <a:lnTo>
                        <a:pt x="283" y="23"/>
                      </a:lnTo>
                      <a:lnTo>
                        <a:pt x="300" y="32"/>
                      </a:lnTo>
                      <a:lnTo>
                        <a:pt x="314" y="43"/>
                      </a:lnTo>
                      <a:lnTo>
                        <a:pt x="329" y="57"/>
                      </a:lnTo>
                      <a:lnTo>
                        <a:pt x="329" y="57"/>
                      </a:lnTo>
                      <a:lnTo>
                        <a:pt x="342" y="70"/>
                      </a:lnTo>
                      <a:lnTo>
                        <a:pt x="353" y="87"/>
                      </a:lnTo>
                      <a:lnTo>
                        <a:pt x="362" y="102"/>
                      </a:lnTo>
                      <a:lnTo>
                        <a:pt x="371" y="118"/>
                      </a:lnTo>
                      <a:lnTo>
                        <a:pt x="377" y="137"/>
                      </a:lnTo>
                      <a:lnTo>
                        <a:pt x="381" y="155"/>
                      </a:lnTo>
                      <a:lnTo>
                        <a:pt x="384" y="173"/>
                      </a:lnTo>
                      <a:lnTo>
                        <a:pt x="384" y="194"/>
                      </a:lnTo>
                      <a:lnTo>
                        <a:pt x="384" y="194"/>
                      </a:lnTo>
                      <a:close/>
                    </a:path>
                  </a:pathLst>
                </a:cu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7" name="Freeform 1190">
                  <a:extLst>
                    <a:ext uri="{FF2B5EF4-FFF2-40B4-BE49-F238E27FC236}">
                      <a16:creationId xmlns:a16="http://schemas.microsoft.com/office/drawing/2014/main" id="{33846151-0014-4E6E-9B38-5C9D0B9C8DAC}"/>
                    </a:ext>
                  </a:extLst>
                </p:cNvPr>
                <p:cNvSpPr>
                  <a:spLocks/>
                </p:cNvSpPr>
                <p:nvPr/>
              </p:nvSpPr>
              <p:spPr bwMode="auto">
                <a:xfrm>
                  <a:off x="4858623" y="2065563"/>
                  <a:ext cx="83417" cy="143001"/>
                </a:xfrm>
                <a:custGeom>
                  <a:avLst/>
                  <a:gdLst>
                    <a:gd name="T0" fmla="*/ 222 w 222"/>
                    <a:gd name="T1" fmla="*/ 194 h 385"/>
                    <a:gd name="T2" fmla="*/ 219 w 222"/>
                    <a:gd name="T3" fmla="*/ 249 h 385"/>
                    <a:gd name="T4" fmla="*/ 209 w 222"/>
                    <a:gd name="T5" fmla="*/ 284 h 385"/>
                    <a:gd name="T6" fmla="*/ 198 w 222"/>
                    <a:gd name="T7" fmla="*/ 315 h 385"/>
                    <a:gd name="T8" fmla="*/ 191 w 222"/>
                    <a:gd name="T9" fmla="*/ 330 h 385"/>
                    <a:gd name="T10" fmla="*/ 173 w 222"/>
                    <a:gd name="T11" fmla="*/ 354 h 385"/>
                    <a:gd name="T12" fmla="*/ 154 w 222"/>
                    <a:gd name="T13" fmla="*/ 372 h 385"/>
                    <a:gd name="T14" fmla="*/ 134 w 222"/>
                    <a:gd name="T15" fmla="*/ 381 h 385"/>
                    <a:gd name="T16" fmla="*/ 112 w 222"/>
                    <a:gd name="T17" fmla="*/ 385 h 385"/>
                    <a:gd name="T18" fmla="*/ 101 w 222"/>
                    <a:gd name="T19" fmla="*/ 385 h 385"/>
                    <a:gd name="T20" fmla="*/ 79 w 222"/>
                    <a:gd name="T21" fmla="*/ 378 h 385"/>
                    <a:gd name="T22" fmla="*/ 59 w 222"/>
                    <a:gd name="T23" fmla="*/ 363 h 385"/>
                    <a:gd name="T24" fmla="*/ 42 w 222"/>
                    <a:gd name="T25" fmla="*/ 343 h 385"/>
                    <a:gd name="T26" fmla="*/ 33 w 222"/>
                    <a:gd name="T27" fmla="*/ 330 h 385"/>
                    <a:gd name="T28" fmla="*/ 18 w 222"/>
                    <a:gd name="T29" fmla="*/ 300 h 385"/>
                    <a:gd name="T30" fmla="*/ 9 w 222"/>
                    <a:gd name="T31" fmla="*/ 267 h 385"/>
                    <a:gd name="T32" fmla="*/ 2 w 222"/>
                    <a:gd name="T33" fmla="*/ 232 h 385"/>
                    <a:gd name="T34" fmla="*/ 0 w 222"/>
                    <a:gd name="T35" fmla="*/ 194 h 385"/>
                    <a:gd name="T36" fmla="*/ 5 w 222"/>
                    <a:gd name="T37" fmla="*/ 137 h 385"/>
                    <a:gd name="T38" fmla="*/ 13 w 222"/>
                    <a:gd name="T39" fmla="*/ 102 h 385"/>
                    <a:gd name="T40" fmla="*/ 25 w 222"/>
                    <a:gd name="T41" fmla="*/ 70 h 385"/>
                    <a:gd name="T42" fmla="*/ 33 w 222"/>
                    <a:gd name="T43" fmla="*/ 57 h 385"/>
                    <a:gd name="T44" fmla="*/ 49 w 222"/>
                    <a:gd name="T45" fmla="*/ 32 h 385"/>
                    <a:gd name="T46" fmla="*/ 68 w 222"/>
                    <a:gd name="T47" fmla="*/ 13 h 385"/>
                    <a:gd name="T48" fmla="*/ 90 w 222"/>
                    <a:gd name="T49" fmla="*/ 4 h 385"/>
                    <a:gd name="T50" fmla="*/ 112 w 222"/>
                    <a:gd name="T51" fmla="*/ 0 h 385"/>
                    <a:gd name="T52" fmla="*/ 123 w 222"/>
                    <a:gd name="T53" fmla="*/ 0 h 385"/>
                    <a:gd name="T54" fmla="*/ 145 w 222"/>
                    <a:gd name="T55" fmla="*/ 8 h 385"/>
                    <a:gd name="T56" fmla="*/ 163 w 222"/>
                    <a:gd name="T57" fmla="*/ 23 h 385"/>
                    <a:gd name="T58" fmla="*/ 182 w 222"/>
                    <a:gd name="T59" fmla="*/ 43 h 385"/>
                    <a:gd name="T60" fmla="*/ 191 w 222"/>
                    <a:gd name="T61" fmla="*/ 57 h 385"/>
                    <a:gd name="T62" fmla="*/ 204 w 222"/>
                    <a:gd name="T63" fmla="*/ 87 h 385"/>
                    <a:gd name="T64" fmla="*/ 215 w 222"/>
                    <a:gd name="T65" fmla="*/ 118 h 385"/>
                    <a:gd name="T66" fmla="*/ 220 w 222"/>
                    <a:gd name="T67" fmla="*/ 155 h 385"/>
                    <a:gd name="T68" fmla="*/ 222 w 222"/>
                    <a:gd name="T69" fmla="*/ 19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385">
                      <a:moveTo>
                        <a:pt x="222" y="194"/>
                      </a:moveTo>
                      <a:lnTo>
                        <a:pt x="222" y="194"/>
                      </a:lnTo>
                      <a:lnTo>
                        <a:pt x="220" y="232"/>
                      </a:lnTo>
                      <a:lnTo>
                        <a:pt x="219" y="249"/>
                      </a:lnTo>
                      <a:lnTo>
                        <a:pt x="215" y="267"/>
                      </a:lnTo>
                      <a:lnTo>
                        <a:pt x="209" y="284"/>
                      </a:lnTo>
                      <a:lnTo>
                        <a:pt x="204" y="300"/>
                      </a:lnTo>
                      <a:lnTo>
                        <a:pt x="198" y="315"/>
                      </a:lnTo>
                      <a:lnTo>
                        <a:pt x="191" y="330"/>
                      </a:lnTo>
                      <a:lnTo>
                        <a:pt x="191" y="330"/>
                      </a:lnTo>
                      <a:lnTo>
                        <a:pt x="182" y="343"/>
                      </a:lnTo>
                      <a:lnTo>
                        <a:pt x="173" y="354"/>
                      </a:lnTo>
                      <a:lnTo>
                        <a:pt x="163" y="363"/>
                      </a:lnTo>
                      <a:lnTo>
                        <a:pt x="154" y="372"/>
                      </a:lnTo>
                      <a:lnTo>
                        <a:pt x="145" y="378"/>
                      </a:lnTo>
                      <a:lnTo>
                        <a:pt x="134" y="381"/>
                      </a:lnTo>
                      <a:lnTo>
                        <a:pt x="123" y="385"/>
                      </a:lnTo>
                      <a:lnTo>
                        <a:pt x="112" y="385"/>
                      </a:lnTo>
                      <a:lnTo>
                        <a:pt x="112" y="385"/>
                      </a:lnTo>
                      <a:lnTo>
                        <a:pt x="101" y="385"/>
                      </a:lnTo>
                      <a:lnTo>
                        <a:pt x="90" y="381"/>
                      </a:lnTo>
                      <a:lnTo>
                        <a:pt x="79" y="378"/>
                      </a:lnTo>
                      <a:lnTo>
                        <a:pt x="68" y="372"/>
                      </a:lnTo>
                      <a:lnTo>
                        <a:pt x="59" y="363"/>
                      </a:lnTo>
                      <a:lnTo>
                        <a:pt x="49" y="354"/>
                      </a:lnTo>
                      <a:lnTo>
                        <a:pt x="42" y="343"/>
                      </a:lnTo>
                      <a:lnTo>
                        <a:pt x="33" y="330"/>
                      </a:lnTo>
                      <a:lnTo>
                        <a:pt x="33" y="330"/>
                      </a:lnTo>
                      <a:lnTo>
                        <a:pt x="25" y="315"/>
                      </a:lnTo>
                      <a:lnTo>
                        <a:pt x="18" y="300"/>
                      </a:lnTo>
                      <a:lnTo>
                        <a:pt x="13" y="284"/>
                      </a:lnTo>
                      <a:lnTo>
                        <a:pt x="9" y="267"/>
                      </a:lnTo>
                      <a:lnTo>
                        <a:pt x="5" y="249"/>
                      </a:lnTo>
                      <a:lnTo>
                        <a:pt x="2" y="232"/>
                      </a:lnTo>
                      <a:lnTo>
                        <a:pt x="0" y="194"/>
                      </a:lnTo>
                      <a:lnTo>
                        <a:pt x="0" y="194"/>
                      </a:lnTo>
                      <a:lnTo>
                        <a:pt x="2" y="155"/>
                      </a:lnTo>
                      <a:lnTo>
                        <a:pt x="5" y="137"/>
                      </a:lnTo>
                      <a:lnTo>
                        <a:pt x="9" y="118"/>
                      </a:lnTo>
                      <a:lnTo>
                        <a:pt x="13" y="102"/>
                      </a:lnTo>
                      <a:lnTo>
                        <a:pt x="18" y="87"/>
                      </a:lnTo>
                      <a:lnTo>
                        <a:pt x="25" y="70"/>
                      </a:lnTo>
                      <a:lnTo>
                        <a:pt x="33" y="57"/>
                      </a:lnTo>
                      <a:lnTo>
                        <a:pt x="33" y="57"/>
                      </a:lnTo>
                      <a:lnTo>
                        <a:pt x="42" y="43"/>
                      </a:lnTo>
                      <a:lnTo>
                        <a:pt x="49" y="32"/>
                      </a:lnTo>
                      <a:lnTo>
                        <a:pt x="59" y="23"/>
                      </a:lnTo>
                      <a:lnTo>
                        <a:pt x="68" y="13"/>
                      </a:lnTo>
                      <a:lnTo>
                        <a:pt x="79" y="8"/>
                      </a:lnTo>
                      <a:lnTo>
                        <a:pt x="90" y="4"/>
                      </a:lnTo>
                      <a:lnTo>
                        <a:pt x="101" y="0"/>
                      </a:lnTo>
                      <a:lnTo>
                        <a:pt x="112" y="0"/>
                      </a:lnTo>
                      <a:lnTo>
                        <a:pt x="112" y="0"/>
                      </a:lnTo>
                      <a:lnTo>
                        <a:pt x="123" y="0"/>
                      </a:lnTo>
                      <a:lnTo>
                        <a:pt x="134" y="4"/>
                      </a:lnTo>
                      <a:lnTo>
                        <a:pt x="145" y="8"/>
                      </a:lnTo>
                      <a:lnTo>
                        <a:pt x="154" y="13"/>
                      </a:lnTo>
                      <a:lnTo>
                        <a:pt x="163" y="23"/>
                      </a:lnTo>
                      <a:lnTo>
                        <a:pt x="173" y="32"/>
                      </a:lnTo>
                      <a:lnTo>
                        <a:pt x="182" y="43"/>
                      </a:lnTo>
                      <a:lnTo>
                        <a:pt x="191" y="57"/>
                      </a:lnTo>
                      <a:lnTo>
                        <a:pt x="191" y="57"/>
                      </a:lnTo>
                      <a:lnTo>
                        <a:pt x="198" y="70"/>
                      </a:lnTo>
                      <a:lnTo>
                        <a:pt x="204" y="87"/>
                      </a:lnTo>
                      <a:lnTo>
                        <a:pt x="209" y="102"/>
                      </a:lnTo>
                      <a:lnTo>
                        <a:pt x="215" y="118"/>
                      </a:lnTo>
                      <a:lnTo>
                        <a:pt x="219" y="137"/>
                      </a:lnTo>
                      <a:lnTo>
                        <a:pt x="220" y="155"/>
                      </a:lnTo>
                      <a:lnTo>
                        <a:pt x="222" y="194"/>
                      </a:lnTo>
                      <a:lnTo>
                        <a:pt x="222" y="194"/>
                      </a:lnTo>
                      <a:close/>
                    </a:path>
                  </a:pathLst>
                </a:cu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8" name="Freeform 1191">
                  <a:extLst>
                    <a:ext uri="{FF2B5EF4-FFF2-40B4-BE49-F238E27FC236}">
                      <a16:creationId xmlns:a16="http://schemas.microsoft.com/office/drawing/2014/main" id="{78F24053-8E4A-496F-A704-BC4372A476D7}"/>
                    </a:ext>
                  </a:extLst>
                </p:cNvPr>
                <p:cNvSpPr>
                  <a:spLocks/>
                </p:cNvSpPr>
                <p:nvPr/>
              </p:nvSpPr>
              <p:spPr bwMode="auto">
                <a:xfrm>
                  <a:off x="4900331" y="2065563"/>
                  <a:ext cx="71501" cy="143001"/>
                </a:xfrm>
                <a:custGeom>
                  <a:avLst/>
                  <a:gdLst>
                    <a:gd name="T0" fmla="*/ 0 w 191"/>
                    <a:gd name="T1" fmla="*/ 385 h 385"/>
                    <a:gd name="T2" fmla="*/ 0 w 191"/>
                    <a:gd name="T3" fmla="*/ 385 h 385"/>
                    <a:gd name="T4" fmla="*/ 18 w 191"/>
                    <a:gd name="T5" fmla="*/ 385 h 385"/>
                    <a:gd name="T6" fmla="*/ 39 w 191"/>
                    <a:gd name="T7" fmla="*/ 381 h 385"/>
                    <a:gd name="T8" fmla="*/ 57 w 191"/>
                    <a:gd name="T9" fmla="*/ 378 h 385"/>
                    <a:gd name="T10" fmla="*/ 74 w 191"/>
                    <a:gd name="T11" fmla="*/ 372 h 385"/>
                    <a:gd name="T12" fmla="*/ 90 w 191"/>
                    <a:gd name="T13" fmla="*/ 363 h 385"/>
                    <a:gd name="T14" fmla="*/ 107 w 191"/>
                    <a:gd name="T15" fmla="*/ 354 h 385"/>
                    <a:gd name="T16" fmla="*/ 121 w 191"/>
                    <a:gd name="T17" fmla="*/ 343 h 385"/>
                    <a:gd name="T18" fmla="*/ 136 w 191"/>
                    <a:gd name="T19" fmla="*/ 330 h 385"/>
                    <a:gd name="T20" fmla="*/ 136 w 191"/>
                    <a:gd name="T21" fmla="*/ 330 h 385"/>
                    <a:gd name="T22" fmla="*/ 149 w 191"/>
                    <a:gd name="T23" fmla="*/ 315 h 385"/>
                    <a:gd name="T24" fmla="*/ 160 w 191"/>
                    <a:gd name="T25" fmla="*/ 300 h 385"/>
                    <a:gd name="T26" fmla="*/ 169 w 191"/>
                    <a:gd name="T27" fmla="*/ 284 h 385"/>
                    <a:gd name="T28" fmla="*/ 178 w 191"/>
                    <a:gd name="T29" fmla="*/ 267 h 385"/>
                    <a:gd name="T30" fmla="*/ 184 w 191"/>
                    <a:gd name="T31" fmla="*/ 249 h 385"/>
                    <a:gd name="T32" fmla="*/ 188 w 191"/>
                    <a:gd name="T33" fmla="*/ 232 h 385"/>
                    <a:gd name="T34" fmla="*/ 191 w 191"/>
                    <a:gd name="T35" fmla="*/ 212 h 385"/>
                    <a:gd name="T36" fmla="*/ 191 w 191"/>
                    <a:gd name="T37" fmla="*/ 194 h 385"/>
                    <a:gd name="T38" fmla="*/ 191 w 191"/>
                    <a:gd name="T39" fmla="*/ 194 h 385"/>
                    <a:gd name="T40" fmla="*/ 191 w 191"/>
                    <a:gd name="T41" fmla="*/ 173 h 385"/>
                    <a:gd name="T42" fmla="*/ 188 w 191"/>
                    <a:gd name="T43" fmla="*/ 155 h 385"/>
                    <a:gd name="T44" fmla="*/ 184 w 191"/>
                    <a:gd name="T45" fmla="*/ 137 h 385"/>
                    <a:gd name="T46" fmla="*/ 178 w 191"/>
                    <a:gd name="T47" fmla="*/ 118 h 385"/>
                    <a:gd name="T48" fmla="*/ 169 w 191"/>
                    <a:gd name="T49" fmla="*/ 102 h 385"/>
                    <a:gd name="T50" fmla="*/ 160 w 191"/>
                    <a:gd name="T51" fmla="*/ 87 h 385"/>
                    <a:gd name="T52" fmla="*/ 149 w 191"/>
                    <a:gd name="T53" fmla="*/ 70 h 385"/>
                    <a:gd name="T54" fmla="*/ 136 w 191"/>
                    <a:gd name="T55" fmla="*/ 57 h 385"/>
                    <a:gd name="T56" fmla="*/ 136 w 191"/>
                    <a:gd name="T57" fmla="*/ 57 h 385"/>
                    <a:gd name="T58" fmla="*/ 121 w 191"/>
                    <a:gd name="T59" fmla="*/ 43 h 385"/>
                    <a:gd name="T60" fmla="*/ 107 w 191"/>
                    <a:gd name="T61" fmla="*/ 32 h 385"/>
                    <a:gd name="T62" fmla="*/ 90 w 191"/>
                    <a:gd name="T63" fmla="*/ 23 h 385"/>
                    <a:gd name="T64" fmla="*/ 74 w 191"/>
                    <a:gd name="T65" fmla="*/ 13 h 385"/>
                    <a:gd name="T66" fmla="*/ 57 w 191"/>
                    <a:gd name="T67" fmla="*/ 8 h 385"/>
                    <a:gd name="T68" fmla="*/ 39 w 191"/>
                    <a:gd name="T69" fmla="*/ 4 h 385"/>
                    <a:gd name="T70" fmla="*/ 18 w 191"/>
                    <a:gd name="T71" fmla="*/ 0 h 385"/>
                    <a:gd name="T72" fmla="*/ 0 w 191"/>
                    <a:gd name="T73" fmla="*/ 0 h 385"/>
                    <a:gd name="T74" fmla="*/ 0 w 191"/>
                    <a:gd name="T7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385">
                      <a:moveTo>
                        <a:pt x="0" y="385"/>
                      </a:moveTo>
                      <a:lnTo>
                        <a:pt x="0" y="385"/>
                      </a:lnTo>
                      <a:lnTo>
                        <a:pt x="18" y="385"/>
                      </a:lnTo>
                      <a:lnTo>
                        <a:pt x="39" y="381"/>
                      </a:lnTo>
                      <a:lnTo>
                        <a:pt x="57" y="378"/>
                      </a:lnTo>
                      <a:lnTo>
                        <a:pt x="74" y="372"/>
                      </a:lnTo>
                      <a:lnTo>
                        <a:pt x="90" y="363"/>
                      </a:lnTo>
                      <a:lnTo>
                        <a:pt x="107" y="354"/>
                      </a:lnTo>
                      <a:lnTo>
                        <a:pt x="121" y="343"/>
                      </a:lnTo>
                      <a:lnTo>
                        <a:pt x="136" y="330"/>
                      </a:lnTo>
                      <a:lnTo>
                        <a:pt x="136" y="330"/>
                      </a:lnTo>
                      <a:lnTo>
                        <a:pt x="149" y="315"/>
                      </a:lnTo>
                      <a:lnTo>
                        <a:pt x="160" y="300"/>
                      </a:lnTo>
                      <a:lnTo>
                        <a:pt x="169" y="284"/>
                      </a:lnTo>
                      <a:lnTo>
                        <a:pt x="178" y="267"/>
                      </a:lnTo>
                      <a:lnTo>
                        <a:pt x="184" y="249"/>
                      </a:lnTo>
                      <a:lnTo>
                        <a:pt x="188" y="232"/>
                      </a:lnTo>
                      <a:lnTo>
                        <a:pt x="191" y="212"/>
                      </a:lnTo>
                      <a:lnTo>
                        <a:pt x="191" y="194"/>
                      </a:lnTo>
                      <a:lnTo>
                        <a:pt x="191" y="194"/>
                      </a:lnTo>
                      <a:lnTo>
                        <a:pt x="191" y="173"/>
                      </a:lnTo>
                      <a:lnTo>
                        <a:pt x="188" y="155"/>
                      </a:lnTo>
                      <a:lnTo>
                        <a:pt x="184" y="137"/>
                      </a:lnTo>
                      <a:lnTo>
                        <a:pt x="178" y="118"/>
                      </a:lnTo>
                      <a:lnTo>
                        <a:pt x="169" y="102"/>
                      </a:lnTo>
                      <a:lnTo>
                        <a:pt x="160" y="87"/>
                      </a:lnTo>
                      <a:lnTo>
                        <a:pt x="149" y="70"/>
                      </a:lnTo>
                      <a:lnTo>
                        <a:pt x="136" y="57"/>
                      </a:lnTo>
                      <a:lnTo>
                        <a:pt x="136" y="57"/>
                      </a:lnTo>
                      <a:lnTo>
                        <a:pt x="121" y="43"/>
                      </a:lnTo>
                      <a:lnTo>
                        <a:pt x="107" y="32"/>
                      </a:lnTo>
                      <a:lnTo>
                        <a:pt x="90" y="23"/>
                      </a:lnTo>
                      <a:lnTo>
                        <a:pt x="74" y="13"/>
                      </a:lnTo>
                      <a:lnTo>
                        <a:pt x="57" y="8"/>
                      </a:lnTo>
                      <a:lnTo>
                        <a:pt x="39" y="4"/>
                      </a:lnTo>
                      <a:lnTo>
                        <a:pt x="18" y="0"/>
                      </a:lnTo>
                      <a:lnTo>
                        <a:pt x="0" y="0"/>
                      </a:lnTo>
                      <a:lnTo>
                        <a:pt x="0" y="385"/>
                      </a:lnTo>
                      <a:close/>
                    </a:path>
                  </a:pathLst>
                </a:cu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19" name="Freeform 1192">
                  <a:extLst>
                    <a:ext uri="{FF2B5EF4-FFF2-40B4-BE49-F238E27FC236}">
                      <a16:creationId xmlns:a16="http://schemas.microsoft.com/office/drawing/2014/main" id="{FF4F5CAC-AD99-4B14-A448-31BCDF5F6944}"/>
                    </a:ext>
                  </a:extLst>
                </p:cNvPr>
                <p:cNvSpPr>
                  <a:spLocks/>
                </p:cNvSpPr>
                <p:nvPr/>
              </p:nvSpPr>
              <p:spPr bwMode="auto">
                <a:xfrm>
                  <a:off x="4828831" y="2111740"/>
                  <a:ext cx="143001" cy="50646"/>
                </a:xfrm>
                <a:custGeom>
                  <a:avLst/>
                  <a:gdLst>
                    <a:gd name="T0" fmla="*/ 0 w 384"/>
                    <a:gd name="T1" fmla="*/ 68 h 136"/>
                    <a:gd name="T2" fmla="*/ 0 w 384"/>
                    <a:gd name="T3" fmla="*/ 68 h 136"/>
                    <a:gd name="T4" fmla="*/ 0 w 384"/>
                    <a:gd name="T5" fmla="*/ 84 h 136"/>
                    <a:gd name="T6" fmla="*/ 3 w 384"/>
                    <a:gd name="T7" fmla="*/ 101 h 136"/>
                    <a:gd name="T8" fmla="*/ 7 w 384"/>
                    <a:gd name="T9" fmla="*/ 119 h 136"/>
                    <a:gd name="T10" fmla="*/ 13 w 384"/>
                    <a:gd name="T11" fmla="*/ 136 h 136"/>
                    <a:gd name="T12" fmla="*/ 373 w 384"/>
                    <a:gd name="T13" fmla="*/ 136 h 136"/>
                    <a:gd name="T14" fmla="*/ 373 w 384"/>
                    <a:gd name="T15" fmla="*/ 136 h 136"/>
                    <a:gd name="T16" fmla="*/ 379 w 384"/>
                    <a:gd name="T17" fmla="*/ 119 h 136"/>
                    <a:gd name="T18" fmla="*/ 382 w 384"/>
                    <a:gd name="T19" fmla="*/ 101 h 136"/>
                    <a:gd name="T20" fmla="*/ 384 w 384"/>
                    <a:gd name="T21" fmla="*/ 84 h 136"/>
                    <a:gd name="T22" fmla="*/ 384 w 384"/>
                    <a:gd name="T23" fmla="*/ 68 h 136"/>
                    <a:gd name="T24" fmla="*/ 384 w 384"/>
                    <a:gd name="T25" fmla="*/ 68 h 136"/>
                    <a:gd name="T26" fmla="*/ 384 w 384"/>
                    <a:gd name="T27" fmla="*/ 49 h 136"/>
                    <a:gd name="T28" fmla="*/ 382 w 384"/>
                    <a:gd name="T29" fmla="*/ 33 h 136"/>
                    <a:gd name="T30" fmla="*/ 379 w 384"/>
                    <a:gd name="T31" fmla="*/ 16 h 136"/>
                    <a:gd name="T32" fmla="*/ 373 w 384"/>
                    <a:gd name="T33" fmla="*/ 0 h 136"/>
                    <a:gd name="T34" fmla="*/ 13 w 384"/>
                    <a:gd name="T35" fmla="*/ 0 h 136"/>
                    <a:gd name="T36" fmla="*/ 13 w 384"/>
                    <a:gd name="T37" fmla="*/ 0 h 136"/>
                    <a:gd name="T38" fmla="*/ 7 w 384"/>
                    <a:gd name="T39" fmla="*/ 16 h 136"/>
                    <a:gd name="T40" fmla="*/ 3 w 384"/>
                    <a:gd name="T41" fmla="*/ 33 h 136"/>
                    <a:gd name="T42" fmla="*/ 0 w 384"/>
                    <a:gd name="T43" fmla="*/ 49 h 136"/>
                    <a:gd name="T44" fmla="*/ 0 w 384"/>
                    <a:gd name="T45" fmla="*/ 68 h 136"/>
                    <a:gd name="T46" fmla="*/ 0 w 384"/>
                    <a:gd name="T47"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 h="136">
                      <a:moveTo>
                        <a:pt x="0" y="68"/>
                      </a:moveTo>
                      <a:lnTo>
                        <a:pt x="0" y="68"/>
                      </a:lnTo>
                      <a:lnTo>
                        <a:pt x="0" y="84"/>
                      </a:lnTo>
                      <a:lnTo>
                        <a:pt x="3" y="101"/>
                      </a:lnTo>
                      <a:lnTo>
                        <a:pt x="7" y="119"/>
                      </a:lnTo>
                      <a:lnTo>
                        <a:pt x="13" y="136"/>
                      </a:lnTo>
                      <a:lnTo>
                        <a:pt x="373" y="136"/>
                      </a:lnTo>
                      <a:lnTo>
                        <a:pt x="373" y="136"/>
                      </a:lnTo>
                      <a:lnTo>
                        <a:pt x="379" y="119"/>
                      </a:lnTo>
                      <a:lnTo>
                        <a:pt x="382" y="101"/>
                      </a:lnTo>
                      <a:lnTo>
                        <a:pt x="384" y="84"/>
                      </a:lnTo>
                      <a:lnTo>
                        <a:pt x="384" y="68"/>
                      </a:lnTo>
                      <a:lnTo>
                        <a:pt x="384" y="68"/>
                      </a:lnTo>
                      <a:lnTo>
                        <a:pt x="384" y="49"/>
                      </a:lnTo>
                      <a:lnTo>
                        <a:pt x="382" y="33"/>
                      </a:lnTo>
                      <a:lnTo>
                        <a:pt x="379" y="16"/>
                      </a:lnTo>
                      <a:lnTo>
                        <a:pt x="373" y="0"/>
                      </a:lnTo>
                      <a:lnTo>
                        <a:pt x="13" y="0"/>
                      </a:lnTo>
                      <a:lnTo>
                        <a:pt x="13" y="0"/>
                      </a:lnTo>
                      <a:lnTo>
                        <a:pt x="7" y="16"/>
                      </a:lnTo>
                      <a:lnTo>
                        <a:pt x="3" y="33"/>
                      </a:lnTo>
                      <a:lnTo>
                        <a:pt x="0" y="49"/>
                      </a:lnTo>
                      <a:lnTo>
                        <a:pt x="0" y="68"/>
                      </a:lnTo>
                      <a:lnTo>
                        <a:pt x="0" y="68"/>
                      </a:lnTo>
                      <a:close/>
                    </a:path>
                  </a:pathLst>
                </a:cu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0" name="Freeform 1193">
                  <a:extLst>
                    <a:ext uri="{FF2B5EF4-FFF2-40B4-BE49-F238E27FC236}">
                      <a16:creationId xmlns:a16="http://schemas.microsoft.com/office/drawing/2014/main" id="{A8507A18-52E0-48D8-BAA7-8F8C5680AC6C}"/>
                    </a:ext>
                  </a:extLst>
                </p:cNvPr>
                <p:cNvSpPr>
                  <a:spLocks/>
                </p:cNvSpPr>
                <p:nvPr/>
              </p:nvSpPr>
              <p:spPr bwMode="auto">
                <a:xfrm>
                  <a:off x="4584537" y="2050667"/>
                  <a:ext cx="205564" cy="309836"/>
                </a:xfrm>
                <a:custGeom>
                  <a:avLst/>
                  <a:gdLst>
                    <a:gd name="T0" fmla="*/ 418 w 554"/>
                    <a:gd name="T1" fmla="*/ 0 h 831"/>
                    <a:gd name="T2" fmla="*/ 0 w 554"/>
                    <a:gd name="T3" fmla="*/ 0 h 831"/>
                    <a:gd name="T4" fmla="*/ 0 w 554"/>
                    <a:gd name="T5" fmla="*/ 831 h 831"/>
                    <a:gd name="T6" fmla="*/ 554 w 554"/>
                    <a:gd name="T7" fmla="*/ 831 h 831"/>
                    <a:gd name="T8" fmla="*/ 554 w 554"/>
                    <a:gd name="T9" fmla="*/ 136 h 831"/>
                    <a:gd name="T10" fmla="*/ 418 w 554"/>
                    <a:gd name="T11" fmla="*/ 0 h 831"/>
                  </a:gdLst>
                  <a:ahLst/>
                  <a:cxnLst>
                    <a:cxn ang="0">
                      <a:pos x="T0" y="T1"/>
                    </a:cxn>
                    <a:cxn ang="0">
                      <a:pos x="T2" y="T3"/>
                    </a:cxn>
                    <a:cxn ang="0">
                      <a:pos x="T4" y="T5"/>
                    </a:cxn>
                    <a:cxn ang="0">
                      <a:pos x="T6" y="T7"/>
                    </a:cxn>
                    <a:cxn ang="0">
                      <a:pos x="T8" y="T9"/>
                    </a:cxn>
                    <a:cxn ang="0">
                      <a:pos x="T10" y="T11"/>
                    </a:cxn>
                  </a:cxnLst>
                  <a:rect l="0" t="0" r="r" b="b"/>
                  <a:pathLst>
                    <a:path w="554" h="831">
                      <a:moveTo>
                        <a:pt x="418" y="0"/>
                      </a:moveTo>
                      <a:lnTo>
                        <a:pt x="0" y="0"/>
                      </a:lnTo>
                      <a:lnTo>
                        <a:pt x="0" y="831"/>
                      </a:lnTo>
                      <a:lnTo>
                        <a:pt x="554" y="831"/>
                      </a:lnTo>
                      <a:lnTo>
                        <a:pt x="554" y="136"/>
                      </a:lnTo>
                      <a:lnTo>
                        <a:pt x="418" y="0"/>
                      </a:lnTo>
                      <a:close/>
                    </a:path>
                  </a:pathLst>
                </a:custGeom>
                <a:solidFill>
                  <a:srgbClr val="30C0D8"/>
                </a:solidFill>
                <a:ln w="317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1" name="Freeform 1194">
                  <a:extLst>
                    <a:ext uri="{FF2B5EF4-FFF2-40B4-BE49-F238E27FC236}">
                      <a16:creationId xmlns:a16="http://schemas.microsoft.com/office/drawing/2014/main" id="{47075EEE-6162-4BF3-9B46-C94B8BCF5D8B}"/>
                    </a:ext>
                  </a:extLst>
                </p:cNvPr>
                <p:cNvSpPr>
                  <a:spLocks/>
                </p:cNvSpPr>
                <p:nvPr/>
              </p:nvSpPr>
              <p:spPr bwMode="auto">
                <a:xfrm>
                  <a:off x="4739455" y="2050667"/>
                  <a:ext cx="52881" cy="52881"/>
                </a:xfrm>
                <a:custGeom>
                  <a:avLst/>
                  <a:gdLst>
                    <a:gd name="T0" fmla="*/ 0 w 141"/>
                    <a:gd name="T1" fmla="*/ 141 h 141"/>
                    <a:gd name="T2" fmla="*/ 141 w 141"/>
                    <a:gd name="T3" fmla="*/ 141 h 141"/>
                    <a:gd name="T4" fmla="*/ 0 w 141"/>
                    <a:gd name="T5" fmla="*/ 0 h 141"/>
                    <a:gd name="T6" fmla="*/ 0 w 141"/>
                    <a:gd name="T7" fmla="*/ 141 h 141"/>
                  </a:gdLst>
                  <a:ahLst/>
                  <a:cxnLst>
                    <a:cxn ang="0">
                      <a:pos x="T0" y="T1"/>
                    </a:cxn>
                    <a:cxn ang="0">
                      <a:pos x="T2" y="T3"/>
                    </a:cxn>
                    <a:cxn ang="0">
                      <a:pos x="T4" y="T5"/>
                    </a:cxn>
                    <a:cxn ang="0">
                      <a:pos x="T6" y="T7"/>
                    </a:cxn>
                  </a:cxnLst>
                  <a:rect l="0" t="0" r="r" b="b"/>
                  <a:pathLst>
                    <a:path w="141" h="141">
                      <a:moveTo>
                        <a:pt x="0" y="141"/>
                      </a:moveTo>
                      <a:lnTo>
                        <a:pt x="141" y="141"/>
                      </a:lnTo>
                      <a:lnTo>
                        <a:pt x="0" y="0"/>
                      </a:lnTo>
                      <a:lnTo>
                        <a:pt x="0" y="141"/>
                      </a:lnTo>
                      <a:close/>
                    </a:path>
                  </a:pathLst>
                </a:custGeom>
                <a:solidFill>
                  <a:srgbClr val="FFD23D"/>
                </a:solidFill>
                <a:ln w="3175">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2" name="Line 1195">
                  <a:extLst>
                    <a:ext uri="{FF2B5EF4-FFF2-40B4-BE49-F238E27FC236}">
                      <a16:creationId xmlns:a16="http://schemas.microsoft.com/office/drawing/2014/main" id="{A49950C2-C38C-4CEC-8C67-A425C091C394}"/>
                    </a:ext>
                  </a:extLst>
                </p:cNvPr>
                <p:cNvSpPr>
                  <a:spLocks noChangeShapeType="1"/>
                </p:cNvSpPr>
                <p:nvPr/>
              </p:nvSpPr>
              <p:spPr bwMode="auto">
                <a:xfrm>
                  <a:off x="4559959" y="2105782"/>
                  <a:ext cx="5809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3" name="Line 1196">
                  <a:extLst>
                    <a:ext uri="{FF2B5EF4-FFF2-40B4-BE49-F238E27FC236}">
                      <a16:creationId xmlns:a16="http://schemas.microsoft.com/office/drawing/2014/main" id="{D090BE76-DCAA-4DC6-B4C1-6D1936E7581A}"/>
                    </a:ext>
                  </a:extLst>
                </p:cNvPr>
                <p:cNvSpPr>
                  <a:spLocks noChangeShapeType="1"/>
                </p:cNvSpPr>
                <p:nvPr/>
              </p:nvSpPr>
              <p:spPr bwMode="auto">
                <a:xfrm>
                  <a:off x="4559214" y="2130360"/>
                  <a:ext cx="136298"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4" name="Line 1197">
                  <a:extLst>
                    <a:ext uri="{FF2B5EF4-FFF2-40B4-BE49-F238E27FC236}">
                      <a16:creationId xmlns:a16="http://schemas.microsoft.com/office/drawing/2014/main" id="{78CC1018-1A3E-44F0-9C36-F469606F9EDB}"/>
                    </a:ext>
                  </a:extLst>
                </p:cNvPr>
                <p:cNvSpPr>
                  <a:spLocks noChangeShapeType="1"/>
                </p:cNvSpPr>
                <p:nvPr/>
              </p:nvSpPr>
              <p:spPr bwMode="auto">
                <a:xfrm>
                  <a:off x="4559214" y="2155683"/>
                  <a:ext cx="136298"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5" name="Line 1198">
                  <a:extLst>
                    <a:ext uri="{FF2B5EF4-FFF2-40B4-BE49-F238E27FC236}">
                      <a16:creationId xmlns:a16="http://schemas.microsoft.com/office/drawing/2014/main" id="{BB097D1E-96D2-467D-97F7-D0FA91934983}"/>
                    </a:ext>
                  </a:extLst>
                </p:cNvPr>
                <p:cNvSpPr>
                  <a:spLocks noChangeShapeType="1"/>
                </p:cNvSpPr>
                <p:nvPr/>
              </p:nvSpPr>
              <p:spPr bwMode="auto">
                <a:xfrm>
                  <a:off x="4559214" y="2180262"/>
                  <a:ext cx="136298"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6" name="Line 1199">
                  <a:extLst>
                    <a:ext uri="{FF2B5EF4-FFF2-40B4-BE49-F238E27FC236}">
                      <a16:creationId xmlns:a16="http://schemas.microsoft.com/office/drawing/2014/main" id="{86948F4F-915A-458A-9B07-F6026A5CD858}"/>
                    </a:ext>
                  </a:extLst>
                </p:cNvPr>
                <p:cNvSpPr>
                  <a:spLocks noChangeShapeType="1"/>
                </p:cNvSpPr>
                <p:nvPr/>
              </p:nvSpPr>
              <p:spPr bwMode="auto">
                <a:xfrm>
                  <a:off x="4559214" y="2204840"/>
                  <a:ext cx="87886"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7" name="Freeform 1200">
                  <a:extLst>
                    <a:ext uri="{FF2B5EF4-FFF2-40B4-BE49-F238E27FC236}">
                      <a16:creationId xmlns:a16="http://schemas.microsoft.com/office/drawing/2014/main" id="{F7248E61-5519-4AE8-A45F-58B83A715C7E}"/>
                    </a:ext>
                  </a:extLst>
                </p:cNvPr>
                <p:cNvSpPr>
                  <a:spLocks/>
                </p:cNvSpPr>
                <p:nvPr/>
              </p:nvSpPr>
              <p:spPr bwMode="auto">
                <a:xfrm>
                  <a:off x="4606136" y="2275596"/>
                  <a:ext cx="286002" cy="142256"/>
                </a:xfrm>
                <a:custGeom>
                  <a:avLst/>
                  <a:gdLst>
                    <a:gd name="T0" fmla="*/ 0 w 767"/>
                    <a:gd name="T1" fmla="*/ 370 h 383"/>
                    <a:gd name="T2" fmla="*/ 0 w 767"/>
                    <a:gd name="T3" fmla="*/ 370 h 383"/>
                    <a:gd name="T4" fmla="*/ 0 w 767"/>
                    <a:gd name="T5" fmla="*/ 375 h 383"/>
                    <a:gd name="T6" fmla="*/ 4 w 767"/>
                    <a:gd name="T7" fmla="*/ 379 h 383"/>
                    <a:gd name="T8" fmla="*/ 4 w 767"/>
                    <a:gd name="T9" fmla="*/ 379 h 383"/>
                    <a:gd name="T10" fmla="*/ 7 w 767"/>
                    <a:gd name="T11" fmla="*/ 383 h 383"/>
                    <a:gd name="T12" fmla="*/ 13 w 767"/>
                    <a:gd name="T13" fmla="*/ 383 h 383"/>
                    <a:gd name="T14" fmla="*/ 754 w 767"/>
                    <a:gd name="T15" fmla="*/ 383 h 383"/>
                    <a:gd name="T16" fmla="*/ 754 w 767"/>
                    <a:gd name="T17" fmla="*/ 383 h 383"/>
                    <a:gd name="T18" fmla="*/ 760 w 767"/>
                    <a:gd name="T19" fmla="*/ 383 h 383"/>
                    <a:gd name="T20" fmla="*/ 763 w 767"/>
                    <a:gd name="T21" fmla="*/ 379 h 383"/>
                    <a:gd name="T22" fmla="*/ 763 w 767"/>
                    <a:gd name="T23" fmla="*/ 379 h 383"/>
                    <a:gd name="T24" fmla="*/ 767 w 767"/>
                    <a:gd name="T25" fmla="*/ 375 h 383"/>
                    <a:gd name="T26" fmla="*/ 767 w 767"/>
                    <a:gd name="T27" fmla="*/ 370 h 383"/>
                    <a:gd name="T28" fmla="*/ 767 w 767"/>
                    <a:gd name="T29" fmla="*/ 13 h 383"/>
                    <a:gd name="T30" fmla="*/ 767 w 767"/>
                    <a:gd name="T31" fmla="*/ 13 h 383"/>
                    <a:gd name="T32" fmla="*/ 767 w 767"/>
                    <a:gd name="T33" fmla="*/ 9 h 383"/>
                    <a:gd name="T34" fmla="*/ 763 w 767"/>
                    <a:gd name="T35" fmla="*/ 4 h 383"/>
                    <a:gd name="T36" fmla="*/ 763 w 767"/>
                    <a:gd name="T37" fmla="*/ 4 h 383"/>
                    <a:gd name="T38" fmla="*/ 760 w 767"/>
                    <a:gd name="T39" fmla="*/ 2 h 383"/>
                    <a:gd name="T40" fmla="*/ 754 w 767"/>
                    <a:gd name="T41" fmla="*/ 0 h 383"/>
                    <a:gd name="T42" fmla="*/ 13 w 767"/>
                    <a:gd name="T43" fmla="*/ 0 h 383"/>
                    <a:gd name="T44" fmla="*/ 13 w 767"/>
                    <a:gd name="T45" fmla="*/ 0 h 383"/>
                    <a:gd name="T46" fmla="*/ 7 w 767"/>
                    <a:gd name="T47" fmla="*/ 2 h 383"/>
                    <a:gd name="T48" fmla="*/ 4 w 767"/>
                    <a:gd name="T49" fmla="*/ 4 h 383"/>
                    <a:gd name="T50" fmla="*/ 4 w 767"/>
                    <a:gd name="T51" fmla="*/ 4 h 383"/>
                    <a:gd name="T52" fmla="*/ 0 w 767"/>
                    <a:gd name="T53" fmla="*/ 9 h 383"/>
                    <a:gd name="T54" fmla="*/ 0 w 767"/>
                    <a:gd name="T55" fmla="*/ 13 h 383"/>
                    <a:gd name="T56" fmla="*/ 0 w 767"/>
                    <a:gd name="T57" fmla="*/ 37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7" h="383">
                      <a:moveTo>
                        <a:pt x="0" y="370"/>
                      </a:moveTo>
                      <a:lnTo>
                        <a:pt x="0" y="370"/>
                      </a:lnTo>
                      <a:lnTo>
                        <a:pt x="0" y="375"/>
                      </a:lnTo>
                      <a:lnTo>
                        <a:pt x="4" y="379"/>
                      </a:lnTo>
                      <a:lnTo>
                        <a:pt x="4" y="379"/>
                      </a:lnTo>
                      <a:lnTo>
                        <a:pt x="7" y="383"/>
                      </a:lnTo>
                      <a:lnTo>
                        <a:pt x="13" y="383"/>
                      </a:lnTo>
                      <a:lnTo>
                        <a:pt x="754" y="383"/>
                      </a:lnTo>
                      <a:lnTo>
                        <a:pt x="754" y="383"/>
                      </a:lnTo>
                      <a:lnTo>
                        <a:pt x="760" y="383"/>
                      </a:lnTo>
                      <a:lnTo>
                        <a:pt x="763" y="379"/>
                      </a:lnTo>
                      <a:lnTo>
                        <a:pt x="763" y="379"/>
                      </a:lnTo>
                      <a:lnTo>
                        <a:pt x="767" y="375"/>
                      </a:lnTo>
                      <a:lnTo>
                        <a:pt x="767" y="370"/>
                      </a:lnTo>
                      <a:lnTo>
                        <a:pt x="767" y="13"/>
                      </a:lnTo>
                      <a:lnTo>
                        <a:pt x="767" y="13"/>
                      </a:lnTo>
                      <a:lnTo>
                        <a:pt x="767" y="9"/>
                      </a:lnTo>
                      <a:lnTo>
                        <a:pt x="763" y="4"/>
                      </a:lnTo>
                      <a:lnTo>
                        <a:pt x="763" y="4"/>
                      </a:lnTo>
                      <a:lnTo>
                        <a:pt x="760" y="2"/>
                      </a:lnTo>
                      <a:lnTo>
                        <a:pt x="754" y="0"/>
                      </a:lnTo>
                      <a:lnTo>
                        <a:pt x="13" y="0"/>
                      </a:lnTo>
                      <a:lnTo>
                        <a:pt x="13" y="0"/>
                      </a:lnTo>
                      <a:lnTo>
                        <a:pt x="7" y="2"/>
                      </a:lnTo>
                      <a:lnTo>
                        <a:pt x="4" y="4"/>
                      </a:lnTo>
                      <a:lnTo>
                        <a:pt x="4" y="4"/>
                      </a:lnTo>
                      <a:lnTo>
                        <a:pt x="0" y="9"/>
                      </a:lnTo>
                      <a:lnTo>
                        <a:pt x="0" y="13"/>
                      </a:lnTo>
                      <a:lnTo>
                        <a:pt x="0" y="370"/>
                      </a:lnTo>
                      <a:close/>
                    </a:path>
                  </a:pathLst>
                </a:cu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8" name="Line 1201">
                  <a:extLst>
                    <a:ext uri="{FF2B5EF4-FFF2-40B4-BE49-F238E27FC236}">
                      <a16:creationId xmlns:a16="http://schemas.microsoft.com/office/drawing/2014/main" id="{71387B3B-E41B-426C-BEE6-F1038AA0C110}"/>
                    </a:ext>
                  </a:extLst>
                </p:cNvPr>
                <p:cNvSpPr>
                  <a:spLocks noChangeShapeType="1"/>
                </p:cNvSpPr>
                <p:nvPr/>
              </p:nvSpPr>
              <p:spPr bwMode="auto">
                <a:xfrm flipH="1">
                  <a:off x="4848940" y="2301663"/>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29" name="Line 1202">
                  <a:extLst>
                    <a:ext uri="{FF2B5EF4-FFF2-40B4-BE49-F238E27FC236}">
                      <a16:creationId xmlns:a16="http://schemas.microsoft.com/office/drawing/2014/main" id="{105EEED3-C848-48B9-84E6-825247E98AE8}"/>
                    </a:ext>
                  </a:extLst>
                </p:cNvPr>
                <p:cNvSpPr>
                  <a:spLocks noChangeShapeType="1"/>
                </p:cNvSpPr>
                <p:nvPr/>
              </p:nvSpPr>
              <p:spPr bwMode="auto">
                <a:xfrm flipH="1">
                  <a:off x="4816914" y="2301663"/>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0" name="Line 1203">
                  <a:extLst>
                    <a:ext uri="{FF2B5EF4-FFF2-40B4-BE49-F238E27FC236}">
                      <a16:creationId xmlns:a16="http://schemas.microsoft.com/office/drawing/2014/main" id="{A475C46A-F60D-4A04-8A64-C09343DF609E}"/>
                    </a:ext>
                  </a:extLst>
                </p:cNvPr>
                <p:cNvSpPr>
                  <a:spLocks noChangeShapeType="1"/>
                </p:cNvSpPr>
                <p:nvPr/>
              </p:nvSpPr>
              <p:spPr bwMode="auto">
                <a:xfrm flipH="1">
                  <a:off x="4785633" y="2301663"/>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1" name="Line 1204">
                  <a:extLst>
                    <a:ext uri="{FF2B5EF4-FFF2-40B4-BE49-F238E27FC236}">
                      <a16:creationId xmlns:a16="http://schemas.microsoft.com/office/drawing/2014/main" id="{A5070265-9B58-494C-97E4-C6E3FA6ED4FE}"/>
                    </a:ext>
                  </a:extLst>
                </p:cNvPr>
                <p:cNvSpPr>
                  <a:spLocks noChangeShapeType="1"/>
                </p:cNvSpPr>
                <p:nvPr/>
              </p:nvSpPr>
              <p:spPr bwMode="auto">
                <a:xfrm flipH="1">
                  <a:off x="4754351" y="2301663"/>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2" name="Line 1205">
                  <a:extLst>
                    <a:ext uri="{FF2B5EF4-FFF2-40B4-BE49-F238E27FC236}">
                      <a16:creationId xmlns:a16="http://schemas.microsoft.com/office/drawing/2014/main" id="{669478DC-16B3-45EA-A817-9727CBD67D0F}"/>
                    </a:ext>
                  </a:extLst>
                </p:cNvPr>
                <p:cNvSpPr>
                  <a:spLocks noChangeShapeType="1"/>
                </p:cNvSpPr>
                <p:nvPr/>
              </p:nvSpPr>
              <p:spPr bwMode="auto">
                <a:xfrm flipH="1">
                  <a:off x="4721580" y="2301663"/>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3" name="Line 1206">
                  <a:extLst>
                    <a:ext uri="{FF2B5EF4-FFF2-40B4-BE49-F238E27FC236}">
                      <a16:creationId xmlns:a16="http://schemas.microsoft.com/office/drawing/2014/main" id="{92497F2E-BCC6-43F8-AE81-5B2806641F1E}"/>
                    </a:ext>
                  </a:extLst>
                </p:cNvPr>
                <p:cNvSpPr>
                  <a:spLocks noChangeShapeType="1"/>
                </p:cNvSpPr>
                <p:nvPr/>
              </p:nvSpPr>
              <p:spPr bwMode="auto">
                <a:xfrm flipH="1">
                  <a:off x="4690299" y="2301663"/>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4" name="Line 1207">
                  <a:extLst>
                    <a:ext uri="{FF2B5EF4-FFF2-40B4-BE49-F238E27FC236}">
                      <a16:creationId xmlns:a16="http://schemas.microsoft.com/office/drawing/2014/main" id="{D2075858-1188-4541-A8F1-FD1E727F9D30}"/>
                    </a:ext>
                  </a:extLst>
                </p:cNvPr>
                <p:cNvSpPr>
                  <a:spLocks noChangeShapeType="1"/>
                </p:cNvSpPr>
                <p:nvPr/>
              </p:nvSpPr>
              <p:spPr bwMode="auto">
                <a:xfrm flipH="1">
                  <a:off x="4659017" y="2301663"/>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5" name="Line 1208">
                  <a:extLst>
                    <a:ext uri="{FF2B5EF4-FFF2-40B4-BE49-F238E27FC236}">
                      <a16:creationId xmlns:a16="http://schemas.microsoft.com/office/drawing/2014/main" id="{15A1941C-A43F-407B-AFA4-B30DEDE6C629}"/>
                    </a:ext>
                  </a:extLst>
                </p:cNvPr>
                <p:cNvSpPr>
                  <a:spLocks noChangeShapeType="1"/>
                </p:cNvSpPr>
                <p:nvPr/>
              </p:nvSpPr>
              <p:spPr bwMode="auto">
                <a:xfrm flipH="1">
                  <a:off x="4627736" y="2301663"/>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6" name="Line 1209">
                  <a:extLst>
                    <a:ext uri="{FF2B5EF4-FFF2-40B4-BE49-F238E27FC236}">
                      <a16:creationId xmlns:a16="http://schemas.microsoft.com/office/drawing/2014/main" id="{A40A038B-6434-449F-954E-88B8F27BE96B}"/>
                    </a:ext>
                  </a:extLst>
                </p:cNvPr>
                <p:cNvSpPr>
                  <a:spLocks noChangeShapeType="1"/>
                </p:cNvSpPr>
                <p:nvPr/>
              </p:nvSpPr>
              <p:spPr bwMode="auto">
                <a:xfrm flipH="1">
                  <a:off x="4848940" y="2331455"/>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7" name="Line 1210">
                  <a:extLst>
                    <a:ext uri="{FF2B5EF4-FFF2-40B4-BE49-F238E27FC236}">
                      <a16:creationId xmlns:a16="http://schemas.microsoft.com/office/drawing/2014/main" id="{A76DC955-988C-48F1-9EAB-EC41F622A3B6}"/>
                    </a:ext>
                  </a:extLst>
                </p:cNvPr>
                <p:cNvSpPr>
                  <a:spLocks noChangeShapeType="1"/>
                </p:cNvSpPr>
                <p:nvPr/>
              </p:nvSpPr>
              <p:spPr bwMode="auto">
                <a:xfrm flipH="1">
                  <a:off x="4816914" y="2331455"/>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8" name="Line 1211">
                  <a:extLst>
                    <a:ext uri="{FF2B5EF4-FFF2-40B4-BE49-F238E27FC236}">
                      <a16:creationId xmlns:a16="http://schemas.microsoft.com/office/drawing/2014/main" id="{941D6924-41C9-42F4-BC21-7FD3BC719E40}"/>
                    </a:ext>
                  </a:extLst>
                </p:cNvPr>
                <p:cNvSpPr>
                  <a:spLocks noChangeShapeType="1"/>
                </p:cNvSpPr>
                <p:nvPr/>
              </p:nvSpPr>
              <p:spPr bwMode="auto">
                <a:xfrm flipH="1">
                  <a:off x="4785633" y="2331455"/>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39" name="Line 1212">
                  <a:extLst>
                    <a:ext uri="{FF2B5EF4-FFF2-40B4-BE49-F238E27FC236}">
                      <a16:creationId xmlns:a16="http://schemas.microsoft.com/office/drawing/2014/main" id="{32AD6771-4AC3-4BE5-BA3E-31E7424616B5}"/>
                    </a:ext>
                  </a:extLst>
                </p:cNvPr>
                <p:cNvSpPr>
                  <a:spLocks noChangeShapeType="1"/>
                </p:cNvSpPr>
                <p:nvPr/>
              </p:nvSpPr>
              <p:spPr bwMode="auto">
                <a:xfrm flipH="1">
                  <a:off x="4754351" y="2331455"/>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41" name="Line 1213">
                  <a:extLst>
                    <a:ext uri="{FF2B5EF4-FFF2-40B4-BE49-F238E27FC236}">
                      <a16:creationId xmlns:a16="http://schemas.microsoft.com/office/drawing/2014/main" id="{FA31B9BF-831E-4CA3-BC36-422856D1EE8D}"/>
                    </a:ext>
                  </a:extLst>
                </p:cNvPr>
                <p:cNvSpPr>
                  <a:spLocks noChangeShapeType="1"/>
                </p:cNvSpPr>
                <p:nvPr/>
              </p:nvSpPr>
              <p:spPr bwMode="auto">
                <a:xfrm flipH="1">
                  <a:off x="4721580" y="2331455"/>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42" name="Line 1214">
                  <a:extLst>
                    <a:ext uri="{FF2B5EF4-FFF2-40B4-BE49-F238E27FC236}">
                      <a16:creationId xmlns:a16="http://schemas.microsoft.com/office/drawing/2014/main" id="{8513401C-42BD-42FE-8A1F-C8F85A79EB24}"/>
                    </a:ext>
                  </a:extLst>
                </p:cNvPr>
                <p:cNvSpPr>
                  <a:spLocks noChangeShapeType="1"/>
                </p:cNvSpPr>
                <p:nvPr/>
              </p:nvSpPr>
              <p:spPr bwMode="auto">
                <a:xfrm flipH="1">
                  <a:off x="4690299" y="2331455"/>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44" name="Line 1215">
                  <a:extLst>
                    <a:ext uri="{FF2B5EF4-FFF2-40B4-BE49-F238E27FC236}">
                      <a16:creationId xmlns:a16="http://schemas.microsoft.com/office/drawing/2014/main" id="{F611C4CF-BC0E-4625-A26D-A18DC3B20C4E}"/>
                    </a:ext>
                  </a:extLst>
                </p:cNvPr>
                <p:cNvSpPr>
                  <a:spLocks noChangeShapeType="1"/>
                </p:cNvSpPr>
                <p:nvPr/>
              </p:nvSpPr>
              <p:spPr bwMode="auto">
                <a:xfrm flipH="1">
                  <a:off x="4659017" y="2331455"/>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45" name="Line 1216">
                  <a:extLst>
                    <a:ext uri="{FF2B5EF4-FFF2-40B4-BE49-F238E27FC236}">
                      <a16:creationId xmlns:a16="http://schemas.microsoft.com/office/drawing/2014/main" id="{2CBC74E5-97B4-4DC1-92C9-15521D15DA77}"/>
                    </a:ext>
                  </a:extLst>
                </p:cNvPr>
                <p:cNvSpPr>
                  <a:spLocks noChangeShapeType="1"/>
                </p:cNvSpPr>
                <p:nvPr/>
              </p:nvSpPr>
              <p:spPr bwMode="auto">
                <a:xfrm flipH="1">
                  <a:off x="4627736" y="2331455"/>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47" name="Line 1217">
                  <a:extLst>
                    <a:ext uri="{FF2B5EF4-FFF2-40B4-BE49-F238E27FC236}">
                      <a16:creationId xmlns:a16="http://schemas.microsoft.com/office/drawing/2014/main" id="{497A2844-1598-4B03-ADA8-4522CCDEDBCC}"/>
                    </a:ext>
                  </a:extLst>
                </p:cNvPr>
                <p:cNvSpPr>
                  <a:spLocks noChangeShapeType="1"/>
                </p:cNvSpPr>
                <p:nvPr/>
              </p:nvSpPr>
              <p:spPr bwMode="auto">
                <a:xfrm flipH="1">
                  <a:off x="4848940" y="2359758"/>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48" name="Line 1218">
                  <a:extLst>
                    <a:ext uri="{FF2B5EF4-FFF2-40B4-BE49-F238E27FC236}">
                      <a16:creationId xmlns:a16="http://schemas.microsoft.com/office/drawing/2014/main" id="{9A816654-2F27-49A6-904A-B0A25BD7A249}"/>
                    </a:ext>
                  </a:extLst>
                </p:cNvPr>
                <p:cNvSpPr>
                  <a:spLocks noChangeShapeType="1"/>
                </p:cNvSpPr>
                <p:nvPr/>
              </p:nvSpPr>
              <p:spPr bwMode="auto">
                <a:xfrm flipH="1">
                  <a:off x="4816914" y="2359758"/>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50" name="Line 1219">
                  <a:extLst>
                    <a:ext uri="{FF2B5EF4-FFF2-40B4-BE49-F238E27FC236}">
                      <a16:creationId xmlns:a16="http://schemas.microsoft.com/office/drawing/2014/main" id="{83C82D5F-06D7-46CA-AA62-5A5FC444C7D0}"/>
                    </a:ext>
                  </a:extLst>
                </p:cNvPr>
                <p:cNvSpPr>
                  <a:spLocks noChangeShapeType="1"/>
                </p:cNvSpPr>
                <p:nvPr/>
              </p:nvSpPr>
              <p:spPr bwMode="auto">
                <a:xfrm flipH="1">
                  <a:off x="4785633" y="2359758"/>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51" name="Line 1220">
                  <a:extLst>
                    <a:ext uri="{FF2B5EF4-FFF2-40B4-BE49-F238E27FC236}">
                      <a16:creationId xmlns:a16="http://schemas.microsoft.com/office/drawing/2014/main" id="{B91820C8-7263-4162-8E72-8C7EF133F536}"/>
                    </a:ext>
                  </a:extLst>
                </p:cNvPr>
                <p:cNvSpPr>
                  <a:spLocks noChangeShapeType="1"/>
                </p:cNvSpPr>
                <p:nvPr/>
              </p:nvSpPr>
              <p:spPr bwMode="auto">
                <a:xfrm flipH="1">
                  <a:off x="4754351" y="2359758"/>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55" name="Line 1221">
                  <a:extLst>
                    <a:ext uri="{FF2B5EF4-FFF2-40B4-BE49-F238E27FC236}">
                      <a16:creationId xmlns:a16="http://schemas.microsoft.com/office/drawing/2014/main" id="{71170A05-1F5A-4651-BDB9-AB0012D5EA05}"/>
                    </a:ext>
                  </a:extLst>
                </p:cNvPr>
                <p:cNvSpPr>
                  <a:spLocks noChangeShapeType="1"/>
                </p:cNvSpPr>
                <p:nvPr/>
              </p:nvSpPr>
              <p:spPr bwMode="auto">
                <a:xfrm flipH="1">
                  <a:off x="4721580" y="2359758"/>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56" name="Line 1222">
                  <a:extLst>
                    <a:ext uri="{FF2B5EF4-FFF2-40B4-BE49-F238E27FC236}">
                      <a16:creationId xmlns:a16="http://schemas.microsoft.com/office/drawing/2014/main" id="{25287C06-3C54-4A93-8474-1461EA94F1F1}"/>
                    </a:ext>
                  </a:extLst>
                </p:cNvPr>
                <p:cNvSpPr>
                  <a:spLocks noChangeShapeType="1"/>
                </p:cNvSpPr>
                <p:nvPr/>
              </p:nvSpPr>
              <p:spPr bwMode="auto">
                <a:xfrm flipH="1">
                  <a:off x="4690299" y="2359758"/>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57" name="Line 1223">
                  <a:extLst>
                    <a:ext uri="{FF2B5EF4-FFF2-40B4-BE49-F238E27FC236}">
                      <a16:creationId xmlns:a16="http://schemas.microsoft.com/office/drawing/2014/main" id="{5908AF3B-6BCD-40E2-8257-703205A6BBFA}"/>
                    </a:ext>
                  </a:extLst>
                </p:cNvPr>
                <p:cNvSpPr>
                  <a:spLocks noChangeShapeType="1"/>
                </p:cNvSpPr>
                <p:nvPr/>
              </p:nvSpPr>
              <p:spPr bwMode="auto">
                <a:xfrm flipH="1">
                  <a:off x="4659017" y="2359758"/>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62" name="Line 1224">
                  <a:extLst>
                    <a:ext uri="{FF2B5EF4-FFF2-40B4-BE49-F238E27FC236}">
                      <a16:creationId xmlns:a16="http://schemas.microsoft.com/office/drawing/2014/main" id="{95DFBCB4-C0D7-40DA-8A38-1C591331EA53}"/>
                    </a:ext>
                  </a:extLst>
                </p:cNvPr>
                <p:cNvSpPr>
                  <a:spLocks noChangeShapeType="1"/>
                </p:cNvSpPr>
                <p:nvPr/>
              </p:nvSpPr>
              <p:spPr bwMode="auto">
                <a:xfrm flipH="1">
                  <a:off x="4627736" y="2359758"/>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63" name="Line 1225">
                  <a:extLst>
                    <a:ext uri="{FF2B5EF4-FFF2-40B4-BE49-F238E27FC236}">
                      <a16:creationId xmlns:a16="http://schemas.microsoft.com/office/drawing/2014/main" id="{77C9B34A-2069-4A4B-AA36-67D529932743}"/>
                    </a:ext>
                  </a:extLst>
                </p:cNvPr>
                <p:cNvSpPr>
                  <a:spLocks noChangeShapeType="1"/>
                </p:cNvSpPr>
                <p:nvPr/>
              </p:nvSpPr>
              <p:spPr bwMode="auto">
                <a:xfrm flipH="1">
                  <a:off x="4848940" y="2389549"/>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64" name="Line 1226">
                  <a:extLst>
                    <a:ext uri="{FF2B5EF4-FFF2-40B4-BE49-F238E27FC236}">
                      <a16:creationId xmlns:a16="http://schemas.microsoft.com/office/drawing/2014/main" id="{C63B2AA8-A86B-4FDC-A149-93C3EF3C6906}"/>
                    </a:ext>
                  </a:extLst>
                </p:cNvPr>
                <p:cNvSpPr>
                  <a:spLocks noChangeShapeType="1"/>
                </p:cNvSpPr>
                <p:nvPr/>
              </p:nvSpPr>
              <p:spPr bwMode="auto">
                <a:xfrm flipH="1">
                  <a:off x="4816914" y="2389549"/>
                  <a:ext cx="22344"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65" name="Line 1227">
                  <a:extLst>
                    <a:ext uri="{FF2B5EF4-FFF2-40B4-BE49-F238E27FC236}">
                      <a16:creationId xmlns:a16="http://schemas.microsoft.com/office/drawing/2014/main" id="{6AFF7F37-C8FE-4DBA-B576-6B3298F210D5}"/>
                    </a:ext>
                  </a:extLst>
                </p:cNvPr>
                <p:cNvSpPr>
                  <a:spLocks noChangeShapeType="1"/>
                </p:cNvSpPr>
                <p:nvPr/>
              </p:nvSpPr>
              <p:spPr bwMode="auto">
                <a:xfrm flipH="1">
                  <a:off x="4690299" y="2389549"/>
                  <a:ext cx="116933"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66" name="Line 1228">
                  <a:extLst>
                    <a:ext uri="{FF2B5EF4-FFF2-40B4-BE49-F238E27FC236}">
                      <a16:creationId xmlns:a16="http://schemas.microsoft.com/office/drawing/2014/main" id="{1EC2BF1A-20BB-4C88-B77F-DF50E448B963}"/>
                    </a:ext>
                  </a:extLst>
                </p:cNvPr>
                <p:cNvSpPr>
                  <a:spLocks noChangeShapeType="1"/>
                </p:cNvSpPr>
                <p:nvPr/>
              </p:nvSpPr>
              <p:spPr bwMode="auto">
                <a:xfrm flipH="1">
                  <a:off x="4659017" y="2389549"/>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67" name="Line 1229">
                  <a:extLst>
                    <a:ext uri="{FF2B5EF4-FFF2-40B4-BE49-F238E27FC236}">
                      <a16:creationId xmlns:a16="http://schemas.microsoft.com/office/drawing/2014/main" id="{334D5A5D-B770-49A7-873C-4936F1C7E1EE}"/>
                    </a:ext>
                  </a:extLst>
                </p:cNvPr>
                <p:cNvSpPr>
                  <a:spLocks noChangeShapeType="1"/>
                </p:cNvSpPr>
                <p:nvPr/>
              </p:nvSpPr>
              <p:spPr bwMode="auto">
                <a:xfrm flipH="1">
                  <a:off x="4627736" y="2389549"/>
                  <a:ext cx="21599" cy="0"/>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68" name="Freeform 1551">
                  <a:extLst>
                    <a:ext uri="{FF2B5EF4-FFF2-40B4-BE49-F238E27FC236}">
                      <a16:creationId xmlns:a16="http://schemas.microsoft.com/office/drawing/2014/main" id="{B94AEC3A-A74A-46EA-99E7-ED30E7CF5E1C}"/>
                    </a:ext>
                  </a:extLst>
                </p:cNvPr>
                <p:cNvSpPr>
                  <a:spLocks/>
                </p:cNvSpPr>
                <p:nvPr/>
              </p:nvSpPr>
              <p:spPr bwMode="auto">
                <a:xfrm>
                  <a:off x="4660507" y="2437216"/>
                  <a:ext cx="127361" cy="126616"/>
                </a:xfrm>
                <a:custGeom>
                  <a:avLst/>
                  <a:gdLst>
                    <a:gd name="T0" fmla="*/ 342 w 342"/>
                    <a:gd name="T1" fmla="*/ 171 h 341"/>
                    <a:gd name="T2" fmla="*/ 339 w 342"/>
                    <a:gd name="T3" fmla="*/ 136 h 341"/>
                    <a:gd name="T4" fmla="*/ 330 w 342"/>
                    <a:gd name="T5" fmla="*/ 105 h 341"/>
                    <a:gd name="T6" fmla="*/ 313 w 342"/>
                    <a:gd name="T7" fmla="*/ 76 h 341"/>
                    <a:gd name="T8" fmla="*/ 291 w 342"/>
                    <a:gd name="T9" fmla="*/ 50 h 341"/>
                    <a:gd name="T10" fmla="*/ 278 w 342"/>
                    <a:gd name="T11" fmla="*/ 39 h 341"/>
                    <a:gd name="T12" fmla="*/ 250 w 342"/>
                    <a:gd name="T13" fmla="*/ 21 h 341"/>
                    <a:gd name="T14" fmla="*/ 221 w 342"/>
                    <a:gd name="T15" fmla="*/ 8 h 341"/>
                    <a:gd name="T16" fmla="*/ 188 w 342"/>
                    <a:gd name="T17" fmla="*/ 0 h 341"/>
                    <a:gd name="T18" fmla="*/ 171 w 342"/>
                    <a:gd name="T19" fmla="*/ 0 h 341"/>
                    <a:gd name="T20" fmla="*/ 136 w 342"/>
                    <a:gd name="T21" fmla="*/ 4 h 341"/>
                    <a:gd name="T22" fmla="*/ 105 w 342"/>
                    <a:gd name="T23" fmla="*/ 13 h 341"/>
                    <a:gd name="T24" fmla="*/ 78 w 342"/>
                    <a:gd name="T25" fmla="*/ 28 h 341"/>
                    <a:gd name="T26" fmla="*/ 50 w 342"/>
                    <a:gd name="T27" fmla="*/ 50 h 341"/>
                    <a:gd name="T28" fmla="*/ 39 w 342"/>
                    <a:gd name="T29" fmla="*/ 63 h 341"/>
                    <a:gd name="T30" fmla="*/ 21 w 342"/>
                    <a:gd name="T31" fmla="*/ 91 h 341"/>
                    <a:gd name="T32" fmla="*/ 8 w 342"/>
                    <a:gd name="T33" fmla="*/ 120 h 341"/>
                    <a:gd name="T34" fmla="*/ 2 w 342"/>
                    <a:gd name="T35" fmla="*/ 153 h 341"/>
                    <a:gd name="T36" fmla="*/ 0 w 342"/>
                    <a:gd name="T37" fmla="*/ 171 h 341"/>
                    <a:gd name="T38" fmla="*/ 4 w 342"/>
                    <a:gd name="T39" fmla="*/ 205 h 341"/>
                    <a:gd name="T40" fmla="*/ 13 w 342"/>
                    <a:gd name="T41" fmla="*/ 236 h 341"/>
                    <a:gd name="T42" fmla="*/ 28 w 342"/>
                    <a:gd name="T43" fmla="*/ 265 h 341"/>
                    <a:gd name="T44" fmla="*/ 50 w 342"/>
                    <a:gd name="T45" fmla="*/ 291 h 341"/>
                    <a:gd name="T46" fmla="*/ 63 w 342"/>
                    <a:gd name="T47" fmla="*/ 304 h 341"/>
                    <a:gd name="T48" fmla="*/ 90 w 342"/>
                    <a:gd name="T49" fmla="*/ 322 h 341"/>
                    <a:gd name="T50" fmla="*/ 122 w 342"/>
                    <a:gd name="T51" fmla="*/ 335 h 341"/>
                    <a:gd name="T52" fmla="*/ 153 w 342"/>
                    <a:gd name="T53" fmla="*/ 341 h 341"/>
                    <a:gd name="T54" fmla="*/ 171 w 342"/>
                    <a:gd name="T55" fmla="*/ 341 h 341"/>
                    <a:gd name="T56" fmla="*/ 205 w 342"/>
                    <a:gd name="T57" fmla="*/ 339 h 341"/>
                    <a:gd name="T58" fmla="*/ 236 w 342"/>
                    <a:gd name="T59" fmla="*/ 330 h 341"/>
                    <a:gd name="T60" fmla="*/ 265 w 342"/>
                    <a:gd name="T61" fmla="*/ 313 h 341"/>
                    <a:gd name="T62" fmla="*/ 291 w 342"/>
                    <a:gd name="T63" fmla="*/ 291 h 341"/>
                    <a:gd name="T64" fmla="*/ 304 w 342"/>
                    <a:gd name="T65" fmla="*/ 278 h 341"/>
                    <a:gd name="T66" fmla="*/ 322 w 342"/>
                    <a:gd name="T67" fmla="*/ 251 h 341"/>
                    <a:gd name="T68" fmla="*/ 335 w 342"/>
                    <a:gd name="T69" fmla="*/ 221 h 341"/>
                    <a:gd name="T70" fmla="*/ 341 w 342"/>
                    <a:gd name="T71" fmla="*/ 188 h 341"/>
                    <a:gd name="T72" fmla="*/ 342 w 342"/>
                    <a:gd name="T73" fmla="*/ 17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341">
                      <a:moveTo>
                        <a:pt x="342" y="171"/>
                      </a:moveTo>
                      <a:lnTo>
                        <a:pt x="342" y="171"/>
                      </a:lnTo>
                      <a:lnTo>
                        <a:pt x="341" y="153"/>
                      </a:lnTo>
                      <a:lnTo>
                        <a:pt x="339" y="136"/>
                      </a:lnTo>
                      <a:lnTo>
                        <a:pt x="335" y="120"/>
                      </a:lnTo>
                      <a:lnTo>
                        <a:pt x="330" y="105"/>
                      </a:lnTo>
                      <a:lnTo>
                        <a:pt x="322" y="91"/>
                      </a:lnTo>
                      <a:lnTo>
                        <a:pt x="313" y="76"/>
                      </a:lnTo>
                      <a:lnTo>
                        <a:pt x="304" y="63"/>
                      </a:lnTo>
                      <a:lnTo>
                        <a:pt x="291" y="50"/>
                      </a:lnTo>
                      <a:lnTo>
                        <a:pt x="291" y="50"/>
                      </a:lnTo>
                      <a:lnTo>
                        <a:pt x="278" y="39"/>
                      </a:lnTo>
                      <a:lnTo>
                        <a:pt x="265" y="28"/>
                      </a:lnTo>
                      <a:lnTo>
                        <a:pt x="250" y="21"/>
                      </a:lnTo>
                      <a:lnTo>
                        <a:pt x="236" y="13"/>
                      </a:lnTo>
                      <a:lnTo>
                        <a:pt x="221" y="8"/>
                      </a:lnTo>
                      <a:lnTo>
                        <a:pt x="205" y="4"/>
                      </a:lnTo>
                      <a:lnTo>
                        <a:pt x="188" y="0"/>
                      </a:lnTo>
                      <a:lnTo>
                        <a:pt x="171" y="0"/>
                      </a:lnTo>
                      <a:lnTo>
                        <a:pt x="171" y="0"/>
                      </a:lnTo>
                      <a:lnTo>
                        <a:pt x="153" y="0"/>
                      </a:lnTo>
                      <a:lnTo>
                        <a:pt x="136" y="4"/>
                      </a:lnTo>
                      <a:lnTo>
                        <a:pt x="122" y="8"/>
                      </a:lnTo>
                      <a:lnTo>
                        <a:pt x="105" y="13"/>
                      </a:lnTo>
                      <a:lnTo>
                        <a:pt x="90" y="21"/>
                      </a:lnTo>
                      <a:lnTo>
                        <a:pt x="78" y="28"/>
                      </a:lnTo>
                      <a:lnTo>
                        <a:pt x="63" y="39"/>
                      </a:lnTo>
                      <a:lnTo>
                        <a:pt x="50" y="50"/>
                      </a:lnTo>
                      <a:lnTo>
                        <a:pt x="50" y="50"/>
                      </a:lnTo>
                      <a:lnTo>
                        <a:pt x="39" y="63"/>
                      </a:lnTo>
                      <a:lnTo>
                        <a:pt x="28" y="76"/>
                      </a:lnTo>
                      <a:lnTo>
                        <a:pt x="21" y="91"/>
                      </a:lnTo>
                      <a:lnTo>
                        <a:pt x="13" y="105"/>
                      </a:lnTo>
                      <a:lnTo>
                        <a:pt x="8" y="120"/>
                      </a:lnTo>
                      <a:lnTo>
                        <a:pt x="4" y="136"/>
                      </a:lnTo>
                      <a:lnTo>
                        <a:pt x="2" y="153"/>
                      </a:lnTo>
                      <a:lnTo>
                        <a:pt x="0" y="171"/>
                      </a:lnTo>
                      <a:lnTo>
                        <a:pt x="0" y="171"/>
                      </a:lnTo>
                      <a:lnTo>
                        <a:pt x="2" y="188"/>
                      </a:lnTo>
                      <a:lnTo>
                        <a:pt x="4" y="205"/>
                      </a:lnTo>
                      <a:lnTo>
                        <a:pt x="8" y="221"/>
                      </a:lnTo>
                      <a:lnTo>
                        <a:pt x="13" y="236"/>
                      </a:lnTo>
                      <a:lnTo>
                        <a:pt x="21" y="251"/>
                      </a:lnTo>
                      <a:lnTo>
                        <a:pt x="28" y="265"/>
                      </a:lnTo>
                      <a:lnTo>
                        <a:pt x="39" y="278"/>
                      </a:lnTo>
                      <a:lnTo>
                        <a:pt x="50" y="291"/>
                      </a:lnTo>
                      <a:lnTo>
                        <a:pt x="50" y="291"/>
                      </a:lnTo>
                      <a:lnTo>
                        <a:pt x="63" y="304"/>
                      </a:lnTo>
                      <a:lnTo>
                        <a:pt x="78" y="313"/>
                      </a:lnTo>
                      <a:lnTo>
                        <a:pt x="90" y="322"/>
                      </a:lnTo>
                      <a:lnTo>
                        <a:pt x="105" y="330"/>
                      </a:lnTo>
                      <a:lnTo>
                        <a:pt x="122" y="335"/>
                      </a:lnTo>
                      <a:lnTo>
                        <a:pt x="136" y="339"/>
                      </a:lnTo>
                      <a:lnTo>
                        <a:pt x="153" y="341"/>
                      </a:lnTo>
                      <a:lnTo>
                        <a:pt x="171" y="341"/>
                      </a:lnTo>
                      <a:lnTo>
                        <a:pt x="171" y="341"/>
                      </a:lnTo>
                      <a:lnTo>
                        <a:pt x="188" y="341"/>
                      </a:lnTo>
                      <a:lnTo>
                        <a:pt x="205" y="339"/>
                      </a:lnTo>
                      <a:lnTo>
                        <a:pt x="221" y="335"/>
                      </a:lnTo>
                      <a:lnTo>
                        <a:pt x="236" y="330"/>
                      </a:lnTo>
                      <a:lnTo>
                        <a:pt x="250" y="322"/>
                      </a:lnTo>
                      <a:lnTo>
                        <a:pt x="265" y="313"/>
                      </a:lnTo>
                      <a:lnTo>
                        <a:pt x="278" y="304"/>
                      </a:lnTo>
                      <a:lnTo>
                        <a:pt x="291" y="291"/>
                      </a:lnTo>
                      <a:lnTo>
                        <a:pt x="291" y="291"/>
                      </a:lnTo>
                      <a:lnTo>
                        <a:pt x="304" y="278"/>
                      </a:lnTo>
                      <a:lnTo>
                        <a:pt x="313" y="265"/>
                      </a:lnTo>
                      <a:lnTo>
                        <a:pt x="322" y="251"/>
                      </a:lnTo>
                      <a:lnTo>
                        <a:pt x="330" y="236"/>
                      </a:lnTo>
                      <a:lnTo>
                        <a:pt x="335" y="221"/>
                      </a:lnTo>
                      <a:lnTo>
                        <a:pt x="339" y="205"/>
                      </a:lnTo>
                      <a:lnTo>
                        <a:pt x="341" y="188"/>
                      </a:lnTo>
                      <a:lnTo>
                        <a:pt x="342" y="171"/>
                      </a:lnTo>
                      <a:lnTo>
                        <a:pt x="342" y="171"/>
                      </a:lnTo>
                      <a:close/>
                    </a:path>
                  </a:pathLst>
                </a:custGeom>
                <a:solidFill>
                  <a:srgbClr val="B4EB88"/>
                </a:solidFill>
                <a:ln w="6350">
                  <a:solidFill>
                    <a:srgbClr val="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69" name="Freeform 1552">
                  <a:extLst>
                    <a:ext uri="{FF2B5EF4-FFF2-40B4-BE49-F238E27FC236}">
                      <a16:creationId xmlns:a16="http://schemas.microsoft.com/office/drawing/2014/main" id="{26DE52E9-D4E7-4619-8E27-6C49AD548F9B}"/>
                    </a:ext>
                  </a:extLst>
                </p:cNvPr>
                <p:cNvSpPr>
                  <a:spLocks/>
                </p:cNvSpPr>
                <p:nvPr/>
              </p:nvSpPr>
              <p:spPr bwMode="auto">
                <a:xfrm>
                  <a:off x="4706684" y="2477436"/>
                  <a:ext cx="34261" cy="34261"/>
                </a:xfrm>
                <a:custGeom>
                  <a:avLst/>
                  <a:gdLst>
                    <a:gd name="T0" fmla="*/ 92 w 92"/>
                    <a:gd name="T1" fmla="*/ 46 h 92"/>
                    <a:gd name="T2" fmla="*/ 92 w 92"/>
                    <a:gd name="T3" fmla="*/ 46 h 92"/>
                    <a:gd name="T4" fmla="*/ 92 w 92"/>
                    <a:gd name="T5" fmla="*/ 55 h 92"/>
                    <a:gd name="T6" fmla="*/ 89 w 92"/>
                    <a:gd name="T7" fmla="*/ 64 h 92"/>
                    <a:gd name="T8" fmla="*/ 85 w 92"/>
                    <a:gd name="T9" fmla="*/ 72 h 92"/>
                    <a:gd name="T10" fmla="*/ 80 w 92"/>
                    <a:gd name="T11" fmla="*/ 79 h 92"/>
                    <a:gd name="T12" fmla="*/ 80 w 92"/>
                    <a:gd name="T13" fmla="*/ 79 h 92"/>
                    <a:gd name="T14" fmla="*/ 72 w 92"/>
                    <a:gd name="T15" fmla="*/ 85 h 92"/>
                    <a:gd name="T16" fmla="*/ 65 w 92"/>
                    <a:gd name="T17" fmla="*/ 90 h 92"/>
                    <a:gd name="T18" fmla="*/ 56 w 92"/>
                    <a:gd name="T19" fmla="*/ 92 h 92"/>
                    <a:gd name="T20" fmla="*/ 46 w 92"/>
                    <a:gd name="T21" fmla="*/ 92 h 92"/>
                    <a:gd name="T22" fmla="*/ 46 w 92"/>
                    <a:gd name="T23" fmla="*/ 92 h 92"/>
                    <a:gd name="T24" fmla="*/ 37 w 92"/>
                    <a:gd name="T25" fmla="*/ 92 h 92"/>
                    <a:gd name="T26" fmla="*/ 28 w 92"/>
                    <a:gd name="T27" fmla="*/ 90 h 92"/>
                    <a:gd name="T28" fmla="*/ 21 w 92"/>
                    <a:gd name="T29" fmla="*/ 85 h 92"/>
                    <a:gd name="T30" fmla="*/ 13 w 92"/>
                    <a:gd name="T31" fmla="*/ 79 h 92"/>
                    <a:gd name="T32" fmla="*/ 13 w 92"/>
                    <a:gd name="T33" fmla="*/ 79 h 92"/>
                    <a:gd name="T34" fmla="*/ 8 w 92"/>
                    <a:gd name="T35" fmla="*/ 72 h 92"/>
                    <a:gd name="T36" fmla="*/ 4 w 92"/>
                    <a:gd name="T37" fmla="*/ 64 h 92"/>
                    <a:gd name="T38" fmla="*/ 0 w 92"/>
                    <a:gd name="T39" fmla="*/ 55 h 92"/>
                    <a:gd name="T40" fmla="*/ 0 w 92"/>
                    <a:gd name="T41" fmla="*/ 46 h 92"/>
                    <a:gd name="T42" fmla="*/ 0 w 92"/>
                    <a:gd name="T43" fmla="*/ 46 h 92"/>
                    <a:gd name="T44" fmla="*/ 0 w 92"/>
                    <a:gd name="T45" fmla="*/ 37 h 92"/>
                    <a:gd name="T46" fmla="*/ 4 w 92"/>
                    <a:gd name="T47" fmla="*/ 29 h 92"/>
                    <a:gd name="T48" fmla="*/ 8 w 92"/>
                    <a:gd name="T49" fmla="*/ 20 h 92"/>
                    <a:gd name="T50" fmla="*/ 13 w 92"/>
                    <a:gd name="T51" fmla="*/ 15 h 92"/>
                    <a:gd name="T52" fmla="*/ 13 w 92"/>
                    <a:gd name="T53" fmla="*/ 15 h 92"/>
                    <a:gd name="T54" fmla="*/ 21 w 92"/>
                    <a:gd name="T55" fmla="*/ 7 h 92"/>
                    <a:gd name="T56" fmla="*/ 28 w 92"/>
                    <a:gd name="T57" fmla="*/ 4 h 92"/>
                    <a:gd name="T58" fmla="*/ 37 w 92"/>
                    <a:gd name="T59" fmla="*/ 2 h 92"/>
                    <a:gd name="T60" fmla="*/ 46 w 92"/>
                    <a:gd name="T61" fmla="*/ 0 h 92"/>
                    <a:gd name="T62" fmla="*/ 46 w 92"/>
                    <a:gd name="T63" fmla="*/ 0 h 92"/>
                    <a:gd name="T64" fmla="*/ 56 w 92"/>
                    <a:gd name="T65" fmla="*/ 2 h 92"/>
                    <a:gd name="T66" fmla="*/ 63 w 92"/>
                    <a:gd name="T67" fmla="*/ 4 h 92"/>
                    <a:gd name="T68" fmla="*/ 72 w 92"/>
                    <a:gd name="T69" fmla="*/ 7 h 92"/>
                    <a:gd name="T70" fmla="*/ 80 w 92"/>
                    <a:gd name="T71" fmla="*/ 15 h 92"/>
                    <a:gd name="T72" fmla="*/ 80 w 92"/>
                    <a:gd name="T73" fmla="*/ 15 h 92"/>
                    <a:gd name="T74" fmla="*/ 85 w 92"/>
                    <a:gd name="T75" fmla="*/ 20 h 92"/>
                    <a:gd name="T76" fmla="*/ 89 w 92"/>
                    <a:gd name="T77" fmla="*/ 29 h 92"/>
                    <a:gd name="T78" fmla="*/ 92 w 92"/>
                    <a:gd name="T79" fmla="*/ 37 h 92"/>
                    <a:gd name="T80" fmla="*/ 92 w 92"/>
                    <a:gd name="T81" fmla="*/ 46 h 92"/>
                    <a:gd name="T82" fmla="*/ 92 w 92"/>
                    <a:gd name="T83"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 h="92">
                      <a:moveTo>
                        <a:pt x="92" y="46"/>
                      </a:moveTo>
                      <a:lnTo>
                        <a:pt x="92" y="46"/>
                      </a:lnTo>
                      <a:lnTo>
                        <a:pt x="92" y="55"/>
                      </a:lnTo>
                      <a:lnTo>
                        <a:pt x="89" y="64"/>
                      </a:lnTo>
                      <a:lnTo>
                        <a:pt x="85" y="72"/>
                      </a:lnTo>
                      <a:lnTo>
                        <a:pt x="80" y="79"/>
                      </a:lnTo>
                      <a:lnTo>
                        <a:pt x="80" y="79"/>
                      </a:lnTo>
                      <a:lnTo>
                        <a:pt x="72" y="85"/>
                      </a:lnTo>
                      <a:lnTo>
                        <a:pt x="65" y="90"/>
                      </a:lnTo>
                      <a:lnTo>
                        <a:pt x="56" y="92"/>
                      </a:lnTo>
                      <a:lnTo>
                        <a:pt x="46" y="92"/>
                      </a:lnTo>
                      <a:lnTo>
                        <a:pt x="46" y="92"/>
                      </a:lnTo>
                      <a:lnTo>
                        <a:pt x="37" y="92"/>
                      </a:lnTo>
                      <a:lnTo>
                        <a:pt x="28" y="90"/>
                      </a:lnTo>
                      <a:lnTo>
                        <a:pt x="21" y="85"/>
                      </a:lnTo>
                      <a:lnTo>
                        <a:pt x="13" y="79"/>
                      </a:lnTo>
                      <a:lnTo>
                        <a:pt x="13" y="79"/>
                      </a:lnTo>
                      <a:lnTo>
                        <a:pt x="8" y="72"/>
                      </a:lnTo>
                      <a:lnTo>
                        <a:pt x="4" y="64"/>
                      </a:lnTo>
                      <a:lnTo>
                        <a:pt x="0" y="55"/>
                      </a:lnTo>
                      <a:lnTo>
                        <a:pt x="0" y="46"/>
                      </a:lnTo>
                      <a:lnTo>
                        <a:pt x="0" y="46"/>
                      </a:lnTo>
                      <a:lnTo>
                        <a:pt x="0" y="37"/>
                      </a:lnTo>
                      <a:lnTo>
                        <a:pt x="4" y="29"/>
                      </a:lnTo>
                      <a:lnTo>
                        <a:pt x="8" y="20"/>
                      </a:lnTo>
                      <a:lnTo>
                        <a:pt x="13" y="15"/>
                      </a:lnTo>
                      <a:lnTo>
                        <a:pt x="13" y="15"/>
                      </a:lnTo>
                      <a:lnTo>
                        <a:pt x="21" y="7"/>
                      </a:lnTo>
                      <a:lnTo>
                        <a:pt x="28" y="4"/>
                      </a:lnTo>
                      <a:lnTo>
                        <a:pt x="37" y="2"/>
                      </a:lnTo>
                      <a:lnTo>
                        <a:pt x="46" y="0"/>
                      </a:lnTo>
                      <a:lnTo>
                        <a:pt x="46" y="0"/>
                      </a:lnTo>
                      <a:lnTo>
                        <a:pt x="56" y="2"/>
                      </a:lnTo>
                      <a:lnTo>
                        <a:pt x="63" y="4"/>
                      </a:lnTo>
                      <a:lnTo>
                        <a:pt x="72" y="7"/>
                      </a:lnTo>
                      <a:lnTo>
                        <a:pt x="80" y="15"/>
                      </a:lnTo>
                      <a:lnTo>
                        <a:pt x="80" y="15"/>
                      </a:lnTo>
                      <a:lnTo>
                        <a:pt x="85" y="20"/>
                      </a:lnTo>
                      <a:lnTo>
                        <a:pt x="89" y="29"/>
                      </a:lnTo>
                      <a:lnTo>
                        <a:pt x="92" y="37"/>
                      </a:lnTo>
                      <a:lnTo>
                        <a:pt x="92" y="46"/>
                      </a:lnTo>
                      <a:lnTo>
                        <a:pt x="92" y="46"/>
                      </a:lnTo>
                      <a:close/>
                    </a:path>
                  </a:pathLst>
                </a:custGeom>
                <a:noFill/>
                <a:ln w="317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70" name="Freeform 1553">
                  <a:extLst>
                    <a:ext uri="{FF2B5EF4-FFF2-40B4-BE49-F238E27FC236}">
                      <a16:creationId xmlns:a16="http://schemas.microsoft.com/office/drawing/2014/main" id="{E9E64E51-D57F-4717-A6CE-BD53D7BD803E}"/>
                    </a:ext>
                  </a:extLst>
                </p:cNvPr>
                <p:cNvSpPr>
                  <a:spLocks/>
                </p:cNvSpPr>
                <p:nvPr/>
              </p:nvSpPr>
              <p:spPr bwMode="auto">
                <a:xfrm>
                  <a:off x="4694022" y="2513931"/>
                  <a:ext cx="60329" cy="31281"/>
                </a:xfrm>
                <a:custGeom>
                  <a:avLst/>
                  <a:gdLst>
                    <a:gd name="T0" fmla="*/ 116 w 162"/>
                    <a:gd name="T1" fmla="*/ 0 h 83"/>
                    <a:gd name="T2" fmla="*/ 46 w 162"/>
                    <a:gd name="T3" fmla="*/ 0 h 83"/>
                    <a:gd name="T4" fmla="*/ 46 w 162"/>
                    <a:gd name="T5" fmla="*/ 0 h 83"/>
                    <a:gd name="T6" fmla="*/ 37 w 162"/>
                    <a:gd name="T7" fmla="*/ 2 h 83"/>
                    <a:gd name="T8" fmla="*/ 28 w 162"/>
                    <a:gd name="T9" fmla="*/ 4 h 83"/>
                    <a:gd name="T10" fmla="*/ 21 w 162"/>
                    <a:gd name="T11" fmla="*/ 8 h 83"/>
                    <a:gd name="T12" fmla="*/ 13 w 162"/>
                    <a:gd name="T13" fmla="*/ 15 h 83"/>
                    <a:gd name="T14" fmla="*/ 13 w 162"/>
                    <a:gd name="T15" fmla="*/ 15 h 83"/>
                    <a:gd name="T16" fmla="*/ 8 w 162"/>
                    <a:gd name="T17" fmla="*/ 21 h 83"/>
                    <a:gd name="T18" fmla="*/ 4 w 162"/>
                    <a:gd name="T19" fmla="*/ 30 h 83"/>
                    <a:gd name="T20" fmla="*/ 0 w 162"/>
                    <a:gd name="T21" fmla="*/ 37 h 83"/>
                    <a:gd name="T22" fmla="*/ 0 w 162"/>
                    <a:gd name="T23" fmla="*/ 46 h 83"/>
                    <a:gd name="T24" fmla="*/ 0 w 162"/>
                    <a:gd name="T25" fmla="*/ 50 h 83"/>
                    <a:gd name="T26" fmla="*/ 0 w 162"/>
                    <a:gd name="T27" fmla="*/ 50 h 83"/>
                    <a:gd name="T28" fmla="*/ 19 w 162"/>
                    <a:gd name="T29" fmla="*/ 65 h 83"/>
                    <a:gd name="T30" fmla="*/ 37 w 162"/>
                    <a:gd name="T31" fmla="*/ 76 h 83"/>
                    <a:gd name="T32" fmla="*/ 59 w 162"/>
                    <a:gd name="T33" fmla="*/ 81 h 83"/>
                    <a:gd name="T34" fmla="*/ 81 w 162"/>
                    <a:gd name="T35" fmla="*/ 83 h 83"/>
                    <a:gd name="T36" fmla="*/ 81 w 162"/>
                    <a:gd name="T37" fmla="*/ 83 h 83"/>
                    <a:gd name="T38" fmla="*/ 103 w 162"/>
                    <a:gd name="T39" fmla="*/ 81 h 83"/>
                    <a:gd name="T40" fmla="*/ 126 w 162"/>
                    <a:gd name="T41" fmla="*/ 76 h 83"/>
                    <a:gd name="T42" fmla="*/ 144 w 162"/>
                    <a:gd name="T43" fmla="*/ 65 h 83"/>
                    <a:gd name="T44" fmla="*/ 162 w 162"/>
                    <a:gd name="T45" fmla="*/ 50 h 83"/>
                    <a:gd name="T46" fmla="*/ 162 w 162"/>
                    <a:gd name="T47" fmla="*/ 46 h 83"/>
                    <a:gd name="T48" fmla="*/ 162 w 162"/>
                    <a:gd name="T49" fmla="*/ 46 h 83"/>
                    <a:gd name="T50" fmla="*/ 162 w 162"/>
                    <a:gd name="T51" fmla="*/ 37 h 83"/>
                    <a:gd name="T52" fmla="*/ 159 w 162"/>
                    <a:gd name="T53" fmla="*/ 30 h 83"/>
                    <a:gd name="T54" fmla="*/ 155 w 162"/>
                    <a:gd name="T55" fmla="*/ 21 h 83"/>
                    <a:gd name="T56" fmla="*/ 149 w 162"/>
                    <a:gd name="T57" fmla="*/ 15 h 83"/>
                    <a:gd name="T58" fmla="*/ 149 w 162"/>
                    <a:gd name="T59" fmla="*/ 15 h 83"/>
                    <a:gd name="T60" fmla="*/ 142 w 162"/>
                    <a:gd name="T61" fmla="*/ 8 h 83"/>
                    <a:gd name="T62" fmla="*/ 133 w 162"/>
                    <a:gd name="T63" fmla="*/ 4 h 83"/>
                    <a:gd name="T64" fmla="*/ 126 w 162"/>
                    <a:gd name="T65" fmla="*/ 2 h 83"/>
                    <a:gd name="T66" fmla="*/ 116 w 162"/>
                    <a:gd name="T67" fmla="*/ 0 h 83"/>
                    <a:gd name="T68" fmla="*/ 116 w 162"/>
                    <a:gd name="T6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83">
                      <a:moveTo>
                        <a:pt x="116" y="0"/>
                      </a:moveTo>
                      <a:lnTo>
                        <a:pt x="46" y="0"/>
                      </a:lnTo>
                      <a:lnTo>
                        <a:pt x="46" y="0"/>
                      </a:lnTo>
                      <a:lnTo>
                        <a:pt x="37" y="2"/>
                      </a:lnTo>
                      <a:lnTo>
                        <a:pt x="28" y="4"/>
                      </a:lnTo>
                      <a:lnTo>
                        <a:pt x="21" y="8"/>
                      </a:lnTo>
                      <a:lnTo>
                        <a:pt x="13" y="15"/>
                      </a:lnTo>
                      <a:lnTo>
                        <a:pt x="13" y="15"/>
                      </a:lnTo>
                      <a:lnTo>
                        <a:pt x="8" y="21"/>
                      </a:lnTo>
                      <a:lnTo>
                        <a:pt x="4" y="30"/>
                      </a:lnTo>
                      <a:lnTo>
                        <a:pt x="0" y="37"/>
                      </a:lnTo>
                      <a:lnTo>
                        <a:pt x="0" y="46"/>
                      </a:lnTo>
                      <a:lnTo>
                        <a:pt x="0" y="50"/>
                      </a:lnTo>
                      <a:lnTo>
                        <a:pt x="0" y="50"/>
                      </a:lnTo>
                      <a:lnTo>
                        <a:pt x="19" y="65"/>
                      </a:lnTo>
                      <a:lnTo>
                        <a:pt x="37" y="76"/>
                      </a:lnTo>
                      <a:lnTo>
                        <a:pt x="59" y="81"/>
                      </a:lnTo>
                      <a:lnTo>
                        <a:pt x="81" y="83"/>
                      </a:lnTo>
                      <a:lnTo>
                        <a:pt x="81" y="83"/>
                      </a:lnTo>
                      <a:lnTo>
                        <a:pt x="103" y="81"/>
                      </a:lnTo>
                      <a:lnTo>
                        <a:pt x="126" y="76"/>
                      </a:lnTo>
                      <a:lnTo>
                        <a:pt x="144" y="65"/>
                      </a:lnTo>
                      <a:lnTo>
                        <a:pt x="162" y="50"/>
                      </a:lnTo>
                      <a:lnTo>
                        <a:pt x="162" y="46"/>
                      </a:lnTo>
                      <a:lnTo>
                        <a:pt x="162" y="46"/>
                      </a:lnTo>
                      <a:lnTo>
                        <a:pt x="162" y="37"/>
                      </a:lnTo>
                      <a:lnTo>
                        <a:pt x="159" y="30"/>
                      </a:lnTo>
                      <a:lnTo>
                        <a:pt x="155" y="21"/>
                      </a:lnTo>
                      <a:lnTo>
                        <a:pt x="149" y="15"/>
                      </a:lnTo>
                      <a:lnTo>
                        <a:pt x="149" y="15"/>
                      </a:lnTo>
                      <a:lnTo>
                        <a:pt x="142" y="8"/>
                      </a:lnTo>
                      <a:lnTo>
                        <a:pt x="133" y="4"/>
                      </a:lnTo>
                      <a:lnTo>
                        <a:pt x="126" y="2"/>
                      </a:lnTo>
                      <a:lnTo>
                        <a:pt x="116" y="0"/>
                      </a:lnTo>
                      <a:lnTo>
                        <a:pt x="116" y="0"/>
                      </a:lnTo>
                      <a:close/>
                    </a:path>
                  </a:pathLst>
                </a:custGeom>
                <a:noFill/>
                <a:ln w="317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71" name="Line 1569">
                  <a:extLst>
                    <a:ext uri="{FF2B5EF4-FFF2-40B4-BE49-F238E27FC236}">
                      <a16:creationId xmlns:a16="http://schemas.microsoft.com/office/drawing/2014/main" id="{EDADB806-210B-45C1-925E-570C67CDB59A}"/>
                    </a:ext>
                  </a:extLst>
                </p:cNvPr>
                <p:cNvSpPr>
                  <a:spLocks noChangeShapeType="1"/>
                </p:cNvSpPr>
                <p:nvPr/>
              </p:nvSpPr>
              <p:spPr bwMode="auto">
                <a:xfrm>
                  <a:off x="4816914" y="1932244"/>
                  <a:ext cx="0" cy="14151"/>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72" name="Line 1570">
                  <a:extLst>
                    <a:ext uri="{FF2B5EF4-FFF2-40B4-BE49-F238E27FC236}">
                      <a16:creationId xmlns:a16="http://schemas.microsoft.com/office/drawing/2014/main" id="{C7809E1C-4E74-4792-B81E-90B143F363D1}"/>
                    </a:ext>
                  </a:extLst>
                </p:cNvPr>
                <p:cNvSpPr>
                  <a:spLocks noChangeShapeType="1"/>
                </p:cNvSpPr>
                <p:nvPr/>
              </p:nvSpPr>
              <p:spPr bwMode="auto">
                <a:xfrm>
                  <a:off x="4781908" y="1951609"/>
                  <a:ext cx="12662" cy="6703"/>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73" name="Line 1571">
                  <a:extLst>
                    <a:ext uri="{FF2B5EF4-FFF2-40B4-BE49-F238E27FC236}">
                      <a16:creationId xmlns:a16="http://schemas.microsoft.com/office/drawing/2014/main" id="{8BF0D715-E7F6-4BEF-8E23-4DFA3959FD42}"/>
                    </a:ext>
                  </a:extLst>
                </p:cNvPr>
                <p:cNvSpPr>
                  <a:spLocks noChangeShapeType="1"/>
                </p:cNvSpPr>
                <p:nvPr/>
              </p:nvSpPr>
              <p:spPr bwMode="auto">
                <a:xfrm flipV="1">
                  <a:off x="4781164" y="1984380"/>
                  <a:ext cx="12662" cy="6703"/>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74" name="Line 1572">
                  <a:extLst>
                    <a:ext uri="{FF2B5EF4-FFF2-40B4-BE49-F238E27FC236}">
                      <a16:creationId xmlns:a16="http://schemas.microsoft.com/office/drawing/2014/main" id="{7295C5F1-5310-46B8-8287-924DD8C16E31}"/>
                    </a:ext>
                  </a:extLst>
                </p:cNvPr>
                <p:cNvSpPr>
                  <a:spLocks noChangeShapeType="1"/>
                </p:cNvSpPr>
                <p:nvPr/>
              </p:nvSpPr>
              <p:spPr bwMode="auto">
                <a:xfrm flipV="1">
                  <a:off x="4815425" y="1997786"/>
                  <a:ext cx="0" cy="14151"/>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75" name="Line 1573">
                  <a:extLst>
                    <a:ext uri="{FF2B5EF4-FFF2-40B4-BE49-F238E27FC236}">
                      <a16:creationId xmlns:a16="http://schemas.microsoft.com/office/drawing/2014/main" id="{51A4A34F-A232-4EEC-8E5D-FB681F475307}"/>
                    </a:ext>
                  </a:extLst>
                </p:cNvPr>
                <p:cNvSpPr>
                  <a:spLocks noChangeShapeType="1"/>
                </p:cNvSpPr>
                <p:nvPr/>
              </p:nvSpPr>
              <p:spPr bwMode="auto">
                <a:xfrm flipH="1" flipV="1">
                  <a:off x="4838513" y="1985125"/>
                  <a:ext cx="11917" cy="7448"/>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1276" name="Line 1574">
                  <a:extLst>
                    <a:ext uri="{FF2B5EF4-FFF2-40B4-BE49-F238E27FC236}">
                      <a16:creationId xmlns:a16="http://schemas.microsoft.com/office/drawing/2014/main" id="{830D281C-0F02-43B6-90DC-380BF0A96399}"/>
                    </a:ext>
                  </a:extLst>
                </p:cNvPr>
                <p:cNvSpPr>
                  <a:spLocks noChangeShapeType="1"/>
                </p:cNvSpPr>
                <p:nvPr/>
              </p:nvSpPr>
              <p:spPr bwMode="auto">
                <a:xfrm flipH="1">
                  <a:off x="4839258" y="1952354"/>
                  <a:ext cx="11917" cy="7448"/>
                </a:xfrm>
                <a:prstGeom prst="line">
                  <a:avLst/>
                </a:prstGeom>
                <a:noFill/>
                <a:ln w="6350">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806" name="Rectangle 805">
                <a:extLst>
                  <a:ext uri="{FF2B5EF4-FFF2-40B4-BE49-F238E27FC236}">
                    <a16:creationId xmlns:a16="http://schemas.microsoft.com/office/drawing/2014/main" id="{3E5D2619-BE3B-4AEF-ABAF-EB50671BF039}"/>
                  </a:ext>
                </a:extLst>
              </p:cNvPr>
              <p:cNvSpPr/>
              <p:nvPr/>
            </p:nvSpPr>
            <p:spPr>
              <a:xfrm>
                <a:off x="478109" y="3091490"/>
                <a:ext cx="1115908" cy="5130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Sprint Planning</a:t>
                </a:r>
              </a:p>
            </p:txBody>
          </p:sp>
        </p:grpSp>
        <p:grpSp>
          <p:nvGrpSpPr>
            <p:cNvPr id="738" name="Group 737">
              <a:extLst>
                <a:ext uri="{FF2B5EF4-FFF2-40B4-BE49-F238E27FC236}">
                  <a16:creationId xmlns:a16="http://schemas.microsoft.com/office/drawing/2014/main" id="{AF5D3C94-B780-4CCE-BFB9-147F75381693}"/>
                </a:ext>
              </a:extLst>
            </p:cNvPr>
            <p:cNvGrpSpPr/>
            <p:nvPr/>
          </p:nvGrpSpPr>
          <p:grpSpPr>
            <a:xfrm>
              <a:off x="326353" y="3560547"/>
              <a:ext cx="836822" cy="910084"/>
              <a:chOff x="1701958" y="2259861"/>
              <a:chExt cx="1115908" cy="1213605"/>
            </a:xfrm>
          </p:grpSpPr>
          <p:grpSp>
            <p:nvGrpSpPr>
              <p:cNvPr id="776" name="Group 775">
                <a:extLst>
                  <a:ext uri="{FF2B5EF4-FFF2-40B4-BE49-F238E27FC236}">
                    <a16:creationId xmlns:a16="http://schemas.microsoft.com/office/drawing/2014/main" id="{4857345F-4A01-43C1-9811-6BD8BC1D2455}"/>
                  </a:ext>
                </a:extLst>
              </p:cNvPr>
              <p:cNvGrpSpPr/>
              <p:nvPr/>
            </p:nvGrpSpPr>
            <p:grpSpPr>
              <a:xfrm>
                <a:off x="1884148" y="2259861"/>
                <a:ext cx="661806" cy="567204"/>
                <a:chOff x="4404171" y="3636991"/>
                <a:chExt cx="555037" cy="475698"/>
              </a:xfrm>
            </p:grpSpPr>
            <p:sp>
              <p:nvSpPr>
                <p:cNvPr id="778" name="Line 67">
                  <a:extLst>
                    <a:ext uri="{FF2B5EF4-FFF2-40B4-BE49-F238E27FC236}">
                      <a16:creationId xmlns:a16="http://schemas.microsoft.com/office/drawing/2014/main" id="{02957AF6-5651-4579-92E6-B046E57DBCC6}"/>
                    </a:ext>
                  </a:extLst>
                </p:cNvPr>
                <p:cNvSpPr>
                  <a:spLocks noChangeShapeType="1"/>
                </p:cNvSpPr>
                <p:nvPr/>
              </p:nvSpPr>
              <p:spPr bwMode="auto">
                <a:xfrm rot="8100000">
                  <a:off x="4420834" y="387894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79" name="Line 74">
                  <a:extLst>
                    <a:ext uri="{FF2B5EF4-FFF2-40B4-BE49-F238E27FC236}">
                      <a16:creationId xmlns:a16="http://schemas.microsoft.com/office/drawing/2014/main" id="{EB189753-9632-4664-A5E1-8D871924129D}"/>
                    </a:ext>
                  </a:extLst>
                </p:cNvPr>
                <p:cNvSpPr>
                  <a:spLocks noChangeShapeType="1"/>
                </p:cNvSpPr>
                <p:nvPr/>
              </p:nvSpPr>
              <p:spPr bwMode="auto">
                <a:xfrm rot="8100000">
                  <a:off x="4404171" y="389561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nvGrpSpPr>
                <p:cNvPr id="780" name="Group 779">
                  <a:extLst>
                    <a:ext uri="{FF2B5EF4-FFF2-40B4-BE49-F238E27FC236}">
                      <a16:creationId xmlns:a16="http://schemas.microsoft.com/office/drawing/2014/main" id="{D49BB467-80A5-4320-BB7B-75AB6CED5F8E}"/>
                    </a:ext>
                  </a:extLst>
                </p:cNvPr>
                <p:cNvGrpSpPr/>
                <p:nvPr/>
              </p:nvGrpSpPr>
              <p:grpSpPr>
                <a:xfrm>
                  <a:off x="4502242" y="3636991"/>
                  <a:ext cx="456966" cy="475698"/>
                  <a:chOff x="10712002" y="4268231"/>
                  <a:chExt cx="483856" cy="503691"/>
                </a:xfrm>
              </p:grpSpPr>
              <p:sp>
                <p:nvSpPr>
                  <p:cNvPr id="788" name="Freeform 48">
                    <a:extLst>
                      <a:ext uri="{FF2B5EF4-FFF2-40B4-BE49-F238E27FC236}">
                        <a16:creationId xmlns:a16="http://schemas.microsoft.com/office/drawing/2014/main" id="{CA85C990-8515-4040-81FD-6ED570DFCAD9}"/>
                      </a:ext>
                    </a:extLst>
                  </p:cNvPr>
                  <p:cNvSpPr>
                    <a:spLocks/>
                  </p:cNvSpPr>
                  <p:nvPr/>
                </p:nvSpPr>
                <p:spPr bwMode="auto">
                  <a:xfrm>
                    <a:off x="10712002" y="4268231"/>
                    <a:ext cx="483856" cy="285505"/>
                  </a:xfrm>
                  <a:custGeom>
                    <a:avLst/>
                    <a:gdLst>
                      <a:gd name="T0" fmla="*/ 1533 w 1606"/>
                      <a:gd name="T1" fmla="*/ 950 h 950"/>
                      <a:gd name="T2" fmla="*/ 1606 w 1606"/>
                      <a:gd name="T3" fmla="*/ 950 h 950"/>
                      <a:gd name="T4" fmla="*/ 1606 w 1606"/>
                      <a:gd name="T5" fmla="*/ 0 h 950"/>
                      <a:gd name="T6" fmla="*/ 0 w 1606"/>
                      <a:gd name="T7" fmla="*/ 0 h 950"/>
                      <a:gd name="T8" fmla="*/ 0 w 1606"/>
                      <a:gd name="T9" fmla="*/ 950 h 950"/>
                      <a:gd name="T10" fmla="*/ 73 w 1606"/>
                      <a:gd name="T11" fmla="*/ 950 h 950"/>
                    </a:gdLst>
                    <a:ahLst/>
                    <a:cxnLst>
                      <a:cxn ang="0">
                        <a:pos x="T0" y="T1"/>
                      </a:cxn>
                      <a:cxn ang="0">
                        <a:pos x="T2" y="T3"/>
                      </a:cxn>
                      <a:cxn ang="0">
                        <a:pos x="T4" y="T5"/>
                      </a:cxn>
                      <a:cxn ang="0">
                        <a:pos x="T6" y="T7"/>
                      </a:cxn>
                      <a:cxn ang="0">
                        <a:pos x="T8" y="T9"/>
                      </a:cxn>
                      <a:cxn ang="0">
                        <a:pos x="T10" y="T11"/>
                      </a:cxn>
                    </a:cxnLst>
                    <a:rect l="0" t="0" r="r" b="b"/>
                    <a:pathLst>
                      <a:path w="1606" h="950">
                        <a:moveTo>
                          <a:pt x="1533" y="950"/>
                        </a:moveTo>
                        <a:lnTo>
                          <a:pt x="1606" y="950"/>
                        </a:lnTo>
                        <a:lnTo>
                          <a:pt x="1606" y="0"/>
                        </a:lnTo>
                        <a:lnTo>
                          <a:pt x="0" y="0"/>
                        </a:lnTo>
                        <a:lnTo>
                          <a:pt x="0" y="950"/>
                        </a:lnTo>
                        <a:lnTo>
                          <a:pt x="73" y="950"/>
                        </a:lnTo>
                      </a:path>
                    </a:pathLst>
                  </a:custGeom>
                  <a:noFill/>
                  <a:ln w="15875">
                    <a:solidFill>
                      <a:srgbClr val="5151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89" name="Line 60">
                    <a:extLst>
                      <a:ext uri="{FF2B5EF4-FFF2-40B4-BE49-F238E27FC236}">
                        <a16:creationId xmlns:a16="http://schemas.microsoft.com/office/drawing/2014/main" id="{C3BABC46-7270-4471-8075-38CA3D6C613F}"/>
                      </a:ext>
                    </a:extLst>
                  </p:cNvPr>
                  <p:cNvSpPr>
                    <a:spLocks noChangeShapeType="1"/>
                  </p:cNvSpPr>
                  <p:nvPr/>
                </p:nvSpPr>
                <p:spPr bwMode="auto">
                  <a:xfrm>
                    <a:off x="10790140" y="4323830"/>
                    <a:ext cx="0" cy="175811"/>
                  </a:xfrm>
                  <a:prstGeom prst="line">
                    <a:avLst/>
                  </a:prstGeom>
                  <a:noFill/>
                  <a:ln w="19050">
                    <a:solidFill>
                      <a:srgbClr val="00A3E0"/>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90" name="Line 61">
                    <a:extLst>
                      <a:ext uri="{FF2B5EF4-FFF2-40B4-BE49-F238E27FC236}">
                        <a16:creationId xmlns:a16="http://schemas.microsoft.com/office/drawing/2014/main" id="{1A5EAC8F-0AE4-4AB8-993E-1AAEB4DD4C66}"/>
                      </a:ext>
                    </a:extLst>
                  </p:cNvPr>
                  <p:cNvSpPr>
                    <a:spLocks noChangeShapeType="1"/>
                  </p:cNvSpPr>
                  <p:nvPr/>
                </p:nvSpPr>
                <p:spPr bwMode="auto">
                  <a:xfrm>
                    <a:off x="10844236" y="4421502"/>
                    <a:ext cx="0" cy="78138"/>
                  </a:xfrm>
                  <a:prstGeom prst="line">
                    <a:avLst/>
                  </a:prstGeom>
                  <a:noFill/>
                  <a:ln w="19050">
                    <a:solidFill>
                      <a:srgbClr val="08AEAE"/>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91" name="Line 62">
                    <a:extLst>
                      <a:ext uri="{FF2B5EF4-FFF2-40B4-BE49-F238E27FC236}">
                        <a16:creationId xmlns:a16="http://schemas.microsoft.com/office/drawing/2014/main" id="{D7BA1091-6A62-41E5-9D78-CCDF983FD225}"/>
                      </a:ext>
                    </a:extLst>
                  </p:cNvPr>
                  <p:cNvSpPr>
                    <a:spLocks noChangeShapeType="1"/>
                  </p:cNvSpPr>
                  <p:nvPr/>
                </p:nvSpPr>
                <p:spPr bwMode="auto">
                  <a:xfrm>
                    <a:off x="10898332" y="4367407"/>
                    <a:ext cx="0" cy="132234"/>
                  </a:xfrm>
                  <a:prstGeom prst="line">
                    <a:avLst/>
                  </a:prstGeom>
                  <a:noFill/>
                  <a:ln w="19050">
                    <a:solidFill>
                      <a:srgbClr val="86BC25"/>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nvGrpSpPr>
                  <p:cNvPr id="792" name="Group 791">
                    <a:extLst>
                      <a:ext uri="{FF2B5EF4-FFF2-40B4-BE49-F238E27FC236}">
                        <a16:creationId xmlns:a16="http://schemas.microsoft.com/office/drawing/2014/main" id="{F66F6BD3-F0EA-4CC5-8C60-EA00EEEBCA53}"/>
                      </a:ext>
                    </a:extLst>
                  </p:cNvPr>
                  <p:cNvGrpSpPr/>
                  <p:nvPr/>
                </p:nvGrpSpPr>
                <p:grpSpPr>
                  <a:xfrm>
                    <a:off x="11098383" y="4578916"/>
                    <a:ext cx="87936" cy="190405"/>
                    <a:chOff x="11468790" y="3825525"/>
                    <a:chExt cx="103017" cy="223059"/>
                  </a:xfrm>
                </p:grpSpPr>
                <p:sp>
                  <p:nvSpPr>
                    <p:cNvPr id="803" name="Freeform 37">
                      <a:extLst>
                        <a:ext uri="{FF2B5EF4-FFF2-40B4-BE49-F238E27FC236}">
                          <a16:creationId xmlns:a16="http://schemas.microsoft.com/office/drawing/2014/main" id="{78700998-F7B6-430C-957F-B75E95A199F9}"/>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04" name="Freeform 38">
                      <a:extLst>
                        <a:ext uri="{FF2B5EF4-FFF2-40B4-BE49-F238E27FC236}">
                          <a16:creationId xmlns:a16="http://schemas.microsoft.com/office/drawing/2014/main" id="{DCAB35A3-CED5-4B83-A8D6-AD2AA982116D}"/>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nvGrpSpPr>
                  <p:cNvPr id="793" name="Group 792">
                    <a:extLst>
                      <a:ext uri="{FF2B5EF4-FFF2-40B4-BE49-F238E27FC236}">
                        <a16:creationId xmlns:a16="http://schemas.microsoft.com/office/drawing/2014/main" id="{09D70A2A-4241-4508-B067-B6F3E2C1D7B6}"/>
                      </a:ext>
                    </a:extLst>
                  </p:cNvPr>
                  <p:cNvGrpSpPr/>
                  <p:nvPr/>
                </p:nvGrpSpPr>
                <p:grpSpPr>
                  <a:xfrm>
                    <a:off x="10979665" y="4578916"/>
                    <a:ext cx="87936" cy="190405"/>
                    <a:chOff x="11468790" y="3825525"/>
                    <a:chExt cx="103017" cy="223059"/>
                  </a:xfrm>
                </p:grpSpPr>
                <p:sp>
                  <p:nvSpPr>
                    <p:cNvPr id="801" name="Freeform 37">
                      <a:extLst>
                        <a:ext uri="{FF2B5EF4-FFF2-40B4-BE49-F238E27FC236}">
                          <a16:creationId xmlns:a16="http://schemas.microsoft.com/office/drawing/2014/main" id="{83EDC948-F7E7-4215-8A95-AF7FDA79E394}"/>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02" name="Freeform 38">
                      <a:extLst>
                        <a:ext uri="{FF2B5EF4-FFF2-40B4-BE49-F238E27FC236}">
                          <a16:creationId xmlns:a16="http://schemas.microsoft.com/office/drawing/2014/main" id="{57E1065A-55E5-48ED-9F1C-BAB14C4296A2}"/>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nvGrpSpPr>
                  <p:cNvPr id="794" name="Group 793">
                    <a:extLst>
                      <a:ext uri="{FF2B5EF4-FFF2-40B4-BE49-F238E27FC236}">
                        <a16:creationId xmlns:a16="http://schemas.microsoft.com/office/drawing/2014/main" id="{1ADD20C2-B26D-407A-A86E-BC74B2EC2583}"/>
                      </a:ext>
                    </a:extLst>
                  </p:cNvPr>
                  <p:cNvGrpSpPr/>
                  <p:nvPr/>
                </p:nvGrpSpPr>
                <p:grpSpPr>
                  <a:xfrm>
                    <a:off x="10861913" y="4581517"/>
                    <a:ext cx="87936" cy="190405"/>
                    <a:chOff x="11468790" y="3825525"/>
                    <a:chExt cx="103017" cy="223059"/>
                  </a:xfrm>
                </p:grpSpPr>
                <p:sp>
                  <p:nvSpPr>
                    <p:cNvPr id="799" name="Freeform 37">
                      <a:extLst>
                        <a:ext uri="{FF2B5EF4-FFF2-40B4-BE49-F238E27FC236}">
                          <a16:creationId xmlns:a16="http://schemas.microsoft.com/office/drawing/2014/main" id="{D27F4009-BDAC-4BF8-B6DD-333DD196357A}"/>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800" name="Freeform 38">
                      <a:extLst>
                        <a:ext uri="{FF2B5EF4-FFF2-40B4-BE49-F238E27FC236}">
                          <a16:creationId xmlns:a16="http://schemas.microsoft.com/office/drawing/2014/main" id="{D98F6377-907A-4DDF-A148-A9B1E67B26A0}"/>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grpSp>
                <p:nvGrpSpPr>
                  <p:cNvPr id="795" name="Group 794">
                    <a:extLst>
                      <a:ext uri="{FF2B5EF4-FFF2-40B4-BE49-F238E27FC236}">
                        <a16:creationId xmlns:a16="http://schemas.microsoft.com/office/drawing/2014/main" id="{6D843A1E-9D46-4A61-A9D9-7F937182BA25}"/>
                      </a:ext>
                    </a:extLst>
                  </p:cNvPr>
                  <p:cNvGrpSpPr/>
                  <p:nvPr/>
                </p:nvGrpSpPr>
                <p:grpSpPr>
                  <a:xfrm>
                    <a:off x="10745008" y="4581517"/>
                    <a:ext cx="87936" cy="190405"/>
                    <a:chOff x="11468790" y="3825525"/>
                    <a:chExt cx="103017" cy="223059"/>
                  </a:xfrm>
                </p:grpSpPr>
                <p:sp>
                  <p:nvSpPr>
                    <p:cNvPr id="797" name="Freeform 37">
                      <a:extLst>
                        <a:ext uri="{FF2B5EF4-FFF2-40B4-BE49-F238E27FC236}">
                          <a16:creationId xmlns:a16="http://schemas.microsoft.com/office/drawing/2014/main" id="{FEA2D085-C829-4469-9A68-42E35331623C}"/>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98" name="Freeform 38">
                      <a:extLst>
                        <a:ext uri="{FF2B5EF4-FFF2-40B4-BE49-F238E27FC236}">
                          <a16:creationId xmlns:a16="http://schemas.microsoft.com/office/drawing/2014/main" id="{BA96BC7E-541E-4AE7-93B7-CE24A911AFA4}"/>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796" name="Line 61">
                    <a:extLst>
                      <a:ext uri="{FF2B5EF4-FFF2-40B4-BE49-F238E27FC236}">
                        <a16:creationId xmlns:a16="http://schemas.microsoft.com/office/drawing/2014/main" id="{48451F79-AE8A-4ABA-8E8B-FC8E99196519}"/>
                      </a:ext>
                    </a:extLst>
                  </p:cNvPr>
                  <p:cNvSpPr>
                    <a:spLocks noChangeShapeType="1"/>
                  </p:cNvSpPr>
                  <p:nvPr/>
                </p:nvSpPr>
                <p:spPr bwMode="auto">
                  <a:xfrm>
                    <a:off x="10955476" y="4417054"/>
                    <a:ext cx="0" cy="78138"/>
                  </a:xfrm>
                  <a:prstGeom prst="line">
                    <a:avLst/>
                  </a:prstGeom>
                  <a:noFill/>
                  <a:ln w="19050">
                    <a:solidFill>
                      <a:srgbClr val="EAB400"/>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781" name="AutoShape 3">
                  <a:extLst>
                    <a:ext uri="{FF2B5EF4-FFF2-40B4-BE49-F238E27FC236}">
                      <a16:creationId xmlns:a16="http://schemas.microsoft.com/office/drawing/2014/main" id="{6BF60618-E2D3-4B32-B925-A4542DB9BB83}"/>
                    </a:ext>
                  </a:extLst>
                </p:cNvPr>
                <p:cNvSpPr>
                  <a:spLocks noChangeAspect="1" noChangeArrowheads="1" noTextEdit="1"/>
                </p:cNvSpPr>
                <p:nvPr/>
              </p:nvSpPr>
              <p:spPr bwMode="auto">
                <a:xfrm>
                  <a:off x="4765675" y="3697288"/>
                  <a:ext cx="157163"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82" name="Freeform 5">
                  <a:extLst>
                    <a:ext uri="{FF2B5EF4-FFF2-40B4-BE49-F238E27FC236}">
                      <a16:creationId xmlns:a16="http://schemas.microsoft.com/office/drawing/2014/main" id="{B8E66492-B0DF-4F90-B546-FC5115BBE8B7}"/>
                    </a:ext>
                  </a:extLst>
                </p:cNvPr>
                <p:cNvSpPr>
                  <a:spLocks noEditPoints="1"/>
                </p:cNvSpPr>
                <p:nvPr/>
              </p:nvSpPr>
              <p:spPr bwMode="auto">
                <a:xfrm>
                  <a:off x="4765675" y="3708401"/>
                  <a:ext cx="146050" cy="144463"/>
                </a:xfrm>
                <a:custGeom>
                  <a:avLst/>
                  <a:gdLst>
                    <a:gd name="T0" fmla="*/ 643 w 1286"/>
                    <a:gd name="T1" fmla="*/ 0 h 1273"/>
                    <a:gd name="T2" fmla="*/ 577 w 1286"/>
                    <a:gd name="T3" fmla="*/ 3 h 1273"/>
                    <a:gd name="T4" fmla="*/ 513 w 1286"/>
                    <a:gd name="T5" fmla="*/ 14 h 1273"/>
                    <a:gd name="T6" fmla="*/ 452 w 1286"/>
                    <a:gd name="T7" fmla="*/ 29 h 1273"/>
                    <a:gd name="T8" fmla="*/ 392 w 1286"/>
                    <a:gd name="T9" fmla="*/ 50 h 1273"/>
                    <a:gd name="T10" fmla="*/ 336 w 1286"/>
                    <a:gd name="T11" fmla="*/ 77 h 1273"/>
                    <a:gd name="T12" fmla="*/ 284 w 1286"/>
                    <a:gd name="T13" fmla="*/ 109 h 1273"/>
                    <a:gd name="T14" fmla="*/ 234 w 1286"/>
                    <a:gd name="T15" fmla="*/ 146 h 1273"/>
                    <a:gd name="T16" fmla="*/ 188 w 1286"/>
                    <a:gd name="T17" fmla="*/ 186 h 1273"/>
                    <a:gd name="T18" fmla="*/ 147 w 1286"/>
                    <a:gd name="T19" fmla="*/ 232 h 1273"/>
                    <a:gd name="T20" fmla="*/ 110 w 1286"/>
                    <a:gd name="T21" fmla="*/ 281 h 1273"/>
                    <a:gd name="T22" fmla="*/ 77 w 1286"/>
                    <a:gd name="T23" fmla="*/ 333 h 1273"/>
                    <a:gd name="T24" fmla="*/ 50 w 1286"/>
                    <a:gd name="T25" fmla="*/ 389 h 1273"/>
                    <a:gd name="T26" fmla="*/ 29 w 1286"/>
                    <a:gd name="T27" fmla="*/ 448 h 1273"/>
                    <a:gd name="T28" fmla="*/ 14 w 1286"/>
                    <a:gd name="T29" fmla="*/ 508 h 1273"/>
                    <a:gd name="T30" fmla="*/ 3 w 1286"/>
                    <a:gd name="T31" fmla="*/ 572 h 1273"/>
                    <a:gd name="T32" fmla="*/ 0 w 1286"/>
                    <a:gd name="T33" fmla="*/ 637 h 1273"/>
                    <a:gd name="T34" fmla="*/ 1 w 1286"/>
                    <a:gd name="T35" fmla="*/ 670 h 1273"/>
                    <a:gd name="T36" fmla="*/ 7 w 1286"/>
                    <a:gd name="T37" fmla="*/ 734 h 1273"/>
                    <a:gd name="T38" fmla="*/ 20 w 1286"/>
                    <a:gd name="T39" fmla="*/ 796 h 1273"/>
                    <a:gd name="T40" fmla="*/ 39 w 1286"/>
                    <a:gd name="T41" fmla="*/ 856 h 1273"/>
                    <a:gd name="T42" fmla="*/ 64 w 1286"/>
                    <a:gd name="T43" fmla="*/ 912 h 1273"/>
                    <a:gd name="T44" fmla="*/ 93 w 1286"/>
                    <a:gd name="T45" fmla="*/ 966 h 1273"/>
                    <a:gd name="T46" fmla="*/ 127 w 1286"/>
                    <a:gd name="T47" fmla="*/ 1018 h 1273"/>
                    <a:gd name="T48" fmla="*/ 167 w 1286"/>
                    <a:gd name="T49" fmla="*/ 1064 h 1273"/>
                    <a:gd name="T50" fmla="*/ 211 w 1286"/>
                    <a:gd name="T51" fmla="*/ 1108 h 1273"/>
                    <a:gd name="T52" fmla="*/ 258 w 1286"/>
                    <a:gd name="T53" fmla="*/ 1147 h 1273"/>
                    <a:gd name="T54" fmla="*/ 310 w 1286"/>
                    <a:gd name="T55" fmla="*/ 1181 h 1273"/>
                    <a:gd name="T56" fmla="*/ 364 w 1286"/>
                    <a:gd name="T57" fmla="*/ 1210 h 1273"/>
                    <a:gd name="T58" fmla="*/ 422 w 1286"/>
                    <a:gd name="T59" fmla="*/ 1235 h 1273"/>
                    <a:gd name="T60" fmla="*/ 482 w 1286"/>
                    <a:gd name="T61" fmla="*/ 1253 h 1273"/>
                    <a:gd name="T62" fmla="*/ 545 w 1286"/>
                    <a:gd name="T63" fmla="*/ 1266 h 1273"/>
                    <a:gd name="T64" fmla="*/ 610 w 1286"/>
                    <a:gd name="T65" fmla="*/ 1272 h 1273"/>
                    <a:gd name="T66" fmla="*/ 643 w 1286"/>
                    <a:gd name="T67" fmla="*/ 1273 h 1273"/>
                    <a:gd name="T68" fmla="*/ 709 w 1286"/>
                    <a:gd name="T69" fmla="*/ 1270 h 1273"/>
                    <a:gd name="T70" fmla="*/ 772 w 1286"/>
                    <a:gd name="T71" fmla="*/ 1260 h 1273"/>
                    <a:gd name="T72" fmla="*/ 834 w 1286"/>
                    <a:gd name="T73" fmla="*/ 1244 h 1273"/>
                    <a:gd name="T74" fmla="*/ 893 w 1286"/>
                    <a:gd name="T75" fmla="*/ 1223 h 1273"/>
                    <a:gd name="T76" fmla="*/ 950 w 1286"/>
                    <a:gd name="T77" fmla="*/ 1197 h 1273"/>
                    <a:gd name="T78" fmla="*/ 1002 w 1286"/>
                    <a:gd name="T79" fmla="*/ 1165 h 1273"/>
                    <a:gd name="T80" fmla="*/ 1052 w 1286"/>
                    <a:gd name="T81" fmla="*/ 1127 h 1273"/>
                    <a:gd name="T82" fmla="*/ 1098 w 1286"/>
                    <a:gd name="T83" fmla="*/ 1087 h 1273"/>
                    <a:gd name="T84" fmla="*/ 1139 w 1286"/>
                    <a:gd name="T85" fmla="*/ 1042 h 1273"/>
                    <a:gd name="T86" fmla="*/ 1176 w 1286"/>
                    <a:gd name="T87" fmla="*/ 992 h 1273"/>
                    <a:gd name="T88" fmla="*/ 1209 w 1286"/>
                    <a:gd name="T89" fmla="*/ 940 h 1273"/>
                    <a:gd name="T90" fmla="*/ 1236 w 1286"/>
                    <a:gd name="T91" fmla="*/ 885 h 1273"/>
                    <a:gd name="T92" fmla="*/ 1257 w 1286"/>
                    <a:gd name="T93" fmla="*/ 826 h 1273"/>
                    <a:gd name="T94" fmla="*/ 1272 w 1286"/>
                    <a:gd name="T95" fmla="*/ 765 h 1273"/>
                    <a:gd name="T96" fmla="*/ 1283 w 1286"/>
                    <a:gd name="T97" fmla="*/ 702 h 1273"/>
                    <a:gd name="T98" fmla="*/ 1286 w 1286"/>
                    <a:gd name="T99" fmla="*/ 637 h 1273"/>
                    <a:gd name="T100" fmla="*/ 643 w 1286"/>
                    <a:gd name="T101" fmla="*/ 0 h 1273"/>
                    <a:gd name="T102" fmla="*/ 643 w 1286"/>
                    <a:gd name="T103" fmla="*/ 0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6" h="1273">
                      <a:moveTo>
                        <a:pt x="643" y="0"/>
                      </a:moveTo>
                      <a:lnTo>
                        <a:pt x="643" y="0"/>
                      </a:lnTo>
                      <a:lnTo>
                        <a:pt x="610" y="1"/>
                      </a:lnTo>
                      <a:lnTo>
                        <a:pt x="577" y="3"/>
                      </a:lnTo>
                      <a:lnTo>
                        <a:pt x="545" y="7"/>
                      </a:lnTo>
                      <a:lnTo>
                        <a:pt x="513" y="14"/>
                      </a:lnTo>
                      <a:lnTo>
                        <a:pt x="482" y="20"/>
                      </a:lnTo>
                      <a:lnTo>
                        <a:pt x="452" y="29"/>
                      </a:lnTo>
                      <a:lnTo>
                        <a:pt x="422" y="38"/>
                      </a:lnTo>
                      <a:lnTo>
                        <a:pt x="392" y="50"/>
                      </a:lnTo>
                      <a:lnTo>
                        <a:pt x="364" y="63"/>
                      </a:lnTo>
                      <a:lnTo>
                        <a:pt x="336" y="77"/>
                      </a:lnTo>
                      <a:lnTo>
                        <a:pt x="310" y="92"/>
                      </a:lnTo>
                      <a:lnTo>
                        <a:pt x="284" y="109"/>
                      </a:lnTo>
                      <a:lnTo>
                        <a:pt x="258" y="126"/>
                      </a:lnTo>
                      <a:lnTo>
                        <a:pt x="234" y="146"/>
                      </a:lnTo>
                      <a:lnTo>
                        <a:pt x="211" y="165"/>
                      </a:lnTo>
                      <a:lnTo>
                        <a:pt x="188" y="186"/>
                      </a:lnTo>
                      <a:lnTo>
                        <a:pt x="167" y="209"/>
                      </a:lnTo>
                      <a:lnTo>
                        <a:pt x="147" y="232"/>
                      </a:lnTo>
                      <a:lnTo>
                        <a:pt x="127" y="255"/>
                      </a:lnTo>
                      <a:lnTo>
                        <a:pt x="110" y="281"/>
                      </a:lnTo>
                      <a:lnTo>
                        <a:pt x="93" y="307"/>
                      </a:lnTo>
                      <a:lnTo>
                        <a:pt x="77" y="333"/>
                      </a:lnTo>
                      <a:lnTo>
                        <a:pt x="64" y="361"/>
                      </a:lnTo>
                      <a:lnTo>
                        <a:pt x="50" y="389"/>
                      </a:lnTo>
                      <a:lnTo>
                        <a:pt x="39" y="418"/>
                      </a:lnTo>
                      <a:lnTo>
                        <a:pt x="29" y="448"/>
                      </a:lnTo>
                      <a:lnTo>
                        <a:pt x="20" y="477"/>
                      </a:lnTo>
                      <a:lnTo>
                        <a:pt x="14" y="508"/>
                      </a:lnTo>
                      <a:lnTo>
                        <a:pt x="7" y="539"/>
                      </a:lnTo>
                      <a:lnTo>
                        <a:pt x="3" y="572"/>
                      </a:lnTo>
                      <a:lnTo>
                        <a:pt x="1" y="604"/>
                      </a:lnTo>
                      <a:lnTo>
                        <a:pt x="0" y="637"/>
                      </a:lnTo>
                      <a:lnTo>
                        <a:pt x="0" y="637"/>
                      </a:lnTo>
                      <a:lnTo>
                        <a:pt x="1" y="670"/>
                      </a:lnTo>
                      <a:lnTo>
                        <a:pt x="3" y="702"/>
                      </a:lnTo>
                      <a:lnTo>
                        <a:pt x="7" y="734"/>
                      </a:lnTo>
                      <a:lnTo>
                        <a:pt x="14" y="765"/>
                      </a:lnTo>
                      <a:lnTo>
                        <a:pt x="20" y="796"/>
                      </a:lnTo>
                      <a:lnTo>
                        <a:pt x="29" y="826"/>
                      </a:lnTo>
                      <a:lnTo>
                        <a:pt x="39" y="856"/>
                      </a:lnTo>
                      <a:lnTo>
                        <a:pt x="50" y="885"/>
                      </a:lnTo>
                      <a:lnTo>
                        <a:pt x="64" y="912"/>
                      </a:lnTo>
                      <a:lnTo>
                        <a:pt x="77" y="940"/>
                      </a:lnTo>
                      <a:lnTo>
                        <a:pt x="93" y="966"/>
                      </a:lnTo>
                      <a:lnTo>
                        <a:pt x="110" y="992"/>
                      </a:lnTo>
                      <a:lnTo>
                        <a:pt x="127" y="1018"/>
                      </a:lnTo>
                      <a:lnTo>
                        <a:pt x="147" y="1042"/>
                      </a:lnTo>
                      <a:lnTo>
                        <a:pt x="167" y="1064"/>
                      </a:lnTo>
                      <a:lnTo>
                        <a:pt x="188" y="1087"/>
                      </a:lnTo>
                      <a:lnTo>
                        <a:pt x="211" y="1108"/>
                      </a:lnTo>
                      <a:lnTo>
                        <a:pt x="234" y="1127"/>
                      </a:lnTo>
                      <a:lnTo>
                        <a:pt x="258" y="1147"/>
                      </a:lnTo>
                      <a:lnTo>
                        <a:pt x="284" y="1165"/>
                      </a:lnTo>
                      <a:lnTo>
                        <a:pt x="310" y="1181"/>
                      </a:lnTo>
                      <a:lnTo>
                        <a:pt x="336" y="1197"/>
                      </a:lnTo>
                      <a:lnTo>
                        <a:pt x="364" y="1210"/>
                      </a:lnTo>
                      <a:lnTo>
                        <a:pt x="392" y="1223"/>
                      </a:lnTo>
                      <a:lnTo>
                        <a:pt x="422" y="1235"/>
                      </a:lnTo>
                      <a:lnTo>
                        <a:pt x="452" y="1244"/>
                      </a:lnTo>
                      <a:lnTo>
                        <a:pt x="482" y="1253"/>
                      </a:lnTo>
                      <a:lnTo>
                        <a:pt x="513" y="1260"/>
                      </a:lnTo>
                      <a:lnTo>
                        <a:pt x="545" y="1266"/>
                      </a:lnTo>
                      <a:lnTo>
                        <a:pt x="577" y="1270"/>
                      </a:lnTo>
                      <a:lnTo>
                        <a:pt x="610" y="1272"/>
                      </a:lnTo>
                      <a:lnTo>
                        <a:pt x="643" y="1273"/>
                      </a:lnTo>
                      <a:lnTo>
                        <a:pt x="643" y="1273"/>
                      </a:lnTo>
                      <a:lnTo>
                        <a:pt x="676" y="1272"/>
                      </a:lnTo>
                      <a:lnTo>
                        <a:pt x="709" y="1270"/>
                      </a:lnTo>
                      <a:lnTo>
                        <a:pt x="741" y="1266"/>
                      </a:lnTo>
                      <a:lnTo>
                        <a:pt x="772" y="1260"/>
                      </a:lnTo>
                      <a:lnTo>
                        <a:pt x="804" y="1253"/>
                      </a:lnTo>
                      <a:lnTo>
                        <a:pt x="834" y="1244"/>
                      </a:lnTo>
                      <a:lnTo>
                        <a:pt x="864" y="1235"/>
                      </a:lnTo>
                      <a:lnTo>
                        <a:pt x="893" y="1223"/>
                      </a:lnTo>
                      <a:lnTo>
                        <a:pt x="922" y="1210"/>
                      </a:lnTo>
                      <a:lnTo>
                        <a:pt x="950" y="1197"/>
                      </a:lnTo>
                      <a:lnTo>
                        <a:pt x="976" y="1181"/>
                      </a:lnTo>
                      <a:lnTo>
                        <a:pt x="1002" y="1165"/>
                      </a:lnTo>
                      <a:lnTo>
                        <a:pt x="1028" y="1147"/>
                      </a:lnTo>
                      <a:lnTo>
                        <a:pt x="1052" y="1127"/>
                      </a:lnTo>
                      <a:lnTo>
                        <a:pt x="1075" y="1108"/>
                      </a:lnTo>
                      <a:lnTo>
                        <a:pt x="1098" y="1087"/>
                      </a:lnTo>
                      <a:lnTo>
                        <a:pt x="1119" y="1064"/>
                      </a:lnTo>
                      <a:lnTo>
                        <a:pt x="1139" y="1042"/>
                      </a:lnTo>
                      <a:lnTo>
                        <a:pt x="1158" y="1018"/>
                      </a:lnTo>
                      <a:lnTo>
                        <a:pt x="1176" y="992"/>
                      </a:lnTo>
                      <a:lnTo>
                        <a:pt x="1193" y="966"/>
                      </a:lnTo>
                      <a:lnTo>
                        <a:pt x="1209" y="940"/>
                      </a:lnTo>
                      <a:lnTo>
                        <a:pt x="1222" y="912"/>
                      </a:lnTo>
                      <a:lnTo>
                        <a:pt x="1236" y="885"/>
                      </a:lnTo>
                      <a:lnTo>
                        <a:pt x="1247" y="856"/>
                      </a:lnTo>
                      <a:lnTo>
                        <a:pt x="1257" y="826"/>
                      </a:lnTo>
                      <a:lnTo>
                        <a:pt x="1266" y="796"/>
                      </a:lnTo>
                      <a:lnTo>
                        <a:pt x="1272" y="765"/>
                      </a:lnTo>
                      <a:lnTo>
                        <a:pt x="1279" y="734"/>
                      </a:lnTo>
                      <a:lnTo>
                        <a:pt x="1283" y="702"/>
                      </a:lnTo>
                      <a:lnTo>
                        <a:pt x="1285" y="670"/>
                      </a:lnTo>
                      <a:lnTo>
                        <a:pt x="1286" y="637"/>
                      </a:lnTo>
                      <a:lnTo>
                        <a:pt x="643" y="637"/>
                      </a:lnTo>
                      <a:lnTo>
                        <a:pt x="643" y="0"/>
                      </a:lnTo>
                      <a:close/>
                      <a:moveTo>
                        <a:pt x="643" y="0"/>
                      </a:moveTo>
                      <a:lnTo>
                        <a:pt x="643" y="0"/>
                      </a:lnTo>
                      <a:close/>
                    </a:path>
                  </a:pathLst>
                </a:custGeom>
                <a:solidFill>
                  <a:srgbClr val="43B02A"/>
                </a:solidFill>
                <a:ln>
                  <a:noFill/>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83" name="Freeform 6">
                  <a:extLst>
                    <a:ext uri="{FF2B5EF4-FFF2-40B4-BE49-F238E27FC236}">
                      <a16:creationId xmlns:a16="http://schemas.microsoft.com/office/drawing/2014/main" id="{100BE5E0-2D9B-4510-A7A0-5CCB05A5D573}"/>
                    </a:ext>
                  </a:extLst>
                </p:cNvPr>
                <p:cNvSpPr>
                  <a:spLocks/>
                </p:cNvSpPr>
                <p:nvPr/>
              </p:nvSpPr>
              <p:spPr bwMode="auto">
                <a:xfrm>
                  <a:off x="4765675" y="3708401"/>
                  <a:ext cx="146050" cy="144463"/>
                </a:xfrm>
                <a:custGeom>
                  <a:avLst/>
                  <a:gdLst>
                    <a:gd name="T0" fmla="*/ 643 w 1286"/>
                    <a:gd name="T1" fmla="*/ 0 h 1273"/>
                    <a:gd name="T2" fmla="*/ 577 w 1286"/>
                    <a:gd name="T3" fmla="*/ 3 h 1273"/>
                    <a:gd name="T4" fmla="*/ 513 w 1286"/>
                    <a:gd name="T5" fmla="*/ 14 h 1273"/>
                    <a:gd name="T6" fmla="*/ 452 w 1286"/>
                    <a:gd name="T7" fmla="*/ 29 h 1273"/>
                    <a:gd name="T8" fmla="*/ 392 w 1286"/>
                    <a:gd name="T9" fmla="*/ 50 h 1273"/>
                    <a:gd name="T10" fmla="*/ 336 w 1286"/>
                    <a:gd name="T11" fmla="*/ 77 h 1273"/>
                    <a:gd name="T12" fmla="*/ 284 w 1286"/>
                    <a:gd name="T13" fmla="*/ 109 h 1273"/>
                    <a:gd name="T14" fmla="*/ 234 w 1286"/>
                    <a:gd name="T15" fmla="*/ 146 h 1273"/>
                    <a:gd name="T16" fmla="*/ 188 w 1286"/>
                    <a:gd name="T17" fmla="*/ 186 h 1273"/>
                    <a:gd name="T18" fmla="*/ 147 w 1286"/>
                    <a:gd name="T19" fmla="*/ 232 h 1273"/>
                    <a:gd name="T20" fmla="*/ 110 w 1286"/>
                    <a:gd name="T21" fmla="*/ 281 h 1273"/>
                    <a:gd name="T22" fmla="*/ 77 w 1286"/>
                    <a:gd name="T23" fmla="*/ 333 h 1273"/>
                    <a:gd name="T24" fmla="*/ 50 w 1286"/>
                    <a:gd name="T25" fmla="*/ 389 h 1273"/>
                    <a:gd name="T26" fmla="*/ 29 w 1286"/>
                    <a:gd name="T27" fmla="*/ 448 h 1273"/>
                    <a:gd name="T28" fmla="*/ 14 w 1286"/>
                    <a:gd name="T29" fmla="*/ 508 h 1273"/>
                    <a:gd name="T30" fmla="*/ 3 w 1286"/>
                    <a:gd name="T31" fmla="*/ 572 h 1273"/>
                    <a:gd name="T32" fmla="*/ 0 w 1286"/>
                    <a:gd name="T33" fmla="*/ 637 h 1273"/>
                    <a:gd name="T34" fmla="*/ 1 w 1286"/>
                    <a:gd name="T35" fmla="*/ 670 h 1273"/>
                    <a:gd name="T36" fmla="*/ 7 w 1286"/>
                    <a:gd name="T37" fmla="*/ 734 h 1273"/>
                    <a:gd name="T38" fmla="*/ 20 w 1286"/>
                    <a:gd name="T39" fmla="*/ 796 h 1273"/>
                    <a:gd name="T40" fmla="*/ 39 w 1286"/>
                    <a:gd name="T41" fmla="*/ 856 h 1273"/>
                    <a:gd name="T42" fmla="*/ 64 w 1286"/>
                    <a:gd name="T43" fmla="*/ 912 h 1273"/>
                    <a:gd name="T44" fmla="*/ 93 w 1286"/>
                    <a:gd name="T45" fmla="*/ 966 h 1273"/>
                    <a:gd name="T46" fmla="*/ 127 w 1286"/>
                    <a:gd name="T47" fmla="*/ 1018 h 1273"/>
                    <a:gd name="T48" fmla="*/ 167 w 1286"/>
                    <a:gd name="T49" fmla="*/ 1064 h 1273"/>
                    <a:gd name="T50" fmla="*/ 211 w 1286"/>
                    <a:gd name="T51" fmla="*/ 1108 h 1273"/>
                    <a:gd name="T52" fmla="*/ 258 w 1286"/>
                    <a:gd name="T53" fmla="*/ 1147 h 1273"/>
                    <a:gd name="T54" fmla="*/ 310 w 1286"/>
                    <a:gd name="T55" fmla="*/ 1181 h 1273"/>
                    <a:gd name="T56" fmla="*/ 364 w 1286"/>
                    <a:gd name="T57" fmla="*/ 1210 h 1273"/>
                    <a:gd name="T58" fmla="*/ 422 w 1286"/>
                    <a:gd name="T59" fmla="*/ 1235 h 1273"/>
                    <a:gd name="T60" fmla="*/ 482 w 1286"/>
                    <a:gd name="T61" fmla="*/ 1253 h 1273"/>
                    <a:gd name="T62" fmla="*/ 545 w 1286"/>
                    <a:gd name="T63" fmla="*/ 1266 h 1273"/>
                    <a:gd name="T64" fmla="*/ 610 w 1286"/>
                    <a:gd name="T65" fmla="*/ 1272 h 1273"/>
                    <a:gd name="T66" fmla="*/ 643 w 1286"/>
                    <a:gd name="T67" fmla="*/ 1273 h 1273"/>
                    <a:gd name="T68" fmla="*/ 709 w 1286"/>
                    <a:gd name="T69" fmla="*/ 1270 h 1273"/>
                    <a:gd name="T70" fmla="*/ 772 w 1286"/>
                    <a:gd name="T71" fmla="*/ 1260 h 1273"/>
                    <a:gd name="T72" fmla="*/ 834 w 1286"/>
                    <a:gd name="T73" fmla="*/ 1244 h 1273"/>
                    <a:gd name="T74" fmla="*/ 893 w 1286"/>
                    <a:gd name="T75" fmla="*/ 1223 h 1273"/>
                    <a:gd name="T76" fmla="*/ 950 w 1286"/>
                    <a:gd name="T77" fmla="*/ 1197 h 1273"/>
                    <a:gd name="T78" fmla="*/ 1002 w 1286"/>
                    <a:gd name="T79" fmla="*/ 1165 h 1273"/>
                    <a:gd name="T80" fmla="*/ 1052 w 1286"/>
                    <a:gd name="T81" fmla="*/ 1127 h 1273"/>
                    <a:gd name="T82" fmla="*/ 1098 w 1286"/>
                    <a:gd name="T83" fmla="*/ 1087 h 1273"/>
                    <a:gd name="T84" fmla="*/ 1139 w 1286"/>
                    <a:gd name="T85" fmla="*/ 1042 h 1273"/>
                    <a:gd name="T86" fmla="*/ 1176 w 1286"/>
                    <a:gd name="T87" fmla="*/ 992 h 1273"/>
                    <a:gd name="T88" fmla="*/ 1209 w 1286"/>
                    <a:gd name="T89" fmla="*/ 940 h 1273"/>
                    <a:gd name="T90" fmla="*/ 1236 w 1286"/>
                    <a:gd name="T91" fmla="*/ 885 h 1273"/>
                    <a:gd name="T92" fmla="*/ 1257 w 1286"/>
                    <a:gd name="T93" fmla="*/ 826 h 1273"/>
                    <a:gd name="T94" fmla="*/ 1272 w 1286"/>
                    <a:gd name="T95" fmla="*/ 765 h 1273"/>
                    <a:gd name="T96" fmla="*/ 1283 w 1286"/>
                    <a:gd name="T97" fmla="*/ 702 h 1273"/>
                    <a:gd name="T98" fmla="*/ 1286 w 1286"/>
                    <a:gd name="T99" fmla="*/ 637 h 1273"/>
                    <a:gd name="T100" fmla="*/ 643 w 1286"/>
                    <a:gd name="T101" fmla="*/ 0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6" h="1273">
                      <a:moveTo>
                        <a:pt x="643" y="0"/>
                      </a:moveTo>
                      <a:lnTo>
                        <a:pt x="643" y="0"/>
                      </a:lnTo>
                      <a:lnTo>
                        <a:pt x="610" y="1"/>
                      </a:lnTo>
                      <a:lnTo>
                        <a:pt x="577" y="3"/>
                      </a:lnTo>
                      <a:lnTo>
                        <a:pt x="545" y="7"/>
                      </a:lnTo>
                      <a:lnTo>
                        <a:pt x="513" y="14"/>
                      </a:lnTo>
                      <a:lnTo>
                        <a:pt x="482" y="20"/>
                      </a:lnTo>
                      <a:lnTo>
                        <a:pt x="452" y="29"/>
                      </a:lnTo>
                      <a:lnTo>
                        <a:pt x="422" y="38"/>
                      </a:lnTo>
                      <a:lnTo>
                        <a:pt x="392" y="50"/>
                      </a:lnTo>
                      <a:lnTo>
                        <a:pt x="364" y="63"/>
                      </a:lnTo>
                      <a:lnTo>
                        <a:pt x="336" y="77"/>
                      </a:lnTo>
                      <a:lnTo>
                        <a:pt x="310" y="92"/>
                      </a:lnTo>
                      <a:lnTo>
                        <a:pt x="284" y="109"/>
                      </a:lnTo>
                      <a:lnTo>
                        <a:pt x="258" y="126"/>
                      </a:lnTo>
                      <a:lnTo>
                        <a:pt x="234" y="146"/>
                      </a:lnTo>
                      <a:lnTo>
                        <a:pt x="211" y="165"/>
                      </a:lnTo>
                      <a:lnTo>
                        <a:pt x="188" y="186"/>
                      </a:lnTo>
                      <a:lnTo>
                        <a:pt x="167" y="209"/>
                      </a:lnTo>
                      <a:lnTo>
                        <a:pt x="147" y="232"/>
                      </a:lnTo>
                      <a:lnTo>
                        <a:pt x="127" y="255"/>
                      </a:lnTo>
                      <a:lnTo>
                        <a:pt x="110" y="281"/>
                      </a:lnTo>
                      <a:lnTo>
                        <a:pt x="93" y="307"/>
                      </a:lnTo>
                      <a:lnTo>
                        <a:pt x="77" y="333"/>
                      </a:lnTo>
                      <a:lnTo>
                        <a:pt x="64" y="361"/>
                      </a:lnTo>
                      <a:lnTo>
                        <a:pt x="50" y="389"/>
                      </a:lnTo>
                      <a:lnTo>
                        <a:pt x="39" y="418"/>
                      </a:lnTo>
                      <a:lnTo>
                        <a:pt x="29" y="448"/>
                      </a:lnTo>
                      <a:lnTo>
                        <a:pt x="20" y="477"/>
                      </a:lnTo>
                      <a:lnTo>
                        <a:pt x="14" y="508"/>
                      </a:lnTo>
                      <a:lnTo>
                        <a:pt x="7" y="539"/>
                      </a:lnTo>
                      <a:lnTo>
                        <a:pt x="3" y="572"/>
                      </a:lnTo>
                      <a:lnTo>
                        <a:pt x="1" y="604"/>
                      </a:lnTo>
                      <a:lnTo>
                        <a:pt x="0" y="637"/>
                      </a:lnTo>
                      <a:lnTo>
                        <a:pt x="0" y="637"/>
                      </a:lnTo>
                      <a:lnTo>
                        <a:pt x="1" y="670"/>
                      </a:lnTo>
                      <a:lnTo>
                        <a:pt x="3" y="702"/>
                      </a:lnTo>
                      <a:lnTo>
                        <a:pt x="7" y="734"/>
                      </a:lnTo>
                      <a:lnTo>
                        <a:pt x="14" y="765"/>
                      </a:lnTo>
                      <a:lnTo>
                        <a:pt x="20" y="796"/>
                      </a:lnTo>
                      <a:lnTo>
                        <a:pt x="29" y="826"/>
                      </a:lnTo>
                      <a:lnTo>
                        <a:pt x="39" y="856"/>
                      </a:lnTo>
                      <a:lnTo>
                        <a:pt x="50" y="885"/>
                      </a:lnTo>
                      <a:lnTo>
                        <a:pt x="64" y="912"/>
                      </a:lnTo>
                      <a:lnTo>
                        <a:pt x="77" y="940"/>
                      </a:lnTo>
                      <a:lnTo>
                        <a:pt x="93" y="966"/>
                      </a:lnTo>
                      <a:lnTo>
                        <a:pt x="110" y="992"/>
                      </a:lnTo>
                      <a:lnTo>
                        <a:pt x="127" y="1018"/>
                      </a:lnTo>
                      <a:lnTo>
                        <a:pt x="147" y="1042"/>
                      </a:lnTo>
                      <a:lnTo>
                        <a:pt x="167" y="1064"/>
                      </a:lnTo>
                      <a:lnTo>
                        <a:pt x="188" y="1087"/>
                      </a:lnTo>
                      <a:lnTo>
                        <a:pt x="211" y="1108"/>
                      </a:lnTo>
                      <a:lnTo>
                        <a:pt x="234" y="1127"/>
                      </a:lnTo>
                      <a:lnTo>
                        <a:pt x="258" y="1147"/>
                      </a:lnTo>
                      <a:lnTo>
                        <a:pt x="284" y="1165"/>
                      </a:lnTo>
                      <a:lnTo>
                        <a:pt x="310" y="1181"/>
                      </a:lnTo>
                      <a:lnTo>
                        <a:pt x="336" y="1197"/>
                      </a:lnTo>
                      <a:lnTo>
                        <a:pt x="364" y="1210"/>
                      </a:lnTo>
                      <a:lnTo>
                        <a:pt x="392" y="1223"/>
                      </a:lnTo>
                      <a:lnTo>
                        <a:pt x="422" y="1235"/>
                      </a:lnTo>
                      <a:lnTo>
                        <a:pt x="452" y="1244"/>
                      </a:lnTo>
                      <a:lnTo>
                        <a:pt x="482" y="1253"/>
                      </a:lnTo>
                      <a:lnTo>
                        <a:pt x="513" y="1260"/>
                      </a:lnTo>
                      <a:lnTo>
                        <a:pt x="545" y="1266"/>
                      </a:lnTo>
                      <a:lnTo>
                        <a:pt x="577" y="1270"/>
                      </a:lnTo>
                      <a:lnTo>
                        <a:pt x="610" y="1272"/>
                      </a:lnTo>
                      <a:lnTo>
                        <a:pt x="643" y="1273"/>
                      </a:lnTo>
                      <a:lnTo>
                        <a:pt x="643" y="1273"/>
                      </a:lnTo>
                      <a:lnTo>
                        <a:pt x="676" y="1272"/>
                      </a:lnTo>
                      <a:lnTo>
                        <a:pt x="709" y="1270"/>
                      </a:lnTo>
                      <a:lnTo>
                        <a:pt x="741" y="1266"/>
                      </a:lnTo>
                      <a:lnTo>
                        <a:pt x="772" y="1260"/>
                      </a:lnTo>
                      <a:lnTo>
                        <a:pt x="804" y="1253"/>
                      </a:lnTo>
                      <a:lnTo>
                        <a:pt x="834" y="1244"/>
                      </a:lnTo>
                      <a:lnTo>
                        <a:pt x="864" y="1235"/>
                      </a:lnTo>
                      <a:lnTo>
                        <a:pt x="893" y="1223"/>
                      </a:lnTo>
                      <a:lnTo>
                        <a:pt x="922" y="1210"/>
                      </a:lnTo>
                      <a:lnTo>
                        <a:pt x="950" y="1197"/>
                      </a:lnTo>
                      <a:lnTo>
                        <a:pt x="976" y="1181"/>
                      </a:lnTo>
                      <a:lnTo>
                        <a:pt x="1002" y="1165"/>
                      </a:lnTo>
                      <a:lnTo>
                        <a:pt x="1028" y="1147"/>
                      </a:lnTo>
                      <a:lnTo>
                        <a:pt x="1052" y="1127"/>
                      </a:lnTo>
                      <a:lnTo>
                        <a:pt x="1075" y="1108"/>
                      </a:lnTo>
                      <a:lnTo>
                        <a:pt x="1098" y="1087"/>
                      </a:lnTo>
                      <a:lnTo>
                        <a:pt x="1119" y="1064"/>
                      </a:lnTo>
                      <a:lnTo>
                        <a:pt x="1139" y="1042"/>
                      </a:lnTo>
                      <a:lnTo>
                        <a:pt x="1158" y="1018"/>
                      </a:lnTo>
                      <a:lnTo>
                        <a:pt x="1176" y="992"/>
                      </a:lnTo>
                      <a:lnTo>
                        <a:pt x="1193" y="966"/>
                      </a:lnTo>
                      <a:lnTo>
                        <a:pt x="1209" y="940"/>
                      </a:lnTo>
                      <a:lnTo>
                        <a:pt x="1222" y="912"/>
                      </a:lnTo>
                      <a:lnTo>
                        <a:pt x="1236" y="885"/>
                      </a:lnTo>
                      <a:lnTo>
                        <a:pt x="1247" y="856"/>
                      </a:lnTo>
                      <a:lnTo>
                        <a:pt x="1257" y="826"/>
                      </a:lnTo>
                      <a:lnTo>
                        <a:pt x="1266" y="796"/>
                      </a:lnTo>
                      <a:lnTo>
                        <a:pt x="1272" y="765"/>
                      </a:lnTo>
                      <a:lnTo>
                        <a:pt x="1279" y="734"/>
                      </a:lnTo>
                      <a:lnTo>
                        <a:pt x="1283" y="702"/>
                      </a:lnTo>
                      <a:lnTo>
                        <a:pt x="1285" y="670"/>
                      </a:lnTo>
                      <a:lnTo>
                        <a:pt x="1286" y="637"/>
                      </a:lnTo>
                      <a:lnTo>
                        <a:pt x="643" y="637"/>
                      </a:lnTo>
                      <a:lnTo>
                        <a:pt x="6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84" name="Line 7">
                  <a:extLst>
                    <a:ext uri="{FF2B5EF4-FFF2-40B4-BE49-F238E27FC236}">
                      <a16:creationId xmlns:a16="http://schemas.microsoft.com/office/drawing/2014/main" id="{6AA4516C-9888-48D1-A8F5-EAEA9BB4BE7B}"/>
                    </a:ext>
                  </a:extLst>
                </p:cNvPr>
                <p:cNvSpPr>
                  <a:spLocks noChangeShapeType="1"/>
                </p:cNvSpPr>
                <p:nvPr/>
              </p:nvSpPr>
              <p:spPr bwMode="auto">
                <a:xfrm>
                  <a:off x="4838700" y="370840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85" name="Freeform 8">
                  <a:extLst>
                    <a:ext uri="{FF2B5EF4-FFF2-40B4-BE49-F238E27FC236}">
                      <a16:creationId xmlns:a16="http://schemas.microsoft.com/office/drawing/2014/main" id="{EFF1E30C-8170-42AF-8B40-E104407A28CF}"/>
                    </a:ext>
                  </a:extLst>
                </p:cNvPr>
                <p:cNvSpPr>
                  <a:spLocks noEditPoints="1"/>
                </p:cNvSpPr>
                <p:nvPr/>
              </p:nvSpPr>
              <p:spPr bwMode="auto">
                <a:xfrm>
                  <a:off x="4849813" y="3697288"/>
                  <a:ext cx="73025" cy="71438"/>
                </a:xfrm>
                <a:custGeom>
                  <a:avLst/>
                  <a:gdLst>
                    <a:gd name="T0" fmla="*/ 0 w 643"/>
                    <a:gd name="T1" fmla="*/ 0 h 636"/>
                    <a:gd name="T2" fmla="*/ 0 w 643"/>
                    <a:gd name="T3" fmla="*/ 636 h 636"/>
                    <a:gd name="T4" fmla="*/ 643 w 643"/>
                    <a:gd name="T5" fmla="*/ 636 h 636"/>
                    <a:gd name="T6" fmla="*/ 643 w 643"/>
                    <a:gd name="T7" fmla="*/ 636 h 636"/>
                    <a:gd name="T8" fmla="*/ 642 w 643"/>
                    <a:gd name="T9" fmla="*/ 603 h 636"/>
                    <a:gd name="T10" fmla="*/ 640 w 643"/>
                    <a:gd name="T11" fmla="*/ 571 h 636"/>
                    <a:gd name="T12" fmla="*/ 636 w 643"/>
                    <a:gd name="T13" fmla="*/ 539 h 636"/>
                    <a:gd name="T14" fmla="*/ 629 w 643"/>
                    <a:gd name="T15" fmla="*/ 508 h 636"/>
                    <a:gd name="T16" fmla="*/ 623 w 643"/>
                    <a:gd name="T17" fmla="*/ 477 h 636"/>
                    <a:gd name="T18" fmla="*/ 614 w 643"/>
                    <a:gd name="T19" fmla="*/ 447 h 636"/>
                    <a:gd name="T20" fmla="*/ 604 w 643"/>
                    <a:gd name="T21" fmla="*/ 417 h 636"/>
                    <a:gd name="T22" fmla="*/ 593 w 643"/>
                    <a:gd name="T23" fmla="*/ 388 h 636"/>
                    <a:gd name="T24" fmla="*/ 579 w 643"/>
                    <a:gd name="T25" fmla="*/ 361 h 636"/>
                    <a:gd name="T26" fmla="*/ 566 w 643"/>
                    <a:gd name="T27" fmla="*/ 333 h 636"/>
                    <a:gd name="T28" fmla="*/ 550 w 643"/>
                    <a:gd name="T29" fmla="*/ 307 h 636"/>
                    <a:gd name="T30" fmla="*/ 533 w 643"/>
                    <a:gd name="T31" fmla="*/ 281 h 636"/>
                    <a:gd name="T32" fmla="*/ 516 w 643"/>
                    <a:gd name="T33" fmla="*/ 255 h 636"/>
                    <a:gd name="T34" fmla="*/ 496 w 643"/>
                    <a:gd name="T35" fmla="*/ 231 h 636"/>
                    <a:gd name="T36" fmla="*/ 476 w 643"/>
                    <a:gd name="T37" fmla="*/ 209 h 636"/>
                    <a:gd name="T38" fmla="*/ 455 w 643"/>
                    <a:gd name="T39" fmla="*/ 186 h 636"/>
                    <a:gd name="T40" fmla="*/ 432 w 643"/>
                    <a:gd name="T41" fmla="*/ 165 h 636"/>
                    <a:gd name="T42" fmla="*/ 409 w 643"/>
                    <a:gd name="T43" fmla="*/ 146 h 636"/>
                    <a:gd name="T44" fmla="*/ 385 w 643"/>
                    <a:gd name="T45" fmla="*/ 126 h 636"/>
                    <a:gd name="T46" fmla="*/ 359 w 643"/>
                    <a:gd name="T47" fmla="*/ 108 h 636"/>
                    <a:gd name="T48" fmla="*/ 333 w 643"/>
                    <a:gd name="T49" fmla="*/ 92 h 636"/>
                    <a:gd name="T50" fmla="*/ 307 w 643"/>
                    <a:gd name="T51" fmla="*/ 76 h 636"/>
                    <a:gd name="T52" fmla="*/ 279 w 643"/>
                    <a:gd name="T53" fmla="*/ 63 h 636"/>
                    <a:gd name="T54" fmla="*/ 251 w 643"/>
                    <a:gd name="T55" fmla="*/ 50 h 636"/>
                    <a:gd name="T56" fmla="*/ 221 w 643"/>
                    <a:gd name="T57" fmla="*/ 38 h 636"/>
                    <a:gd name="T58" fmla="*/ 191 w 643"/>
                    <a:gd name="T59" fmla="*/ 29 h 636"/>
                    <a:gd name="T60" fmla="*/ 161 w 643"/>
                    <a:gd name="T61" fmla="*/ 20 h 636"/>
                    <a:gd name="T62" fmla="*/ 130 w 643"/>
                    <a:gd name="T63" fmla="*/ 13 h 636"/>
                    <a:gd name="T64" fmla="*/ 98 w 643"/>
                    <a:gd name="T65" fmla="*/ 7 h 636"/>
                    <a:gd name="T66" fmla="*/ 66 w 643"/>
                    <a:gd name="T67" fmla="*/ 3 h 636"/>
                    <a:gd name="T68" fmla="*/ 33 w 643"/>
                    <a:gd name="T69" fmla="*/ 1 h 636"/>
                    <a:gd name="T70" fmla="*/ 0 w 643"/>
                    <a:gd name="T71" fmla="*/ 0 h 636"/>
                    <a:gd name="T72" fmla="*/ 0 w 643"/>
                    <a:gd name="T73" fmla="*/ 0 h 636"/>
                    <a:gd name="T74" fmla="*/ 0 w 643"/>
                    <a:gd name="T75" fmla="*/ 0 h 636"/>
                    <a:gd name="T76" fmla="*/ 0 w 643"/>
                    <a:gd name="T77"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3" h="636">
                      <a:moveTo>
                        <a:pt x="0" y="0"/>
                      </a:moveTo>
                      <a:lnTo>
                        <a:pt x="0" y="636"/>
                      </a:lnTo>
                      <a:lnTo>
                        <a:pt x="643" y="636"/>
                      </a:lnTo>
                      <a:lnTo>
                        <a:pt x="643" y="636"/>
                      </a:lnTo>
                      <a:lnTo>
                        <a:pt x="642" y="603"/>
                      </a:lnTo>
                      <a:lnTo>
                        <a:pt x="640" y="571"/>
                      </a:lnTo>
                      <a:lnTo>
                        <a:pt x="636" y="539"/>
                      </a:lnTo>
                      <a:lnTo>
                        <a:pt x="629" y="508"/>
                      </a:lnTo>
                      <a:lnTo>
                        <a:pt x="623" y="477"/>
                      </a:lnTo>
                      <a:lnTo>
                        <a:pt x="614" y="447"/>
                      </a:lnTo>
                      <a:lnTo>
                        <a:pt x="604" y="417"/>
                      </a:lnTo>
                      <a:lnTo>
                        <a:pt x="593" y="388"/>
                      </a:lnTo>
                      <a:lnTo>
                        <a:pt x="579" y="361"/>
                      </a:lnTo>
                      <a:lnTo>
                        <a:pt x="566" y="333"/>
                      </a:lnTo>
                      <a:lnTo>
                        <a:pt x="550" y="307"/>
                      </a:lnTo>
                      <a:lnTo>
                        <a:pt x="533" y="281"/>
                      </a:lnTo>
                      <a:lnTo>
                        <a:pt x="516" y="255"/>
                      </a:lnTo>
                      <a:lnTo>
                        <a:pt x="496" y="231"/>
                      </a:lnTo>
                      <a:lnTo>
                        <a:pt x="476" y="209"/>
                      </a:lnTo>
                      <a:lnTo>
                        <a:pt x="455" y="186"/>
                      </a:lnTo>
                      <a:lnTo>
                        <a:pt x="432" y="165"/>
                      </a:lnTo>
                      <a:lnTo>
                        <a:pt x="409" y="146"/>
                      </a:lnTo>
                      <a:lnTo>
                        <a:pt x="385" y="126"/>
                      </a:lnTo>
                      <a:lnTo>
                        <a:pt x="359" y="108"/>
                      </a:lnTo>
                      <a:lnTo>
                        <a:pt x="333" y="92"/>
                      </a:lnTo>
                      <a:lnTo>
                        <a:pt x="307" y="76"/>
                      </a:lnTo>
                      <a:lnTo>
                        <a:pt x="279" y="63"/>
                      </a:lnTo>
                      <a:lnTo>
                        <a:pt x="251" y="50"/>
                      </a:lnTo>
                      <a:lnTo>
                        <a:pt x="221" y="38"/>
                      </a:lnTo>
                      <a:lnTo>
                        <a:pt x="191" y="29"/>
                      </a:lnTo>
                      <a:lnTo>
                        <a:pt x="161" y="20"/>
                      </a:lnTo>
                      <a:lnTo>
                        <a:pt x="130" y="13"/>
                      </a:lnTo>
                      <a:lnTo>
                        <a:pt x="98" y="7"/>
                      </a:lnTo>
                      <a:lnTo>
                        <a:pt x="66" y="3"/>
                      </a:lnTo>
                      <a:lnTo>
                        <a:pt x="33" y="1"/>
                      </a:lnTo>
                      <a:lnTo>
                        <a:pt x="0" y="0"/>
                      </a:lnTo>
                      <a:lnTo>
                        <a:pt x="0" y="0"/>
                      </a:lnTo>
                      <a:close/>
                      <a:moveTo>
                        <a:pt x="0" y="0"/>
                      </a:moveTo>
                      <a:lnTo>
                        <a:pt x="0" y="0"/>
                      </a:lnTo>
                      <a:close/>
                    </a:path>
                  </a:pathLst>
                </a:custGeom>
                <a:solidFill>
                  <a:srgbClr val="C4D600"/>
                </a:solidFill>
                <a:ln>
                  <a:noFill/>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86" name="Freeform 9">
                  <a:extLst>
                    <a:ext uri="{FF2B5EF4-FFF2-40B4-BE49-F238E27FC236}">
                      <a16:creationId xmlns:a16="http://schemas.microsoft.com/office/drawing/2014/main" id="{6430166F-273E-475B-BC50-ADC4D1B0369B}"/>
                    </a:ext>
                  </a:extLst>
                </p:cNvPr>
                <p:cNvSpPr>
                  <a:spLocks/>
                </p:cNvSpPr>
                <p:nvPr/>
              </p:nvSpPr>
              <p:spPr bwMode="auto">
                <a:xfrm>
                  <a:off x="4849813" y="3697288"/>
                  <a:ext cx="73025" cy="71438"/>
                </a:xfrm>
                <a:custGeom>
                  <a:avLst/>
                  <a:gdLst>
                    <a:gd name="T0" fmla="*/ 0 w 643"/>
                    <a:gd name="T1" fmla="*/ 0 h 636"/>
                    <a:gd name="T2" fmla="*/ 0 w 643"/>
                    <a:gd name="T3" fmla="*/ 636 h 636"/>
                    <a:gd name="T4" fmla="*/ 643 w 643"/>
                    <a:gd name="T5" fmla="*/ 636 h 636"/>
                    <a:gd name="T6" fmla="*/ 643 w 643"/>
                    <a:gd name="T7" fmla="*/ 636 h 636"/>
                    <a:gd name="T8" fmla="*/ 642 w 643"/>
                    <a:gd name="T9" fmla="*/ 603 h 636"/>
                    <a:gd name="T10" fmla="*/ 640 w 643"/>
                    <a:gd name="T11" fmla="*/ 571 h 636"/>
                    <a:gd name="T12" fmla="*/ 636 w 643"/>
                    <a:gd name="T13" fmla="*/ 539 h 636"/>
                    <a:gd name="T14" fmla="*/ 629 w 643"/>
                    <a:gd name="T15" fmla="*/ 508 h 636"/>
                    <a:gd name="T16" fmla="*/ 623 w 643"/>
                    <a:gd name="T17" fmla="*/ 477 h 636"/>
                    <a:gd name="T18" fmla="*/ 614 w 643"/>
                    <a:gd name="T19" fmla="*/ 447 h 636"/>
                    <a:gd name="T20" fmla="*/ 604 w 643"/>
                    <a:gd name="T21" fmla="*/ 417 h 636"/>
                    <a:gd name="T22" fmla="*/ 593 w 643"/>
                    <a:gd name="T23" fmla="*/ 388 h 636"/>
                    <a:gd name="T24" fmla="*/ 579 w 643"/>
                    <a:gd name="T25" fmla="*/ 361 h 636"/>
                    <a:gd name="T26" fmla="*/ 566 w 643"/>
                    <a:gd name="T27" fmla="*/ 333 h 636"/>
                    <a:gd name="T28" fmla="*/ 550 w 643"/>
                    <a:gd name="T29" fmla="*/ 307 h 636"/>
                    <a:gd name="T30" fmla="*/ 533 w 643"/>
                    <a:gd name="T31" fmla="*/ 281 h 636"/>
                    <a:gd name="T32" fmla="*/ 516 w 643"/>
                    <a:gd name="T33" fmla="*/ 255 h 636"/>
                    <a:gd name="T34" fmla="*/ 496 w 643"/>
                    <a:gd name="T35" fmla="*/ 231 h 636"/>
                    <a:gd name="T36" fmla="*/ 476 w 643"/>
                    <a:gd name="T37" fmla="*/ 209 h 636"/>
                    <a:gd name="T38" fmla="*/ 455 w 643"/>
                    <a:gd name="T39" fmla="*/ 186 h 636"/>
                    <a:gd name="T40" fmla="*/ 432 w 643"/>
                    <a:gd name="T41" fmla="*/ 165 h 636"/>
                    <a:gd name="T42" fmla="*/ 409 w 643"/>
                    <a:gd name="T43" fmla="*/ 146 h 636"/>
                    <a:gd name="T44" fmla="*/ 385 w 643"/>
                    <a:gd name="T45" fmla="*/ 126 h 636"/>
                    <a:gd name="T46" fmla="*/ 359 w 643"/>
                    <a:gd name="T47" fmla="*/ 108 h 636"/>
                    <a:gd name="T48" fmla="*/ 333 w 643"/>
                    <a:gd name="T49" fmla="*/ 92 h 636"/>
                    <a:gd name="T50" fmla="*/ 307 w 643"/>
                    <a:gd name="T51" fmla="*/ 76 h 636"/>
                    <a:gd name="T52" fmla="*/ 279 w 643"/>
                    <a:gd name="T53" fmla="*/ 63 h 636"/>
                    <a:gd name="T54" fmla="*/ 251 w 643"/>
                    <a:gd name="T55" fmla="*/ 50 h 636"/>
                    <a:gd name="T56" fmla="*/ 221 w 643"/>
                    <a:gd name="T57" fmla="*/ 38 h 636"/>
                    <a:gd name="T58" fmla="*/ 191 w 643"/>
                    <a:gd name="T59" fmla="*/ 29 h 636"/>
                    <a:gd name="T60" fmla="*/ 161 w 643"/>
                    <a:gd name="T61" fmla="*/ 20 h 636"/>
                    <a:gd name="T62" fmla="*/ 130 w 643"/>
                    <a:gd name="T63" fmla="*/ 13 h 636"/>
                    <a:gd name="T64" fmla="*/ 98 w 643"/>
                    <a:gd name="T65" fmla="*/ 7 h 636"/>
                    <a:gd name="T66" fmla="*/ 66 w 643"/>
                    <a:gd name="T67" fmla="*/ 3 h 636"/>
                    <a:gd name="T68" fmla="*/ 33 w 643"/>
                    <a:gd name="T69" fmla="*/ 1 h 636"/>
                    <a:gd name="T70" fmla="*/ 0 w 643"/>
                    <a:gd name="T71" fmla="*/ 0 h 636"/>
                    <a:gd name="T72" fmla="*/ 0 w 643"/>
                    <a:gd name="T73"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3" h="636">
                      <a:moveTo>
                        <a:pt x="0" y="0"/>
                      </a:moveTo>
                      <a:lnTo>
                        <a:pt x="0" y="636"/>
                      </a:lnTo>
                      <a:lnTo>
                        <a:pt x="643" y="636"/>
                      </a:lnTo>
                      <a:lnTo>
                        <a:pt x="643" y="636"/>
                      </a:lnTo>
                      <a:lnTo>
                        <a:pt x="642" y="603"/>
                      </a:lnTo>
                      <a:lnTo>
                        <a:pt x="640" y="571"/>
                      </a:lnTo>
                      <a:lnTo>
                        <a:pt x="636" y="539"/>
                      </a:lnTo>
                      <a:lnTo>
                        <a:pt x="629" y="508"/>
                      </a:lnTo>
                      <a:lnTo>
                        <a:pt x="623" y="477"/>
                      </a:lnTo>
                      <a:lnTo>
                        <a:pt x="614" y="447"/>
                      </a:lnTo>
                      <a:lnTo>
                        <a:pt x="604" y="417"/>
                      </a:lnTo>
                      <a:lnTo>
                        <a:pt x="593" y="388"/>
                      </a:lnTo>
                      <a:lnTo>
                        <a:pt x="579" y="361"/>
                      </a:lnTo>
                      <a:lnTo>
                        <a:pt x="566" y="333"/>
                      </a:lnTo>
                      <a:lnTo>
                        <a:pt x="550" y="307"/>
                      </a:lnTo>
                      <a:lnTo>
                        <a:pt x="533" y="281"/>
                      </a:lnTo>
                      <a:lnTo>
                        <a:pt x="516" y="255"/>
                      </a:lnTo>
                      <a:lnTo>
                        <a:pt x="496" y="231"/>
                      </a:lnTo>
                      <a:lnTo>
                        <a:pt x="476" y="209"/>
                      </a:lnTo>
                      <a:lnTo>
                        <a:pt x="455" y="186"/>
                      </a:lnTo>
                      <a:lnTo>
                        <a:pt x="432" y="165"/>
                      </a:lnTo>
                      <a:lnTo>
                        <a:pt x="409" y="146"/>
                      </a:lnTo>
                      <a:lnTo>
                        <a:pt x="385" y="126"/>
                      </a:lnTo>
                      <a:lnTo>
                        <a:pt x="359" y="108"/>
                      </a:lnTo>
                      <a:lnTo>
                        <a:pt x="333" y="92"/>
                      </a:lnTo>
                      <a:lnTo>
                        <a:pt x="307" y="76"/>
                      </a:lnTo>
                      <a:lnTo>
                        <a:pt x="279" y="63"/>
                      </a:lnTo>
                      <a:lnTo>
                        <a:pt x="251" y="50"/>
                      </a:lnTo>
                      <a:lnTo>
                        <a:pt x="221" y="38"/>
                      </a:lnTo>
                      <a:lnTo>
                        <a:pt x="191" y="29"/>
                      </a:lnTo>
                      <a:lnTo>
                        <a:pt x="161" y="20"/>
                      </a:lnTo>
                      <a:lnTo>
                        <a:pt x="130" y="13"/>
                      </a:lnTo>
                      <a:lnTo>
                        <a:pt x="98" y="7"/>
                      </a:lnTo>
                      <a:lnTo>
                        <a:pt x="66" y="3"/>
                      </a:lnTo>
                      <a:lnTo>
                        <a:pt x="33" y="1"/>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87" name="Line 10">
                  <a:extLst>
                    <a:ext uri="{FF2B5EF4-FFF2-40B4-BE49-F238E27FC236}">
                      <a16:creationId xmlns:a16="http://schemas.microsoft.com/office/drawing/2014/main" id="{480799A8-CE04-4AA6-B3EE-D3F6050F7835}"/>
                    </a:ext>
                  </a:extLst>
                </p:cNvPr>
                <p:cNvSpPr>
                  <a:spLocks noChangeShapeType="1"/>
                </p:cNvSpPr>
                <p:nvPr/>
              </p:nvSpPr>
              <p:spPr bwMode="auto">
                <a:xfrm>
                  <a:off x="4849813" y="36972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777" name="Rectangle 776">
                <a:extLst>
                  <a:ext uri="{FF2B5EF4-FFF2-40B4-BE49-F238E27FC236}">
                    <a16:creationId xmlns:a16="http://schemas.microsoft.com/office/drawing/2014/main" id="{25C2FEF8-5B22-4D0F-A9ED-C01FBD4DAD10}"/>
                  </a:ext>
                </a:extLst>
              </p:cNvPr>
              <p:cNvSpPr/>
              <p:nvPr/>
            </p:nvSpPr>
            <p:spPr>
              <a:xfrm>
                <a:off x="1701958" y="2960400"/>
                <a:ext cx="1115908" cy="51306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Sprint Review</a:t>
                </a:r>
              </a:p>
            </p:txBody>
          </p:sp>
        </p:grpSp>
        <p:grpSp>
          <p:nvGrpSpPr>
            <p:cNvPr id="739" name="Group 738">
              <a:extLst>
                <a:ext uri="{FF2B5EF4-FFF2-40B4-BE49-F238E27FC236}">
                  <a16:creationId xmlns:a16="http://schemas.microsoft.com/office/drawing/2014/main" id="{ED728591-4AB6-44D9-BA20-065B7474ECC5}"/>
                </a:ext>
              </a:extLst>
            </p:cNvPr>
            <p:cNvGrpSpPr/>
            <p:nvPr/>
          </p:nvGrpSpPr>
          <p:grpSpPr>
            <a:xfrm>
              <a:off x="1347033" y="2592431"/>
              <a:ext cx="836822" cy="877440"/>
              <a:chOff x="2900858" y="2316341"/>
              <a:chExt cx="1115908" cy="1170072"/>
            </a:xfrm>
          </p:grpSpPr>
          <p:grpSp>
            <p:nvGrpSpPr>
              <p:cNvPr id="758" name="Group 757">
                <a:extLst>
                  <a:ext uri="{FF2B5EF4-FFF2-40B4-BE49-F238E27FC236}">
                    <a16:creationId xmlns:a16="http://schemas.microsoft.com/office/drawing/2014/main" id="{7DFF8C70-E698-497C-92A0-A7CBB4A6665E}"/>
                  </a:ext>
                </a:extLst>
              </p:cNvPr>
              <p:cNvGrpSpPr/>
              <p:nvPr/>
            </p:nvGrpSpPr>
            <p:grpSpPr>
              <a:xfrm>
                <a:off x="3269815" y="2316341"/>
                <a:ext cx="492410" cy="469846"/>
                <a:chOff x="4480341" y="1157481"/>
                <a:chExt cx="481968" cy="459883"/>
              </a:xfrm>
            </p:grpSpPr>
            <p:sp>
              <p:nvSpPr>
                <p:cNvPr id="760" name="Freeform 9">
                  <a:extLst>
                    <a:ext uri="{FF2B5EF4-FFF2-40B4-BE49-F238E27FC236}">
                      <a16:creationId xmlns:a16="http://schemas.microsoft.com/office/drawing/2014/main" id="{5BEC02FE-5CF3-4B61-894E-366AADACFA3A}"/>
                    </a:ext>
                  </a:extLst>
                </p:cNvPr>
                <p:cNvSpPr>
                  <a:spLocks noEditPoints="1"/>
                </p:cNvSpPr>
                <p:nvPr/>
              </p:nvSpPr>
              <p:spPr bwMode="auto">
                <a:xfrm>
                  <a:off x="4869388" y="1177003"/>
                  <a:ext cx="89243" cy="89243"/>
                </a:xfrm>
                <a:custGeom>
                  <a:avLst/>
                  <a:gdLst>
                    <a:gd name="T0" fmla="*/ 779 w 780"/>
                    <a:gd name="T1" fmla="*/ 410 h 781"/>
                    <a:gd name="T2" fmla="*/ 772 w 780"/>
                    <a:gd name="T3" fmla="*/ 470 h 781"/>
                    <a:gd name="T4" fmla="*/ 756 w 780"/>
                    <a:gd name="T5" fmla="*/ 525 h 781"/>
                    <a:gd name="T6" fmla="*/ 733 w 780"/>
                    <a:gd name="T7" fmla="*/ 576 h 781"/>
                    <a:gd name="T8" fmla="*/ 702 w 780"/>
                    <a:gd name="T9" fmla="*/ 624 h 781"/>
                    <a:gd name="T10" fmla="*/ 665 w 780"/>
                    <a:gd name="T11" fmla="*/ 667 h 781"/>
                    <a:gd name="T12" fmla="*/ 623 w 780"/>
                    <a:gd name="T13" fmla="*/ 703 h 781"/>
                    <a:gd name="T14" fmla="*/ 575 w 780"/>
                    <a:gd name="T15" fmla="*/ 734 h 781"/>
                    <a:gd name="T16" fmla="*/ 523 w 780"/>
                    <a:gd name="T17" fmla="*/ 757 h 781"/>
                    <a:gd name="T18" fmla="*/ 469 w 780"/>
                    <a:gd name="T19" fmla="*/ 773 h 781"/>
                    <a:gd name="T20" fmla="*/ 409 w 780"/>
                    <a:gd name="T21" fmla="*/ 780 h 781"/>
                    <a:gd name="T22" fmla="*/ 369 w 780"/>
                    <a:gd name="T23" fmla="*/ 780 h 781"/>
                    <a:gd name="T24" fmla="*/ 311 w 780"/>
                    <a:gd name="T25" fmla="*/ 773 h 781"/>
                    <a:gd name="T26" fmla="*/ 256 w 780"/>
                    <a:gd name="T27" fmla="*/ 757 h 781"/>
                    <a:gd name="T28" fmla="*/ 203 w 780"/>
                    <a:gd name="T29" fmla="*/ 734 h 781"/>
                    <a:gd name="T30" fmla="*/ 156 w 780"/>
                    <a:gd name="T31" fmla="*/ 703 h 781"/>
                    <a:gd name="T32" fmla="*/ 114 w 780"/>
                    <a:gd name="T33" fmla="*/ 667 h 781"/>
                    <a:gd name="T34" fmla="*/ 77 w 780"/>
                    <a:gd name="T35" fmla="*/ 624 h 781"/>
                    <a:gd name="T36" fmla="*/ 46 w 780"/>
                    <a:gd name="T37" fmla="*/ 576 h 781"/>
                    <a:gd name="T38" fmla="*/ 24 w 780"/>
                    <a:gd name="T39" fmla="*/ 525 h 781"/>
                    <a:gd name="T40" fmla="*/ 8 w 780"/>
                    <a:gd name="T41" fmla="*/ 470 h 781"/>
                    <a:gd name="T42" fmla="*/ 0 w 780"/>
                    <a:gd name="T43" fmla="*/ 410 h 781"/>
                    <a:gd name="T44" fmla="*/ 0 w 780"/>
                    <a:gd name="T45" fmla="*/ 370 h 781"/>
                    <a:gd name="T46" fmla="*/ 8 w 780"/>
                    <a:gd name="T47" fmla="*/ 312 h 781"/>
                    <a:gd name="T48" fmla="*/ 24 w 780"/>
                    <a:gd name="T49" fmla="*/ 257 h 781"/>
                    <a:gd name="T50" fmla="*/ 46 w 780"/>
                    <a:gd name="T51" fmla="*/ 204 h 781"/>
                    <a:gd name="T52" fmla="*/ 77 w 780"/>
                    <a:gd name="T53" fmla="*/ 157 h 781"/>
                    <a:gd name="T54" fmla="*/ 114 w 780"/>
                    <a:gd name="T55" fmla="*/ 114 h 781"/>
                    <a:gd name="T56" fmla="*/ 156 w 780"/>
                    <a:gd name="T57" fmla="*/ 78 h 781"/>
                    <a:gd name="T58" fmla="*/ 203 w 780"/>
                    <a:gd name="T59" fmla="*/ 47 h 781"/>
                    <a:gd name="T60" fmla="*/ 256 w 780"/>
                    <a:gd name="T61" fmla="*/ 24 h 781"/>
                    <a:gd name="T62" fmla="*/ 311 w 780"/>
                    <a:gd name="T63" fmla="*/ 8 h 781"/>
                    <a:gd name="T64" fmla="*/ 369 w 780"/>
                    <a:gd name="T65" fmla="*/ 0 h 781"/>
                    <a:gd name="T66" fmla="*/ 409 w 780"/>
                    <a:gd name="T67" fmla="*/ 0 h 781"/>
                    <a:gd name="T68" fmla="*/ 469 w 780"/>
                    <a:gd name="T69" fmla="*/ 8 h 781"/>
                    <a:gd name="T70" fmla="*/ 523 w 780"/>
                    <a:gd name="T71" fmla="*/ 24 h 781"/>
                    <a:gd name="T72" fmla="*/ 575 w 780"/>
                    <a:gd name="T73" fmla="*/ 47 h 781"/>
                    <a:gd name="T74" fmla="*/ 623 w 780"/>
                    <a:gd name="T75" fmla="*/ 78 h 781"/>
                    <a:gd name="T76" fmla="*/ 665 w 780"/>
                    <a:gd name="T77" fmla="*/ 114 h 781"/>
                    <a:gd name="T78" fmla="*/ 702 w 780"/>
                    <a:gd name="T79" fmla="*/ 157 h 781"/>
                    <a:gd name="T80" fmla="*/ 733 w 780"/>
                    <a:gd name="T81" fmla="*/ 204 h 781"/>
                    <a:gd name="T82" fmla="*/ 756 w 780"/>
                    <a:gd name="T83" fmla="*/ 257 h 781"/>
                    <a:gd name="T84" fmla="*/ 772 w 780"/>
                    <a:gd name="T85" fmla="*/ 312 h 781"/>
                    <a:gd name="T86" fmla="*/ 779 w 780"/>
                    <a:gd name="T87" fmla="*/ 370 h 781"/>
                    <a:gd name="T88" fmla="*/ 780 w 780"/>
                    <a:gd name="T89" fmla="*/ 39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0" h="781">
                      <a:moveTo>
                        <a:pt x="780" y="391"/>
                      </a:moveTo>
                      <a:lnTo>
                        <a:pt x="780" y="391"/>
                      </a:lnTo>
                      <a:lnTo>
                        <a:pt x="779" y="410"/>
                      </a:lnTo>
                      <a:lnTo>
                        <a:pt x="777" y="431"/>
                      </a:lnTo>
                      <a:lnTo>
                        <a:pt x="775" y="450"/>
                      </a:lnTo>
                      <a:lnTo>
                        <a:pt x="772" y="470"/>
                      </a:lnTo>
                      <a:lnTo>
                        <a:pt x="767" y="488"/>
                      </a:lnTo>
                      <a:lnTo>
                        <a:pt x="761" y="506"/>
                      </a:lnTo>
                      <a:lnTo>
                        <a:pt x="756" y="525"/>
                      </a:lnTo>
                      <a:lnTo>
                        <a:pt x="749" y="543"/>
                      </a:lnTo>
                      <a:lnTo>
                        <a:pt x="741" y="560"/>
                      </a:lnTo>
                      <a:lnTo>
                        <a:pt x="733" y="576"/>
                      </a:lnTo>
                      <a:lnTo>
                        <a:pt x="722" y="593"/>
                      </a:lnTo>
                      <a:lnTo>
                        <a:pt x="712" y="608"/>
                      </a:lnTo>
                      <a:lnTo>
                        <a:pt x="702" y="624"/>
                      </a:lnTo>
                      <a:lnTo>
                        <a:pt x="690" y="639"/>
                      </a:lnTo>
                      <a:lnTo>
                        <a:pt x="678" y="653"/>
                      </a:lnTo>
                      <a:lnTo>
                        <a:pt x="665" y="667"/>
                      </a:lnTo>
                      <a:lnTo>
                        <a:pt x="652" y="679"/>
                      </a:lnTo>
                      <a:lnTo>
                        <a:pt x="638" y="692"/>
                      </a:lnTo>
                      <a:lnTo>
                        <a:pt x="623" y="703"/>
                      </a:lnTo>
                      <a:lnTo>
                        <a:pt x="607" y="715"/>
                      </a:lnTo>
                      <a:lnTo>
                        <a:pt x="592" y="724"/>
                      </a:lnTo>
                      <a:lnTo>
                        <a:pt x="575" y="734"/>
                      </a:lnTo>
                      <a:lnTo>
                        <a:pt x="559" y="742"/>
                      </a:lnTo>
                      <a:lnTo>
                        <a:pt x="542" y="750"/>
                      </a:lnTo>
                      <a:lnTo>
                        <a:pt x="523" y="757"/>
                      </a:lnTo>
                      <a:lnTo>
                        <a:pt x="505" y="763"/>
                      </a:lnTo>
                      <a:lnTo>
                        <a:pt x="487" y="769"/>
                      </a:lnTo>
                      <a:lnTo>
                        <a:pt x="469" y="773"/>
                      </a:lnTo>
                      <a:lnTo>
                        <a:pt x="449" y="777"/>
                      </a:lnTo>
                      <a:lnTo>
                        <a:pt x="430" y="779"/>
                      </a:lnTo>
                      <a:lnTo>
                        <a:pt x="409" y="780"/>
                      </a:lnTo>
                      <a:lnTo>
                        <a:pt x="390" y="781"/>
                      </a:lnTo>
                      <a:lnTo>
                        <a:pt x="390" y="781"/>
                      </a:lnTo>
                      <a:lnTo>
                        <a:pt x="369" y="780"/>
                      </a:lnTo>
                      <a:lnTo>
                        <a:pt x="350" y="779"/>
                      </a:lnTo>
                      <a:lnTo>
                        <a:pt x="330" y="777"/>
                      </a:lnTo>
                      <a:lnTo>
                        <a:pt x="311" y="773"/>
                      </a:lnTo>
                      <a:lnTo>
                        <a:pt x="292" y="769"/>
                      </a:lnTo>
                      <a:lnTo>
                        <a:pt x="273" y="763"/>
                      </a:lnTo>
                      <a:lnTo>
                        <a:pt x="256" y="757"/>
                      </a:lnTo>
                      <a:lnTo>
                        <a:pt x="237" y="750"/>
                      </a:lnTo>
                      <a:lnTo>
                        <a:pt x="220" y="742"/>
                      </a:lnTo>
                      <a:lnTo>
                        <a:pt x="203" y="734"/>
                      </a:lnTo>
                      <a:lnTo>
                        <a:pt x="187" y="724"/>
                      </a:lnTo>
                      <a:lnTo>
                        <a:pt x="171" y="715"/>
                      </a:lnTo>
                      <a:lnTo>
                        <a:pt x="156" y="703"/>
                      </a:lnTo>
                      <a:lnTo>
                        <a:pt x="141" y="692"/>
                      </a:lnTo>
                      <a:lnTo>
                        <a:pt x="128" y="679"/>
                      </a:lnTo>
                      <a:lnTo>
                        <a:pt x="114" y="667"/>
                      </a:lnTo>
                      <a:lnTo>
                        <a:pt x="100" y="653"/>
                      </a:lnTo>
                      <a:lnTo>
                        <a:pt x="89" y="639"/>
                      </a:lnTo>
                      <a:lnTo>
                        <a:pt x="77" y="624"/>
                      </a:lnTo>
                      <a:lnTo>
                        <a:pt x="66" y="608"/>
                      </a:lnTo>
                      <a:lnTo>
                        <a:pt x="56" y="593"/>
                      </a:lnTo>
                      <a:lnTo>
                        <a:pt x="46" y="576"/>
                      </a:lnTo>
                      <a:lnTo>
                        <a:pt x="37" y="560"/>
                      </a:lnTo>
                      <a:lnTo>
                        <a:pt x="30" y="543"/>
                      </a:lnTo>
                      <a:lnTo>
                        <a:pt x="24" y="525"/>
                      </a:lnTo>
                      <a:lnTo>
                        <a:pt x="17" y="506"/>
                      </a:lnTo>
                      <a:lnTo>
                        <a:pt x="12" y="488"/>
                      </a:lnTo>
                      <a:lnTo>
                        <a:pt x="8" y="470"/>
                      </a:lnTo>
                      <a:lnTo>
                        <a:pt x="4" y="450"/>
                      </a:lnTo>
                      <a:lnTo>
                        <a:pt x="2" y="431"/>
                      </a:lnTo>
                      <a:lnTo>
                        <a:pt x="0" y="410"/>
                      </a:lnTo>
                      <a:lnTo>
                        <a:pt x="0" y="391"/>
                      </a:lnTo>
                      <a:lnTo>
                        <a:pt x="0" y="391"/>
                      </a:lnTo>
                      <a:lnTo>
                        <a:pt x="0" y="370"/>
                      </a:lnTo>
                      <a:lnTo>
                        <a:pt x="2" y="350"/>
                      </a:lnTo>
                      <a:lnTo>
                        <a:pt x="4" y="331"/>
                      </a:lnTo>
                      <a:lnTo>
                        <a:pt x="8" y="312"/>
                      </a:lnTo>
                      <a:lnTo>
                        <a:pt x="12" y="293"/>
                      </a:lnTo>
                      <a:lnTo>
                        <a:pt x="17" y="274"/>
                      </a:lnTo>
                      <a:lnTo>
                        <a:pt x="24" y="257"/>
                      </a:lnTo>
                      <a:lnTo>
                        <a:pt x="30" y="238"/>
                      </a:lnTo>
                      <a:lnTo>
                        <a:pt x="37" y="221"/>
                      </a:lnTo>
                      <a:lnTo>
                        <a:pt x="46" y="204"/>
                      </a:lnTo>
                      <a:lnTo>
                        <a:pt x="56" y="188"/>
                      </a:lnTo>
                      <a:lnTo>
                        <a:pt x="66" y="172"/>
                      </a:lnTo>
                      <a:lnTo>
                        <a:pt x="77" y="157"/>
                      </a:lnTo>
                      <a:lnTo>
                        <a:pt x="89" y="142"/>
                      </a:lnTo>
                      <a:lnTo>
                        <a:pt x="100" y="128"/>
                      </a:lnTo>
                      <a:lnTo>
                        <a:pt x="114" y="114"/>
                      </a:lnTo>
                      <a:lnTo>
                        <a:pt x="128" y="101"/>
                      </a:lnTo>
                      <a:lnTo>
                        <a:pt x="141" y="89"/>
                      </a:lnTo>
                      <a:lnTo>
                        <a:pt x="156" y="78"/>
                      </a:lnTo>
                      <a:lnTo>
                        <a:pt x="171" y="66"/>
                      </a:lnTo>
                      <a:lnTo>
                        <a:pt x="187" y="56"/>
                      </a:lnTo>
                      <a:lnTo>
                        <a:pt x="203" y="47"/>
                      </a:lnTo>
                      <a:lnTo>
                        <a:pt x="220" y="39"/>
                      </a:lnTo>
                      <a:lnTo>
                        <a:pt x="237" y="31"/>
                      </a:lnTo>
                      <a:lnTo>
                        <a:pt x="256" y="24"/>
                      </a:lnTo>
                      <a:lnTo>
                        <a:pt x="273" y="17"/>
                      </a:lnTo>
                      <a:lnTo>
                        <a:pt x="292" y="13"/>
                      </a:lnTo>
                      <a:lnTo>
                        <a:pt x="311" y="8"/>
                      </a:lnTo>
                      <a:lnTo>
                        <a:pt x="330" y="4"/>
                      </a:lnTo>
                      <a:lnTo>
                        <a:pt x="350" y="2"/>
                      </a:lnTo>
                      <a:lnTo>
                        <a:pt x="369" y="0"/>
                      </a:lnTo>
                      <a:lnTo>
                        <a:pt x="390" y="0"/>
                      </a:lnTo>
                      <a:lnTo>
                        <a:pt x="390" y="0"/>
                      </a:lnTo>
                      <a:lnTo>
                        <a:pt x="409" y="0"/>
                      </a:lnTo>
                      <a:lnTo>
                        <a:pt x="430" y="2"/>
                      </a:lnTo>
                      <a:lnTo>
                        <a:pt x="449" y="4"/>
                      </a:lnTo>
                      <a:lnTo>
                        <a:pt x="469" y="8"/>
                      </a:lnTo>
                      <a:lnTo>
                        <a:pt x="487" y="13"/>
                      </a:lnTo>
                      <a:lnTo>
                        <a:pt x="505" y="17"/>
                      </a:lnTo>
                      <a:lnTo>
                        <a:pt x="523" y="24"/>
                      </a:lnTo>
                      <a:lnTo>
                        <a:pt x="542" y="31"/>
                      </a:lnTo>
                      <a:lnTo>
                        <a:pt x="559" y="39"/>
                      </a:lnTo>
                      <a:lnTo>
                        <a:pt x="575" y="47"/>
                      </a:lnTo>
                      <a:lnTo>
                        <a:pt x="592" y="56"/>
                      </a:lnTo>
                      <a:lnTo>
                        <a:pt x="607" y="66"/>
                      </a:lnTo>
                      <a:lnTo>
                        <a:pt x="623" y="78"/>
                      </a:lnTo>
                      <a:lnTo>
                        <a:pt x="638" y="89"/>
                      </a:lnTo>
                      <a:lnTo>
                        <a:pt x="652" y="101"/>
                      </a:lnTo>
                      <a:lnTo>
                        <a:pt x="665" y="114"/>
                      </a:lnTo>
                      <a:lnTo>
                        <a:pt x="678" y="128"/>
                      </a:lnTo>
                      <a:lnTo>
                        <a:pt x="690" y="142"/>
                      </a:lnTo>
                      <a:lnTo>
                        <a:pt x="702" y="157"/>
                      </a:lnTo>
                      <a:lnTo>
                        <a:pt x="712" y="172"/>
                      </a:lnTo>
                      <a:lnTo>
                        <a:pt x="722" y="188"/>
                      </a:lnTo>
                      <a:lnTo>
                        <a:pt x="733" y="204"/>
                      </a:lnTo>
                      <a:lnTo>
                        <a:pt x="741" y="221"/>
                      </a:lnTo>
                      <a:lnTo>
                        <a:pt x="749" y="238"/>
                      </a:lnTo>
                      <a:lnTo>
                        <a:pt x="756" y="257"/>
                      </a:lnTo>
                      <a:lnTo>
                        <a:pt x="761" y="274"/>
                      </a:lnTo>
                      <a:lnTo>
                        <a:pt x="767" y="293"/>
                      </a:lnTo>
                      <a:lnTo>
                        <a:pt x="772" y="312"/>
                      </a:lnTo>
                      <a:lnTo>
                        <a:pt x="775" y="331"/>
                      </a:lnTo>
                      <a:lnTo>
                        <a:pt x="777" y="350"/>
                      </a:lnTo>
                      <a:lnTo>
                        <a:pt x="779" y="370"/>
                      </a:lnTo>
                      <a:lnTo>
                        <a:pt x="780" y="391"/>
                      </a:lnTo>
                      <a:lnTo>
                        <a:pt x="780" y="391"/>
                      </a:lnTo>
                      <a:close/>
                      <a:moveTo>
                        <a:pt x="780" y="391"/>
                      </a:moveTo>
                      <a:lnTo>
                        <a:pt x="780" y="391"/>
                      </a:lnTo>
                      <a:close/>
                    </a:path>
                  </a:pathLst>
                </a:custGeom>
                <a:solidFill>
                  <a:srgbClr val="D9D9D9"/>
                </a:solidFill>
                <a:ln w="19050">
                  <a:solidFill>
                    <a:sysClr val="windowText" lastClr="000000">
                      <a:lumMod val="75000"/>
                      <a:lumOff val="25000"/>
                    </a:sysClr>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1" name="Freeform 5">
                  <a:extLst>
                    <a:ext uri="{FF2B5EF4-FFF2-40B4-BE49-F238E27FC236}">
                      <a16:creationId xmlns:a16="http://schemas.microsoft.com/office/drawing/2014/main" id="{AD782462-BB1D-4221-BC80-F108093B7D9F}"/>
                    </a:ext>
                  </a:extLst>
                </p:cNvPr>
                <p:cNvSpPr>
                  <a:spLocks noEditPoints="1"/>
                </p:cNvSpPr>
                <p:nvPr/>
              </p:nvSpPr>
              <p:spPr bwMode="auto">
                <a:xfrm>
                  <a:off x="4480341" y="1177003"/>
                  <a:ext cx="89243" cy="89243"/>
                </a:xfrm>
                <a:custGeom>
                  <a:avLst/>
                  <a:gdLst>
                    <a:gd name="T0" fmla="*/ 779 w 780"/>
                    <a:gd name="T1" fmla="*/ 410 h 781"/>
                    <a:gd name="T2" fmla="*/ 772 w 780"/>
                    <a:gd name="T3" fmla="*/ 470 h 781"/>
                    <a:gd name="T4" fmla="*/ 756 w 780"/>
                    <a:gd name="T5" fmla="*/ 525 h 781"/>
                    <a:gd name="T6" fmla="*/ 734 w 780"/>
                    <a:gd name="T7" fmla="*/ 576 h 781"/>
                    <a:gd name="T8" fmla="*/ 703 w 780"/>
                    <a:gd name="T9" fmla="*/ 624 h 781"/>
                    <a:gd name="T10" fmla="*/ 666 w 780"/>
                    <a:gd name="T11" fmla="*/ 667 h 781"/>
                    <a:gd name="T12" fmla="*/ 624 w 780"/>
                    <a:gd name="T13" fmla="*/ 703 h 781"/>
                    <a:gd name="T14" fmla="*/ 576 w 780"/>
                    <a:gd name="T15" fmla="*/ 734 h 781"/>
                    <a:gd name="T16" fmla="*/ 524 w 780"/>
                    <a:gd name="T17" fmla="*/ 757 h 781"/>
                    <a:gd name="T18" fmla="*/ 469 w 780"/>
                    <a:gd name="T19" fmla="*/ 773 h 781"/>
                    <a:gd name="T20" fmla="*/ 411 w 780"/>
                    <a:gd name="T21" fmla="*/ 780 h 781"/>
                    <a:gd name="T22" fmla="*/ 370 w 780"/>
                    <a:gd name="T23" fmla="*/ 780 h 781"/>
                    <a:gd name="T24" fmla="*/ 311 w 780"/>
                    <a:gd name="T25" fmla="*/ 773 h 781"/>
                    <a:gd name="T26" fmla="*/ 257 w 780"/>
                    <a:gd name="T27" fmla="*/ 757 h 781"/>
                    <a:gd name="T28" fmla="*/ 204 w 780"/>
                    <a:gd name="T29" fmla="*/ 734 h 781"/>
                    <a:gd name="T30" fmla="*/ 157 w 780"/>
                    <a:gd name="T31" fmla="*/ 703 h 781"/>
                    <a:gd name="T32" fmla="*/ 115 w 780"/>
                    <a:gd name="T33" fmla="*/ 667 h 781"/>
                    <a:gd name="T34" fmla="*/ 78 w 780"/>
                    <a:gd name="T35" fmla="*/ 624 h 781"/>
                    <a:gd name="T36" fmla="*/ 47 w 780"/>
                    <a:gd name="T37" fmla="*/ 576 h 781"/>
                    <a:gd name="T38" fmla="*/ 24 w 780"/>
                    <a:gd name="T39" fmla="*/ 525 h 781"/>
                    <a:gd name="T40" fmla="*/ 8 w 780"/>
                    <a:gd name="T41" fmla="*/ 470 h 781"/>
                    <a:gd name="T42" fmla="*/ 0 w 780"/>
                    <a:gd name="T43" fmla="*/ 410 h 781"/>
                    <a:gd name="T44" fmla="*/ 0 w 780"/>
                    <a:gd name="T45" fmla="*/ 370 h 781"/>
                    <a:gd name="T46" fmla="*/ 8 w 780"/>
                    <a:gd name="T47" fmla="*/ 312 h 781"/>
                    <a:gd name="T48" fmla="*/ 24 w 780"/>
                    <a:gd name="T49" fmla="*/ 257 h 781"/>
                    <a:gd name="T50" fmla="*/ 47 w 780"/>
                    <a:gd name="T51" fmla="*/ 204 h 781"/>
                    <a:gd name="T52" fmla="*/ 78 w 780"/>
                    <a:gd name="T53" fmla="*/ 157 h 781"/>
                    <a:gd name="T54" fmla="*/ 115 w 780"/>
                    <a:gd name="T55" fmla="*/ 114 h 781"/>
                    <a:gd name="T56" fmla="*/ 157 w 780"/>
                    <a:gd name="T57" fmla="*/ 78 h 781"/>
                    <a:gd name="T58" fmla="*/ 204 w 780"/>
                    <a:gd name="T59" fmla="*/ 47 h 781"/>
                    <a:gd name="T60" fmla="*/ 257 w 780"/>
                    <a:gd name="T61" fmla="*/ 24 h 781"/>
                    <a:gd name="T62" fmla="*/ 311 w 780"/>
                    <a:gd name="T63" fmla="*/ 8 h 781"/>
                    <a:gd name="T64" fmla="*/ 370 w 780"/>
                    <a:gd name="T65" fmla="*/ 0 h 781"/>
                    <a:gd name="T66" fmla="*/ 411 w 780"/>
                    <a:gd name="T67" fmla="*/ 0 h 781"/>
                    <a:gd name="T68" fmla="*/ 469 w 780"/>
                    <a:gd name="T69" fmla="*/ 8 h 781"/>
                    <a:gd name="T70" fmla="*/ 524 w 780"/>
                    <a:gd name="T71" fmla="*/ 24 h 781"/>
                    <a:gd name="T72" fmla="*/ 576 w 780"/>
                    <a:gd name="T73" fmla="*/ 47 h 781"/>
                    <a:gd name="T74" fmla="*/ 624 w 780"/>
                    <a:gd name="T75" fmla="*/ 78 h 781"/>
                    <a:gd name="T76" fmla="*/ 666 w 780"/>
                    <a:gd name="T77" fmla="*/ 114 h 781"/>
                    <a:gd name="T78" fmla="*/ 703 w 780"/>
                    <a:gd name="T79" fmla="*/ 157 h 781"/>
                    <a:gd name="T80" fmla="*/ 734 w 780"/>
                    <a:gd name="T81" fmla="*/ 204 h 781"/>
                    <a:gd name="T82" fmla="*/ 756 w 780"/>
                    <a:gd name="T83" fmla="*/ 257 h 781"/>
                    <a:gd name="T84" fmla="*/ 772 w 780"/>
                    <a:gd name="T85" fmla="*/ 312 h 781"/>
                    <a:gd name="T86" fmla="*/ 779 w 780"/>
                    <a:gd name="T87" fmla="*/ 370 h 781"/>
                    <a:gd name="T88" fmla="*/ 780 w 780"/>
                    <a:gd name="T89" fmla="*/ 39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0" h="781">
                      <a:moveTo>
                        <a:pt x="780" y="391"/>
                      </a:moveTo>
                      <a:lnTo>
                        <a:pt x="780" y="391"/>
                      </a:lnTo>
                      <a:lnTo>
                        <a:pt x="779" y="410"/>
                      </a:lnTo>
                      <a:lnTo>
                        <a:pt x="778" y="431"/>
                      </a:lnTo>
                      <a:lnTo>
                        <a:pt x="776" y="450"/>
                      </a:lnTo>
                      <a:lnTo>
                        <a:pt x="772" y="470"/>
                      </a:lnTo>
                      <a:lnTo>
                        <a:pt x="768" y="488"/>
                      </a:lnTo>
                      <a:lnTo>
                        <a:pt x="762" y="506"/>
                      </a:lnTo>
                      <a:lnTo>
                        <a:pt x="756" y="525"/>
                      </a:lnTo>
                      <a:lnTo>
                        <a:pt x="750" y="543"/>
                      </a:lnTo>
                      <a:lnTo>
                        <a:pt x="742" y="560"/>
                      </a:lnTo>
                      <a:lnTo>
                        <a:pt x="734" y="576"/>
                      </a:lnTo>
                      <a:lnTo>
                        <a:pt x="723" y="593"/>
                      </a:lnTo>
                      <a:lnTo>
                        <a:pt x="714" y="608"/>
                      </a:lnTo>
                      <a:lnTo>
                        <a:pt x="703" y="624"/>
                      </a:lnTo>
                      <a:lnTo>
                        <a:pt x="691" y="639"/>
                      </a:lnTo>
                      <a:lnTo>
                        <a:pt x="679" y="653"/>
                      </a:lnTo>
                      <a:lnTo>
                        <a:pt x="666" y="667"/>
                      </a:lnTo>
                      <a:lnTo>
                        <a:pt x="652" y="679"/>
                      </a:lnTo>
                      <a:lnTo>
                        <a:pt x="639" y="692"/>
                      </a:lnTo>
                      <a:lnTo>
                        <a:pt x="624" y="703"/>
                      </a:lnTo>
                      <a:lnTo>
                        <a:pt x="609" y="715"/>
                      </a:lnTo>
                      <a:lnTo>
                        <a:pt x="593" y="724"/>
                      </a:lnTo>
                      <a:lnTo>
                        <a:pt x="576" y="734"/>
                      </a:lnTo>
                      <a:lnTo>
                        <a:pt x="560" y="742"/>
                      </a:lnTo>
                      <a:lnTo>
                        <a:pt x="543" y="750"/>
                      </a:lnTo>
                      <a:lnTo>
                        <a:pt x="524" y="757"/>
                      </a:lnTo>
                      <a:lnTo>
                        <a:pt x="506" y="763"/>
                      </a:lnTo>
                      <a:lnTo>
                        <a:pt x="488" y="769"/>
                      </a:lnTo>
                      <a:lnTo>
                        <a:pt x="469" y="773"/>
                      </a:lnTo>
                      <a:lnTo>
                        <a:pt x="450" y="777"/>
                      </a:lnTo>
                      <a:lnTo>
                        <a:pt x="430" y="779"/>
                      </a:lnTo>
                      <a:lnTo>
                        <a:pt x="411" y="780"/>
                      </a:lnTo>
                      <a:lnTo>
                        <a:pt x="390" y="781"/>
                      </a:lnTo>
                      <a:lnTo>
                        <a:pt x="390" y="781"/>
                      </a:lnTo>
                      <a:lnTo>
                        <a:pt x="370" y="780"/>
                      </a:lnTo>
                      <a:lnTo>
                        <a:pt x="350" y="779"/>
                      </a:lnTo>
                      <a:lnTo>
                        <a:pt x="331" y="777"/>
                      </a:lnTo>
                      <a:lnTo>
                        <a:pt x="311" y="773"/>
                      </a:lnTo>
                      <a:lnTo>
                        <a:pt x="293" y="769"/>
                      </a:lnTo>
                      <a:lnTo>
                        <a:pt x="275" y="763"/>
                      </a:lnTo>
                      <a:lnTo>
                        <a:pt x="257" y="757"/>
                      </a:lnTo>
                      <a:lnTo>
                        <a:pt x="238" y="750"/>
                      </a:lnTo>
                      <a:lnTo>
                        <a:pt x="221" y="742"/>
                      </a:lnTo>
                      <a:lnTo>
                        <a:pt x="204" y="734"/>
                      </a:lnTo>
                      <a:lnTo>
                        <a:pt x="188" y="724"/>
                      </a:lnTo>
                      <a:lnTo>
                        <a:pt x="172" y="715"/>
                      </a:lnTo>
                      <a:lnTo>
                        <a:pt x="157" y="703"/>
                      </a:lnTo>
                      <a:lnTo>
                        <a:pt x="142" y="692"/>
                      </a:lnTo>
                      <a:lnTo>
                        <a:pt x="128" y="679"/>
                      </a:lnTo>
                      <a:lnTo>
                        <a:pt x="115" y="667"/>
                      </a:lnTo>
                      <a:lnTo>
                        <a:pt x="102" y="653"/>
                      </a:lnTo>
                      <a:lnTo>
                        <a:pt x="90" y="639"/>
                      </a:lnTo>
                      <a:lnTo>
                        <a:pt x="78" y="624"/>
                      </a:lnTo>
                      <a:lnTo>
                        <a:pt x="67" y="608"/>
                      </a:lnTo>
                      <a:lnTo>
                        <a:pt x="56" y="593"/>
                      </a:lnTo>
                      <a:lnTo>
                        <a:pt x="47" y="576"/>
                      </a:lnTo>
                      <a:lnTo>
                        <a:pt x="39" y="560"/>
                      </a:lnTo>
                      <a:lnTo>
                        <a:pt x="31" y="543"/>
                      </a:lnTo>
                      <a:lnTo>
                        <a:pt x="24" y="525"/>
                      </a:lnTo>
                      <a:lnTo>
                        <a:pt x="17" y="506"/>
                      </a:lnTo>
                      <a:lnTo>
                        <a:pt x="13" y="488"/>
                      </a:lnTo>
                      <a:lnTo>
                        <a:pt x="8" y="470"/>
                      </a:lnTo>
                      <a:lnTo>
                        <a:pt x="5" y="450"/>
                      </a:lnTo>
                      <a:lnTo>
                        <a:pt x="3" y="431"/>
                      </a:lnTo>
                      <a:lnTo>
                        <a:pt x="0" y="410"/>
                      </a:lnTo>
                      <a:lnTo>
                        <a:pt x="0" y="391"/>
                      </a:lnTo>
                      <a:lnTo>
                        <a:pt x="0" y="391"/>
                      </a:lnTo>
                      <a:lnTo>
                        <a:pt x="0" y="370"/>
                      </a:lnTo>
                      <a:lnTo>
                        <a:pt x="3" y="350"/>
                      </a:lnTo>
                      <a:lnTo>
                        <a:pt x="5" y="331"/>
                      </a:lnTo>
                      <a:lnTo>
                        <a:pt x="8" y="312"/>
                      </a:lnTo>
                      <a:lnTo>
                        <a:pt x="13" y="293"/>
                      </a:lnTo>
                      <a:lnTo>
                        <a:pt x="17" y="274"/>
                      </a:lnTo>
                      <a:lnTo>
                        <a:pt x="24" y="257"/>
                      </a:lnTo>
                      <a:lnTo>
                        <a:pt x="31" y="238"/>
                      </a:lnTo>
                      <a:lnTo>
                        <a:pt x="39" y="221"/>
                      </a:lnTo>
                      <a:lnTo>
                        <a:pt x="47" y="204"/>
                      </a:lnTo>
                      <a:lnTo>
                        <a:pt x="56" y="188"/>
                      </a:lnTo>
                      <a:lnTo>
                        <a:pt x="67" y="172"/>
                      </a:lnTo>
                      <a:lnTo>
                        <a:pt x="78" y="157"/>
                      </a:lnTo>
                      <a:lnTo>
                        <a:pt x="90" y="142"/>
                      </a:lnTo>
                      <a:lnTo>
                        <a:pt x="102" y="128"/>
                      </a:lnTo>
                      <a:lnTo>
                        <a:pt x="115" y="114"/>
                      </a:lnTo>
                      <a:lnTo>
                        <a:pt x="128" y="101"/>
                      </a:lnTo>
                      <a:lnTo>
                        <a:pt x="142" y="89"/>
                      </a:lnTo>
                      <a:lnTo>
                        <a:pt x="157" y="78"/>
                      </a:lnTo>
                      <a:lnTo>
                        <a:pt x="172" y="66"/>
                      </a:lnTo>
                      <a:lnTo>
                        <a:pt x="188" y="56"/>
                      </a:lnTo>
                      <a:lnTo>
                        <a:pt x="204" y="47"/>
                      </a:lnTo>
                      <a:lnTo>
                        <a:pt x="221" y="39"/>
                      </a:lnTo>
                      <a:lnTo>
                        <a:pt x="238" y="31"/>
                      </a:lnTo>
                      <a:lnTo>
                        <a:pt x="257" y="24"/>
                      </a:lnTo>
                      <a:lnTo>
                        <a:pt x="275" y="17"/>
                      </a:lnTo>
                      <a:lnTo>
                        <a:pt x="293" y="13"/>
                      </a:lnTo>
                      <a:lnTo>
                        <a:pt x="311" y="8"/>
                      </a:lnTo>
                      <a:lnTo>
                        <a:pt x="331" y="4"/>
                      </a:lnTo>
                      <a:lnTo>
                        <a:pt x="350" y="2"/>
                      </a:lnTo>
                      <a:lnTo>
                        <a:pt x="370" y="0"/>
                      </a:lnTo>
                      <a:lnTo>
                        <a:pt x="390" y="0"/>
                      </a:lnTo>
                      <a:lnTo>
                        <a:pt x="390" y="0"/>
                      </a:lnTo>
                      <a:lnTo>
                        <a:pt x="411" y="0"/>
                      </a:lnTo>
                      <a:lnTo>
                        <a:pt x="430" y="2"/>
                      </a:lnTo>
                      <a:lnTo>
                        <a:pt x="450" y="4"/>
                      </a:lnTo>
                      <a:lnTo>
                        <a:pt x="469" y="8"/>
                      </a:lnTo>
                      <a:lnTo>
                        <a:pt x="488" y="13"/>
                      </a:lnTo>
                      <a:lnTo>
                        <a:pt x="506" y="17"/>
                      </a:lnTo>
                      <a:lnTo>
                        <a:pt x="524" y="24"/>
                      </a:lnTo>
                      <a:lnTo>
                        <a:pt x="543" y="31"/>
                      </a:lnTo>
                      <a:lnTo>
                        <a:pt x="560" y="39"/>
                      </a:lnTo>
                      <a:lnTo>
                        <a:pt x="576" y="47"/>
                      </a:lnTo>
                      <a:lnTo>
                        <a:pt x="593" y="56"/>
                      </a:lnTo>
                      <a:lnTo>
                        <a:pt x="609" y="66"/>
                      </a:lnTo>
                      <a:lnTo>
                        <a:pt x="624" y="78"/>
                      </a:lnTo>
                      <a:lnTo>
                        <a:pt x="639" y="89"/>
                      </a:lnTo>
                      <a:lnTo>
                        <a:pt x="652" y="101"/>
                      </a:lnTo>
                      <a:lnTo>
                        <a:pt x="666" y="114"/>
                      </a:lnTo>
                      <a:lnTo>
                        <a:pt x="679" y="128"/>
                      </a:lnTo>
                      <a:lnTo>
                        <a:pt x="691" y="142"/>
                      </a:lnTo>
                      <a:lnTo>
                        <a:pt x="703" y="157"/>
                      </a:lnTo>
                      <a:lnTo>
                        <a:pt x="714" y="172"/>
                      </a:lnTo>
                      <a:lnTo>
                        <a:pt x="723" y="188"/>
                      </a:lnTo>
                      <a:lnTo>
                        <a:pt x="734" y="204"/>
                      </a:lnTo>
                      <a:lnTo>
                        <a:pt x="742" y="221"/>
                      </a:lnTo>
                      <a:lnTo>
                        <a:pt x="750" y="238"/>
                      </a:lnTo>
                      <a:lnTo>
                        <a:pt x="756" y="257"/>
                      </a:lnTo>
                      <a:lnTo>
                        <a:pt x="762" y="274"/>
                      </a:lnTo>
                      <a:lnTo>
                        <a:pt x="768" y="293"/>
                      </a:lnTo>
                      <a:lnTo>
                        <a:pt x="772" y="312"/>
                      </a:lnTo>
                      <a:lnTo>
                        <a:pt x="776" y="331"/>
                      </a:lnTo>
                      <a:lnTo>
                        <a:pt x="778" y="350"/>
                      </a:lnTo>
                      <a:lnTo>
                        <a:pt x="779" y="370"/>
                      </a:lnTo>
                      <a:lnTo>
                        <a:pt x="780" y="391"/>
                      </a:lnTo>
                      <a:lnTo>
                        <a:pt x="780" y="391"/>
                      </a:lnTo>
                      <a:close/>
                      <a:moveTo>
                        <a:pt x="780" y="391"/>
                      </a:moveTo>
                      <a:lnTo>
                        <a:pt x="780" y="391"/>
                      </a:lnTo>
                      <a:close/>
                    </a:path>
                  </a:pathLst>
                </a:custGeom>
                <a:solidFill>
                  <a:srgbClr val="D9D9D9"/>
                </a:solidFill>
                <a:ln w="19050">
                  <a:solidFill>
                    <a:sysClr val="windowText" lastClr="000000">
                      <a:lumMod val="75000"/>
                      <a:lumOff val="25000"/>
                    </a:sysClr>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2" name="Line 7">
                  <a:extLst>
                    <a:ext uri="{FF2B5EF4-FFF2-40B4-BE49-F238E27FC236}">
                      <a16:creationId xmlns:a16="http://schemas.microsoft.com/office/drawing/2014/main" id="{F50D233F-2257-42AA-9455-285ACFE226B7}"/>
                    </a:ext>
                  </a:extLst>
                </p:cNvPr>
                <p:cNvSpPr>
                  <a:spLocks noChangeShapeType="1"/>
                </p:cNvSpPr>
                <p:nvPr/>
              </p:nvSpPr>
              <p:spPr bwMode="auto">
                <a:xfrm>
                  <a:off x="4573982" y="1227428"/>
                  <a:ext cx="0" cy="0"/>
                </a:xfrm>
                <a:prstGeom prst="line">
                  <a:avLst/>
                </a:prstGeom>
                <a:noFill/>
                <a:ln w="15875">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3" name="Freeform 8">
                  <a:extLst>
                    <a:ext uri="{FF2B5EF4-FFF2-40B4-BE49-F238E27FC236}">
                      <a16:creationId xmlns:a16="http://schemas.microsoft.com/office/drawing/2014/main" id="{C0D45010-0F3D-4A9F-9B1B-74C8D28D36BC}"/>
                    </a:ext>
                  </a:extLst>
                </p:cNvPr>
                <p:cNvSpPr>
                  <a:spLocks/>
                </p:cNvSpPr>
                <p:nvPr/>
              </p:nvSpPr>
              <p:spPr bwMode="auto">
                <a:xfrm>
                  <a:off x="4490367" y="1287728"/>
                  <a:ext cx="82811" cy="329636"/>
                </a:xfrm>
                <a:custGeom>
                  <a:avLst/>
                  <a:gdLst>
                    <a:gd name="T0" fmla="*/ 702 w 721"/>
                    <a:gd name="T1" fmla="*/ 204 h 2869"/>
                    <a:gd name="T2" fmla="*/ 674 w 721"/>
                    <a:gd name="T3" fmla="*/ 147 h 2869"/>
                    <a:gd name="T4" fmla="*/ 629 w 721"/>
                    <a:gd name="T5" fmla="*/ 98 h 2869"/>
                    <a:gd name="T6" fmla="*/ 574 w 721"/>
                    <a:gd name="T7" fmla="*/ 59 h 2869"/>
                    <a:gd name="T8" fmla="*/ 514 w 721"/>
                    <a:gd name="T9" fmla="*/ 31 h 2869"/>
                    <a:gd name="T10" fmla="*/ 453 w 721"/>
                    <a:gd name="T11" fmla="*/ 11 h 2869"/>
                    <a:gd name="T12" fmla="*/ 427 w 721"/>
                    <a:gd name="T13" fmla="*/ 4 h 2869"/>
                    <a:gd name="T14" fmla="*/ 368 w 721"/>
                    <a:gd name="T15" fmla="*/ 0 h 2869"/>
                    <a:gd name="T16" fmla="*/ 308 w 721"/>
                    <a:gd name="T17" fmla="*/ 4 h 2869"/>
                    <a:gd name="T18" fmla="*/ 278 w 721"/>
                    <a:gd name="T19" fmla="*/ 9 h 2869"/>
                    <a:gd name="T20" fmla="*/ 205 w 721"/>
                    <a:gd name="T21" fmla="*/ 35 h 2869"/>
                    <a:gd name="T22" fmla="*/ 135 w 721"/>
                    <a:gd name="T23" fmla="*/ 75 h 2869"/>
                    <a:gd name="T24" fmla="*/ 74 w 721"/>
                    <a:gd name="T25" fmla="*/ 129 h 2869"/>
                    <a:gd name="T26" fmla="*/ 30 w 721"/>
                    <a:gd name="T27" fmla="*/ 198 h 2869"/>
                    <a:gd name="T28" fmla="*/ 16 w 721"/>
                    <a:gd name="T29" fmla="*/ 237 h 2869"/>
                    <a:gd name="T30" fmla="*/ 8 w 721"/>
                    <a:gd name="T31" fmla="*/ 278 h 2869"/>
                    <a:gd name="T32" fmla="*/ 0 w 721"/>
                    <a:gd name="T33" fmla="*/ 1170 h 2869"/>
                    <a:gd name="T34" fmla="*/ 2 w 721"/>
                    <a:gd name="T35" fmla="*/ 1205 h 2869"/>
                    <a:gd name="T36" fmla="*/ 14 w 721"/>
                    <a:gd name="T37" fmla="*/ 1254 h 2869"/>
                    <a:gd name="T38" fmla="*/ 33 w 721"/>
                    <a:gd name="T39" fmla="*/ 1300 h 2869"/>
                    <a:gd name="T40" fmla="*/ 61 w 721"/>
                    <a:gd name="T41" fmla="*/ 1340 h 2869"/>
                    <a:gd name="T42" fmla="*/ 95 w 721"/>
                    <a:gd name="T43" fmla="*/ 1377 h 2869"/>
                    <a:gd name="T44" fmla="*/ 121 w 721"/>
                    <a:gd name="T45" fmla="*/ 2639 h 2869"/>
                    <a:gd name="T46" fmla="*/ 121 w 721"/>
                    <a:gd name="T47" fmla="*/ 2682 h 2869"/>
                    <a:gd name="T48" fmla="*/ 136 w 721"/>
                    <a:gd name="T49" fmla="*/ 2740 h 2869"/>
                    <a:gd name="T50" fmla="*/ 166 w 721"/>
                    <a:gd name="T51" fmla="*/ 2792 h 2869"/>
                    <a:gd name="T52" fmla="*/ 209 w 721"/>
                    <a:gd name="T53" fmla="*/ 2832 h 2869"/>
                    <a:gd name="T54" fmla="*/ 263 w 721"/>
                    <a:gd name="T55" fmla="*/ 2859 h 2869"/>
                    <a:gd name="T56" fmla="*/ 304 w 721"/>
                    <a:gd name="T57" fmla="*/ 2867 h 2869"/>
                    <a:gd name="T58" fmla="*/ 347 w 721"/>
                    <a:gd name="T59" fmla="*/ 2869 h 2869"/>
                    <a:gd name="T60" fmla="*/ 405 w 721"/>
                    <a:gd name="T61" fmla="*/ 2854 h 2869"/>
                    <a:gd name="T62" fmla="*/ 456 w 721"/>
                    <a:gd name="T63" fmla="*/ 2824 h 2869"/>
                    <a:gd name="T64" fmla="*/ 496 w 721"/>
                    <a:gd name="T65" fmla="*/ 2780 h 2869"/>
                    <a:gd name="T66" fmla="*/ 524 w 721"/>
                    <a:gd name="T67" fmla="*/ 2725 h 2869"/>
                    <a:gd name="T68" fmla="*/ 532 w 721"/>
                    <a:gd name="T69" fmla="*/ 1438 h 2869"/>
                    <a:gd name="T70" fmla="*/ 568 w 721"/>
                    <a:gd name="T71" fmla="*/ 1418 h 2869"/>
                    <a:gd name="T72" fmla="*/ 619 w 721"/>
                    <a:gd name="T73" fmla="*/ 1382 h 2869"/>
                    <a:gd name="T74" fmla="*/ 661 w 721"/>
                    <a:gd name="T75" fmla="*/ 1336 h 2869"/>
                    <a:gd name="T76" fmla="*/ 693 w 721"/>
                    <a:gd name="T77" fmla="*/ 1282 h 2869"/>
                    <a:gd name="T78" fmla="*/ 711 w 721"/>
                    <a:gd name="T79" fmla="*/ 1220 h 2869"/>
                    <a:gd name="T80" fmla="*/ 716 w 721"/>
                    <a:gd name="T81" fmla="*/ 1174 h 2869"/>
                    <a:gd name="T82" fmla="*/ 721 w 721"/>
                    <a:gd name="T83" fmla="*/ 609 h 2869"/>
                    <a:gd name="T84" fmla="*/ 719 w 721"/>
                    <a:gd name="T85" fmla="*/ 498 h 2869"/>
                    <a:gd name="T86" fmla="*/ 714 w 721"/>
                    <a:gd name="T87" fmla="*/ 306 h 2869"/>
                    <a:gd name="T88" fmla="*/ 707 w 721"/>
                    <a:gd name="T89" fmla="*/ 226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1" h="2869">
                      <a:moveTo>
                        <a:pt x="707" y="226"/>
                      </a:moveTo>
                      <a:lnTo>
                        <a:pt x="707" y="226"/>
                      </a:lnTo>
                      <a:lnTo>
                        <a:pt x="702" y="204"/>
                      </a:lnTo>
                      <a:lnTo>
                        <a:pt x="694" y="183"/>
                      </a:lnTo>
                      <a:lnTo>
                        <a:pt x="685" y="164"/>
                      </a:lnTo>
                      <a:lnTo>
                        <a:pt x="674" y="147"/>
                      </a:lnTo>
                      <a:lnTo>
                        <a:pt x="661" y="129"/>
                      </a:lnTo>
                      <a:lnTo>
                        <a:pt x="646" y="113"/>
                      </a:lnTo>
                      <a:lnTo>
                        <a:pt x="629" y="98"/>
                      </a:lnTo>
                      <a:lnTo>
                        <a:pt x="612" y="85"/>
                      </a:lnTo>
                      <a:lnTo>
                        <a:pt x="594" y="71"/>
                      </a:lnTo>
                      <a:lnTo>
                        <a:pt x="574" y="59"/>
                      </a:lnTo>
                      <a:lnTo>
                        <a:pt x="555" y="49"/>
                      </a:lnTo>
                      <a:lnTo>
                        <a:pt x="534" y="39"/>
                      </a:lnTo>
                      <a:lnTo>
                        <a:pt x="514" y="31"/>
                      </a:lnTo>
                      <a:lnTo>
                        <a:pt x="493" y="23"/>
                      </a:lnTo>
                      <a:lnTo>
                        <a:pt x="472" y="17"/>
                      </a:lnTo>
                      <a:lnTo>
                        <a:pt x="453" y="11"/>
                      </a:lnTo>
                      <a:lnTo>
                        <a:pt x="453" y="11"/>
                      </a:lnTo>
                      <a:lnTo>
                        <a:pt x="445" y="9"/>
                      </a:lnTo>
                      <a:lnTo>
                        <a:pt x="427" y="4"/>
                      </a:lnTo>
                      <a:lnTo>
                        <a:pt x="399" y="1"/>
                      </a:lnTo>
                      <a:lnTo>
                        <a:pt x="384" y="0"/>
                      </a:lnTo>
                      <a:lnTo>
                        <a:pt x="368" y="0"/>
                      </a:lnTo>
                      <a:lnTo>
                        <a:pt x="368" y="0"/>
                      </a:lnTo>
                      <a:lnTo>
                        <a:pt x="336" y="1"/>
                      </a:lnTo>
                      <a:lnTo>
                        <a:pt x="308" y="4"/>
                      </a:lnTo>
                      <a:lnTo>
                        <a:pt x="279" y="9"/>
                      </a:lnTo>
                      <a:lnTo>
                        <a:pt x="278" y="9"/>
                      </a:lnTo>
                      <a:lnTo>
                        <a:pt x="278" y="9"/>
                      </a:lnTo>
                      <a:lnTo>
                        <a:pt x="254" y="16"/>
                      </a:lnTo>
                      <a:lnTo>
                        <a:pt x="229" y="25"/>
                      </a:lnTo>
                      <a:lnTo>
                        <a:pt x="205" y="35"/>
                      </a:lnTo>
                      <a:lnTo>
                        <a:pt x="181" y="47"/>
                      </a:lnTo>
                      <a:lnTo>
                        <a:pt x="157" y="61"/>
                      </a:lnTo>
                      <a:lnTo>
                        <a:pt x="135" y="75"/>
                      </a:lnTo>
                      <a:lnTo>
                        <a:pt x="113" y="92"/>
                      </a:lnTo>
                      <a:lnTo>
                        <a:pt x="93" y="110"/>
                      </a:lnTo>
                      <a:lnTo>
                        <a:pt x="74" y="129"/>
                      </a:lnTo>
                      <a:lnTo>
                        <a:pt x="57" y="151"/>
                      </a:lnTo>
                      <a:lnTo>
                        <a:pt x="42" y="174"/>
                      </a:lnTo>
                      <a:lnTo>
                        <a:pt x="30" y="198"/>
                      </a:lnTo>
                      <a:lnTo>
                        <a:pt x="25" y="211"/>
                      </a:lnTo>
                      <a:lnTo>
                        <a:pt x="19" y="223"/>
                      </a:lnTo>
                      <a:lnTo>
                        <a:pt x="16" y="237"/>
                      </a:lnTo>
                      <a:lnTo>
                        <a:pt x="13" y="250"/>
                      </a:lnTo>
                      <a:lnTo>
                        <a:pt x="9" y="265"/>
                      </a:lnTo>
                      <a:lnTo>
                        <a:pt x="8" y="278"/>
                      </a:lnTo>
                      <a:lnTo>
                        <a:pt x="6" y="293"/>
                      </a:lnTo>
                      <a:lnTo>
                        <a:pt x="6" y="308"/>
                      </a:lnTo>
                      <a:lnTo>
                        <a:pt x="0" y="1170"/>
                      </a:lnTo>
                      <a:lnTo>
                        <a:pt x="0" y="1170"/>
                      </a:lnTo>
                      <a:lnTo>
                        <a:pt x="1" y="1188"/>
                      </a:lnTo>
                      <a:lnTo>
                        <a:pt x="2" y="1205"/>
                      </a:lnTo>
                      <a:lnTo>
                        <a:pt x="5" y="1222"/>
                      </a:lnTo>
                      <a:lnTo>
                        <a:pt x="9" y="1238"/>
                      </a:lnTo>
                      <a:lnTo>
                        <a:pt x="14" y="1254"/>
                      </a:lnTo>
                      <a:lnTo>
                        <a:pt x="19" y="1270"/>
                      </a:lnTo>
                      <a:lnTo>
                        <a:pt x="26" y="1285"/>
                      </a:lnTo>
                      <a:lnTo>
                        <a:pt x="33" y="1300"/>
                      </a:lnTo>
                      <a:lnTo>
                        <a:pt x="42" y="1314"/>
                      </a:lnTo>
                      <a:lnTo>
                        <a:pt x="51" y="1328"/>
                      </a:lnTo>
                      <a:lnTo>
                        <a:pt x="61" y="1340"/>
                      </a:lnTo>
                      <a:lnTo>
                        <a:pt x="71" y="1353"/>
                      </a:lnTo>
                      <a:lnTo>
                        <a:pt x="82" y="1366"/>
                      </a:lnTo>
                      <a:lnTo>
                        <a:pt x="95" y="1377"/>
                      </a:lnTo>
                      <a:lnTo>
                        <a:pt x="107" y="1387"/>
                      </a:lnTo>
                      <a:lnTo>
                        <a:pt x="120" y="1398"/>
                      </a:lnTo>
                      <a:lnTo>
                        <a:pt x="121" y="2639"/>
                      </a:lnTo>
                      <a:lnTo>
                        <a:pt x="121" y="2639"/>
                      </a:lnTo>
                      <a:lnTo>
                        <a:pt x="120" y="2661"/>
                      </a:lnTo>
                      <a:lnTo>
                        <a:pt x="121" y="2682"/>
                      </a:lnTo>
                      <a:lnTo>
                        <a:pt x="123" y="2701"/>
                      </a:lnTo>
                      <a:lnTo>
                        <a:pt x="129" y="2722"/>
                      </a:lnTo>
                      <a:lnTo>
                        <a:pt x="136" y="2740"/>
                      </a:lnTo>
                      <a:lnTo>
                        <a:pt x="144" y="2759"/>
                      </a:lnTo>
                      <a:lnTo>
                        <a:pt x="154" y="2776"/>
                      </a:lnTo>
                      <a:lnTo>
                        <a:pt x="166" y="2792"/>
                      </a:lnTo>
                      <a:lnTo>
                        <a:pt x="178" y="2807"/>
                      </a:lnTo>
                      <a:lnTo>
                        <a:pt x="193" y="2821"/>
                      </a:lnTo>
                      <a:lnTo>
                        <a:pt x="209" y="2832"/>
                      </a:lnTo>
                      <a:lnTo>
                        <a:pt x="226" y="2842"/>
                      </a:lnTo>
                      <a:lnTo>
                        <a:pt x="245" y="2851"/>
                      </a:lnTo>
                      <a:lnTo>
                        <a:pt x="263" y="2859"/>
                      </a:lnTo>
                      <a:lnTo>
                        <a:pt x="284" y="2864"/>
                      </a:lnTo>
                      <a:lnTo>
                        <a:pt x="304" y="2867"/>
                      </a:lnTo>
                      <a:lnTo>
                        <a:pt x="304" y="2867"/>
                      </a:lnTo>
                      <a:lnTo>
                        <a:pt x="304" y="2867"/>
                      </a:lnTo>
                      <a:lnTo>
                        <a:pt x="326" y="2869"/>
                      </a:lnTo>
                      <a:lnTo>
                        <a:pt x="347" y="2869"/>
                      </a:lnTo>
                      <a:lnTo>
                        <a:pt x="366" y="2865"/>
                      </a:lnTo>
                      <a:lnTo>
                        <a:pt x="387" y="2861"/>
                      </a:lnTo>
                      <a:lnTo>
                        <a:pt x="405" y="2854"/>
                      </a:lnTo>
                      <a:lnTo>
                        <a:pt x="423" y="2846"/>
                      </a:lnTo>
                      <a:lnTo>
                        <a:pt x="440" y="2835"/>
                      </a:lnTo>
                      <a:lnTo>
                        <a:pt x="456" y="2824"/>
                      </a:lnTo>
                      <a:lnTo>
                        <a:pt x="471" y="2810"/>
                      </a:lnTo>
                      <a:lnTo>
                        <a:pt x="485" y="2795"/>
                      </a:lnTo>
                      <a:lnTo>
                        <a:pt x="496" y="2780"/>
                      </a:lnTo>
                      <a:lnTo>
                        <a:pt x="507" y="2763"/>
                      </a:lnTo>
                      <a:lnTo>
                        <a:pt x="516" y="2745"/>
                      </a:lnTo>
                      <a:lnTo>
                        <a:pt x="524" y="2725"/>
                      </a:lnTo>
                      <a:lnTo>
                        <a:pt x="528" y="2706"/>
                      </a:lnTo>
                      <a:lnTo>
                        <a:pt x="532" y="2685"/>
                      </a:lnTo>
                      <a:lnTo>
                        <a:pt x="532" y="1438"/>
                      </a:lnTo>
                      <a:lnTo>
                        <a:pt x="532" y="1438"/>
                      </a:lnTo>
                      <a:lnTo>
                        <a:pt x="550" y="1429"/>
                      </a:lnTo>
                      <a:lnTo>
                        <a:pt x="568" y="1418"/>
                      </a:lnTo>
                      <a:lnTo>
                        <a:pt x="586" y="1407"/>
                      </a:lnTo>
                      <a:lnTo>
                        <a:pt x="603" y="1394"/>
                      </a:lnTo>
                      <a:lnTo>
                        <a:pt x="619" y="1382"/>
                      </a:lnTo>
                      <a:lnTo>
                        <a:pt x="634" y="1368"/>
                      </a:lnTo>
                      <a:lnTo>
                        <a:pt x="647" y="1352"/>
                      </a:lnTo>
                      <a:lnTo>
                        <a:pt x="661" y="1336"/>
                      </a:lnTo>
                      <a:lnTo>
                        <a:pt x="673" y="1320"/>
                      </a:lnTo>
                      <a:lnTo>
                        <a:pt x="684" y="1301"/>
                      </a:lnTo>
                      <a:lnTo>
                        <a:pt x="693" y="1282"/>
                      </a:lnTo>
                      <a:lnTo>
                        <a:pt x="701" y="1262"/>
                      </a:lnTo>
                      <a:lnTo>
                        <a:pt x="707" y="1242"/>
                      </a:lnTo>
                      <a:lnTo>
                        <a:pt x="711" y="1220"/>
                      </a:lnTo>
                      <a:lnTo>
                        <a:pt x="715" y="1198"/>
                      </a:lnTo>
                      <a:lnTo>
                        <a:pt x="716" y="1174"/>
                      </a:lnTo>
                      <a:lnTo>
                        <a:pt x="716" y="1174"/>
                      </a:lnTo>
                      <a:lnTo>
                        <a:pt x="719" y="915"/>
                      </a:lnTo>
                      <a:lnTo>
                        <a:pt x="721" y="703"/>
                      </a:lnTo>
                      <a:lnTo>
                        <a:pt x="721" y="609"/>
                      </a:lnTo>
                      <a:lnTo>
                        <a:pt x="719" y="536"/>
                      </a:lnTo>
                      <a:lnTo>
                        <a:pt x="719" y="536"/>
                      </a:lnTo>
                      <a:lnTo>
                        <a:pt x="719" y="498"/>
                      </a:lnTo>
                      <a:lnTo>
                        <a:pt x="718" y="409"/>
                      </a:lnTo>
                      <a:lnTo>
                        <a:pt x="716" y="357"/>
                      </a:lnTo>
                      <a:lnTo>
                        <a:pt x="714" y="306"/>
                      </a:lnTo>
                      <a:lnTo>
                        <a:pt x="711" y="261"/>
                      </a:lnTo>
                      <a:lnTo>
                        <a:pt x="707" y="226"/>
                      </a:lnTo>
                      <a:lnTo>
                        <a:pt x="707" y="226"/>
                      </a:lnTo>
                      <a:close/>
                    </a:path>
                  </a:pathLst>
                </a:custGeom>
                <a:solidFill>
                  <a:srgbClr val="D9D9D9"/>
                </a:solidFill>
                <a:ln w="19050">
                  <a:solidFill>
                    <a:sysClr val="windowText" lastClr="000000">
                      <a:lumMod val="75000"/>
                      <a:lumOff val="25000"/>
                    </a:sysClr>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4" name="Line 11">
                  <a:extLst>
                    <a:ext uri="{FF2B5EF4-FFF2-40B4-BE49-F238E27FC236}">
                      <a16:creationId xmlns:a16="http://schemas.microsoft.com/office/drawing/2014/main" id="{7279BC0E-2CB9-48C9-B04E-333DC7ECFBF3}"/>
                    </a:ext>
                  </a:extLst>
                </p:cNvPr>
                <p:cNvSpPr>
                  <a:spLocks noChangeShapeType="1"/>
                </p:cNvSpPr>
                <p:nvPr/>
              </p:nvSpPr>
              <p:spPr bwMode="auto">
                <a:xfrm>
                  <a:off x="4962309" y="1227428"/>
                  <a:ext cx="0" cy="0"/>
                </a:xfrm>
                <a:prstGeom prst="line">
                  <a:avLst/>
                </a:prstGeom>
                <a:noFill/>
                <a:ln w="15875">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5" name="Freeform 12">
                  <a:extLst>
                    <a:ext uri="{FF2B5EF4-FFF2-40B4-BE49-F238E27FC236}">
                      <a16:creationId xmlns:a16="http://schemas.microsoft.com/office/drawing/2014/main" id="{969FFE43-7E29-4BB7-BAE0-6A144A913EA9}"/>
                    </a:ext>
                  </a:extLst>
                </p:cNvPr>
                <p:cNvSpPr>
                  <a:spLocks/>
                </p:cNvSpPr>
                <p:nvPr/>
              </p:nvSpPr>
              <p:spPr bwMode="auto">
                <a:xfrm>
                  <a:off x="4878694" y="1287728"/>
                  <a:ext cx="82811" cy="329636"/>
                </a:xfrm>
                <a:custGeom>
                  <a:avLst/>
                  <a:gdLst>
                    <a:gd name="T0" fmla="*/ 703 w 721"/>
                    <a:gd name="T1" fmla="*/ 204 h 2869"/>
                    <a:gd name="T2" fmla="*/ 674 w 721"/>
                    <a:gd name="T3" fmla="*/ 147 h 2869"/>
                    <a:gd name="T4" fmla="*/ 629 w 721"/>
                    <a:gd name="T5" fmla="*/ 98 h 2869"/>
                    <a:gd name="T6" fmla="*/ 574 w 721"/>
                    <a:gd name="T7" fmla="*/ 59 h 2869"/>
                    <a:gd name="T8" fmla="*/ 514 w 721"/>
                    <a:gd name="T9" fmla="*/ 31 h 2869"/>
                    <a:gd name="T10" fmla="*/ 453 w 721"/>
                    <a:gd name="T11" fmla="*/ 11 h 2869"/>
                    <a:gd name="T12" fmla="*/ 427 w 721"/>
                    <a:gd name="T13" fmla="*/ 4 h 2869"/>
                    <a:gd name="T14" fmla="*/ 368 w 721"/>
                    <a:gd name="T15" fmla="*/ 0 h 2869"/>
                    <a:gd name="T16" fmla="*/ 308 w 721"/>
                    <a:gd name="T17" fmla="*/ 4 h 2869"/>
                    <a:gd name="T18" fmla="*/ 278 w 721"/>
                    <a:gd name="T19" fmla="*/ 9 h 2869"/>
                    <a:gd name="T20" fmla="*/ 205 w 721"/>
                    <a:gd name="T21" fmla="*/ 35 h 2869"/>
                    <a:gd name="T22" fmla="*/ 135 w 721"/>
                    <a:gd name="T23" fmla="*/ 75 h 2869"/>
                    <a:gd name="T24" fmla="*/ 74 w 721"/>
                    <a:gd name="T25" fmla="*/ 129 h 2869"/>
                    <a:gd name="T26" fmla="*/ 30 w 721"/>
                    <a:gd name="T27" fmla="*/ 198 h 2869"/>
                    <a:gd name="T28" fmla="*/ 16 w 721"/>
                    <a:gd name="T29" fmla="*/ 237 h 2869"/>
                    <a:gd name="T30" fmla="*/ 7 w 721"/>
                    <a:gd name="T31" fmla="*/ 278 h 2869"/>
                    <a:gd name="T32" fmla="*/ 0 w 721"/>
                    <a:gd name="T33" fmla="*/ 1170 h 2869"/>
                    <a:gd name="T34" fmla="*/ 2 w 721"/>
                    <a:gd name="T35" fmla="*/ 1205 h 2869"/>
                    <a:gd name="T36" fmla="*/ 14 w 721"/>
                    <a:gd name="T37" fmla="*/ 1254 h 2869"/>
                    <a:gd name="T38" fmla="*/ 33 w 721"/>
                    <a:gd name="T39" fmla="*/ 1300 h 2869"/>
                    <a:gd name="T40" fmla="*/ 61 w 721"/>
                    <a:gd name="T41" fmla="*/ 1340 h 2869"/>
                    <a:gd name="T42" fmla="*/ 95 w 721"/>
                    <a:gd name="T43" fmla="*/ 1377 h 2869"/>
                    <a:gd name="T44" fmla="*/ 121 w 721"/>
                    <a:gd name="T45" fmla="*/ 2639 h 2869"/>
                    <a:gd name="T46" fmla="*/ 121 w 721"/>
                    <a:gd name="T47" fmla="*/ 2682 h 2869"/>
                    <a:gd name="T48" fmla="*/ 135 w 721"/>
                    <a:gd name="T49" fmla="*/ 2740 h 2869"/>
                    <a:gd name="T50" fmla="*/ 166 w 721"/>
                    <a:gd name="T51" fmla="*/ 2792 h 2869"/>
                    <a:gd name="T52" fmla="*/ 209 w 721"/>
                    <a:gd name="T53" fmla="*/ 2832 h 2869"/>
                    <a:gd name="T54" fmla="*/ 263 w 721"/>
                    <a:gd name="T55" fmla="*/ 2859 h 2869"/>
                    <a:gd name="T56" fmla="*/ 304 w 721"/>
                    <a:gd name="T57" fmla="*/ 2867 h 2869"/>
                    <a:gd name="T58" fmla="*/ 347 w 721"/>
                    <a:gd name="T59" fmla="*/ 2869 h 2869"/>
                    <a:gd name="T60" fmla="*/ 405 w 721"/>
                    <a:gd name="T61" fmla="*/ 2854 h 2869"/>
                    <a:gd name="T62" fmla="*/ 457 w 721"/>
                    <a:gd name="T63" fmla="*/ 2824 h 2869"/>
                    <a:gd name="T64" fmla="*/ 497 w 721"/>
                    <a:gd name="T65" fmla="*/ 2780 h 2869"/>
                    <a:gd name="T66" fmla="*/ 523 w 721"/>
                    <a:gd name="T67" fmla="*/ 2725 h 2869"/>
                    <a:gd name="T68" fmla="*/ 532 w 721"/>
                    <a:gd name="T69" fmla="*/ 1438 h 2869"/>
                    <a:gd name="T70" fmla="*/ 569 w 721"/>
                    <a:gd name="T71" fmla="*/ 1418 h 2869"/>
                    <a:gd name="T72" fmla="*/ 619 w 721"/>
                    <a:gd name="T73" fmla="*/ 1382 h 2869"/>
                    <a:gd name="T74" fmla="*/ 661 w 721"/>
                    <a:gd name="T75" fmla="*/ 1336 h 2869"/>
                    <a:gd name="T76" fmla="*/ 693 w 721"/>
                    <a:gd name="T77" fmla="*/ 1282 h 2869"/>
                    <a:gd name="T78" fmla="*/ 712 w 721"/>
                    <a:gd name="T79" fmla="*/ 1220 h 2869"/>
                    <a:gd name="T80" fmla="*/ 716 w 721"/>
                    <a:gd name="T81" fmla="*/ 1174 h 2869"/>
                    <a:gd name="T82" fmla="*/ 721 w 721"/>
                    <a:gd name="T83" fmla="*/ 609 h 2869"/>
                    <a:gd name="T84" fmla="*/ 720 w 721"/>
                    <a:gd name="T85" fmla="*/ 498 h 2869"/>
                    <a:gd name="T86" fmla="*/ 714 w 721"/>
                    <a:gd name="T87" fmla="*/ 306 h 2869"/>
                    <a:gd name="T88" fmla="*/ 707 w 721"/>
                    <a:gd name="T89" fmla="*/ 226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1" h="2869">
                      <a:moveTo>
                        <a:pt x="707" y="226"/>
                      </a:moveTo>
                      <a:lnTo>
                        <a:pt x="707" y="226"/>
                      </a:lnTo>
                      <a:lnTo>
                        <a:pt x="703" y="204"/>
                      </a:lnTo>
                      <a:lnTo>
                        <a:pt x="695" y="183"/>
                      </a:lnTo>
                      <a:lnTo>
                        <a:pt x="685" y="164"/>
                      </a:lnTo>
                      <a:lnTo>
                        <a:pt x="674" y="147"/>
                      </a:lnTo>
                      <a:lnTo>
                        <a:pt x="660" y="129"/>
                      </a:lnTo>
                      <a:lnTo>
                        <a:pt x="645" y="113"/>
                      </a:lnTo>
                      <a:lnTo>
                        <a:pt x="629" y="98"/>
                      </a:lnTo>
                      <a:lnTo>
                        <a:pt x="612" y="85"/>
                      </a:lnTo>
                      <a:lnTo>
                        <a:pt x="594" y="71"/>
                      </a:lnTo>
                      <a:lnTo>
                        <a:pt x="574" y="59"/>
                      </a:lnTo>
                      <a:lnTo>
                        <a:pt x="554" y="49"/>
                      </a:lnTo>
                      <a:lnTo>
                        <a:pt x="534" y="39"/>
                      </a:lnTo>
                      <a:lnTo>
                        <a:pt x="514" y="31"/>
                      </a:lnTo>
                      <a:lnTo>
                        <a:pt x="493" y="23"/>
                      </a:lnTo>
                      <a:lnTo>
                        <a:pt x="473" y="17"/>
                      </a:lnTo>
                      <a:lnTo>
                        <a:pt x="453" y="11"/>
                      </a:lnTo>
                      <a:lnTo>
                        <a:pt x="453" y="11"/>
                      </a:lnTo>
                      <a:lnTo>
                        <a:pt x="445" y="9"/>
                      </a:lnTo>
                      <a:lnTo>
                        <a:pt x="427" y="4"/>
                      </a:lnTo>
                      <a:lnTo>
                        <a:pt x="399" y="1"/>
                      </a:lnTo>
                      <a:lnTo>
                        <a:pt x="385" y="0"/>
                      </a:lnTo>
                      <a:lnTo>
                        <a:pt x="368" y="0"/>
                      </a:lnTo>
                      <a:lnTo>
                        <a:pt x="368" y="0"/>
                      </a:lnTo>
                      <a:lnTo>
                        <a:pt x="336" y="1"/>
                      </a:lnTo>
                      <a:lnTo>
                        <a:pt x="308" y="4"/>
                      </a:lnTo>
                      <a:lnTo>
                        <a:pt x="279" y="9"/>
                      </a:lnTo>
                      <a:lnTo>
                        <a:pt x="278" y="9"/>
                      </a:lnTo>
                      <a:lnTo>
                        <a:pt x="278" y="9"/>
                      </a:lnTo>
                      <a:lnTo>
                        <a:pt x="254" y="16"/>
                      </a:lnTo>
                      <a:lnTo>
                        <a:pt x="229" y="25"/>
                      </a:lnTo>
                      <a:lnTo>
                        <a:pt x="205" y="35"/>
                      </a:lnTo>
                      <a:lnTo>
                        <a:pt x="181" y="47"/>
                      </a:lnTo>
                      <a:lnTo>
                        <a:pt x="157" y="61"/>
                      </a:lnTo>
                      <a:lnTo>
                        <a:pt x="135" y="75"/>
                      </a:lnTo>
                      <a:lnTo>
                        <a:pt x="113" y="92"/>
                      </a:lnTo>
                      <a:lnTo>
                        <a:pt x="93" y="110"/>
                      </a:lnTo>
                      <a:lnTo>
                        <a:pt x="74" y="129"/>
                      </a:lnTo>
                      <a:lnTo>
                        <a:pt x="57" y="151"/>
                      </a:lnTo>
                      <a:lnTo>
                        <a:pt x="42" y="174"/>
                      </a:lnTo>
                      <a:lnTo>
                        <a:pt x="30" y="198"/>
                      </a:lnTo>
                      <a:lnTo>
                        <a:pt x="24" y="211"/>
                      </a:lnTo>
                      <a:lnTo>
                        <a:pt x="20" y="223"/>
                      </a:lnTo>
                      <a:lnTo>
                        <a:pt x="16" y="237"/>
                      </a:lnTo>
                      <a:lnTo>
                        <a:pt x="13" y="250"/>
                      </a:lnTo>
                      <a:lnTo>
                        <a:pt x="9" y="265"/>
                      </a:lnTo>
                      <a:lnTo>
                        <a:pt x="7" y="278"/>
                      </a:lnTo>
                      <a:lnTo>
                        <a:pt x="6" y="293"/>
                      </a:lnTo>
                      <a:lnTo>
                        <a:pt x="6" y="308"/>
                      </a:lnTo>
                      <a:lnTo>
                        <a:pt x="0" y="1170"/>
                      </a:lnTo>
                      <a:lnTo>
                        <a:pt x="0" y="1170"/>
                      </a:lnTo>
                      <a:lnTo>
                        <a:pt x="1" y="1188"/>
                      </a:lnTo>
                      <a:lnTo>
                        <a:pt x="2" y="1205"/>
                      </a:lnTo>
                      <a:lnTo>
                        <a:pt x="5" y="1222"/>
                      </a:lnTo>
                      <a:lnTo>
                        <a:pt x="9" y="1238"/>
                      </a:lnTo>
                      <a:lnTo>
                        <a:pt x="14" y="1254"/>
                      </a:lnTo>
                      <a:lnTo>
                        <a:pt x="20" y="1270"/>
                      </a:lnTo>
                      <a:lnTo>
                        <a:pt x="26" y="1285"/>
                      </a:lnTo>
                      <a:lnTo>
                        <a:pt x="33" y="1300"/>
                      </a:lnTo>
                      <a:lnTo>
                        <a:pt x="41" y="1314"/>
                      </a:lnTo>
                      <a:lnTo>
                        <a:pt x="50" y="1328"/>
                      </a:lnTo>
                      <a:lnTo>
                        <a:pt x="61" y="1340"/>
                      </a:lnTo>
                      <a:lnTo>
                        <a:pt x="71" y="1353"/>
                      </a:lnTo>
                      <a:lnTo>
                        <a:pt x="83" y="1366"/>
                      </a:lnTo>
                      <a:lnTo>
                        <a:pt x="95" y="1377"/>
                      </a:lnTo>
                      <a:lnTo>
                        <a:pt x="108" y="1387"/>
                      </a:lnTo>
                      <a:lnTo>
                        <a:pt x="120" y="1398"/>
                      </a:lnTo>
                      <a:lnTo>
                        <a:pt x="121" y="2639"/>
                      </a:lnTo>
                      <a:lnTo>
                        <a:pt x="121" y="2639"/>
                      </a:lnTo>
                      <a:lnTo>
                        <a:pt x="120" y="2661"/>
                      </a:lnTo>
                      <a:lnTo>
                        <a:pt x="121" y="2682"/>
                      </a:lnTo>
                      <a:lnTo>
                        <a:pt x="124" y="2701"/>
                      </a:lnTo>
                      <a:lnTo>
                        <a:pt x="129" y="2722"/>
                      </a:lnTo>
                      <a:lnTo>
                        <a:pt x="135" y="2740"/>
                      </a:lnTo>
                      <a:lnTo>
                        <a:pt x="144" y="2759"/>
                      </a:lnTo>
                      <a:lnTo>
                        <a:pt x="155" y="2776"/>
                      </a:lnTo>
                      <a:lnTo>
                        <a:pt x="166" y="2792"/>
                      </a:lnTo>
                      <a:lnTo>
                        <a:pt x="179" y="2807"/>
                      </a:lnTo>
                      <a:lnTo>
                        <a:pt x="193" y="2821"/>
                      </a:lnTo>
                      <a:lnTo>
                        <a:pt x="209" y="2832"/>
                      </a:lnTo>
                      <a:lnTo>
                        <a:pt x="227" y="2842"/>
                      </a:lnTo>
                      <a:lnTo>
                        <a:pt x="244" y="2851"/>
                      </a:lnTo>
                      <a:lnTo>
                        <a:pt x="263" y="2859"/>
                      </a:lnTo>
                      <a:lnTo>
                        <a:pt x="284" y="2864"/>
                      </a:lnTo>
                      <a:lnTo>
                        <a:pt x="304" y="2867"/>
                      </a:lnTo>
                      <a:lnTo>
                        <a:pt x="304" y="2867"/>
                      </a:lnTo>
                      <a:lnTo>
                        <a:pt x="304" y="2867"/>
                      </a:lnTo>
                      <a:lnTo>
                        <a:pt x="326" y="2869"/>
                      </a:lnTo>
                      <a:lnTo>
                        <a:pt x="347" y="2869"/>
                      </a:lnTo>
                      <a:lnTo>
                        <a:pt x="366" y="2865"/>
                      </a:lnTo>
                      <a:lnTo>
                        <a:pt x="386" y="2861"/>
                      </a:lnTo>
                      <a:lnTo>
                        <a:pt x="405" y="2854"/>
                      </a:lnTo>
                      <a:lnTo>
                        <a:pt x="423" y="2846"/>
                      </a:lnTo>
                      <a:lnTo>
                        <a:pt x="441" y="2835"/>
                      </a:lnTo>
                      <a:lnTo>
                        <a:pt x="457" y="2824"/>
                      </a:lnTo>
                      <a:lnTo>
                        <a:pt x="471" y="2810"/>
                      </a:lnTo>
                      <a:lnTo>
                        <a:pt x="484" y="2795"/>
                      </a:lnTo>
                      <a:lnTo>
                        <a:pt x="497" y="2780"/>
                      </a:lnTo>
                      <a:lnTo>
                        <a:pt x="507" y="2763"/>
                      </a:lnTo>
                      <a:lnTo>
                        <a:pt x="516" y="2745"/>
                      </a:lnTo>
                      <a:lnTo>
                        <a:pt x="523" y="2725"/>
                      </a:lnTo>
                      <a:lnTo>
                        <a:pt x="529" y="2706"/>
                      </a:lnTo>
                      <a:lnTo>
                        <a:pt x="532" y="2685"/>
                      </a:lnTo>
                      <a:lnTo>
                        <a:pt x="532" y="1438"/>
                      </a:lnTo>
                      <a:lnTo>
                        <a:pt x="532" y="1438"/>
                      </a:lnTo>
                      <a:lnTo>
                        <a:pt x="550" y="1429"/>
                      </a:lnTo>
                      <a:lnTo>
                        <a:pt x="569" y="1418"/>
                      </a:lnTo>
                      <a:lnTo>
                        <a:pt x="586" y="1407"/>
                      </a:lnTo>
                      <a:lnTo>
                        <a:pt x="603" y="1394"/>
                      </a:lnTo>
                      <a:lnTo>
                        <a:pt x="619" y="1382"/>
                      </a:lnTo>
                      <a:lnTo>
                        <a:pt x="634" y="1368"/>
                      </a:lnTo>
                      <a:lnTo>
                        <a:pt x="648" y="1352"/>
                      </a:lnTo>
                      <a:lnTo>
                        <a:pt x="661" y="1336"/>
                      </a:lnTo>
                      <a:lnTo>
                        <a:pt x="673" y="1320"/>
                      </a:lnTo>
                      <a:lnTo>
                        <a:pt x="684" y="1301"/>
                      </a:lnTo>
                      <a:lnTo>
                        <a:pt x="693" y="1282"/>
                      </a:lnTo>
                      <a:lnTo>
                        <a:pt x="701" y="1262"/>
                      </a:lnTo>
                      <a:lnTo>
                        <a:pt x="707" y="1242"/>
                      </a:lnTo>
                      <a:lnTo>
                        <a:pt x="712" y="1220"/>
                      </a:lnTo>
                      <a:lnTo>
                        <a:pt x="715" y="1198"/>
                      </a:lnTo>
                      <a:lnTo>
                        <a:pt x="716" y="1174"/>
                      </a:lnTo>
                      <a:lnTo>
                        <a:pt x="716" y="1174"/>
                      </a:lnTo>
                      <a:lnTo>
                        <a:pt x="719" y="915"/>
                      </a:lnTo>
                      <a:lnTo>
                        <a:pt x="721" y="703"/>
                      </a:lnTo>
                      <a:lnTo>
                        <a:pt x="721" y="609"/>
                      </a:lnTo>
                      <a:lnTo>
                        <a:pt x="720" y="536"/>
                      </a:lnTo>
                      <a:lnTo>
                        <a:pt x="720" y="536"/>
                      </a:lnTo>
                      <a:lnTo>
                        <a:pt x="720" y="498"/>
                      </a:lnTo>
                      <a:lnTo>
                        <a:pt x="719" y="409"/>
                      </a:lnTo>
                      <a:lnTo>
                        <a:pt x="716" y="357"/>
                      </a:lnTo>
                      <a:lnTo>
                        <a:pt x="714" y="306"/>
                      </a:lnTo>
                      <a:lnTo>
                        <a:pt x="712" y="261"/>
                      </a:lnTo>
                      <a:lnTo>
                        <a:pt x="707" y="226"/>
                      </a:lnTo>
                      <a:lnTo>
                        <a:pt x="707" y="226"/>
                      </a:lnTo>
                      <a:close/>
                    </a:path>
                  </a:pathLst>
                </a:custGeom>
                <a:solidFill>
                  <a:srgbClr val="D9D9D9"/>
                </a:solidFill>
                <a:ln w="19050">
                  <a:solidFill>
                    <a:sysClr val="windowText" lastClr="000000">
                      <a:lumMod val="75000"/>
                      <a:lumOff val="25000"/>
                    </a:sysClr>
                  </a:solidFill>
                  <a:prstDash val="solid"/>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6" name="Freeform 13">
                  <a:extLst>
                    <a:ext uri="{FF2B5EF4-FFF2-40B4-BE49-F238E27FC236}">
                      <a16:creationId xmlns:a16="http://schemas.microsoft.com/office/drawing/2014/main" id="{FF80D190-7C02-4D4B-9DB2-DA6B3FFBC591}"/>
                    </a:ext>
                  </a:extLst>
                </p:cNvPr>
                <p:cNvSpPr>
                  <a:spLocks noEditPoints="1"/>
                </p:cNvSpPr>
                <p:nvPr/>
              </p:nvSpPr>
              <p:spPr bwMode="auto">
                <a:xfrm>
                  <a:off x="4694580" y="1157481"/>
                  <a:ext cx="81203" cy="82007"/>
                </a:xfrm>
                <a:custGeom>
                  <a:avLst/>
                  <a:gdLst>
                    <a:gd name="T0" fmla="*/ 709 w 709"/>
                    <a:gd name="T1" fmla="*/ 375 h 712"/>
                    <a:gd name="T2" fmla="*/ 702 w 709"/>
                    <a:gd name="T3" fmla="*/ 428 h 712"/>
                    <a:gd name="T4" fmla="*/ 687 w 709"/>
                    <a:gd name="T5" fmla="*/ 478 h 712"/>
                    <a:gd name="T6" fmla="*/ 667 w 709"/>
                    <a:gd name="T7" fmla="*/ 525 h 712"/>
                    <a:gd name="T8" fmla="*/ 639 w 709"/>
                    <a:gd name="T9" fmla="*/ 569 h 712"/>
                    <a:gd name="T10" fmla="*/ 605 w 709"/>
                    <a:gd name="T11" fmla="*/ 608 h 712"/>
                    <a:gd name="T12" fmla="*/ 567 w 709"/>
                    <a:gd name="T13" fmla="*/ 641 h 712"/>
                    <a:gd name="T14" fmla="*/ 524 w 709"/>
                    <a:gd name="T15" fmla="*/ 668 h 712"/>
                    <a:gd name="T16" fmla="*/ 477 w 709"/>
                    <a:gd name="T17" fmla="*/ 690 h 712"/>
                    <a:gd name="T18" fmla="*/ 427 w 709"/>
                    <a:gd name="T19" fmla="*/ 704 h 712"/>
                    <a:gd name="T20" fmla="*/ 373 w 709"/>
                    <a:gd name="T21" fmla="*/ 711 h 712"/>
                    <a:gd name="T22" fmla="*/ 336 w 709"/>
                    <a:gd name="T23" fmla="*/ 711 h 712"/>
                    <a:gd name="T24" fmla="*/ 284 w 709"/>
                    <a:gd name="T25" fmla="*/ 704 h 712"/>
                    <a:gd name="T26" fmla="*/ 232 w 709"/>
                    <a:gd name="T27" fmla="*/ 690 h 712"/>
                    <a:gd name="T28" fmla="*/ 185 w 709"/>
                    <a:gd name="T29" fmla="*/ 668 h 712"/>
                    <a:gd name="T30" fmla="*/ 143 w 709"/>
                    <a:gd name="T31" fmla="*/ 641 h 712"/>
                    <a:gd name="T32" fmla="*/ 104 w 709"/>
                    <a:gd name="T33" fmla="*/ 608 h 712"/>
                    <a:gd name="T34" fmla="*/ 71 w 709"/>
                    <a:gd name="T35" fmla="*/ 569 h 712"/>
                    <a:gd name="T36" fmla="*/ 42 w 709"/>
                    <a:gd name="T37" fmla="*/ 525 h 712"/>
                    <a:gd name="T38" fmla="*/ 22 w 709"/>
                    <a:gd name="T39" fmla="*/ 478 h 712"/>
                    <a:gd name="T40" fmla="*/ 7 w 709"/>
                    <a:gd name="T41" fmla="*/ 428 h 712"/>
                    <a:gd name="T42" fmla="*/ 0 w 709"/>
                    <a:gd name="T43" fmla="*/ 375 h 712"/>
                    <a:gd name="T44" fmla="*/ 0 w 709"/>
                    <a:gd name="T45" fmla="*/ 338 h 712"/>
                    <a:gd name="T46" fmla="*/ 7 w 709"/>
                    <a:gd name="T47" fmla="*/ 284 h 712"/>
                    <a:gd name="T48" fmla="*/ 22 w 709"/>
                    <a:gd name="T49" fmla="*/ 234 h 712"/>
                    <a:gd name="T50" fmla="*/ 42 w 709"/>
                    <a:gd name="T51" fmla="*/ 187 h 712"/>
                    <a:gd name="T52" fmla="*/ 71 w 709"/>
                    <a:gd name="T53" fmla="*/ 144 h 712"/>
                    <a:gd name="T54" fmla="*/ 104 w 709"/>
                    <a:gd name="T55" fmla="*/ 105 h 712"/>
                    <a:gd name="T56" fmla="*/ 143 w 709"/>
                    <a:gd name="T57" fmla="*/ 71 h 712"/>
                    <a:gd name="T58" fmla="*/ 185 w 709"/>
                    <a:gd name="T59" fmla="*/ 44 h 712"/>
                    <a:gd name="T60" fmla="*/ 232 w 709"/>
                    <a:gd name="T61" fmla="*/ 22 h 712"/>
                    <a:gd name="T62" fmla="*/ 284 w 709"/>
                    <a:gd name="T63" fmla="*/ 8 h 712"/>
                    <a:gd name="T64" fmla="*/ 336 w 709"/>
                    <a:gd name="T65" fmla="*/ 2 h 712"/>
                    <a:gd name="T66" fmla="*/ 373 w 709"/>
                    <a:gd name="T67" fmla="*/ 2 h 712"/>
                    <a:gd name="T68" fmla="*/ 427 w 709"/>
                    <a:gd name="T69" fmla="*/ 8 h 712"/>
                    <a:gd name="T70" fmla="*/ 477 w 709"/>
                    <a:gd name="T71" fmla="*/ 22 h 712"/>
                    <a:gd name="T72" fmla="*/ 524 w 709"/>
                    <a:gd name="T73" fmla="*/ 44 h 712"/>
                    <a:gd name="T74" fmla="*/ 567 w 709"/>
                    <a:gd name="T75" fmla="*/ 71 h 712"/>
                    <a:gd name="T76" fmla="*/ 605 w 709"/>
                    <a:gd name="T77" fmla="*/ 105 h 712"/>
                    <a:gd name="T78" fmla="*/ 639 w 709"/>
                    <a:gd name="T79" fmla="*/ 144 h 712"/>
                    <a:gd name="T80" fmla="*/ 667 w 709"/>
                    <a:gd name="T81" fmla="*/ 187 h 712"/>
                    <a:gd name="T82" fmla="*/ 687 w 709"/>
                    <a:gd name="T83" fmla="*/ 234 h 712"/>
                    <a:gd name="T84" fmla="*/ 702 w 709"/>
                    <a:gd name="T85" fmla="*/ 284 h 712"/>
                    <a:gd name="T86" fmla="*/ 709 w 709"/>
                    <a:gd name="T87" fmla="*/ 338 h 712"/>
                    <a:gd name="T88" fmla="*/ 709 w 709"/>
                    <a:gd name="T89" fmla="*/ 35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9" h="712">
                      <a:moveTo>
                        <a:pt x="709" y="357"/>
                      </a:moveTo>
                      <a:lnTo>
                        <a:pt x="709" y="357"/>
                      </a:lnTo>
                      <a:lnTo>
                        <a:pt x="709" y="375"/>
                      </a:lnTo>
                      <a:lnTo>
                        <a:pt x="708" y="392"/>
                      </a:lnTo>
                      <a:lnTo>
                        <a:pt x="706" y="411"/>
                      </a:lnTo>
                      <a:lnTo>
                        <a:pt x="702" y="428"/>
                      </a:lnTo>
                      <a:lnTo>
                        <a:pt x="698" y="445"/>
                      </a:lnTo>
                      <a:lnTo>
                        <a:pt x="693" y="462"/>
                      </a:lnTo>
                      <a:lnTo>
                        <a:pt x="687" y="478"/>
                      </a:lnTo>
                      <a:lnTo>
                        <a:pt x="682" y="494"/>
                      </a:lnTo>
                      <a:lnTo>
                        <a:pt x="675" y="510"/>
                      </a:lnTo>
                      <a:lnTo>
                        <a:pt x="667" y="525"/>
                      </a:lnTo>
                      <a:lnTo>
                        <a:pt x="658" y="540"/>
                      </a:lnTo>
                      <a:lnTo>
                        <a:pt x="649" y="555"/>
                      </a:lnTo>
                      <a:lnTo>
                        <a:pt x="639" y="569"/>
                      </a:lnTo>
                      <a:lnTo>
                        <a:pt x="628" y="582"/>
                      </a:lnTo>
                      <a:lnTo>
                        <a:pt x="618" y="595"/>
                      </a:lnTo>
                      <a:lnTo>
                        <a:pt x="605" y="608"/>
                      </a:lnTo>
                      <a:lnTo>
                        <a:pt x="594" y="619"/>
                      </a:lnTo>
                      <a:lnTo>
                        <a:pt x="580" y="630"/>
                      </a:lnTo>
                      <a:lnTo>
                        <a:pt x="567" y="641"/>
                      </a:lnTo>
                      <a:lnTo>
                        <a:pt x="552" y="651"/>
                      </a:lnTo>
                      <a:lnTo>
                        <a:pt x="539" y="660"/>
                      </a:lnTo>
                      <a:lnTo>
                        <a:pt x="524" y="668"/>
                      </a:lnTo>
                      <a:lnTo>
                        <a:pt x="509" y="676"/>
                      </a:lnTo>
                      <a:lnTo>
                        <a:pt x="493" y="683"/>
                      </a:lnTo>
                      <a:lnTo>
                        <a:pt x="477" y="690"/>
                      </a:lnTo>
                      <a:lnTo>
                        <a:pt x="460" y="696"/>
                      </a:lnTo>
                      <a:lnTo>
                        <a:pt x="444" y="700"/>
                      </a:lnTo>
                      <a:lnTo>
                        <a:pt x="427" y="704"/>
                      </a:lnTo>
                      <a:lnTo>
                        <a:pt x="408" y="707"/>
                      </a:lnTo>
                      <a:lnTo>
                        <a:pt x="391" y="710"/>
                      </a:lnTo>
                      <a:lnTo>
                        <a:pt x="373" y="711"/>
                      </a:lnTo>
                      <a:lnTo>
                        <a:pt x="355" y="712"/>
                      </a:lnTo>
                      <a:lnTo>
                        <a:pt x="355" y="712"/>
                      </a:lnTo>
                      <a:lnTo>
                        <a:pt x="336" y="711"/>
                      </a:lnTo>
                      <a:lnTo>
                        <a:pt x="318" y="710"/>
                      </a:lnTo>
                      <a:lnTo>
                        <a:pt x="301" y="707"/>
                      </a:lnTo>
                      <a:lnTo>
                        <a:pt x="284" y="704"/>
                      </a:lnTo>
                      <a:lnTo>
                        <a:pt x="266" y="700"/>
                      </a:lnTo>
                      <a:lnTo>
                        <a:pt x="249" y="696"/>
                      </a:lnTo>
                      <a:lnTo>
                        <a:pt x="232" y="690"/>
                      </a:lnTo>
                      <a:lnTo>
                        <a:pt x="216" y="683"/>
                      </a:lnTo>
                      <a:lnTo>
                        <a:pt x="201" y="676"/>
                      </a:lnTo>
                      <a:lnTo>
                        <a:pt x="185" y="668"/>
                      </a:lnTo>
                      <a:lnTo>
                        <a:pt x="170" y="660"/>
                      </a:lnTo>
                      <a:lnTo>
                        <a:pt x="157" y="651"/>
                      </a:lnTo>
                      <a:lnTo>
                        <a:pt x="143" y="641"/>
                      </a:lnTo>
                      <a:lnTo>
                        <a:pt x="129" y="630"/>
                      </a:lnTo>
                      <a:lnTo>
                        <a:pt x="117" y="619"/>
                      </a:lnTo>
                      <a:lnTo>
                        <a:pt x="104" y="608"/>
                      </a:lnTo>
                      <a:lnTo>
                        <a:pt x="91" y="595"/>
                      </a:lnTo>
                      <a:lnTo>
                        <a:pt x="81" y="582"/>
                      </a:lnTo>
                      <a:lnTo>
                        <a:pt x="71" y="569"/>
                      </a:lnTo>
                      <a:lnTo>
                        <a:pt x="61" y="555"/>
                      </a:lnTo>
                      <a:lnTo>
                        <a:pt x="51" y="540"/>
                      </a:lnTo>
                      <a:lnTo>
                        <a:pt x="42" y="525"/>
                      </a:lnTo>
                      <a:lnTo>
                        <a:pt x="34" y="510"/>
                      </a:lnTo>
                      <a:lnTo>
                        <a:pt x="27" y="494"/>
                      </a:lnTo>
                      <a:lnTo>
                        <a:pt x="22" y="478"/>
                      </a:lnTo>
                      <a:lnTo>
                        <a:pt x="16" y="462"/>
                      </a:lnTo>
                      <a:lnTo>
                        <a:pt x="11" y="445"/>
                      </a:lnTo>
                      <a:lnTo>
                        <a:pt x="7" y="428"/>
                      </a:lnTo>
                      <a:lnTo>
                        <a:pt x="3" y="411"/>
                      </a:lnTo>
                      <a:lnTo>
                        <a:pt x="1" y="392"/>
                      </a:lnTo>
                      <a:lnTo>
                        <a:pt x="0" y="375"/>
                      </a:lnTo>
                      <a:lnTo>
                        <a:pt x="0" y="357"/>
                      </a:lnTo>
                      <a:lnTo>
                        <a:pt x="0" y="357"/>
                      </a:lnTo>
                      <a:lnTo>
                        <a:pt x="0" y="338"/>
                      </a:lnTo>
                      <a:lnTo>
                        <a:pt x="1" y="320"/>
                      </a:lnTo>
                      <a:lnTo>
                        <a:pt x="3" y="302"/>
                      </a:lnTo>
                      <a:lnTo>
                        <a:pt x="7" y="284"/>
                      </a:lnTo>
                      <a:lnTo>
                        <a:pt x="11" y="267"/>
                      </a:lnTo>
                      <a:lnTo>
                        <a:pt x="16" y="250"/>
                      </a:lnTo>
                      <a:lnTo>
                        <a:pt x="22" y="234"/>
                      </a:lnTo>
                      <a:lnTo>
                        <a:pt x="27" y="218"/>
                      </a:lnTo>
                      <a:lnTo>
                        <a:pt x="34" y="202"/>
                      </a:lnTo>
                      <a:lnTo>
                        <a:pt x="42" y="187"/>
                      </a:lnTo>
                      <a:lnTo>
                        <a:pt x="51" y="172"/>
                      </a:lnTo>
                      <a:lnTo>
                        <a:pt x="61" y="157"/>
                      </a:lnTo>
                      <a:lnTo>
                        <a:pt x="71" y="144"/>
                      </a:lnTo>
                      <a:lnTo>
                        <a:pt x="81" y="130"/>
                      </a:lnTo>
                      <a:lnTo>
                        <a:pt x="91" y="117"/>
                      </a:lnTo>
                      <a:lnTo>
                        <a:pt x="104" y="105"/>
                      </a:lnTo>
                      <a:lnTo>
                        <a:pt x="117" y="93"/>
                      </a:lnTo>
                      <a:lnTo>
                        <a:pt x="129" y="82"/>
                      </a:lnTo>
                      <a:lnTo>
                        <a:pt x="143" y="71"/>
                      </a:lnTo>
                      <a:lnTo>
                        <a:pt x="157" y="61"/>
                      </a:lnTo>
                      <a:lnTo>
                        <a:pt x="170" y="52"/>
                      </a:lnTo>
                      <a:lnTo>
                        <a:pt x="185" y="44"/>
                      </a:lnTo>
                      <a:lnTo>
                        <a:pt x="201" y="36"/>
                      </a:lnTo>
                      <a:lnTo>
                        <a:pt x="216" y="29"/>
                      </a:lnTo>
                      <a:lnTo>
                        <a:pt x="232" y="22"/>
                      </a:lnTo>
                      <a:lnTo>
                        <a:pt x="249" y="16"/>
                      </a:lnTo>
                      <a:lnTo>
                        <a:pt x="266" y="12"/>
                      </a:lnTo>
                      <a:lnTo>
                        <a:pt x="284" y="8"/>
                      </a:lnTo>
                      <a:lnTo>
                        <a:pt x="301" y="5"/>
                      </a:lnTo>
                      <a:lnTo>
                        <a:pt x="318" y="3"/>
                      </a:lnTo>
                      <a:lnTo>
                        <a:pt x="336" y="2"/>
                      </a:lnTo>
                      <a:lnTo>
                        <a:pt x="355" y="0"/>
                      </a:lnTo>
                      <a:lnTo>
                        <a:pt x="355" y="0"/>
                      </a:lnTo>
                      <a:lnTo>
                        <a:pt x="373" y="2"/>
                      </a:lnTo>
                      <a:lnTo>
                        <a:pt x="391" y="3"/>
                      </a:lnTo>
                      <a:lnTo>
                        <a:pt x="408" y="5"/>
                      </a:lnTo>
                      <a:lnTo>
                        <a:pt x="427" y="8"/>
                      </a:lnTo>
                      <a:lnTo>
                        <a:pt x="444" y="12"/>
                      </a:lnTo>
                      <a:lnTo>
                        <a:pt x="460" y="16"/>
                      </a:lnTo>
                      <a:lnTo>
                        <a:pt x="477" y="22"/>
                      </a:lnTo>
                      <a:lnTo>
                        <a:pt x="493" y="29"/>
                      </a:lnTo>
                      <a:lnTo>
                        <a:pt x="509" y="36"/>
                      </a:lnTo>
                      <a:lnTo>
                        <a:pt x="524" y="44"/>
                      </a:lnTo>
                      <a:lnTo>
                        <a:pt x="539" y="52"/>
                      </a:lnTo>
                      <a:lnTo>
                        <a:pt x="552" y="61"/>
                      </a:lnTo>
                      <a:lnTo>
                        <a:pt x="567" y="71"/>
                      </a:lnTo>
                      <a:lnTo>
                        <a:pt x="580" y="82"/>
                      </a:lnTo>
                      <a:lnTo>
                        <a:pt x="594" y="93"/>
                      </a:lnTo>
                      <a:lnTo>
                        <a:pt x="605" y="105"/>
                      </a:lnTo>
                      <a:lnTo>
                        <a:pt x="618" y="117"/>
                      </a:lnTo>
                      <a:lnTo>
                        <a:pt x="628" y="130"/>
                      </a:lnTo>
                      <a:lnTo>
                        <a:pt x="639" y="144"/>
                      </a:lnTo>
                      <a:lnTo>
                        <a:pt x="649" y="157"/>
                      </a:lnTo>
                      <a:lnTo>
                        <a:pt x="658" y="172"/>
                      </a:lnTo>
                      <a:lnTo>
                        <a:pt x="667" y="187"/>
                      </a:lnTo>
                      <a:lnTo>
                        <a:pt x="675" y="202"/>
                      </a:lnTo>
                      <a:lnTo>
                        <a:pt x="682" y="218"/>
                      </a:lnTo>
                      <a:lnTo>
                        <a:pt x="687" y="234"/>
                      </a:lnTo>
                      <a:lnTo>
                        <a:pt x="693" y="250"/>
                      </a:lnTo>
                      <a:lnTo>
                        <a:pt x="698" y="267"/>
                      </a:lnTo>
                      <a:lnTo>
                        <a:pt x="702" y="284"/>
                      </a:lnTo>
                      <a:lnTo>
                        <a:pt x="706" y="302"/>
                      </a:lnTo>
                      <a:lnTo>
                        <a:pt x="708" y="320"/>
                      </a:lnTo>
                      <a:lnTo>
                        <a:pt x="709" y="338"/>
                      </a:lnTo>
                      <a:lnTo>
                        <a:pt x="709" y="357"/>
                      </a:lnTo>
                      <a:lnTo>
                        <a:pt x="709" y="357"/>
                      </a:lnTo>
                      <a:close/>
                      <a:moveTo>
                        <a:pt x="709" y="357"/>
                      </a:moveTo>
                      <a:lnTo>
                        <a:pt x="709" y="357"/>
                      </a:lnTo>
                      <a:close/>
                    </a:path>
                  </a:pathLst>
                </a:custGeom>
                <a:solidFill>
                  <a:srgbClr val="50CFE6"/>
                </a:solidFill>
                <a:ln w="9525">
                  <a:solidFill>
                    <a:sysClr val="windowText" lastClr="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7" name="Freeform 14">
                  <a:extLst>
                    <a:ext uri="{FF2B5EF4-FFF2-40B4-BE49-F238E27FC236}">
                      <a16:creationId xmlns:a16="http://schemas.microsoft.com/office/drawing/2014/main" id="{2D8667C0-382C-4F4B-8605-9C7C8AE8DDCE}"/>
                    </a:ext>
                  </a:extLst>
                </p:cNvPr>
                <p:cNvSpPr>
                  <a:spLocks/>
                </p:cNvSpPr>
                <p:nvPr/>
              </p:nvSpPr>
              <p:spPr bwMode="auto">
                <a:xfrm>
                  <a:off x="4694580" y="1157481"/>
                  <a:ext cx="81203" cy="82007"/>
                </a:xfrm>
                <a:custGeom>
                  <a:avLst/>
                  <a:gdLst>
                    <a:gd name="T0" fmla="*/ 709 w 709"/>
                    <a:gd name="T1" fmla="*/ 375 h 712"/>
                    <a:gd name="T2" fmla="*/ 702 w 709"/>
                    <a:gd name="T3" fmla="*/ 428 h 712"/>
                    <a:gd name="T4" fmla="*/ 687 w 709"/>
                    <a:gd name="T5" fmla="*/ 478 h 712"/>
                    <a:gd name="T6" fmla="*/ 667 w 709"/>
                    <a:gd name="T7" fmla="*/ 525 h 712"/>
                    <a:gd name="T8" fmla="*/ 639 w 709"/>
                    <a:gd name="T9" fmla="*/ 569 h 712"/>
                    <a:gd name="T10" fmla="*/ 605 w 709"/>
                    <a:gd name="T11" fmla="*/ 608 h 712"/>
                    <a:gd name="T12" fmla="*/ 567 w 709"/>
                    <a:gd name="T13" fmla="*/ 641 h 712"/>
                    <a:gd name="T14" fmla="*/ 524 w 709"/>
                    <a:gd name="T15" fmla="*/ 668 h 712"/>
                    <a:gd name="T16" fmla="*/ 477 w 709"/>
                    <a:gd name="T17" fmla="*/ 690 h 712"/>
                    <a:gd name="T18" fmla="*/ 427 w 709"/>
                    <a:gd name="T19" fmla="*/ 704 h 712"/>
                    <a:gd name="T20" fmla="*/ 373 w 709"/>
                    <a:gd name="T21" fmla="*/ 711 h 712"/>
                    <a:gd name="T22" fmla="*/ 336 w 709"/>
                    <a:gd name="T23" fmla="*/ 711 h 712"/>
                    <a:gd name="T24" fmla="*/ 284 w 709"/>
                    <a:gd name="T25" fmla="*/ 704 h 712"/>
                    <a:gd name="T26" fmla="*/ 232 w 709"/>
                    <a:gd name="T27" fmla="*/ 690 h 712"/>
                    <a:gd name="T28" fmla="*/ 185 w 709"/>
                    <a:gd name="T29" fmla="*/ 668 h 712"/>
                    <a:gd name="T30" fmla="*/ 143 w 709"/>
                    <a:gd name="T31" fmla="*/ 641 h 712"/>
                    <a:gd name="T32" fmla="*/ 104 w 709"/>
                    <a:gd name="T33" fmla="*/ 608 h 712"/>
                    <a:gd name="T34" fmla="*/ 71 w 709"/>
                    <a:gd name="T35" fmla="*/ 569 h 712"/>
                    <a:gd name="T36" fmla="*/ 42 w 709"/>
                    <a:gd name="T37" fmla="*/ 525 h 712"/>
                    <a:gd name="T38" fmla="*/ 22 w 709"/>
                    <a:gd name="T39" fmla="*/ 478 h 712"/>
                    <a:gd name="T40" fmla="*/ 7 w 709"/>
                    <a:gd name="T41" fmla="*/ 428 h 712"/>
                    <a:gd name="T42" fmla="*/ 0 w 709"/>
                    <a:gd name="T43" fmla="*/ 375 h 712"/>
                    <a:gd name="T44" fmla="*/ 0 w 709"/>
                    <a:gd name="T45" fmla="*/ 338 h 712"/>
                    <a:gd name="T46" fmla="*/ 7 w 709"/>
                    <a:gd name="T47" fmla="*/ 284 h 712"/>
                    <a:gd name="T48" fmla="*/ 22 w 709"/>
                    <a:gd name="T49" fmla="*/ 234 h 712"/>
                    <a:gd name="T50" fmla="*/ 42 w 709"/>
                    <a:gd name="T51" fmla="*/ 187 h 712"/>
                    <a:gd name="T52" fmla="*/ 71 w 709"/>
                    <a:gd name="T53" fmla="*/ 144 h 712"/>
                    <a:gd name="T54" fmla="*/ 104 w 709"/>
                    <a:gd name="T55" fmla="*/ 105 h 712"/>
                    <a:gd name="T56" fmla="*/ 143 w 709"/>
                    <a:gd name="T57" fmla="*/ 71 h 712"/>
                    <a:gd name="T58" fmla="*/ 185 w 709"/>
                    <a:gd name="T59" fmla="*/ 44 h 712"/>
                    <a:gd name="T60" fmla="*/ 232 w 709"/>
                    <a:gd name="T61" fmla="*/ 22 h 712"/>
                    <a:gd name="T62" fmla="*/ 284 w 709"/>
                    <a:gd name="T63" fmla="*/ 8 h 712"/>
                    <a:gd name="T64" fmla="*/ 336 w 709"/>
                    <a:gd name="T65" fmla="*/ 2 h 712"/>
                    <a:gd name="T66" fmla="*/ 373 w 709"/>
                    <a:gd name="T67" fmla="*/ 2 h 712"/>
                    <a:gd name="T68" fmla="*/ 427 w 709"/>
                    <a:gd name="T69" fmla="*/ 8 h 712"/>
                    <a:gd name="T70" fmla="*/ 477 w 709"/>
                    <a:gd name="T71" fmla="*/ 22 h 712"/>
                    <a:gd name="T72" fmla="*/ 524 w 709"/>
                    <a:gd name="T73" fmla="*/ 44 h 712"/>
                    <a:gd name="T74" fmla="*/ 567 w 709"/>
                    <a:gd name="T75" fmla="*/ 71 h 712"/>
                    <a:gd name="T76" fmla="*/ 605 w 709"/>
                    <a:gd name="T77" fmla="*/ 105 h 712"/>
                    <a:gd name="T78" fmla="*/ 639 w 709"/>
                    <a:gd name="T79" fmla="*/ 144 h 712"/>
                    <a:gd name="T80" fmla="*/ 667 w 709"/>
                    <a:gd name="T81" fmla="*/ 187 h 712"/>
                    <a:gd name="T82" fmla="*/ 687 w 709"/>
                    <a:gd name="T83" fmla="*/ 234 h 712"/>
                    <a:gd name="T84" fmla="*/ 702 w 709"/>
                    <a:gd name="T85" fmla="*/ 284 h 712"/>
                    <a:gd name="T86" fmla="*/ 709 w 709"/>
                    <a:gd name="T87" fmla="*/ 33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712">
                      <a:moveTo>
                        <a:pt x="709" y="357"/>
                      </a:moveTo>
                      <a:lnTo>
                        <a:pt x="709" y="357"/>
                      </a:lnTo>
                      <a:lnTo>
                        <a:pt x="709" y="375"/>
                      </a:lnTo>
                      <a:lnTo>
                        <a:pt x="708" y="392"/>
                      </a:lnTo>
                      <a:lnTo>
                        <a:pt x="706" y="411"/>
                      </a:lnTo>
                      <a:lnTo>
                        <a:pt x="702" y="428"/>
                      </a:lnTo>
                      <a:lnTo>
                        <a:pt x="698" y="445"/>
                      </a:lnTo>
                      <a:lnTo>
                        <a:pt x="693" y="462"/>
                      </a:lnTo>
                      <a:lnTo>
                        <a:pt x="687" y="478"/>
                      </a:lnTo>
                      <a:lnTo>
                        <a:pt x="682" y="494"/>
                      </a:lnTo>
                      <a:lnTo>
                        <a:pt x="675" y="510"/>
                      </a:lnTo>
                      <a:lnTo>
                        <a:pt x="667" y="525"/>
                      </a:lnTo>
                      <a:lnTo>
                        <a:pt x="658" y="540"/>
                      </a:lnTo>
                      <a:lnTo>
                        <a:pt x="649" y="555"/>
                      </a:lnTo>
                      <a:lnTo>
                        <a:pt x="639" y="569"/>
                      </a:lnTo>
                      <a:lnTo>
                        <a:pt x="628" y="582"/>
                      </a:lnTo>
                      <a:lnTo>
                        <a:pt x="618" y="595"/>
                      </a:lnTo>
                      <a:lnTo>
                        <a:pt x="605" y="608"/>
                      </a:lnTo>
                      <a:lnTo>
                        <a:pt x="594" y="619"/>
                      </a:lnTo>
                      <a:lnTo>
                        <a:pt x="580" y="630"/>
                      </a:lnTo>
                      <a:lnTo>
                        <a:pt x="567" y="641"/>
                      </a:lnTo>
                      <a:lnTo>
                        <a:pt x="552" y="651"/>
                      </a:lnTo>
                      <a:lnTo>
                        <a:pt x="539" y="660"/>
                      </a:lnTo>
                      <a:lnTo>
                        <a:pt x="524" y="668"/>
                      </a:lnTo>
                      <a:lnTo>
                        <a:pt x="509" y="676"/>
                      </a:lnTo>
                      <a:lnTo>
                        <a:pt x="493" y="683"/>
                      </a:lnTo>
                      <a:lnTo>
                        <a:pt x="477" y="690"/>
                      </a:lnTo>
                      <a:lnTo>
                        <a:pt x="460" y="696"/>
                      </a:lnTo>
                      <a:lnTo>
                        <a:pt x="444" y="700"/>
                      </a:lnTo>
                      <a:lnTo>
                        <a:pt x="427" y="704"/>
                      </a:lnTo>
                      <a:lnTo>
                        <a:pt x="408" y="707"/>
                      </a:lnTo>
                      <a:lnTo>
                        <a:pt x="391" y="710"/>
                      </a:lnTo>
                      <a:lnTo>
                        <a:pt x="373" y="711"/>
                      </a:lnTo>
                      <a:lnTo>
                        <a:pt x="355" y="712"/>
                      </a:lnTo>
                      <a:lnTo>
                        <a:pt x="355" y="712"/>
                      </a:lnTo>
                      <a:lnTo>
                        <a:pt x="336" y="711"/>
                      </a:lnTo>
                      <a:lnTo>
                        <a:pt x="318" y="710"/>
                      </a:lnTo>
                      <a:lnTo>
                        <a:pt x="301" y="707"/>
                      </a:lnTo>
                      <a:lnTo>
                        <a:pt x="284" y="704"/>
                      </a:lnTo>
                      <a:lnTo>
                        <a:pt x="266" y="700"/>
                      </a:lnTo>
                      <a:lnTo>
                        <a:pt x="249" y="696"/>
                      </a:lnTo>
                      <a:lnTo>
                        <a:pt x="232" y="690"/>
                      </a:lnTo>
                      <a:lnTo>
                        <a:pt x="216" y="683"/>
                      </a:lnTo>
                      <a:lnTo>
                        <a:pt x="201" y="676"/>
                      </a:lnTo>
                      <a:lnTo>
                        <a:pt x="185" y="668"/>
                      </a:lnTo>
                      <a:lnTo>
                        <a:pt x="170" y="660"/>
                      </a:lnTo>
                      <a:lnTo>
                        <a:pt x="157" y="651"/>
                      </a:lnTo>
                      <a:lnTo>
                        <a:pt x="143" y="641"/>
                      </a:lnTo>
                      <a:lnTo>
                        <a:pt x="129" y="630"/>
                      </a:lnTo>
                      <a:lnTo>
                        <a:pt x="117" y="619"/>
                      </a:lnTo>
                      <a:lnTo>
                        <a:pt x="104" y="608"/>
                      </a:lnTo>
                      <a:lnTo>
                        <a:pt x="91" y="595"/>
                      </a:lnTo>
                      <a:lnTo>
                        <a:pt x="81" y="582"/>
                      </a:lnTo>
                      <a:lnTo>
                        <a:pt x="71" y="569"/>
                      </a:lnTo>
                      <a:lnTo>
                        <a:pt x="61" y="555"/>
                      </a:lnTo>
                      <a:lnTo>
                        <a:pt x="51" y="540"/>
                      </a:lnTo>
                      <a:lnTo>
                        <a:pt x="42" y="525"/>
                      </a:lnTo>
                      <a:lnTo>
                        <a:pt x="34" y="510"/>
                      </a:lnTo>
                      <a:lnTo>
                        <a:pt x="27" y="494"/>
                      </a:lnTo>
                      <a:lnTo>
                        <a:pt x="22" y="478"/>
                      </a:lnTo>
                      <a:lnTo>
                        <a:pt x="16" y="462"/>
                      </a:lnTo>
                      <a:lnTo>
                        <a:pt x="11" y="445"/>
                      </a:lnTo>
                      <a:lnTo>
                        <a:pt x="7" y="428"/>
                      </a:lnTo>
                      <a:lnTo>
                        <a:pt x="3" y="411"/>
                      </a:lnTo>
                      <a:lnTo>
                        <a:pt x="1" y="392"/>
                      </a:lnTo>
                      <a:lnTo>
                        <a:pt x="0" y="375"/>
                      </a:lnTo>
                      <a:lnTo>
                        <a:pt x="0" y="357"/>
                      </a:lnTo>
                      <a:lnTo>
                        <a:pt x="0" y="357"/>
                      </a:lnTo>
                      <a:lnTo>
                        <a:pt x="0" y="338"/>
                      </a:lnTo>
                      <a:lnTo>
                        <a:pt x="1" y="320"/>
                      </a:lnTo>
                      <a:lnTo>
                        <a:pt x="3" y="302"/>
                      </a:lnTo>
                      <a:lnTo>
                        <a:pt x="7" y="284"/>
                      </a:lnTo>
                      <a:lnTo>
                        <a:pt x="11" y="267"/>
                      </a:lnTo>
                      <a:lnTo>
                        <a:pt x="16" y="250"/>
                      </a:lnTo>
                      <a:lnTo>
                        <a:pt x="22" y="234"/>
                      </a:lnTo>
                      <a:lnTo>
                        <a:pt x="27" y="218"/>
                      </a:lnTo>
                      <a:lnTo>
                        <a:pt x="34" y="202"/>
                      </a:lnTo>
                      <a:lnTo>
                        <a:pt x="42" y="187"/>
                      </a:lnTo>
                      <a:lnTo>
                        <a:pt x="51" y="172"/>
                      </a:lnTo>
                      <a:lnTo>
                        <a:pt x="61" y="157"/>
                      </a:lnTo>
                      <a:lnTo>
                        <a:pt x="71" y="144"/>
                      </a:lnTo>
                      <a:lnTo>
                        <a:pt x="81" y="130"/>
                      </a:lnTo>
                      <a:lnTo>
                        <a:pt x="91" y="117"/>
                      </a:lnTo>
                      <a:lnTo>
                        <a:pt x="104" y="105"/>
                      </a:lnTo>
                      <a:lnTo>
                        <a:pt x="117" y="93"/>
                      </a:lnTo>
                      <a:lnTo>
                        <a:pt x="129" y="82"/>
                      </a:lnTo>
                      <a:lnTo>
                        <a:pt x="143" y="71"/>
                      </a:lnTo>
                      <a:lnTo>
                        <a:pt x="157" y="61"/>
                      </a:lnTo>
                      <a:lnTo>
                        <a:pt x="170" y="52"/>
                      </a:lnTo>
                      <a:lnTo>
                        <a:pt x="185" y="44"/>
                      </a:lnTo>
                      <a:lnTo>
                        <a:pt x="201" y="36"/>
                      </a:lnTo>
                      <a:lnTo>
                        <a:pt x="216" y="29"/>
                      </a:lnTo>
                      <a:lnTo>
                        <a:pt x="232" y="22"/>
                      </a:lnTo>
                      <a:lnTo>
                        <a:pt x="249" y="16"/>
                      </a:lnTo>
                      <a:lnTo>
                        <a:pt x="266" y="12"/>
                      </a:lnTo>
                      <a:lnTo>
                        <a:pt x="284" y="8"/>
                      </a:lnTo>
                      <a:lnTo>
                        <a:pt x="301" y="5"/>
                      </a:lnTo>
                      <a:lnTo>
                        <a:pt x="318" y="3"/>
                      </a:lnTo>
                      <a:lnTo>
                        <a:pt x="336" y="2"/>
                      </a:lnTo>
                      <a:lnTo>
                        <a:pt x="355" y="0"/>
                      </a:lnTo>
                      <a:lnTo>
                        <a:pt x="355" y="0"/>
                      </a:lnTo>
                      <a:lnTo>
                        <a:pt x="373" y="2"/>
                      </a:lnTo>
                      <a:lnTo>
                        <a:pt x="391" y="3"/>
                      </a:lnTo>
                      <a:lnTo>
                        <a:pt x="408" y="5"/>
                      </a:lnTo>
                      <a:lnTo>
                        <a:pt x="427" y="8"/>
                      </a:lnTo>
                      <a:lnTo>
                        <a:pt x="444" y="12"/>
                      </a:lnTo>
                      <a:lnTo>
                        <a:pt x="460" y="16"/>
                      </a:lnTo>
                      <a:lnTo>
                        <a:pt x="477" y="22"/>
                      </a:lnTo>
                      <a:lnTo>
                        <a:pt x="493" y="29"/>
                      </a:lnTo>
                      <a:lnTo>
                        <a:pt x="509" y="36"/>
                      </a:lnTo>
                      <a:lnTo>
                        <a:pt x="524" y="44"/>
                      </a:lnTo>
                      <a:lnTo>
                        <a:pt x="539" y="52"/>
                      </a:lnTo>
                      <a:lnTo>
                        <a:pt x="552" y="61"/>
                      </a:lnTo>
                      <a:lnTo>
                        <a:pt x="567" y="71"/>
                      </a:lnTo>
                      <a:lnTo>
                        <a:pt x="580" y="82"/>
                      </a:lnTo>
                      <a:lnTo>
                        <a:pt x="594" y="93"/>
                      </a:lnTo>
                      <a:lnTo>
                        <a:pt x="605" y="105"/>
                      </a:lnTo>
                      <a:lnTo>
                        <a:pt x="618" y="117"/>
                      </a:lnTo>
                      <a:lnTo>
                        <a:pt x="628" y="130"/>
                      </a:lnTo>
                      <a:lnTo>
                        <a:pt x="639" y="144"/>
                      </a:lnTo>
                      <a:lnTo>
                        <a:pt x="649" y="157"/>
                      </a:lnTo>
                      <a:lnTo>
                        <a:pt x="658" y="172"/>
                      </a:lnTo>
                      <a:lnTo>
                        <a:pt x="667" y="187"/>
                      </a:lnTo>
                      <a:lnTo>
                        <a:pt x="675" y="202"/>
                      </a:lnTo>
                      <a:lnTo>
                        <a:pt x="682" y="218"/>
                      </a:lnTo>
                      <a:lnTo>
                        <a:pt x="687" y="234"/>
                      </a:lnTo>
                      <a:lnTo>
                        <a:pt x="693" y="250"/>
                      </a:lnTo>
                      <a:lnTo>
                        <a:pt x="698" y="267"/>
                      </a:lnTo>
                      <a:lnTo>
                        <a:pt x="702" y="284"/>
                      </a:lnTo>
                      <a:lnTo>
                        <a:pt x="706" y="302"/>
                      </a:lnTo>
                      <a:lnTo>
                        <a:pt x="708" y="320"/>
                      </a:lnTo>
                      <a:lnTo>
                        <a:pt x="709" y="338"/>
                      </a:lnTo>
                      <a:lnTo>
                        <a:pt x="709" y="357"/>
                      </a:lnTo>
                      <a:lnTo>
                        <a:pt x="709" y="357"/>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8" name="Line 15">
                  <a:extLst>
                    <a:ext uri="{FF2B5EF4-FFF2-40B4-BE49-F238E27FC236}">
                      <a16:creationId xmlns:a16="http://schemas.microsoft.com/office/drawing/2014/main" id="{91501289-7686-44BA-8418-00F8C9784C3E}"/>
                    </a:ext>
                  </a:extLst>
                </p:cNvPr>
                <p:cNvSpPr>
                  <a:spLocks noChangeShapeType="1"/>
                </p:cNvSpPr>
                <p:nvPr/>
              </p:nvSpPr>
              <p:spPr bwMode="auto">
                <a:xfrm>
                  <a:off x="4775784" y="1198484"/>
                  <a:ext cx="0" cy="0"/>
                </a:xfrm>
                <a:prstGeom prst="line">
                  <a:avLst/>
                </a:prstGeom>
                <a:noFill/>
                <a:ln w="63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69" name="Freeform 16">
                  <a:extLst>
                    <a:ext uri="{FF2B5EF4-FFF2-40B4-BE49-F238E27FC236}">
                      <a16:creationId xmlns:a16="http://schemas.microsoft.com/office/drawing/2014/main" id="{E6E56565-C561-4D78-9BFC-534F1C4112CF}"/>
                    </a:ext>
                  </a:extLst>
                </p:cNvPr>
                <p:cNvSpPr>
                  <a:spLocks noEditPoints="1"/>
                </p:cNvSpPr>
                <p:nvPr/>
              </p:nvSpPr>
              <p:spPr bwMode="auto">
                <a:xfrm>
                  <a:off x="4615789" y="1251548"/>
                  <a:ext cx="196174" cy="311144"/>
                </a:xfrm>
                <a:custGeom>
                  <a:avLst/>
                  <a:gdLst>
                    <a:gd name="T0" fmla="*/ 0 w 1708"/>
                    <a:gd name="T1" fmla="*/ 456 h 2704"/>
                    <a:gd name="T2" fmla="*/ 11 w 1708"/>
                    <a:gd name="T3" fmla="*/ 518 h 2704"/>
                    <a:gd name="T4" fmla="*/ 47 w 1708"/>
                    <a:gd name="T5" fmla="*/ 568 h 2704"/>
                    <a:gd name="T6" fmla="*/ 117 w 1708"/>
                    <a:gd name="T7" fmla="*/ 606 h 2704"/>
                    <a:gd name="T8" fmla="*/ 288 w 1708"/>
                    <a:gd name="T9" fmla="*/ 653 h 2704"/>
                    <a:gd name="T10" fmla="*/ 395 w 1708"/>
                    <a:gd name="T11" fmla="*/ 654 h 2704"/>
                    <a:gd name="T12" fmla="*/ 503 w 1708"/>
                    <a:gd name="T13" fmla="*/ 631 h 2704"/>
                    <a:gd name="T14" fmla="*/ 599 w 1708"/>
                    <a:gd name="T15" fmla="*/ 588 h 2704"/>
                    <a:gd name="T16" fmla="*/ 673 w 1708"/>
                    <a:gd name="T17" fmla="*/ 1122 h 2704"/>
                    <a:gd name="T18" fmla="*/ 690 w 1708"/>
                    <a:gd name="T19" fmla="*/ 1209 h 2704"/>
                    <a:gd name="T20" fmla="*/ 692 w 1708"/>
                    <a:gd name="T21" fmla="*/ 2573 h 2704"/>
                    <a:gd name="T22" fmla="*/ 727 w 1708"/>
                    <a:gd name="T23" fmla="*/ 2644 h 2704"/>
                    <a:gd name="T24" fmla="*/ 790 w 1708"/>
                    <a:gd name="T25" fmla="*/ 2690 h 2704"/>
                    <a:gd name="T26" fmla="*/ 853 w 1708"/>
                    <a:gd name="T27" fmla="*/ 2704 h 2704"/>
                    <a:gd name="T28" fmla="*/ 930 w 1708"/>
                    <a:gd name="T29" fmla="*/ 2683 h 2704"/>
                    <a:gd name="T30" fmla="*/ 988 w 1708"/>
                    <a:gd name="T31" fmla="*/ 2632 h 2704"/>
                    <a:gd name="T32" fmla="*/ 1014 w 1708"/>
                    <a:gd name="T33" fmla="*/ 2557 h 2704"/>
                    <a:gd name="T34" fmla="*/ 1035 w 1708"/>
                    <a:gd name="T35" fmla="*/ 1408 h 2704"/>
                    <a:gd name="T36" fmla="*/ 1041 w 1708"/>
                    <a:gd name="T37" fmla="*/ 2573 h 2704"/>
                    <a:gd name="T38" fmla="*/ 1076 w 1708"/>
                    <a:gd name="T39" fmla="*/ 2644 h 2704"/>
                    <a:gd name="T40" fmla="*/ 1137 w 1708"/>
                    <a:gd name="T41" fmla="*/ 2690 h 2704"/>
                    <a:gd name="T42" fmla="*/ 1202 w 1708"/>
                    <a:gd name="T43" fmla="*/ 2704 h 2704"/>
                    <a:gd name="T44" fmla="*/ 1264 w 1708"/>
                    <a:gd name="T45" fmla="*/ 2690 h 2704"/>
                    <a:gd name="T46" fmla="*/ 1326 w 1708"/>
                    <a:gd name="T47" fmla="*/ 2644 h 2704"/>
                    <a:gd name="T48" fmla="*/ 1361 w 1708"/>
                    <a:gd name="T49" fmla="*/ 2573 h 2704"/>
                    <a:gd name="T50" fmla="*/ 1372 w 1708"/>
                    <a:gd name="T51" fmla="*/ 1212 h 2704"/>
                    <a:gd name="T52" fmla="*/ 1395 w 1708"/>
                    <a:gd name="T53" fmla="*/ 1130 h 2704"/>
                    <a:gd name="T54" fmla="*/ 1409 w 1708"/>
                    <a:gd name="T55" fmla="*/ 697 h 2704"/>
                    <a:gd name="T56" fmla="*/ 1433 w 1708"/>
                    <a:gd name="T57" fmla="*/ 988 h 2704"/>
                    <a:gd name="T58" fmla="*/ 1427 w 1708"/>
                    <a:gd name="T59" fmla="*/ 1166 h 2704"/>
                    <a:gd name="T60" fmla="*/ 1451 w 1708"/>
                    <a:gd name="T61" fmla="*/ 1228 h 2704"/>
                    <a:gd name="T62" fmla="*/ 1500 w 1708"/>
                    <a:gd name="T63" fmla="*/ 1272 h 2704"/>
                    <a:gd name="T64" fmla="*/ 1553 w 1708"/>
                    <a:gd name="T65" fmla="*/ 1287 h 2704"/>
                    <a:gd name="T66" fmla="*/ 1602 w 1708"/>
                    <a:gd name="T67" fmla="*/ 1281 h 2704"/>
                    <a:gd name="T68" fmla="*/ 1657 w 1708"/>
                    <a:gd name="T69" fmla="*/ 1250 h 2704"/>
                    <a:gd name="T70" fmla="*/ 1692 w 1708"/>
                    <a:gd name="T71" fmla="*/ 1198 h 2704"/>
                    <a:gd name="T72" fmla="*/ 1705 w 1708"/>
                    <a:gd name="T73" fmla="*/ 1095 h 2704"/>
                    <a:gd name="T74" fmla="*/ 1703 w 1708"/>
                    <a:gd name="T75" fmla="*/ 813 h 2704"/>
                    <a:gd name="T76" fmla="*/ 1667 w 1708"/>
                    <a:gd name="T77" fmla="*/ 589 h 2704"/>
                    <a:gd name="T78" fmla="*/ 1602 w 1708"/>
                    <a:gd name="T79" fmla="*/ 411 h 2704"/>
                    <a:gd name="T80" fmla="*/ 1514 w 1708"/>
                    <a:gd name="T81" fmla="*/ 274 h 2704"/>
                    <a:gd name="T82" fmla="*/ 1410 w 1708"/>
                    <a:gd name="T83" fmla="*/ 166 h 2704"/>
                    <a:gd name="T84" fmla="*/ 1270 w 1708"/>
                    <a:gd name="T85" fmla="*/ 66 h 2704"/>
                    <a:gd name="T86" fmla="*/ 1252 w 1708"/>
                    <a:gd name="T87" fmla="*/ 57 h 2704"/>
                    <a:gd name="T88" fmla="*/ 1173 w 1708"/>
                    <a:gd name="T89" fmla="*/ 17 h 2704"/>
                    <a:gd name="T90" fmla="*/ 949 w 1708"/>
                    <a:gd name="T91" fmla="*/ 0 h 2704"/>
                    <a:gd name="T92" fmla="*/ 913 w 1708"/>
                    <a:gd name="T93" fmla="*/ 10 h 2704"/>
                    <a:gd name="T94" fmla="*/ 831 w 1708"/>
                    <a:gd name="T95" fmla="*/ 48 h 2704"/>
                    <a:gd name="T96" fmla="*/ 787 w 1708"/>
                    <a:gd name="T97" fmla="*/ 73 h 2704"/>
                    <a:gd name="T98" fmla="*/ 672 w 1708"/>
                    <a:gd name="T99" fmla="*/ 179 h 2704"/>
                    <a:gd name="T100" fmla="*/ 481 w 1708"/>
                    <a:gd name="T101" fmla="*/ 338 h 2704"/>
                    <a:gd name="T102" fmla="*/ 402 w 1708"/>
                    <a:gd name="T103" fmla="*/ 375 h 2704"/>
                    <a:gd name="T104" fmla="*/ 337 w 1708"/>
                    <a:gd name="T105" fmla="*/ 381 h 2704"/>
                    <a:gd name="T106" fmla="*/ 264 w 1708"/>
                    <a:gd name="T107" fmla="*/ 367 h 2704"/>
                    <a:gd name="T108" fmla="*/ 174 w 1708"/>
                    <a:gd name="T109" fmla="*/ 332 h 2704"/>
                    <a:gd name="T110" fmla="*/ 119 w 1708"/>
                    <a:gd name="T111" fmla="*/ 328 h 2704"/>
                    <a:gd name="T112" fmla="*/ 68 w 1708"/>
                    <a:gd name="T113" fmla="*/ 346 h 2704"/>
                    <a:gd name="T114" fmla="*/ 8 w 1708"/>
                    <a:gd name="T115" fmla="*/ 418 h 2704"/>
                    <a:gd name="T116" fmla="*/ 1036 w 1708"/>
                    <a:gd name="T117" fmla="*/ 103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8" h="2704">
                      <a:moveTo>
                        <a:pt x="8" y="418"/>
                      </a:moveTo>
                      <a:lnTo>
                        <a:pt x="8" y="418"/>
                      </a:lnTo>
                      <a:lnTo>
                        <a:pt x="5" y="431"/>
                      </a:lnTo>
                      <a:lnTo>
                        <a:pt x="2" y="443"/>
                      </a:lnTo>
                      <a:lnTo>
                        <a:pt x="0" y="456"/>
                      </a:lnTo>
                      <a:lnTo>
                        <a:pt x="0" y="469"/>
                      </a:lnTo>
                      <a:lnTo>
                        <a:pt x="2" y="481"/>
                      </a:lnTo>
                      <a:lnTo>
                        <a:pt x="4" y="494"/>
                      </a:lnTo>
                      <a:lnTo>
                        <a:pt x="6" y="506"/>
                      </a:lnTo>
                      <a:lnTo>
                        <a:pt x="11" y="518"/>
                      </a:lnTo>
                      <a:lnTo>
                        <a:pt x="16" y="529"/>
                      </a:lnTo>
                      <a:lnTo>
                        <a:pt x="22" y="540"/>
                      </a:lnTo>
                      <a:lnTo>
                        <a:pt x="30" y="550"/>
                      </a:lnTo>
                      <a:lnTo>
                        <a:pt x="38" y="559"/>
                      </a:lnTo>
                      <a:lnTo>
                        <a:pt x="47" y="568"/>
                      </a:lnTo>
                      <a:lnTo>
                        <a:pt x="58" y="576"/>
                      </a:lnTo>
                      <a:lnTo>
                        <a:pt x="68" y="583"/>
                      </a:lnTo>
                      <a:lnTo>
                        <a:pt x="79" y="590"/>
                      </a:lnTo>
                      <a:lnTo>
                        <a:pt x="79" y="590"/>
                      </a:lnTo>
                      <a:lnTo>
                        <a:pt x="117" y="606"/>
                      </a:lnTo>
                      <a:lnTo>
                        <a:pt x="154" y="620"/>
                      </a:lnTo>
                      <a:lnTo>
                        <a:pt x="188" y="631"/>
                      </a:lnTo>
                      <a:lnTo>
                        <a:pt x="222" y="642"/>
                      </a:lnTo>
                      <a:lnTo>
                        <a:pt x="256" y="648"/>
                      </a:lnTo>
                      <a:lnTo>
                        <a:pt x="288" y="653"/>
                      </a:lnTo>
                      <a:lnTo>
                        <a:pt x="320" y="656"/>
                      </a:lnTo>
                      <a:lnTo>
                        <a:pt x="349" y="656"/>
                      </a:lnTo>
                      <a:lnTo>
                        <a:pt x="349" y="656"/>
                      </a:lnTo>
                      <a:lnTo>
                        <a:pt x="373" y="656"/>
                      </a:lnTo>
                      <a:lnTo>
                        <a:pt x="395" y="654"/>
                      </a:lnTo>
                      <a:lnTo>
                        <a:pt x="418" y="652"/>
                      </a:lnTo>
                      <a:lnTo>
                        <a:pt x="440" y="648"/>
                      </a:lnTo>
                      <a:lnTo>
                        <a:pt x="460" y="644"/>
                      </a:lnTo>
                      <a:lnTo>
                        <a:pt x="482" y="638"/>
                      </a:lnTo>
                      <a:lnTo>
                        <a:pt x="503" y="631"/>
                      </a:lnTo>
                      <a:lnTo>
                        <a:pt x="522" y="624"/>
                      </a:lnTo>
                      <a:lnTo>
                        <a:pt x="541" y="616"/>
                      </a:lnTo>
                      <a:lnTo>
                        <a:pt x="561" y="607"/>
                      </a:lnTo>
                      <a:lnTo>
                        <a:pt x="580" y="598"/>
                      </a:lnTo>
                      <a:lnTo>
                        <a:pt x="599" y="588"/>
                      </a:lnTo>
                      <a:lnTo>
                        <a:pt x="635" y="566"/>
                      </a:lnTo>
                      <a:lnTo>
                        <a:pt x="672" y="542"/>
                      </a:lnTo>
                      <a:lnTo>
                        <a:pt x="672" y="1094"/>
                      </a:lnTo>
                      <a:lnTo>
                        <a:pt x="672" y="1094"/>
                      </a:lnTo>
                      <a:lnTo>
                        <a:pt x="673" y="1122"/>
                      </a:lnTo>
                      <a:lnTo>
                        <a:pt x="676" y="1148"/>
                      </a:lnTo>
                      <a:lnTo>
                        <a:pt x="683" y="1173"/>
                      </a:lnTo>
                      <a:lnTo>
                        <a:pt x="691" y="1197"/>
                      </a:lnTo>
                      <a:lnTo>
                        <a:pt x="691" y="1197"/>
                      </a:lnTo>
                      <a:lnTo>
                        <a:pt x="690" y="1209"/>
                      </a:lnTo>
                      <a:lnTo>
                        <a:pt x="690" y="1219"/>
                      </a:lnTo>
                      <a:lnTo>
                        <a:pt x="690" y="2540"/>
                      </a:lnTo>
                      <a:lnTo>
                        <a:pt x="690" y="2540"/>
                      </a:lnTo>
                      <a:lnTo>
                        <a:pt x="690" y="2557"/>
                      </a:lnTo>
                      <a:lnTo>
                        <a:pt x="692" y="2573"/>
                      </a:lnTo>
                      <a:lnTo>
                        <a:pt x="697" y="2589"/>
                      </a:lnTo>
                      <a:lnTo>
                        <a:pt x="703" y="2604"/>
                      </a:lnTo>
                      <a:lnTo>
                        <a:pt x="710" y="2618"/>
                      </a:lnTo>
                      <a:lnTo>
                        <a:pt x="718" y="2632"/>
                      </a:lnTo>
                      <a:lnTo>
                        <a:pt x="727" y="2644"/>
                      </a:lnTo>
                      <a:lnTo>
                        <a:pt x="737" y="2656"/>
                      </a:lnTo>
                      <a:lnTo>
                        <a:pt x="749" y="2666"/>
                      </a:lnTo>
                      <a:lnTo>
                        <a:pt x="761" y="2675"/>
                      </a:lnTo>
                      <a:lnTo>
                        <a:pt x="775" y="2683"/>
                      </a:lnTo>
                      <a:lnTo>
                        <a:pt x="790" y="2690"/>
                      </a:lnTo>
                      <a:lnTo>
                        <a:pt x="805" y="2696"/>
                      </a:lnTo>
                      <a:lnTo>
                        <a:pt x="819" y="2700"/>
                      </a:lnTo>
                      <a:lnTo>
                        <a:pt x="835" y="2703"/>
                      </a:lnTo>
                      <a:lnTo>
                        <a:pt x="853" y="2704"/>
                      </a:lnTo>
                      <a:lnTo>
                        <a:pt x="853" y="2704"/>
                      </a:lnTo>
                      <a:lnTo>
                        <a:pt x="869" y="2703"/>
                      </a:lnTo>
                      <a:lnTo>
                        <a:pt x="886" y="2700"/>
                      </a:lnTo>
                      <a:lnTo>
                        <a:pt x="901" y="2696"/>
                      </a:lnTo>
                      <a:lnTo>
                        <a:pt x="916" y="2690"/>
                      </a:lnTo>
                      <a:lnTo>
                        <a:pt x="930" y="2683"/>
                      </a:lnTo>
                      <a:lnTo>
                        <a:pt x="943" y="2675"/>
                      </a:lnTo>
                      <a:lnTo>
                        <a:pt x="956" y="2666"/>
                      </a:lnTo>
                      <a:lnTo>
                        <a:pt x="968" y="2656"/>
                      </a:lnTo>
                      <a:lnTo>
                        <a:pt x="978" y="2644"/>
                      </a:lnTo>
                      <a:lnTo>
                        <a:pt x="988" y="2632"/>
                      </a:lnTo>
                      <a:lnTo>
                        <a:pt x="996" y="2618"/>
                      </a:lnTo>
                      <a:lnTo>
                        <a:pt x="1002" y="2604"/>
                      </a:lnTo>
                      <a:lnTo>
                        <a:pt x="1008" y="2589"/>
                      </a:lnTo>
                      <a:lnTo>
                        <a:pt x="1012" y="2573"/>
                      </a:lnTo>
                      <a:lnTo>
                        <a:pt x="1014" y="2557"/>
                      </a:lnTo>
                      <a:lnTo>
                        <a:pt x="1015" y="2540"/>
                      </a:lnTo>
                      <a:lnTo>
                        <a:pt x="1015" y="1407"/>
                      </a:lnTo>
                      <a:lnTo>
                        <a:pt x="1015" y="1407"/>
                      </a:lnTo>
                      <a:lnTo>
                        <a:pt x="1035" y="1408"/>
                      </a:lnTo>
                      <a:lnTo>
                        <a:pt x="1035" y="1408"/>
                      </a:lnTo>
                      <a:lnTo>
                        <a:pt x="1038" y="1407"/>
                      </a:lnTo>
                      <a:lnTo>
                        <a:pt x="1038" y="2540"/>
                      </a:lnTo>
                      <a:lnTo>
                        <a:pt x="1038" y="2540"/>
                      </a:lnTo>
                      <a:lnTo>
                        <a:pt x="1039" y="2557"/>
                      </a:lnTo>
                      <a:lnTo>
                        <a:pt x="1041" y="2573"/>
                      </a:lnTo>
                      <a:lnTo>
                        <a:pt x="1046" y="2589"/>
                      </a:lnTo>
                      <a:lnTo>
                        <a:pt x="1051" y="2604"/>
                      </a:lnTo>
                      <a:lnTo>
                        <a:pt x="1057" y="2618"/>
                      </a:lnTo>
                      <a:lnTo>
                        <a:pt x="1067" y="2632"/>
                      </a:lnTo>
                      <a:lnTo>
                        <a:pt x="1076" y="2644"/>
                      </a:lnTo>
                      <a:lnTo>
                        <a:pt x="1086" y="2656"/>
                      </a:lnTo>
                      <a:lnTo>
                        <a:pt x="1097" y="2666"/>
                      </a:lnTo>
                      <a:lnTo>
                        <a:pt x="1110" y="2675"/>
                      </a:lnTo>
                      <a:lnTo>
                        <a:pt x="1124" y="2683"/>
                      </a:lnTo>
                      <a:lnTo>
                        <a:pt x="1137" y="2690"/>
                      </a:lnTo>
                      <a:lnTo>
                        <a:pt x="1152" y="2696"/>
                      </a:lnTo>
                      <a:lnTo>
                        <a:pt x="1168" y="2700"/>
                      </a:lnTo>
                      <a:lnTo>
                        <a:pt x="1184" y="2703"/>
                      </a:lnTo>
                      <a:lnTo>
                        <a:pt x="1202" y="2704"/>
                      </a:lnTo>
                      <a:lnTo>
                        <a:pt x="1202" y="2704"/>
                      </a:lnTo>
                      <a:lnTo>
                        <a:pt x="1202" y="2704"/>
                      </a:lnTo>
                      <a:lnTo>
                        <a:pt x="1218" y="2703"/>
                      </a:lnTo>
                      <a:lnTo>
                        <a:pt x="1234" y="2700"/>
                      </a:lnTo>
                      <a:lnTo>
                        <a:pt x="1250" y="2696"/>
                      </a:lnTo>
                      <a:lnTo>
                        <a:pt x="1264" y="2690"/>
                      </a:lnTo>
                      <a:lnTo>
                        <a:pt x="1278" y="2683"/>
                      </a:lnTo>
                      <a:lnTo>
                        <a:pt x="1292" y="2675"/>
                      </a:lnTo>
                      <a:lnTo>
                        <a:pt x="1304" y="2666"/>
                      </a:lnTo>
                      <a:lnTo>
                        <a:pt x="1316" y="2656"/>
                      </a:lnTo>
                      <a:lnTo>
                        <a:pt x="1326" y="2644"/>
                      </a:lnTo>
                      <a:lnTo>
                        <a:pt x="1337" y="2632"/>
                      </a:lnTo>
                      <a:lnTo>
                        <a:pt x="1345" y="2618"/>
                      </a:lnTo>
                      <a:lnTo>
                        <a:pt x="1351" y="2604"/>
                      </a:lnTo>
                      <a:lnTo>
                        <a:pt x="1357" y="2589"/>
                      </a:lnTo>
                      <a:lnTo>
                        <a:pt x="1361" y="2573"/>
                      </a:lnTo>
                      <a:lnTo>
                        <a:pt x="1363" y="2557"/>
                      </a:lnTo>
                      <a:lnTo>
                        <a:pt x="1364" y="2540"/>
                      </a:lnTo>
                      <a:lnTo>
                        <a:pt x="1364" y="1227"/>
                      </a:lnTo>
                      <a:lnTo>
                        <a:pt x="1364" y="1227"/>
                      </a:lnTo>
                      <a:lnTo>
                        <a:pt x="1372" y="1212"/>
                      </a:lnTo>
                      <a:lnTo>
                        <a:pt x="1378" y="1197"/>
                      </a:lnTo>
                      <a:lnTo>
                        <a:pt x="1383" y="1181"/>
                      </a:lnTo>
                      <a:lnTo>
                        <a:pt x="1389" y="1164"/>
                      </a:lnTo>
                      <a:lnTo>
                        <a:pt x="1393" y="1147"/>
                      </a:lnTo>
                      <a:lnTo>
                        <a:pt x="1395" y="1130"/>
                      </a:lnTo>
                      <a:lnTo>
                        <a:pt x="1397" y="1112"/>
                      </a:lnTo>
                      <a:lnTo>
                        <a:pt x="1397" y="1094"/>
                      </a:lnTo>
                      <a:lnTo>
                        <a:pt x="1397" y="651"/>
                      </a:lnTo>
                      <a:lnTo>
                        <a:pt x="1397" y="651"/>
                      </a:lnTo>
                      <a:lnTo>
                        <a:pt x="1409" y="697"/>
                      </a:lnTo>
                      <a:lnTo>
                        <a:pt x="1418" y="746"/>
                      </a:lnTo>
                      <a:lnTo>
                        <a:pt x="1426" y="800"/>
                      </a:lnTo>
                      <a:lnTo>
                        <a:pt x="1430" y="858"/>
                      </a:lnTo>
                      <a:lnTo>
                        <a:pt x="1433" y="920"/>
                      </a:lnTo>
                      <a:lnTo>
                        <a:pt x="1433" y="988"/>
                      </a:lnTo>
                      <a:lnTo>
                        <a:pt x="1431" y="1060"/>
                      </a:lnTo>
                      <a:lnTo>
                        <a:pt x="1426" y="1138"/>
                      </a:lnTo>
                      <a:lnTo>
                        <a:pt x="1426" y="1138"/>
                      </a:lnTo>
                      <a:lnTo>
                        <a:pt x="1426" y="1153"/>
                      </a:lnTo>
                      <a:lnTo>
                        <a:pt x="1427" y="1166"/>
                      </a:lnTo>
                      <a:lnTo>
                        <a:pt x="1429" y="1179"/>
                      </a:lnTo>
                      <a:lnTo>
                        <a:pt x="1433" y="1193"/>
                      </a:lnTo>
                      <a:lnTo>
                        <a:pt x="1437" y="1205"/>
                      </a:lnTo>
                      <a:lnTo>
                        <a:pt x="1443" y="1217"/>
                      </a:lnTo>
                      <a:lnTo>
                        <a:pt x="1451" y="1228"/>
                      </a:lnTo>
                      <a:lnTo>
                        <a:pt x="1459" y="1238"/>
                      </a:lnTo>
                      <a:lnTo>
                        <a:pt x="1468" y="1248"/>
                      </a:lnTo>
                      <a:lnTo>
                        <a:pt x="1477" y="1257"/>
                      </a:lnTo>
                      <a:lnTo>
                        <a:pt x="1489" y="1265"/>
                      </a:lnTo>
                      <a:lnTo>
                        <a:pt x="1500" y="1272"/>
                      </a:lnTo>
                      <a:lnTo>
                        <a:pt x="1513" y="1276"/>
                      </a:lnTo>
                      <a:lnTo>
                        <a:pt x="1525" y="1281"/>
                      </a:lnTo>
                      <a:lnTo>
                        <a:pt x="1539" y="1284"/>
                      </a:lnTo>
                      <a:lnTo>
                        <a:pt x="1553" y="1287"/>
                      </a:lnTo>
                      <a:lnTo>
                        <a:pt x="1553" y="1287"/>
                      </a:lnTo>
                      <a:lnTo>
                        <a:pt x="1563" y="1287"/>
                      </a:lnTo>
                      <a:lnTo>
                        <a:pt x="1563" y="1287"/>
                      </a:lnTo>
                      <a:lnTo>
                        <a:pt x="1577" y="1287"/>
                      </a:lnTo>
                      <a:lnTo>
                        <a:pt x="1589" y="1284"/>
                      </a:lnTo>
                      <a:lnTo>
                        <a:pt x="1602" y="1281"/>
                      </a:lnTo>
                      <a:lnTo>
                        <a:pt x="1615" y="1277"/>
                      </a:lnTo>
                      <a:lnTo>
                        <a:pt x="1626" y="1272"/>
                      </a:lnTo>
                      <a:lnTo>
                        <a:pt x="1636" y="1266"/>
                      </a:lnTo>
                      <a:lnTo>
                        <a:pt x="1647" y="1258"/>
                      </a:lnTo>
                      <a:lnTo>
                        <a:pt x="1657" y="1250"/>
                      </a:lnTo>
                      <a:lnTo>
                        <a:pt x="1666" y="1241"/>
                      </a:lnTo>
                      <a:lnTo>
                        <a:pt x="1674" y="1232"/>
                      </a:lnTo>
                      <a:lnTo>
                        <a:pt x="1681" y="1221"/>
                      </a:lnTo>
                      <a:lnTo>
                        <a:pt x="1687" y="1210"/>
                      </a:lnTo>
                      <a:lnTo>
                        <a:pt x="1692" y="1198"/>
                      </a:lnTo>
                      <a:lnTo>
                        <a:pt x="1696" y="1186"/>
                      </a:lnTo>
                      <a:lnTo>
                        <a:pt x="1699" y="1173"/>
                      </a:lnTo>
                      <a:lnTo>
                        <a:pt x="1700" y="1159"/>
                      </a:lnTo>
                      <a:lnTo>
                        <a:pt x="1700" y="1159"/>
                      </a:lnTo>
                      <a:lnTo>
                        <a:pt x="1705" y="1095"/>
                      </a:lnTo>
                      <a:lnTo>
                        <a:pt x="1707" y="1035"/>
                      </a:lnTo>
                      <a:lnTo>
                        <a:pt x="1708" y="976"/>
                      </a:lnTo>
                      <a:lnTo>
                        <a:pt x="1708" y="920"/>
                      </a:lnTo>
                      <a:lnTo>
                        <a:pt x="1706" y="865"/>
                      </a:lnTo>
                      <a:lnTo>
                        <a:pt x="1703" y="813"/>
                      </a:lnTo>
                      <a:lnTo>
                        <a:pt x="1698" y="764"/>
                      </a:lnTo>
                      <a:lnTo>
                        <a:pt x="1692" y="717"/>
                      </a:lnTo>
                      <a:lnTo>
                        <a:pt x="1685" y="672"/>
                      </a:lnTo>
                      <a:lnTo>
                        <a:pt x="1676" y="630"/>
                      </a:lnTo>
                      <a:lnTo>
                        <a:pt x="1667" y="589"/>
                      </a:lnTo>
                      <a:lnTo>
                        <a:pt x="1656" y="550"/>
                      </a:lnTo>
                      <a:lnTo>
                        <a:pt x="1644" y="512"/>
                      </a:lnTo>
                      <a:lnTo>
                        <a:pt x="1631" y="477"/>
                      </a:lnTo>
                      <a:lnTo>
                        <a:pt x="1617" y="443"/>
                      </a:lnTo>
                      <a:lnTo>
                        <a:pt x="1602" y="411"/>
                      </a:lnTo>
                      <a:lnTo>
                        <a:pt x="1586" y="380"/>
                      </a:lnTo>
                      <a:lnTo>
                        <a:pt x="1569" y="352"/>
                      </a:lnTo>
                      <a:lnTo>
                        <a:pt x="1552" y="324"/>
                      </a:lnTo>
                      <a:lnTo>
                        <a:pt x="1533" y="298"/>
                      </a:lnTo>
                      <a:lnTo>
                        <a:pt x="1514" y="274"/>
                      </a:lnTo>
                      <a:lnTo>
                        <a:pt x="1494" y="250"/>
                      </a:lnTo>
                      <a:lnTo>
                        <a:pt x="1474" y="227"/>
                      </a:lnTo>
                      <a:lnTo>
                        <a:pt x="1453" y="206"/>
                      </a:lnTo>
                      <a:lnTo>
                        <a:pt x="1431" y="186"/>
                      </a:lnTo>
                      <a:lnTo>
                        <a:pt x="1410" y="166"/>
                      </a:lnTo>
                      <a:lnTo>
                        <a:pt x="1387" y="148"/>
                      </a:lnTo>
                      <a:lnTo>
                        <a:pt x="1365" y="131"/>
                      </a:lnTo>
                      <a:lnTo>
                        <a:pt x="1341" y="113"/>
                      </a:lnTo>
                      <a:lnTo>
                        <a:pt x="1318" y="97"/>
                      </a:lnTo>
                      <a:lnTo>
                        <a:pt x="1270" y="66"/>
                      </a:lnTo>
                      <a:lnTo>
                        <a:pt x="1270" y="66"/>
                      </a:lnTo>
                      <a:lnTo>
                        <a:pt x="1270" y="66"/>
                      </a:lnTo>
                      <a:lnTo>
                        <a:pt x="1261" y="62"/>
                      </a:lnTo>
                      <a:lnTo>
                        <a:pt x="1252" y="57"/>
                      </a:lnTo>
                      <a:lnTo>
                        <a:pt x="1252" y="57"/>
                      </a:lnTo>
                      <a:lnTo>
                        <a:pt x="1237" y="48"/>
                      </a:lnTo>
                      <a:lnTo>
                        <a:pt x="1221" y="39"/>
                      </a:lnTo>
                      <a:lnTo>
                        <a:pt x="1206" y="31"/>
                      </a:lnTo>
                      <a:lnTo>
                        <a:pt x="1190" y="24"/>
                      </a:lnTo>
                      <a:lnTo>
                        <a:pt x="1173" y="17"/>
                      </a:lnTo>
                      <a:lnTo>
                        <a:pt x="1157" y="10"/>
                      </a:lnTo>
                      <a:lnTo>
                        <a:pt x="1140" y="6"/>
                      </a:lnTo>
                      <a:lnTo>
                        <a:pt x="1123" y="1"/>
                      </a:lnTo>
                      <a:lnTo>
                        <a:pt x="1035" y="89"/>
                      </a:lnTo>
                      <a:lnTo>
                        <a:pt x="949" y="0"/>
                      </a:lnTo>
                      <a:lnTo>
                        <a:pt x="949" y="0"/>
                      </a:lnTo>
                      <a:lnTo>
                        <a:pt x="948" y="0"/>
                      </a:lnTo>
                      <a:lnTo>
                        <a:pt x="948" y="0"/>
                      </a:lnTo>
                      <a:lnTo>
                        <a:pt x="930" y="5"/>
                      </a:lnTo>
                      <a:lnTo>
                        <a:pt x="913" y="10"/>
                      </a:lnTo>
                      <a:lnTo>
                        <a:pt x="896" y="16"/>
                      </a:lnTo>
                      <a:lnTo>
                        <a:pt x="880" y="23"/>
                      </a:lnTo>
                      <a:lnTo>
                        <a:pt x="863" y="31"/>
                      </a:lnTo>
                      <a:lnTo>
                        <a:pt x="847" y="39"/>
                      </a:lnTo>
                      <a:lnTo>
                        <a:pt x="831" y="48"/>
                      </a:lnTo>
                      <a:lnTo>
                        <a:pt x="816" y="58"/>
                      </a:lnTo>
                      <a:lnTo>
                        <a:pt x="816" y="58"/>
                      </a:lnTo>
                      <a:lnTo>
                        <a:pt x="807" y="63"/>
                      </a:lnTo>
                      <a:lnTo>
                        <a:pt x="797" y="68"/>
                      </a:lnTo>
                      <a:lnTo>
                        <a:pt x="787" y="73"/>
                      </a:lnTo>
                      <a:lnTo>
                        <a:pt x="779" y="81"/>
                      </a:lnTo>
                      <a:lnTo>
                        <a:pt x="779" y="81"/>
                      </a:lnTo>
                      <a:lnTo>
                        <a:pt x="725" y="131"/>
                      </a:lnTo>
                      <a:lnTo>
                        <a:pt x="672" y="179"/>
                      </a:lnTo>
                      <a:lnTo>
                        <a:pt x="672" y="179"/>
                      </a:lnTo>
                      <a:lnTo>
                        <a:pt x="600" y="245"/>
                      </a:lnTo>
                      <a:lnTo>
                        <a:pt x="567" y="273"/>
                      </a:lnTo>
                      <a:lnTo>
                        <a:pt x="537" y="298"/>
                      </a:lnTo>
                      <a:lnTo>
                        <a:pt x="508" y="320"/>
                      </a:lnTo>
                      <a:lnTo>
                        <a:pt x="481" y="338"/>
                      </a:lnTo>
                      <a:lnTo>
                        <a:pt x="453" y="354"/>
                      </a:lnTo>
                      <a:lnTo>
                        <a:pt x="441" y="360"/>
                      </a:lnTo>
                      <a:lnTo>
                        <a:pt x="428" y="365"/>
                      </a:lnTo>
                      <a:lnTo>
                        <a:pt x="415" y="370"/>
                      </a:lnTo>
                      <a:lnTo>
                        <a:pt x="402" y="375"/>
                      </a:lnTo>
                      <a:lnTo>
                        <a:pt x="389" y="377"/>
                      </a:lnTo>
                      <a:lnTo>
                        <a:pt x="377" y="379"/>
                      </a:lnTo>
                      <a:lnTo>
                        <a:pt x="363" y="380"/>
                      </a:lnTo>
                      <a:lnTo>
                        <a:pt x="349" y="381"/>
                      </a:lnTo>
                      <a:lnTo>
                        <a:pt x="337" y="381"/>
                      </a:lnTo>
                      <a:lnTo>
                        <a:pt x="322" y="379"/>
                      </a:lnTo>
                      <a:lnTo>
                        <a:pt x="308" y="378"/>
                      </a:lnTo>
                      <a:lnTo>
                        <a:pt x="293" y="375"/>
                      </a:lnTo>
                      <a:lnTo>
                        <a:pt x="278" y="371"/>
                      </a:lnTo>
                      <a:lnTo>
                        <a:pt x="264" y="367"/>
                      </a:lnTo>
                      <a:lnTo>
                        <a:pt x="231" y="355"/>
                      </a:lnTo>
                      <a:lnTo>
                        <a:pt x="196" y="340"/>
                      </a:lnTo>
                      <a:lnTo>
                        <a:pt x="196" y="340"/>
                      </a:lnTo>
                      <a:lnTo>
                        <a:pt x="186" y="336"/>
                      </a:lnTo>
                      <a:lnTo>
                        <a:pt x="174" y="332"/>
                      </a:lnTo>
                      <a:lnTo>
                        <a:pt x="164" y="329"/>
                      </a:lnTo>
                      <a:lnTo>
                        <a:pt x="153" y="328"/>
                      </a:lnTo>
                      <a:lnTo>
                        <a:pt x="141" y="326"/>
                      </a:lnTo>
                      <a:lnTo>
                        <a:pt x="130" y="326"/>
                      </a:lnTo>
                      <a:lnTo>
                        <a:pt x="119" y="328"/>
                      </a:lnTo>
                      <a:lnTo>
                        <a:pt x="108" y="330"/>
                      </a:lnTo>
                      <a:lnTo>
                        <a:pt x="98" y="333"/>
                      </a:lnTo>
                      <a:lnTo>
                        <a:pt x="87" y="337"/>
                      </a:lnTo>
                      <a:lnTo>
                        <a:pt x="77" y="341"/>
                      </a:lnTo>
                      <a:lnTo>
                        <a:pt x="68" y="346"/>
                      </a:lnTo>
                      <a:lnTo>
                        <a:pt x="58" y="353"/>
                      </a:lnTo>
                      <a:lnTo>
                        <a:pt x="50" y="360"/>
                      </a:lnTo>
                      <a:lnTo>
                        <a:pt x="42" y="367"/>
                      </a:lnTo>
                      <a:lnTo>
                        <a:pt x="34" y="376"/>
                      </a:lnTo>
                      <a:lnTo>
                        <a:pt x="8" y="418"/>
                      </a:lnTo>
                      <a:close/>
                      <a:moveTo>
                        <a:pt x="1036" y="793"/>
                      </a:moveTo>
                      <a:lnTo>
                        <a:pt x="1033" y="793"/>
                      </a:lnTo>
                      <a:lnTo>
                        <a:pt x="948" y="676"/>
                      </a:lnTo>
                      <a:lnTo>
                        <a:pt x="1033" y="103"/>
                      </a:lnTo>
                      <a:lnTo>
                        <a:pt x="1036" y="103"/>
                      </a:lnTo>
                      <a:lnTo>
                        <a:pt x="1121" y="676"/>
                      </a:lnTo>
                      <a:lnTo>
                        <a:pt x="1036" y="793"/>
                      </a:lnTo>
                      <a:close/>
                      <a:moveTo>
                        <a:pt x="1036" y="793"/>
                      </a:moveTo>
                      <a:lnTo>
                        <a:pt x="1036" y="793"/>
                      </a:lnTo>
                      <a:close/>
                    </a:path>
                  </a:pathLst>
                </a:custGeom>
                <a:solidFill>
                  <a:srgbClr val="50CFE6"/>
                </a:solidFill>
                <a:ln w="9525">
                  <a:solidFill>
                    <a:sysClr val="windowText" lastClr="000000"/>
                  </a:solidFill>
                  <a:round/>
                  <a:headEnd/>
                  <a:tailEnd/>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70" name="Freeform 17">
                  <a:extLst>
                    <a:ext uri="{FF2B5EF4-FFF2-40B4-BE49-F238E27FC236}">
                      <a16:creationId xmlns:a16="http://schemas.microsoft.com/office/drawing/2014/main" id="{06FDF161-14D8-4636-9CC5-0B2365A7E505}"/>
                    </a:ext>
                  </a:extLst>
                </p:cNvPr>
                <p:cNvSpPr>
                  <a:spLocks/>
                </p:cNvSpPr>
                <p:nvPr/>
              </p:nvSpPr>
              <p:spPr bwMode="auto">
                <a:xfrm>
                  <a:off x="4615789" y="1251548"/>
                  <a:ext cx="196174" cy="311144"/>
                </a:xfrm>
                <a:custGeom>
                  <a:avLst/>
                  <a:gdLst>
                    <a:gd name="T0" fmla="*/ 0 w 1708"/>
                    <a:gd name="T1" fmla="*/ 456 h 2704"/>
                    <a:gd name="T2" fmla="*/ 11 w 1708"/>
                    <a:gd name="T3" fmla="*/ 518 h 2704"/>
                    <a:gd name="T4" fmla="*/ 47 w 1708"/>
                    <a:gd name="T5" fmla="*/ 568 h 2704"/>
                    <a:gd name="T6" fmla="*/ 117 w 1708"/>
                    <a:gd name="T7" fmla="*/ 606 h 2704"/>
                    <a:gd name="T8" fmla="*/ 288 w 1708"/>
                    <a:gd name="T9" fmla="*/ 653 h 2704"/>
                    <a:gd name="T10" fmla="*/ 395 w 1708"/>
                    <a:gd name="T11" fmla="*/ 654 h 2704"/>
                    <a:gd name="T12" fmla="*/ 503 w 1708"/>
                    <a:gd name="T13" fmla="*/ 631 h 2704"/>
                    <a:gd name="T14" fmla="*/ 599 w 1708"/>
                    <a:gd name="T15" fmla="*/ 588 h 2704"/>
                    <a:gd name="T16" fmla="*/ 673 w 1708"/>
                    <a:gd name="T17" fmla="*/ 1122 h 2704"/>
                    <a:gd name="T18" fmla="*/ 690 w 1708"/>
                    <a:gd name="T19" fmla="*/ 1209 h 2704"/>
                    <a:gd name="T20" fmla="*/ 692 w 1708"/>
                    <a:gd name="T21" fmla="*/ 2573 h 2704"/>
                    <a:gd name="T22" fmla="*/ 727 w 1708"/>
                    <a:gd name="T23" fmla="*/ 2644 h 2704"/>
                    <a:gd name="T24" fmla="*/ 790 w 1708"/>
                    <a:gd name="T25" fmla="*/ 2690 h 2704"/>
                    <a:gd name="T26" fmla="*/ 853 w 1708"/>
                    <a:gd name="T27" fmla="*/ 2704 h 2704"/>
                    <a:gd name="T28" fmla="*/ 930 w 1708"/>
                    <a:gd name="T29" fmla="*/ 2683 h 2704"/>
                    <a:gd name="T30" fmla="*/ 988 w 1708"/>
                    <a:gd name="T31" fmla="*/ 2632 h 2704"/>
                    <a:gd name="T32" fmla="*/ 1014 w 1708"/>
                    <a:gd name="T33" fmla="*/ 2557 h 2704"/>
                    <a:gd name="T34" fmla="*/ 1035 w 1708"/>
                    <a:gd name="T35" fmla="*/ 1408 h 2704"/>
                    <a:gd name="T36" fmla="*/ 1041 w 1708"/>
                    <a:gd name="T37" fmla="*/ 2573 h 2704"/>
                    <a:gd name="T38" fmla="*/ 1076 w 1708"/>
                    <a:gd name="T39" fmla="*/ 2644 h 2704"/>
                    <a:gd name="T40" fmla="*/ 1137 w 1708"/>
                    <a:gd name="T41" fmla="*/ 2690 h 2704"/>
                    <a:gd name="T42" fmla="*/ 1202 w 1708"/>
                    <a:gd name="T43" fmla="*/ 2704 h 2704"/>
                    <a:gd name="T44" fmla="*/ 1264 w 1708"/>
                    <a:gd name="T45" fmla="*/ 2690 h 2704"/>
                    <a:gd name="T46" fmla="*/ 1326 w 1708"/>
                    <a:gd name="T47" fmla="*/ 2644 h 2704"/>
                    <a:gd name="T48" fmla="*/ 1361 w 1708"/>
                    <a:gd name="T49" fmla="*/ 2573 h 2704"/>
                    <a:gd name="T50" fmla="*/ 1372 w 1708"/>
                    <a:gd name="T51" fmla="*/ 1212 h 2704"/>
                    <a:gd name="T52" fmla="*/ 1395 w 1708"/>
                    <a:gd name="T53" fmla="*/ 1130 h 2704"/>
                    <a:gd name="T54" fmla="*/ 1409 w 1708"/>
                    <a:gd name="T55" fmla="*/ 697 h 2704"/>
                    <a:gd name="T56" fmla="*/ 1433 w 1708"/>
                    <a:gd name="T57" fmla="*/ 988 h 2704"/>
                    <a:gd name="T58" fmla="*/ 1427 w 1708"/>
                    <a:gd name="T59" fmla="*/ 1166 h 2704"/>
                    <a:gd name="T60" fmla="*/ 1451 w 1708"/>
                    <a:gd name="T61" fmla="*/ 1228 h 2704"/>
                    <a:gd name="T62" fmla="*/ 1500 w 1708"/>
                    <a:gd name="T63" fmla="*/ 1272 h 2704"/>
                    <a:gd name="T64" fmla="*/ 1553 w 1708"/>
                    <a:gd name="T65" fmla="*/ 1287 h 2704"/>
                    <a:gd name="T66" fmla="*/ 1602 w 1708"/>
                    <a:gd name="T67" fmla="*/ 1281 h 2704"/>
                    <a:gd name="T68" fmla="*/ 1657 w 1708"/>
                    <a:gd name="T69" fmla="*/ 1250 h 2704"/>
                    <a:gd name="T70" fmla="*/ 1692 w 1708"/>
                    <a:gd name="T71" fmla="*/ 1198 h 2704"/>
                    <a:gd name="T72" fmla="*/ 1705 w 1708"/>
                    <a:gd name="T73" fmla="*/ 1095 h 2704"/>
                    <a:gd name="T74" fmla="*/ 1703 w 1708"/>
                    <a:gd name="T75" fmla="*/ 813 h 2704"/>
                    <a:gd name="T76" fmla="*/ 1667 w 1708"/>
                    <a:gd name="T77" fmla="*/ 589 h 2704"/>
                    <a:gd name="T78" fmla="*/ 1602 w 1708"/>
                    <a:gd name="T79" fmla="*/ 411 h 2704"/>
                    <a:gd name="T80" fmla="*/ 1514 w 1708"/>
                    <a:gd name="T81" fmla="*/ 274 h 2704"/>
                    <a:gd name="T82" fmla="*/ 1410 w 1708"/>
                    <a:gd name="T83" fmla="*/ 166 h 2704"/>
                    <a:gd name="T84" fmla="*/ 1270 w 1708"/>
                    <a:gd name="T85" fmla="*/ 66 h 2704"/>
                    <a:gd name="T86" fmla="*/ 1252 w 1708"/>
                    <a:gd name="T87" fmla="*/ 57 h 2704"/>
                    <a:gd name="T88" fmla="*/ 1173 w 1708"/>
                    <a:gd name="T89" fmla="*/ 17 h 2704"/>
                    <a:gd name="T90" fmla="*/ 949 w 1708"/>
                    <a:gd name="T91" fmla="*/ 0 h 2704"/>
                    <a:gd name="T92" fmla="*/ 913 w 1708"/>
                    <a:gd name="T93" fmla="*/ 10 h 2704"/>
                    <a:gd name="T94" fmla="*/ 831 w 1708"/>
                    <a:gd name="T95" fmla="*/ 48 h 2704"/>
                    <a:gd name="T96" fmla="*/ 787 w 1708"/>
                    <a:gd name="T97" fmla="*/ 73 h 2704"/>
                    <a:gd name="T98" fmla="*/ 672 w 1708"/>
                    <a:gd name="T99" fmla="*/ 179 h 2704"/>
                    <a:gd name="T100" fmla="*/ 481 w 1708"/>
                    <a:gd name="T101" fmla="*/ 338 h 2704"/>
                    <a:gd name="T102" fmla="*/ 402 w 1708"/>
                    <a:gd name="T103" fmla="*/ 375 h 2704"/>
                    <a:gd name="T104" fmla="*/ 337 w 1708"/>
                    <a:gd name="T105" fmla="*/ 381 h 2704"/>
                    <a:gd name="T106" fmla="*/ 264 w 1708"/>
                    <a:gd name="T107" fmla="*/ 367 h 2704"/>
                    <a:gd name="T108" fmla="*/ 174 w 1708"/>
                    <a:gd name="T109" fmla="*/ 332 h 2704"/>
                    <a:gd name="T110" fmla="*/ 119 w 1708"/>
                    <a:gd name="T111" fmla="*/ 328 h 2704"/>
                    <a:gd name="T112" fmla="*/ 68 w 1708"/>
                    <a:gd name="T113" fmla="*/ 346 h 2704"/>
                    <a:gd name="T114" fmla="*/ 8 w 1708"/>
                    <a:gd name="T115" fmla="*/ 418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08" h="2704">
                      <a:moveTo>
                        <a:pt x="8" y="418"/>
                      </a:moveTo>
                      <a:lnTo>
                        <a:pt x="8" y="418"/>
                      </a:lnTo>
                      <a:lnTo>
                        <a:pt x="5" y="431"/>
                      </a:lnTo>
                      <a:lnTo>
                        <a:pt x="2" y="443"/>
                      </a:lnTo>
                      <a:lnTo>
                        <a:pt x="0" y="456"/>
                      </a:lnTo>
                      <a:lnTo>
                        <a:pt x="0" y="469"/>
                      </a:lnTo>
                      <a:lnTo>
                        <a:pt x="2" y="481"/>
                      </a:lnTo>
                      <a:lnTo>
                        <a:pt x="4" y="494"/>
                      </a:lnTo>
                      <a:lnTo>
                        <a:pt x="6" y="506"/>
                      </a:lnTo>
                      <a:lnTo>
                        <a:pt x="11" y="518"/>
                      </a:lnTo>
                      <a:lnTo>
                        <a:pt x="16" y="529"/>
                      </a:lnTo>
                      <a:lnTo>
                        <a:pt x="22" y="540"/>
                      </a:lnTo>
                      <a:lnTo>
                        <a:pt x="30" y="550"/>
                      </a:lnTo>
                      <a:lnTo>
                        <a:pt x="38" y="559"/>
                      </a:lnTo>
                      <a:lnTo>
                        <a:pt x="47" y="568"/>
                      </a:lnTo>
                      <a:lnTo>
                        <a:pt x="58" y="576"/>
                      </a:lnTo>
                      <a:lnTo>
                        <a:pt x="68" y="583"/>
                      </a:lnTo>
                      <a:lnTo>
                        <a:pt x="79" y="590"/>
                      </a:lnTo>
                      <a:lnTo>
                        <a:pt x="79" y="590"/>
                      </a:lnTo>
                      <a:lnTo>
                        <a:pt x="117" y="606"/>
                      </a:lnTo>
                      <a:lnTo>
                        <a:pt x="154" y="620"/>
                      </a:lnTo>
                      <a:lnTo>
                        <a:pt x="188" y="631"/>
                      </a:lnTo>
                      <a:lnTo>
                        <a:pt x="222" y="642"/>
                      </a:lnTo>
                      <a:lnTo>
                        <a:pt x="256" y="648"/>
                      </a:lnTo>
                      <a:lnTo>
                        <a:pt x="288" y="653"/>
                      </a:lnTo>
                      <a:lnTo>
                        <a:pt x="320" y="656"/>
                      </a:lnTo>
                      <a:lnTo>
                        <a:pt x="349" y="656"/>
                      </a:lnTo>
                      <a:lnTo>
                        <a:pt x="349" y="656"/>
                      </a:lnTo>
                      <a:lnTo>
                        <a:pt x="373" y="656"/>
                      </a:lnTo>
                      <a:lnTo>
                        <a:pt x="395" y="654"/>
                      </a:lnTo>
                      <a:lnTo>
                        <a:pt x="418" y="652"/>
                      </a:lnTo>
                      <a:lnTo>
                        <a:pt x="440" y="648"/>
                      </a:lnTo>
                      <a:lnTo>
                        <a:pt x="460" y="644"/>
                      </a:lnTo>
                      <a:lnTo>
                        <a:pt x="482" y="638"/>
                      </a:lnTo>
                      <a:lnTo>
                        <a:pt x="503" y="631"/>
                      </a:lnTo>
                      <a:lnTo>
                        <a:pt x="522" y="624"/>
                      </a:lnTo>
                      <a:lnTo>
                        <a:pt x="541" y="616"/>
                      </a:lnTo>
                      <a:lnTo>
                        <a:pt x="561" y="607"/>
                      </a:lnTo>
                      <a:lnTo>
                        <a:pt x="580" y="598"/>
                      </a:lnTo>
                      <a:lnTo>
                        <a:pt x="599" y="588"/>
                      </a:lnTo>
                      <a:lnTo>
                        <a:pt x="635" y="566"/>
                      </a:lnTo>
                      <a:lnTo>
                        <a:pt x="672" y="542"/>
                      </a:lnTo>
                      <a:lnTo>
                        <a:pt x="672" y="1094"/>
                      </a:lnTo>
                      <a:lnTo>
                        <a:pt x="672" y="1094"/>
                      </a:lnTo>
                      <a:lnTo>
                        <a:pt x="673" y="1122"/>
                      </a:lnTo>
                      <a:lnTo>
                        <a:pt x="676" y="1148"/>
                      </a:lnTo>
                      <a:lnTo>
                        <a:pt x="683" y="1173"/>
                      </a:lnTo>
                      <a:lnTo>
                        <a:pt x="691" y="1197"/>
                      </a:lnTo>
                      <a:lnTo>
                        <a:pt x="691" y="1197"/>
                      </a:lnTo>
                      <a:lnTo>
                        <a:pt x="690" y="1209"/>
                      </a:lnTo>
                      <a:lnTo>
                        <a:pt x="690" y="1219"/>
                      </a:lnTo>
                      <a:lnTo>
                        <a:pt x="690" y="2540"/>
                      </a:lnTo>
                      <a:lnTo>
                        <a:pt x="690" y="2540"/>
                      </a:lnTo>
                      <a:lnTo>
                        <a:pt x="690" y="2557"/>
                      </a:lnTo>
                      <a:lnTo>
                        <a:pt x="692" y="2573"/>
                      </a:lnTo>
                      <a:lnTo>
                        <a:pt x="697" y="2589"/>
                      </a:lnTo>
                      <a:lnTo>
                        <a:pt x="703" y="2604"/>
                      </a:lnTo>
                      <a:lnTo>
                        <a:pt x="710" y="2618"/>
                      </a:lnTo>
                      <a:lnTo>
                        <a:pt x="718" y="2632"/>
                      </a:lnTo>
                      <a:lnTo>
                        <a:pt x="727" y="2644"/>
                      </a:lnTo>
                      <a:lnTo>
                        <a:pt x="737" y="2656"/>
                      </a:lnTo>
                      <a:lnTo>
                        <a:pt x="749" y="2666"/>
                      </a:lnTo>
                      <a:lnTo>
                        <a:pt x="761" y="2675"/>
                      </a:lnTo>
                      <a:lnTo>
                        <a:pt x="775" y="2683"/>
                      </a:lnTo>
                      <a:lnTo>
                        <a:pt x="790" y="2690"/>
                      </a:lnTo>
                      <a:lnTo>
                        <a:pt x="805" y="2696"/>
                      </a:lnTo>
                      <a:lnTo>
                        <a:pt x="819" y="2700"/>
                      </a:lnTo>
                      <a:lnTo>
                        <a:pt x="835" y="2703"/>
                      </a:lnTo>
                      <a:lnTo>
                        <a:pt x="853" y="2704"/>
                      </a:lnTo>
                      <a:lnTo>
                        <a:pt x="853" y="2704"/>
                      </a:lnTo>
                      <a:lnTo>
                        <a:pt x="869" y="2703"/>
                      </a:lnTo>
                      <a:lnTo>
                        <a:pt x="886" y="2700"/>
                      </a:lnTo>
                      <a:lnTo>
                        <a:pt x="901" y="2696"/>
                      </a:lnTo>
                      <a:lnTo>
                        <a:pt x="916" y="2690"/>
                      </a:lnTo>
                      <a:lnTo>
                        <a:pt x="930" y="2683"/>
                      </a:lnTo>
                      <a:lnTo>
                        <a:pt x="943" y="2675"/>
                      </a:lnTo>
                      <a:lnTo>
                        <a:pt x="956" y="2666"/>
                      </a:lnTo>
                      <a:lnTo>
                        <a:pt x="968" y="2656"/>
                      </a:lnTo>
                      <a:lnTo>
                        <a:pt x="978" y="2644"/>
                      </a:lnTo>
                      <a:lnTo>
                        <a:pt x="988" y="2632"/>
                      </a:lnTo>
                      <a:lnTo>
                        <a:pt x="996" y="2618"/>
                      </a:lnTo>
                      <a:lnTo>
                        <a:pt x="1002" y="2604"/>
                      </a:lnTo>
                      <a:lnTo>
                        <a:pt x="1008" y="2589"/>
                      </a:lnTo>
                      <a:lnTo>
                        <a:pt x="1012" y="2573"/>
                      </a:lnTo>
                      <a:lnTo>
                        <a:pt x="1014" y="2557"/>
                      </a:lnTo>
                      <a:lnTo>
                        <a:pt x="1015" y="2540"/>
                      </a:lnTo>
                      <a:lnTo>
                        <a:pt x="1015" y="1407"/>
                      </a:lnTo>
                      <a:lnTo>
                        <a:pt x="1015" y="1407"/>
                      </a:lnTo>
                      <a:lnTo>
                        <a:pt x="1035" y="1408"/>
                      </a:lnTo>
                      <a:lnTo>
                        <a:pt x="1035" y="1408"/>
                      </a:lnTo>
                      <a:lnTo>
                        <a:pt x="1038" y="1407"/>
                      </a:lnTo>
                      <a:lnTo>
                        <a:pt x="1038" y="2540"/>
                      </a:lnTo>
                      <a:lnTo>
                        <a:pt x="1038" y="2540"/>
                      </a:lnTo>
                      <a:lnTo>
                        <a:pt x="1039" y="2557"/>
                      </a:lnTo>
                      <a:lnTo>
                        <a:pt x="1041" y="2573"/>
                      </a:lnTo>
                      <a:lnTo>
                        <a:pt x="1046" y="2589"/>
                      </a:lnTo>
                      <a:lnTo>
                        <a:pt x="1051" y="2604"/>
                      </a:lnTo>
                      <a:lnTo>
                        <a:pt x="1057" y="2618"/>
                      </a:lnTo>
                      <a:lnTo>
                        <a:pt x="1067" y="2632"/>
                      </a:lnTo>
                      <a:lnTo>
                        <a:pt x="1076" y="2644"/>
                      </a:lnTo>
                      <a:lnTo>
                        <a:pt x="1086" y="2656"/>
                      </a:lnTo>
                      <a:lnTo>
                        <a:pt x="1097" y="2666"/>
                      </a:lnTo>
                      <a:lnTo>
                        <a:pt x="1110" y="2675"/>
                      </a:lnTo>
                      <a:lnTo>
                        <a:pt x="1124" y="2683"/>
                      </a:lnTo>
                      <a:lnTo>
                        <a:pt x="1137" y="2690"/>
                      </a:lnTo>
                      <a:lnTo>
                        <a:pt x="1152" y="2696"/>
                      </a:lnTo>
                      <a:lnTo>
                        <a:pt x="1168" y="2700"/>
                      </a:lnTo>
                      <a:lnTo>
                        <a:pt x="1184" y="2703"/>
                      </a:lnTo>
                      <a:lnTo>
                        <a:pt x="1202" y="2704"/>
                      </a:lnTo>
                      <a:lnTo>
                        <a:pt x="1202" y="2704"/>
                      </a:lnTo>
                      <a:lnTo>
                        <a:pt x="1202" y="2704"/>
                      </a:lnTo>
                      <a:lnTo>
                        <a:pt x="1218" y="2703"/>
                      </a:lnTo>
                      <a:lnTo>
                        <a:pt x="1234" y="2700"/>
                      </a:lnTo>
                      <a:lnTo>
                        <a:pt x="1250" y="2696"/>
                      </a:lnTo>
                      <a:lnTo>
                        <a:pt x="1264" y="2690"/>
                      </a:lnTo>
                      <a:lnTo>
                        <a:pt x="1278" y="2683"/>
                      </a:lnTo>
                      <a:lnTo>
                        <a:pt x="1292" y="2675"/>
                      </a:lnTo>
                      <a:lnTo>
                        <a:pt x="1304" y="2666"/>
                      </a:lnTo>
                      <a:lnTo>
                        <a:pt x="1316" y="2656"/>
                      </a:lnTo>
                      <a:lnTo>
                        <a:pt x="1326" y="2644"/>
                      </a:lnTo>
                      <a:lnTo>
                        <a:pt x="1337" y="2632"/>
                      </a:lnTo>
                      <a:lnTo>
                        <a:pt x="1345" y="2618"/>
                      </a:lnTo>
                      <a:lnTo>
                        <a:pt x="1351" y="2604"/>
                      </a:lnTo>
                      <a:lnTo>
                        <a:pt x="1357" y="2589"/>
                      </a:lnTo>
                      <a:lnTo>
                        <a:pt x="1361" y="2573"/>
                      </a:lnTo>
                      <a:lnTo>
                        <a:pt x="1363" y="2557"/>
                      </a:lnTo>
                      <a:lnTo>
                        <a:pt x="1364" y="2540"/>
                      </a:lnTo>
                      <a:lnTo>
                        <a:pt x="1364" y="1227"/>
                      </a:lnTo>
                      <a:lnTo>
                        <a:pt x="1364" y="1227"/>
                      </a:lnTo>
                      <a:lnTo>
                        <a:pt x="1372" y="1212"/>
                      </a:lnTo>
                      <a:lnTo>
                        <a:pt x="1378" y="1197"/>
                      </a:lnTo>
                      <a:lnTo>
                        <a:pt x="1383" y="1181"/>
                      </a:lnTo>
                      <a:lnTo>
                        <a:pt x="1389" y="1164"/>
                      </a:lnTo>
                      <a:lnTo>
                        <a:pt x="1393" y="1147"/>
                      </a:lnTo>
                      <a:lnTo>
                        <a:pt x="1395" y="1130"/>
                      </a:lnTo>
                      <a:lnTo>
                        <a:pt x="1397" y="1112"/>
                      </a:lnTo>
                      <a:lnTo>
                        <a:pt x="1397" y="1094"/>
                      </a:lnTo>
                      <a:lnTo>
                        <a:pt x="1397" y="651"/>
                      </a:lnTo>
                      <a:lnTo>
                        <a:pt x="1397" y="651"/>
                      </a:lnTo>
                      <a:lnTo>
                        <a:pt x="1409" y="697"/>
                      </a:lnTo>
                      <a:lnTo>
                        <a:pt x="1418" y="746"/>
                      </a:lnTo>
                      <a:lnTo>
                        <a:pt x="1426" y="800"/>
                      </a:lnTo>
                      <a:lnTo>
                        <a:pt x="1430" y="858"/>
                      </a:lnTo>
                      <a:lnTo>
                        <a:pt x="1433" y="920"/>
                      </a:lnTo>
                      <a:lnTo>
                        <a:pt x="1433" y="988"/>
                      </a:lnTo>
                      <a:lnTo>
                        <a:pt x="1431" y="1060"/>
                      </a:lnTo>
                      <a:lnTo>
                        <a:pt x="1426" y="1138"/>
                      </a:lnTo>
                      <a:lnTo>
                        <a:pt x="1426" y="1138"/>
                      </a:lnTo>
                      <a:lnTo>
                        <a:pt x="1426" y="1153"/>
                      </a:lnTo>
                      <a:lnTo>
                        <a:pt x="1427" y="1166"/>
                      </a:lnTo>
                      <a:lnTo>
                        <a:pt x="1429" y="1179"/>
                      </a:lnTo>
                      <a:lnTo>
                        <a:pt x="1433" y="1193"/>
                      </a:lnTo>
                      <a:lnTo>
                        <a:pt x="1437" y="1205"/>
                      </a:lnTo>
                      <a:lnTo>
                        <a:pt x="1443" y="1217"/>
                      </a:lnTo>
                      <a:lnTo>
                        <a:pt x="1451" y="1228"/>
                      </a:lnTo>
                      <a:lnTo>
                        <a:pt x="1459" y="1238"/>
                      </a:lnTo>
                      <a:lnTo>
                        <a:pt x="1468" y="1248"/>
                      </a:lnTo>
                      <a:lnTo>
                        <a:pt x="1477" y="1257"/>
                      </a:lnTo>
                      <a:lnTo>
                        <a:pt x="1489" y="1265"/>
                      </a:lnTo>
                      <a:lnTo>
                        <a:pt x="1500" y="1272"/>
                      </a:lnTo>
                      <a:lnTo>
                        <a:pt x="1513" y="1276"/>
                      </a:lnTo>
                      <a:lnTo>
                        <a:pt x="1525" y="1281"/>
                      </a:lnTo>
                      <a:lnTo>
                        <a:pt x="1539" y="1284"/>
                      </a:lnTo>
                      <a:lnTo>
                        <a:pt x="1553" y="1287"/>
                      </a:lnTo>
                      <a:lnTo>
                        <a:pt x="1553" y="1287"/>
                      </a:lnTo>
                      <a:lnTo>
                        <a:pt x="1563" y="1287"/>
                      </a:lnTo>
                      <a:lnTo>
                        <a:pt x="1563" y="1287"/>
                      </a:lnTo>
                      <a:lnTo>
                        <a:pt x="1577" y="1287"/>
                      </a:lnTo>
                      <a:lnTo>
                        <a:pt x="1589" y="1284"/>
                      </a:lnTo>
                      <a:lnTo>
                        <a:pt x="1602" y="1281"/>
                      </a:lnTo>
                      <a:lnTo>
                        <a:pt x="1615" y="1277"/>
                      </a:lnTo>
                      <a:lnTo>
                        <a:pt x="1626" y="1272"/>
                      </a:lnTo>
                      <a:lnTo>
                        <a:pt x="1636" y="1266"/>
                      </a:lnTo>
                      <a:lnTo>
                        <a:pt x="1647" y="1258"/>
                      </a:lnTo>
                      <a:lnTo>
                        <a:pt x="1657" y="1250"/>
                      </a:lnTo>
                      <a:lnTo>
                        <a:pt x="1666" y="1241"/>
                      </a:lnTo>
                      <a:lnTo>
                        <a:pt x="1674" y="1232"/>
                      </a:lnTo>
                      <a:lnTo>
                        <a:pt x="1681" y="1221"/>
                      </a:lnTo>
                      <a:lnTo>
                        <a:pt x="1687" y="1210"/>
                      </a:lnTo>
                      <a:lnTo>
                        <a:pt x="1692" y="1198"/>
                      </a:lnTo>
                      <a:lnTo>
                        <a:pt x="1696" y="1186"/>
                      </a:lnTo>
                      <a:lnTo>
                        <a:pt x="1699" y="1173"/>
                      </a:lnTo>
                      <a:lnTo>
                        <a:pt x="1700" y="1159"/>
                      </a:lnTo>
                      <a:lnTo>
                        <a:pt x="1700" y="1159"/>
                      </a:lnTo>
                      <a:lnTo>
                        <a:pt x="1705" y="1095"/>
                      </a:lnTo>
                      <a:lnTo>
                        <a:pt x="1707" y="1035"/>
                      </a:lnTo>
                      <a:lnTo>
                        <a:pt x="1708" y="976"/>
                      </a:lnTo>
                      <a:lnTo>
                        <a:pt x="1708" y="920"/>
                      </a:lnTo>
                      <a:lnTo>
                        <a:pt x="1706" y="865"/>
                      </a:lnTo>
                      <a:lnTo>
                        <a:pt x="1703" y="813"/>
                      </a:lnTo>
                      <a:lnTo>
                        <a:pt x="1698" y="764"/>
                      </a:lnTo>
                      <a:lnTo>
                        <a:pt x="1692" y="717"/>
                      </a:lnTo>
                      <a:lnTo>
                        <a:pt x="1685" y="672"/>
                      </a:lnTo>
                      <a:lnTo>
                        <a:pt x="1676" y="630"/>
                      </a:lnTo>
                      <a:lnTo>
                        <a:pt x="1667" y="589"/>
                      </a:lnTo>
                      <a:lnTo>
                        <a:pt x="1656" y="550"/>
                      </a:lnTo>
                      <a:lnTo>
                        <a:pt x="1644" y="512"/>
                      </a:lnTo>
                      <a:lnTo>
                        <a:pt x="1631" y="477"/>
                      </a:lnTo>
                      <a:lnTo>
                        <a:pt x="1617" y="443"/>
                      </a:lnTo>
                      <a:lnTo>
                        <a:pt x="1602" y="411"/>
                      </a:lnTo>
                      <a:lnTo>
                        <a:pt x="1586" y="380"/>
                      </a:lnTo>
                      <a:lnTo>
                        <a:pt x="1569" y="352"/>
                      </a:lnTo>
                      <a:lnTo>
                        <a:pt x="1552" y="324"/>
                      </a:lnTo>
                      <a:lnTo>
                        <a:pt x="1533" y="298"/>
                      </a:lnTo>
                      <a:lnTo>
                        <a:pt x="1514" y="274"/>
                      </a:lnTo>
                      <a:lnTo>
                        <a:pt x="1494" y="250"/>
                      </a:lnTo>
                      <a:lnTo>
                        <a:pt x="1474" y="227"/>
                      </a:lnTo>
                      <a:lnTo>
                        <a:pt x="1453" y="206"/>
                      </a:lnTo>
                      <a:lnTo>
                        <a:pt x="1431" y="186"/>
                      </a:lnTo>
                      <a:lnTo>
                        <a:pt x="1410" y="166"/>
                      </a:lnTo>
                      <a:lnTo>
                        <a:pt x="1387" y="148"/>
                      </a:lnTo>
                      <a:lnTo>
                        <a:pt x="1365" y="131"/>
                      </a:lnTo>
                      <a:lnTo>
                        <a:pt x="1341" y="113"/>
                      </a:lnTo>
                      <a:lnTo>
                        <a:pt x="1318" y="97"/>
                      </a:lnTo>
                      <a:lnTo>
                        <a:pt x="1270" y="66"/>
                      </a:lnTo>
                      <a:lnTo>
                        <a:pt x="1270" y="66"/>
                      </a:lnTo>
                      <a:lnTo>
                        <a:pt x="1270" y="66"/>
                      </a:lnTo>
                      <a:lnTo>
                        <a:pt x="1261" y="62"/>
                      </a:lnTo>
                      <a:lnTo>
                        <a:pt x="1252" y="57"/>
                      </a:lnTo>
                      <a:lnTo>
                        <a:pt x="1252" y="57"/>
                      </a:lnTo>
                      <a:lnTo>
                        <a:pt x="1237" y="48"/>
                      </a:lnTo>
                      <a:lnTo>
                        <a:pt x="1221" y="39"/>
                      </a:lnTo>
                      <a:lnTo>
                        <a:pt x="1206" y="31"/>
                      </a:lnTo>
                      <a:lnTo>
                        <a:pt x="1190" y="24"/>
                      </a:lnTo>
                      <a:lnTo>
                        <a:pt x="1173" y="17"/>
                      </a:lnTo>
                      <a:lnTo>
                        <a:pt x="1157" y="10"/>
                      </a:lnTo>
                      <a:lnTo>
                        <a:pt x="1140" y="6"/>
                      </a:lnTo>
                      <a:lnTo>
                        <a:pt x="1123" y="1"/>
                      </a:lnTo>
                      <a:lnTo>
                        <a:pt x="1035" y="89"/>
                      </a:lnTo>
                      <a:lnTo>
                        <a:pt x="949" y="0"/>
                      </a:lnTo>
                      <a:lnTo>
                        <a:pt x="949" y="0"/>
                      </a:lnTo>
                      <a:lnTo>
                        <a:pt x="948" y="0"/>
                      </a:lnTo>
                      <a:lnTo>
                        <a:pt x="948" y="0"/>
                      </a:lnTo>
                      <a:lnTo>
                        <a:pt x="930" y="5"/>
                      </a:lnTo>
                      <a:lnTo>
                        <a:pt x="913" y="10"/>
                      </a:lnTo>
                      <a:lnTo>
                        <a:pt x="896" y="16"/>
                      </a:lnTo>
                      <a:lnTo>
                        <a:pt x="880" y="23"/>
                      </a:lnTo>
                      <a:lnTo>
                        <a:pt x="863" y="31"/>
                      </a:lnTo>
                      <a:lnTo>
                        <a:pt x="847" y="39"/>
                      </a:lnTo>
                      <a:lnTo>
                        <a:pt x="831" y="48"/>
                      </a:lnTo>
                      <a:lnTo>
                        <a:pt x="816" y="58"/>
                      </a:lnTo>
                      <a:lnTo>
                        <a:pt x="816" y="58"/>
                      </a:lnTo>
                      <a:lnTo>
                        <a:pt x="807" y="63"/>
                      </a:lnTo>
                      <a:lnTo>
                        <a:pt x="797" y="68"/>
                      </a:lnTo>
                      <a:lnTo>
                        <a:pt x="787" y="73"/>
                      </a:lnTo>
                      <a:lnTo>
                        <a:pt x="779" y="81"/>
                      </a:lnTo>
                      <a:lnTo>
                        <a:pt x="779" y="81"/>
                      </a:lnTo>
                      <a:lnTo>
                        <a:pt x="725" y="131"/>
                      </a:lnTo>
                      <a:lnTo>
                        <a:pt x="672" y="179"/>
                      </a:lnTo>
                      <a:lnTo>
                        <a:pt x="672" y="179"/>
                      </a:lnTo>
                      <a:lnTo>
                        <a:pt x="600" y="245"/>
                      </a:lnTo>
                      <a:lnTo>
                        <a:pt x="567" y="273"/>
                      </a:lnTo>
                      <a:lnTo>
                        <a:pt x="537" y="298"/>
                      </a:lnTo>
                      <a:lnTo>
                        <a:pt x="508" y="320"/>
                      </a:lnTo>
                      <a:lnTo>
                        <a:pt x="481" y="338"/>
                      </a:lnTo>
                      <a:lnTo>
                        <a:pt x="453" y="354"/>
                      </a:lnTo>
                      <a:lnTo>
                        <a:pt x="441" y="360"/>
                      </a:lnTo>
                      <a:lnTo>
                        <a:pt x="428" y="365"/>
                      </a:lnTo>
                      <a:lnTo>
                        <a:pt x="415" y="370"/>
                      </a:lnTo>
                      <a:lnTo>
                        <a:pt x="402" y="375"/>
                      </a:lnTo>
                      <a:lnTo>
                        <a:pt x="389" y="377"/>
                      </a:lnTo>
                      <a:lnTo>
                        <a:pt x="377" y="379"/>
                      </a:lnTo>
                      <a:lnTo>
                        <a:pt x="363" y="380"/>
                      </a:lnTo>
                      <a:lnTo>
                        <a:pt x="349" y="381"/>
                      </a:lnTo>
                      <a:lnTo>
                        <a:pt x="337" y="381"/>
                      </a:lnTo>
                      <a:lnTo>
                        <a:pt x="322" y="379"/>
                      </a:lnTo>
                      <a:lnTo>
                        <a:pt x="308" y="378"/>
                      </a:lnTo>
                      <a:lnTo>
                        <a:pt x="293" y="375"/>
                      </a:lnTo>
                      <a:lnTo>
                        <a:pt x="278" y="371"/>
                      </a:lnTo>
                      <a:lnTo>
                        <a:pt x="264" y="367"/>
                      </a:lnTo>
                      <a:lnTo>
                        <a:pt x="231" y="355"/>
                      </a:lnTo>
                      <a:lnTo>
                        <a:pt x="196" y="340"/>
                      </a:lnTo>
                      <a:lnTo>
                        <a:pt x="196" y="340"/>
                      </a:lnTo>
                      <a:lnTo>
                        <a:pt x="186" y="336"/>
                      </a:lnTo>
                      <a:lnTo>
                        <a:pt x="174" y="332"/>
                      </a:lnTo>
                      <a:lnTo>
                        <a:pt x="164" y="329"/>
                      </a:lnTo>
                      <a:lnTo>
                        <a:pt x="153" y="328"/>
                      </a:lnTo>
                      <a:lnTo>
                        <a:pt x="141" y="326"/>
                      </a:lnTo>
                      <a:lnTo>
                        <a:pt x="130" y="326"/>
                      </a:lnTo>
                      <a:lnTo>
                        <a:pt x="119" y="328"/>
                      </a:lnTo>
                      <a:lnTo>
                        <a:pt x="108" y="330"/>
                      </a:lnTo>
                      <a:lnTo>
                        <a:pt x="98" y="333"/>
                      </a:lnTo>
                      <a:lnTo>
                        <a:pt x="87" y="337"/>
                      </a:lnTo>
                      <a:lnTo>
                        <a:pt x="77" y="341"/>
                      </a:lnTo>
                      <a:lnTo>
                        <a:pt x="68" y="346"/>
                      </a:lnTo>
                      <a:lnTo>
                        <a:pt x="58" y="353"/>
                      </a:lnTo>
                      <a:lnTo>
                        <a:pt x="50" y="360"/>
                      </a:lnTo>
                      <a:lnTo>
                        <a:pt x="42" y="367"/>
                      </a:lnTo>
                      <a:lnTo>
                        <a:pt x="34" y="376"/>
                      </a:lnTo>
                      <a:lnTo>
                        <a:pt x="8" y="418"/>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71" name="Freeform 18">
                  <a:extLst>
                    <a:ext uri="{FF2B5EF4-FFF2-40B4-BE49-F238E27FC236}">
                      <a16:creationId xmlns:a16="http://schemas.microsoft.com/office/drawing/2014/main" id="{86D10D70-4248-4901-B0A4-2848494FFA83}"/>
                    </a:ext>
                  </a:extLst>
                </p:cNvPr>
                <p:cNvSpPr>
                  <a:spLocks/>
                </p:cNvSpPr>
                <p:nvPr/>
              </p:nvSpPr>
              <p:spPr bwMode="auto">
                <a:xfrm>
                  <a:off x="4725132" y="1263608"/>
                  <a:ext cx="20100" cy="79595"/>
                </a:xfrm>
                <a:custGeom>
                  <a:avLst/>
                  <a:gdLst>
                    <a:gd name="T0" fmla="*/ 88 w 173"/>
                    <a:gd name="T1" fmla="*/ 690 h 690"/>
                    <a:gd name="T2" fmla="*/ 85 w 173"/>
                    <a:gd name="T3" fmla="*/ 690 h 690"/>
                    <a:gd name="T4" fmla="*/ 0 w 173"/>
                    <a:gd name="T5" fmla="*/ 573 h 690"/>
                    <a:gd name="T6" fmla="*/ 85 w 173"/>
                    <a:gd name="T7" fmla="*/ 0 h 690"/>
                    <a:gd name="T8" fmla="*/ 88 w 173"/>
                    <a:gd name="T9" fmla="*/ 0 h 690"/>
                    <a:gd name="T10" fmla="*/ 173 w 173"/>
                    <a:gd name="T11" fmla="*/ 573 h 690"/>
                    <a:gd name="T12" fmla="*/ 88 w 173"/>
                    <a:gd name="T13" fmla="*/ 690 h 690"/>
                  </a:gdLst>
                  <a:ahLst/>
                  <a:cxnLst>
                    <a:cxn ang="0">
                      <a:pos x="T0" y="T1"/>
                    </a:cxn>
                    <a:cxn ang="0">
                      <a:pos x="T2" y="T3"/>
                    </a:cxn>
                    <a:cxn ang="0">
                      <a:pos x="T4" y="T5"/>
                    </a:cxn>
                    <a:cxn ang="0">
                      <a:pos x="T6" y="T7"/>
                    </a:cxn>
                    <a:cxn ang="0">
                      <a:pos x="T8" y="T9"/>
                    </a:cxn>
                    <a:cxn ang="0">
                      <a:pos x="T10" y="T11"/>
                    </a:cxn>
                    <a:cxn ang="0">
                      <a:pos x="T12" y="T13"/>
                    </a:cxn>
                  </a:cxnLst>
                  <a:rect l="0" t="0" r="r" b="b"/>
                  <a:pathLst>
                    <a:path w="173" h="690">
                      <a:moveTo>
                        <a:pt x="88" y="690"/>
                      </a:moveTo>
                      <a:lnTo>
                        <a:pt x="85" y="690"/>
                      </a:lnTo>
                      <a:lnTo>
                        <a:pt x="0" y="573"/>
                      </a:lnTo>
                      <a:lnTo>
                        <a:pt x="85" y="0"/>
                      </a:lnTo>
                      <a:lnTo>
                        <a:pt x="88" y="0"/>
                      </a:lnTo>
                      <a:lnTo>
                        <a:pt x="173" y="573"/>
                      </a:lnTo>
                      <a:lnTo>
                        <a:pt x="88" y="690"/>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73" name="Line 19">
                  <a:extLst>
                    <a:ext uri="{FF2B5EF4-FFF2-40B4-BE49-F238E27FC236}">
                      <a16:creationId xmlns:a16="http://schemas.microsoft.com/office/drawing/2014/main" id="{578C8AF5-6DBB-461D-B5C5-745D0A06CE86}"/>
                    </a:ext>
                  </a:extLst>
                </p:cNvPr>
                <p:cNvSpPr>
                  <a:spLocks noChangeShapeType="1"/>
                </p:cNvSpPr>
                <p:nvPr/>
              </p:nvSpPr>
              <p:spPr bwMode="auto">
                <a:xfrm>
                  <a:off x="4734780" y="1343203"/>
                  <a:ext cx="0" cy="0"/>
                </a:xfrm>
                <a:prstGeom prst="line">
                  <a:avLst/>
                </a:prstGeom>
                <a:noFill/>
                <a:ln w="63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74" name="Rounded Rectangle 936">
                  <a:extLst>
                    <a:ext uri="{FF2B5EF4-FFF2-40B4-BE49-F238E27FC236}">
                      <a16:creationId xmlns:a16="http://schemas.microsoft.com/office/drawing/2014/main" id="{FB2ED5C3-9C4D-4FFE-A24A-5E9A57F016DA}"/>
                    </a:ext>
                  </a:extLst>
                </p:cNvPr>
                <p:cNvSpPr/>
                <p:nvPr/>
              </p:nvSpPr>
              <p:spPr bwMode="gray">
                <a:xfrm>
                  <a:off x="4694580" y="1431234"/>
                  <a:ext cx="58678" cy="163243"/>
                </a:xfrm>
                <a:prstGeom prst="roundRect">
                  <a:avLst/>
                </a:prstGeom>
                <a:solidFill>
                  <a:srgbClr val="FFD23D"/>
                </a:solidFill>
                <a:ln w="9525" algn="ctr">
                  <a:solidFill>
                    <a:sysClr val="windowText" lastClr="000000">
                      <a:lumMod val="75000"/>
                      <a:lumOff val="25000"/>
                    </a:sysClr>
                  </a:solidFill>
                  <a:miter lim="800000"/>
                  <a:headEnd/>
                  <a:tailEnd/>
                </a:ln>
              </p:spPr>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a:ln>
                      <a:noFill/>
                    </a:ln>
                    <a:solidFill>
                      <a:prstClr val="white"/>
                    </a:solidFill>
                    <a:effectLst/>
                    <a:uLnTx/>
                    <a:uFillTx/>
                    <a:latin typeface="Verdana"/>
                  </a:endParaRPr>
                </a:p>
              </p:txBody>
            </p:sp>
            <p:sp>
              <p:nvSpPr>
                <p:cNvPr id="775" name="Rounded Rectangle 935">
                  <a:extLst>
                    <a:ext uri="{FF2B5EF4-FFF2-40B4-BE49-F238E27FC236}">
                      <a16:creationId xmlns:a16="http://schemas.microsoft.com/office/drawing/2014/main" id="{E1528A98-B526-4635-B9ED-662B89D2618A}"/>
                    </a:ext>
                  </a:extLst>
                </p:cNvPr>
                <p:cNvSpPr/>
                <p:nvPr/>
              </p:nvSpPr>
              <p:spPr bwMode="gray">
                <a:xfrm>
                  <a:off x="4611602" y="1400256"/>
                  <a:ext cx="219894" cy="57488"/>
                </a:xfrm>
                <a:prstGeom prst="roundRect">
                  <a:avLst/>
                </a:prstGeom>
                <a:solidFill>
                  <a:srgbClr val="FFD23D"/>
                </a:solidFill>
                <a:ln w="9525" algn="ctr">
                  <a:solidFill>
                    <a:sysClr val="windowText" lastClr="000000">
                      <a:lumMod val="65000"/>
                      <a:lumOff val="35000"/>
                    </a:sysClr>
                  </a:solidFill>
                  <a:miter lim="800000"/>
                  <a:headEnd/>
                  <a:tailEnd/>
                </a:ln>
              </p:spPr>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a:ln>
                      <a:noFill/>
                    </a:ln>
                    <a:solidFill>
                      <a:prstClr val="white"/>
                    </a:solidFill>
                    <a:effectLst/>
                    <a:uLnTx/>
                    <a:uFillTx/>
                    <a:latin typeface="Verdana"/>
                  </a:endParaRPr>
                </a:p>
              </p:txBody>
            </p:sp>
          </p:grpSp>
          <p:sp>
            <p:nvSpPr>
              <p:cNvPr id="759" name="Rectangle 758">
                <a:extLst>
                  <a:ext uri="{FF2B5EF4-FFF2-40B4-BE49-F238E27FC236}">
                    <a16:creationId xmlns:a16="http://schemas.microsoft.com/office/drawing/2014/main" id="{6C8B4365-807E-4933-80E7-A696BC81FE21}"/>
                  </a:ext>
                </a:extLst>
              </p:cNvPr>
              <p:cNvSpPr/>
              <p:nvPr/>
            </p:nvSpPr>
            <p:spPr>
              <a:xfrm>
                <a:off x="2900858" y="2973348"/>
                <a:ext cx="1115908" cy="5130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Daily Standup</a:t>
                </a:r>
              </a:p>
            </p:txBody>
          </p:sp>
        </p:grpSp>
        <p:grpSp>
          <p:nvGrpSpPr>
            <p:cNvPr id="740" name="Group 739">
              <a:extLst>
                <a:ext uri="{FF2B5EF4-FFF2-40B4-BE49-F238E27FC236}">
                  <a16:creationId xmlns:a16="http://schemas.microsoft.com/office/drawing/2014/main" id="{B5AF7E3E-399B-4A22-85C6-8581C664FF9A}"/>
                </a:ext>
              </a:extLst>
            </p:cNvPr>
            <p:cNvGrpSpPr/>
            <p:nvPr/>
          </p:nvGrpSpPr>
          <p:grpSpPr>
            <a:xfrm>
              <a:off x="2036709" y="3552618"/>
              <a:ext cx="1057868" cy="925798"/>
              <a:chOff x="346542" y="3709496"/>
              <a:chExt cx="1410675" cy="1234559"/>
            </a:xfrm>
          </p:grpSpPr>
          <p:pic>
            <p:nvPicPr>
              <p:cNvPr id="756" name="Picture 755">
                <a:extLst>
                  <a:ext uri="{FF2B5EF4-FFF2-40B4-BE49-F238E27FC236}">
                    <a16:creationId xmlns:a16="http://schemas.microsoft.com/office/drawing/2014/main" id="{32079A70-71A0-4E6E-8262-17309F62840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2493" y="3709496"/>
                <a:ext cx="480696" cy="467156"/>
              </a:xfrm>
              <a:prstGeom prst="rect">
                <a:avLst/>
              </a:prstGeom>
            </p:spPr>
          </p:pic>
          <p:sp>
            <p:nvSpPr>
              <p:cNvPr id="757" name="Rectangle 756">
                <a:extLst>
                  <a:ext uri="{FF2B5EF4-FFF2-40B4-BE49-F238E27FC236}">
                    <a16:creationId xmlns:a16="http://schemas.microsoft.com/office/drawing/2014/main" id="{5C54AF0E-0386-45F7-8124-125AA8258257}"/>
                  </a:ext>
                </a:extLst>
              </p:cNvPr>
              <p:cNvSpPr/>
              <p:nvPr/>
            </p:nvSpPr>
            <p:spPr>
              <a:xfrm>
                <a:off x="346542" y="4233657"/>
                <a:ext cx="1410675" cy="71039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Product Backlog Refinement</a:t>
                </a:r>
              </a:p>
            </p:txBody>
          </p:sp>
        </p:grpSp>
        <p:grpSp>
          <p:nvGrpSpPr>
            <p:cNvPr id="741" name="Group 740">
              <a:extLst>
                <a:ext uri="{FF2B5EF4-FFF2-40B4-BE49-F238E27FC236}">
                  <a16:creationId xmlns:a16="http://schemas.microsoft.com/office/drawing/2014/main" id="{6A4E731B-7C25-4CF2-B004-98F1ACE09C5D}"/>
                </a:ext>
              </a:extLst>
            </p:cNvPr>
            <p:cNvGrpSpPr/>
            <p:nvPr/>
          </p:nvGrpSpPr>
          <p:grpSpPr>
            <a:xfrm>
              <a:off x="2163330" y="2573687"/>
              <a:ext cx="836822" cy="816819"/>
              <a:chOff x="1696657" y="3657488"/>
              <a:chExt cx="1115908" cy="1089234"/>
            </a:xfrm>
          </p:grpSpPr>
          <p:pic>
            <p:nvPicPr>
              <p:cNvPr id="754" name="Picture 753">
                <a:extLst>
                  <a:ext uri="{FF2B5EF4-FFF2-40B4-BE49-F238E27FC236}">
                    <a16:creationId xmlns:a16="http://schemas.microsoft.com/office/drawing/2014/main" id="{366F2F52-6168-4010-8FC5-DE110F631724}"/>
                  </a:ext>
                </a:extLst>
              </p:cNvPr>
              <p:cNvPicPr>
                <a:picLocks noChangeAspect="1"/>
              </p:cNvPicPr>
              <p:nvPr/>
            </p:nvPicPr>
            <p:blipFill>
              <a:blip r:embed="rId10"/>
              <a:stretch>
                <a:fillRect/>
              </a:stretch>
            </p:blipFill>
            <p:spPr>
              <a:xfrm>
                <a:off x="2009262" y="3657488"/>
                <a:ext cx="528886" cy="519164"/>
              </a:xfrm>
              <a:prstGeom prst="rect">
                <a:avLst/>
              </a:prstGeom>
            </p:spPr>
          </p:pic>
          <p:sp>
            <p:nvSpPr>
              <p:cNvPr id="755" name="Rectangle 754">
                <a:extLst>
                  <a:ext uri="{FF2B5EF4-FFF2-40B4-BE49-F238E27FC236}">
                    <a16:creationId xmlns:a16="http://schemas.microsoft.com/office/drawing/2014/main" id="{E1B0A7BA-3531-4332-8539-0550FC0B23A7}"/>
                  </a:ext>
                </a:extLst>
              </p:cNvPr>
              <p:cNvSpPr/>
              <p:nvPr/>
            </p:nvSpPr>
            <p:spPr>
              <a:xfrm>
                <a:off x="1696657" y="4233657"/>
                <a:ext cx="1115908" cy="5130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Scrum of Scrums</a:t>
                </a:r>
              </a:p>
            </p:txBody>
          </p:sp>
        </p:grpSp>
        <p:grpSp>
          <p:nvGrpSpPr>
            <p:cNvPr id="742" name="Group 741">
              <a:extLst>
                <a:ext uri="{FF2B5EF4-FFF2-40B4-BE49-F238E27FC236}">
                  <a16:creationId xmlns:a16="http://schemas.microsoft.com/office/drawing/2014/main" id="{1ABCB0C7-7A69-463F-B6B1-D9AF784DB1DD}"/>
                </a:ext>
              </a:extLst>
            </p:cNvPr>
            <p:cNvGrpSpPr/>
            <p:nvPr/>
          </p:nvGrpSpPr>
          <p:grpSpPr>
            <a:xfrm>
              <a:off x="1312552" y="3574777"/>
              <a:ext cx="904698" cy="898331"/>
              <a:chOff x="2853427" y="3746127"/>
              <a:chExt cx="1206422" cy="1197930"/>
            </a:xfrm>
          </p:grpSpPr>
          <p:grpSp>
            <p:nvGrpSpPr>
              <p:cNvPr id="744" name="Group 743">
                <a:extLst>
                  <a:ext uri="{FF2B5EF4-FFF2-40B4-BE49-F238E27FC236}">
                    <a16:creationId xmlns:a16="http://schemas.microsoft.com/office/drawing/2014/main" id="{77959ACC-530E-47DC-8D3D-17A928E6623D}"/>
                  </a:ext>
                </a:extLst>
              </p:cNvPr>
              <p:cNvGrpSpPr/>
              <p:nvPr/>
            </p:nvGrpSpPr>
            <p:grpSpPr>
              <a:xfrm>
                <a:off x="3180538" y="3746127"/>
                <a:ext cx="491646" cy="427058"/>
                <a:chOff x="4404171" y="2850321"/>
                <a:chExt cx="604307" cy="524919"/>
              </a:xfrm>
            </p:grpSpPr>
            <p:sp>
              <p:nvSpPr>
                <p:cNvPr id="746" name="Line 67">
                  <a:extLst>
                    <a:ext uri="{FF2B5EF4-FFF2-40B4-BE49-F238E27FC236}">
                      <a16:creationId xmlns:a16="http://schemas.microsoft.com/office/drawing/2014/main" id="{7AA84627-0BE9-4A64-9AE1-60487C8988DE}"/>
                    </a:ext>
                  </a:extLst>
                </p:cNvPr>
                <p:cNvSpPr>
                  <a:spLocks noChangeShapeType="1"/>
                </p:cNvSpPr>
                <p:nvPr/>
              </p:nvSpPr>
              <p:spPr bwMode="auto">
                <a:xfrm rot="8100000">
                  <a:off x="4420834" y="305030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47" name="Line 69">
                  <a:extLst>
                    <a:ext uri="{FF2B5EF4-FFF2-40B4-BE49-F238E27FC236}">
                      <a16:creationId xmlns:a16="http://schemas.microsoft.com/office/drawing/2014/main" id="{2930333E-6E40-4654-9CD5-ABC9298F50B2}"/>
                    </a:ext>
                  </a:extLst>
                </p:cNvPr>
                <p:cNvSpPr>
                  <a:spLocks noChangeShapeType="1"/>
                </p:cNvSpPr>
                <p:nvPr/>
              </p:nvSpPr>
              <p:spPr bwMode="auto">
                <a:xfrm rot="8100000">
                  <a:off x="4732806" y="337524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48" name="Line 74">
                  <a:extLst>
                    <a:ext uri="{FF2B5EF4-FFF2-40B4-BE49-F238E27FC236}">
                      <a16:creationId xmlns:a16="http://schemas.microsoft.com/office/drawing/2014/main" id="{72BAC613-7F8F-4C5C-AA11-F88077A304A0}"/>
                    </a:ext>
                  </a:extLst>
                </p:cNvPr>
                <p:cNvSpPr>
                  <a:spLocks noChangeShapeType="1"/>
                </p:cNvSpPr>
                <p:nvPr/>
              </p:nvSpPr>
              <p:spPr bwMode="auto">
                <a:xfrm rot="8100000">
                  <a:off x="4404171" y="306697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pic>
              <p:nvPicPr>
                <p:cNvPr id="749" name="Picture 748">
                  <a:extLst>
                    <a:ext uri="{FF2B5EF4-FFF2-40B4-BE49-F238E27FC236}">
                      <a16:creationId xmlns:a16="http://schemas.microsoft.com/office/drawing/2014/main" id="{E6357503-107E-4CD4-83CE-BA5713359B3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32652" y="2850321"/>
                  <a:ext cx="575826" cy="485435"/>
                </a:xfrm>
                <a:prstGeom prst="rect">
                  <a:avLst/>
                </a:prstGeom>
              </p:spPr>
            </p:pic>
            <p:sp>
              <p:nvSpPr>
                <p:cNvPr id="750" name="Freeform 53">
                  <a:extLst>
                    <a:ext uri="{FF2B5EF4-FFF2-40B4-BE49-F238E27FC236}">
                      <a16:creationId xmlns:a16="http://schemas.microsoft.com/office/drawing/2014/main" id="{FA016915-E97B-4E4F-A462-0625B6423381}"/>
                    </a:ext>
                  </a:extLst>
                </p:cNvPr>
                <p:cNvSpPr>
                  <a:spLocks/>
                </p:cNvSpPr>
                <p:nvPr/>
              </p:nvSpPr>
              <p:spPr bwMode="auto">
                <a:xfrm>
                  <a:off x="4690779" y="2860920"/>
                  <a:ext cx="63373" cy="7415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F9B313"/>
                </a:solidFill>
                <a:ln>
                  <a:noFill/>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52" name="Freeform 53">
                  <a:extLst>
                    <a:ext uri="{FF2B5EF4-FFF2-40B4-BE49-F238E27FC236}">
                      <a16:creationId xmlns:a16="http://schemas.microsoft.com/office/drawing/2014/main" id="{74F1C702-078F-464A-A411-CFE2AB71C39B}"/>
                    </a:ext>
                  </a:extLst>
                </p:cNvPr>
                <p:cNvSpPr>
                  <a:spLocks/>
                </p:cNvSpPr>
                <p:nvPr/>
              </p:nvSpPr>
              <p:spPr bwMode="auto">
                <a:xfrm>
                  <a:off x="4873162" y="2872367"/>
                  <a:ext cx="82296" cy="9144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50CFE6"/>
                </a:solidFill>
                <a:ln>
                  <a:solidFill>
                    <a:srgbClr val="53565A"/>
                  </a:solidFill>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sp>
              <p:nvSpPr>
                <p:cNvPr id="753" name="Freeform 53">
                  <a:extLst>
                    <a:ext uri="{FF2B5EF4-FFF2-40B4-BE49-F238E27FC236}">
                      <a16:creationId xmlns:a16="http://schemas.microsoft.com/office/drawing/2014/main" id="{45257BF0-5090-4A3A-8DDE-33EB38EDB26D}"/>
                    </a:ext>
                  </a:extLst>
                </p:cNvPr>
                <p:cNvSpPr>
                  <a:spLocks/>
                </p:cNvSpPr>
                <p:nvPr/>
              </p:nvSpPr>
              <p:spPr bwMode="auto">
                <a:xfrm>
                  <a:off x="4488426" y="2872367"/>
                  <a:ext cx="82296" cy="9144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50CFE6"/>
                </a:solidFill>
                <a:ln>
                  <a:solidFill>
                    <a:srgbClr val="53565A"/>
                  </a:solidFill>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Verdana"/>
                  </a:endParaRPr>
                </a:p>
              </p:txBody>
            </p:sp>
          </p:grpSp>
          <p:sp>
            <p:nvSpPr>
              <p:cNvPr id="745" name="Rectangle 744">
                <a:extLst>
                  <a:ext uri="{FF2B5EF4-FFF2-40B4-BE49-F238E27FC236}">
                    <a16:creationId xmlns:a16="http://schemas.microsoft.com/office/drawing/2014/main" id="{FB215C2E-0599-47EA-97E4-DD77FED0E0E6}"/>
                  </a:ext>
                </a:extLst>
              </p:cNvPr>
              <p:cNvSpPr/>
              <p:nvPr/>
            </p:nvSpPr>
            <p:spPr>
              <a:xfrm>
                <a:off x="2853427" y="4233659"/>
                <a:ext cx="1206422" cy="71039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153"/>
                  </a:spcAft>
                  <a:buClr>
                    <a:srgbClr val="62B5E5"/>
                  </a:buClr>
                  <a:buSzTx/>
                  <a:buFontTx/>
                  <a:buNone/>
                  <a:tabLst/>
                  <a:defRPr/>
                </a:pPr>
                <a:r>
                  <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rPr>
                  <a:t>Sprint retro-</a:t>
                </a:r>
                <a:r>
                  <a:rPr kumimoji="0" lang="en-US" sz="1000" b="1" i="0" u="none" strike="noStrike" kern="0" cap="none" spc="0" normalizeH="0" baseline="0" noProof="0" err="1">
                    <a:ln>
                      <a:noFill/>
                    </a:ln>
                    <a:solidFill>
                      <a:prstClr val="black"/>
                    </a:solidFill>
                    <a:effectLst/>
                    <a:uLnTx/>
                    <a:uFillTx/>
                    <a:latin typeface="Verdana"/>
                    <a:ea typeface="Open Sans" panose="020B0606030504020204" pitchFamily="34" charset="0"/>
                    <a:cs typeface="Open Sans" panose="020B0606030504020204" pitchFamily="34" charset="0"/>
                  </a:rPr>
                  <a:t>spective</a:t>
                </a:r>
                <a:endParaRPr kumimoji="0" lang="en-US" sz="1000" b="1" i="0" u="none" strike="noStrike" kern="0" cap="none" spc="0" normalizeH="0" baseline="0" noProof="0">
                  <a:ln>
                    <a:noFill/>
                  </a:ln>
                  <a:solidFill>
                    <a:prstClr val="black"/>
                  </a:solidFill>
                  <a:effectLst/>
                  <a:uLnTx/>
                  <a:uFillTx/>
                  <a:latin typeface="Verdana"/>
                  <a:ea typeface="Open Sans" panose="020B0606030504020204" pitchFamily="34" charset="0"/>
                  <a:cs typeface="Open Sans" panose="020B0606030504020204" pitchFamily="34" charset="0"/>
                </a:endParaRPr>
              </a:p>
            </p:txBody>
          </p:sp>
        </p:grpSp>
      </p:grpSp>
      <p:sp>
        <p:nvSpPr>
          <p:cNvPr id="1277" name="Rectangle 1276">
            <a:extLst>
              <a:ext uri="{FF2B5EF4-FFF2-40B4-BE49-F238E27FC236}">
                <a16:creationId xmlns:a16="http://schemas.microsoft.com/office/drawing/2014/main" id="{B0D35BFC-1353-442A-8C6F-C455D3197B2B}"/>
              </a:ext>
            </a:extLst>
          </p:cNvPr>
          <p:cNvSpPr>
            <a:spLocks/>
          </p:cNvSpPr>
          <p:nvPr/>
        </p:nvSpPr>
        <p:spPr bwMode="gray">
          <a:xfrm>
            <a:off x="1601813" y="1541665"/>
            <a:ext cx="1554480" cy="1323534"/>
          </a:xfrm>
          <a:prstGeom prst="rect">
            <a:avLst/>
          </a:prstGeom>
          <a:noFill/>
          <a:ln w="38100" algn="ctr">
            <a:solidFill>
              <a:srgbClr val="6FC2B4"/>
            </a:solidFill>
            <a:miter lim="800000"/>
            <a:headEnd/>
            <a:tailEnd/>
          </a:ln>
          <a:effectLst/>
        </p:spPr>
        <p:txBody>
          <a:bodyPr wrap="square" lIns="28337" tIns="28337" rIns="28337" bIns="28337" rtlCol="0" anchor="ctr"/>
          <a:lstStyle/>
          <a:p>
            <a:pPr algn="ctr"/>
            <a:r>
              <a:rPr lang="en-US" sz="1200" kern="0" dirty="0">
                <a:solidFill>
                  <a:prstClr val="black"/>
                </a:solidFill>
                <a:latin typeface="Verdana"/>
              </a:rPr>
              <a:t>Initiate and plan the project</a:t>
            </a:r>
          </a:p>
        </p:txBody>
      </p:sp>
      <p:sp>
        <p:nvSpPr>
          <p:cNvPr id="1278" name="Rectangle 1277">
            <a:extLst>
              <a:ext uri="{FF2B5EF4-FFF2-40B4-BE49-F238E27FC236}">
                <a16:creationId xmlns:a16="http://schemas.microsoft.com/office/drawing/2014/main" id="{B81E4A3B-F031-4B6C-A4E0-780AFB5BD8D4}"/>
              </a:ext>
            </a:extLst>
          </p:cNvPr>
          <p:cNvSpPr/>
          <p:nvPr/>
        </p:nvSpPr>
        <p:spPr bwMode="gray">
          <a:xfrm>
            <a:off x="1601814" y="1311392"/>
            <a:ext cx="1554480" cy="181244"/>
          </a:xfrm>
          <a:prstGeom prst="rect">
            <a:avLst/>
          </a:prstGeom>
          <a:noFill/>
          <a:ln w="19050" algn="ctr">
            <a:noFill/>
            <a:prstDash val="sysDash"/>
            <a:miter lim="800000"/>
            <a:headEnd/>
            <a:tailEnd/>
          </a:ln>
        </p:spPr>
        <p:txBody>
          <a:bodyPr wrap="square" lIns="59849" tIns="59849" rIns="59849" bIns="59849" rtlCol="0" anchor="ctr"/>
          <a:lstStyle/>
          <a:p>
            <a:pPr marL="0" marR="0" lvl="0" indent="0" algn="ctr" defTabSz="615593"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Verdana"/>
              </a:rPr>
              <a:t>Project Planning </a:t>
            </a:r>
          </a:p>
        </p:txBody>
      </p:sp>
    </p:spTree>
    <p:custDataLst>
      <p:tags r:id="rId1"/>
    </p:custDataLst>
    <p:extLst>
      <p:ext uri="{BB962C8B-B14F-4D97-AF65-F5344CB8AC3E}">
        <p14:creationId xmlns:p14="http://schemas.microsoft.com/office/powerpoint/2010/main" val="17056948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005E5A67-1FB7-463C-AD93-7274A40DA11C}"/>
              </a:ext>
            </a:extLst>
          </p:cNvPr>
          <p:cNvSpPr>
            <a:spLocks noGrp="1"/>
          </p:cNvSpPr>
          <p:nvPr>
            <p:ph type="title"/>
          </p:nvPr>
        </p:nvSpPr>
        <p:spPr/>
        <p:txBody>
          <a:bodyPr/>
          <a:lstStyle/>
          <a:p>
            <a:r>
              <a:rPr lang="en-US" dirty="0">
                <a:solidFill>
                  <a:schemeClr val="tx1"/>
                </a:solidFill>
              </a:rPr>
              <a:t>Roles: Product Owner </a:t>
            </a:r>
          </a:p>
        </p:txBody>
      </p:sp>
      <p:sp>
        <p:nvSpPr>
          <p:cNvPr id="153" name="Rectangle 152">
            <a:extLst>
              <a:ext uri="{FF2B5EF4-FFF2-40B4-BE49-F238E27FC236}">
                <a16:creationId xmlns:a16="http://schemas.microsoft.com/office/drawing/2014/main" id="{BF899F81-FE92-473C-8023-CCCDD0D54799}"/>
              </a:ext>
            </a:extLst>
          </p:cNvPr>
          <p:cNvSpPr/>
          <p:nvPr/>
        </p:nvSpPr>
        <p:spPr bwMode="gray">
          <a:xfrm>
            <a:off x="584551" y="1871404"/>
            <a:ext cx="10964258" cy="4231174"/>
          </a:xfrm>
          <a:prstGeom prst="rect">
            <a:avLst/>
          </a:prstGeom>
          <a:noFill/>
          <a:ln w="19050" algn="ctr">
            <a:solidFill>
              <a:schemeClr val="tx1"/>
            </a:solidFill>
            <a:prstDash val="sysDot"/>
            <a:miter lim="800000"/>
            <a:headEnd/>
            <a:tailEnd/>
          </a:ln>
        </p:spPr>
        <p:txBody>
          <a:bodyPr wrap="square" lIns="66649" tIns="66649" rIns="66649" bIns="66649" rtlCol="0" anchor="ctr"/>
          <a:lstStyle/>
          <a:p>
            <a:pPr algn="ctr" defTabSz="914126">
              <a:lnSpc>
                <a:spcPct val="106000"/>
              </a:lnSpc>
              <a:defRPr/>
            </a:pPr>
            <a:endParaRPr lang="en-US" sz="1799" b="1" kern="0" dirty="0">
              <a:solidFill>
                <a:prstClr val="white"/>
              </a:solidFill>
            </a:endParaRPr>
          </a:p>
        </p:txBody>
      </p:sp>
      <p:grpSp>
        <p:nvGrpSpPr>
          <p:cNvPr id="154" name="Group 153">
            <a:extLst>
              <a:ext uri="{FF2B5EF4-FFF2-40B4-BE49-F238E27FC236}">
                <a16:creationId xmlns:a16="http://schemas.microsoft.com/office/drawing/2014/main" id="{29161D3D-51A1-49EF-8743-7C24075A2BDC}"/>
              </a:ext>
            </a:extLst>
          </p:cNvPr>
          <p:cNvGrpSpPr/>
          <p:nvPr/>
        </p:nvGrpSpPr>
        <p:grpSpPr>
          <a:xfrm>
            <a:off x="8421377" y="5256737"/>
            <a:ext cx="1785239" cy="1258964"/>
            <a:chOff x="8969343" y="4993105"/>
            <a:chExt cx="2143925" cy="1481265"/>
          </a:xfrm>
        </p:grpSpPr>
        <p:sp>
          <p:nvSpPr>
            <p:cNvPr id="291" name="Oval 290">
              <a:extLst>
                <a:ext uri="{FF2B5EF4-FFF2-40B4-BE49-F238E27FC236}">
                  <a16:creationId xmlns:a16="http://schemas.microsoft.com/office/drawing/2014/main" id="{1B309B57-40C9-443E-A381-F8FF8328E8D9}"/>
                </a:ext>
              </a:extLst>
            </p:cNvPr>
            <p:cNvSpPr/>
            <p:nvPr/>
          </p:nvSpPr>
          <p:spPr bwMode="gray">
            <a:xfrm>
              <a:off x="9301769" y="4993105"/>
              <a:ext cx="1378514" cy="1378514"/>
            </a:xfrm>
            <a:prstGeom prst="ellipse">
              <a:avLst/>
            </a:prstGeom>
            <a:solidFill>
              <a:sysClr val="window" lastClr="FFFFFF"/>
            </a:solidFill>
            <a:ln w="19050" algn="ctr">
              <a:noFill/>
              <a:miter lim="800000"/>
              <a:headEnd/>
              <a:tailEnd/>
            </a:ln>
          </p:spPr>
          <p:txBody>
            <a:bodyPr wrap="square" lIns="66649" tIns="66649" rIns="66649" bIns="66649" rtlCol="0" anchor="ctr"/>
            <a:lstStyle/>
            <a:p>
              <a:pPr algn="ctr" defTabSz="914126">
                <a:lnSpc>
                  <a:spcPct val="106000"/>
                </a:lnSpc>
                <a:defRPr/>
              </a:pPr>
              <a:endParaRPr lang="en-US" sz="1799" b="1" kern="0" dirty="0">
                <a:solidFill>
                  <a:prstClr val="white"/>
                </a:solidFill>
              </a:endParaRPr>
            </a:p>
          </p:txBody>
        </p:sp>
        <p:grpSp>
          <p:nvGrpSpPr>
            <p:cNvPr id="292" name="Group 291">
              <a:extLst>
                <a:ext uri="{FF2B5EF4-FFF2-40B4-BE49-F238E27FC236}">
                  <a16:creationId xmlns:a16="http://schemas.microsoft.com/office/drawing/2014/main" id="{7C6DC433-6AFB-43C4-863A-699965059B2C}"/>
                </a:ext>
              </a:extLst>
            </p:cNvPr>
            <p:cNvGrpSpPr/>
            <p:nvPr/>
          </p:nvGrpSpPr>
          <p:grpSpPr>
            <a:xfrm>
              <a:off x="8969343" y="5325267"/>
              <a:ext cx="2143925" cy="1149103"/>
              <a:chOff x="2316671" y="4683656"/>
              <a:chExt cx="3593472" cy="1926034"/>
            </a:xfrm>
          </p:grpSpPr>
          <p:sp>
            <p:nvSpPr>
              <p:cNvPr id="293" name="Freeform 78">
                <a:extLst>
                  <a:ext uri="{FF2B5EF4-FFF2-40B4-BE49-F238E27FC236}">
                    <a16:creationId xmlns:a16="http://schemas.microsoft.com/office/drawing/2014/main" id="{20B56C9F-4A95-4D6D-A6AA-449C85498CB7}"/>
                  </a:ext>
                </a:extLst>
              </p:cNvPr>
              <p:cNvSpPr>
                <a:spLocks/>
              </p:cNvSpPr>
              <p:nvPr/>
            </p:nvSpPr>
            <p:spPr bwMode="auto">
              <a:xfrm rot="8100000">
                <a:off x="4204663" y="4919560"/>
                <a:ext cx="744453" cy="74445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tx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94" name="Freeform 80">
                <a:extLst>
                  <a:ext uri="{FF2B5EF4-FFF2-40B4-BE49-F238E27FC236}">
                    <a16:creationId xmlns:a16="http://schemas.microsoft.com/office/drawing/2014/main" id="{66AB53C4-54A4-4D51-AFAA-0DD71F7864E8}"/>
                  </a:ext>
                </a:extLst>
              </p:cNvPr>
              <p:cNvSpPr>
                <a:spLocks/>
              </p:cNvSpPr>
              <p:nvPr/>
            </p:nvSpPr>
            <p:spPr bwMode="auto">
              <a:xfrm rot="8100000">
                <a:off x="3160984" y="4923346"/>
                <a:ext cx="736882" cy="736884"/>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tx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95" name="Rectangle 294">
                <a:extLst>
                  <a:ext uri="{FF2B5EF4-FFF2-40B4-BE49-F238E27FC236}">
                    <a16:creationId xmlns:a16="http://schemas.microsoft.com/office/drawing/2014/main" id="{549F9B14-3F8E-46EA-9C01-DD01D13C29D4}"/>
                  </a:ext>
                </a:extLst>
              </p:cNvPr>
              <p:cNvSpPr/>
              <p:nvPr/>
            </p:nvSpPr>
            <p:spPr>
              <a:xfrm>
                <a:off x="2316671" y="5881527"/>
                <a:ext cx="3593472" cy="728163"/>
              </a:xfrm>
              <a:prstGeom prst="rect">
                <a:avLst/>
              </a:prstGeom>
            </p:spPr>
            <p:txBody>
              <a:bodyPr wrap="square">
                <a:spAutoFit/>
              </a:bodyPr>
              <a:lstStyle/>
              <a:p>
                <a:pPr algn="ctr" defTabSz="914126">
                  <a:buClr>
                    <a:srgbClr val="62B5E5"/>
                  </a:buClr>
                  <a:defRPr/>
                </a:pPr>
                <a:r>
                  <a:rPr lang="en-US" sz="1799" b="1" kern="0" dirty="0">
                    <a:ea typeface="Open Sans" panose="020B0606030504020204" pitchFamily="34" charset="0"/>
                    <a:cs typeface="Open Sans" panose="020B0606030504020204" pitchFamily="34" charset="0"/>
                  </a:rPr>
                  <a:t>Scrum Team </a:t>
                </a:r>
              </a:p>
            </p:txBody>
          </p:sp>
          <p:grpSp>
            <p:nvGrpSpPr>
              <p:cNvPr id="296" name="Group 295">
                <a:extLst>
                  <a:ext uri="{FF2B5EF4-FFF2-40B4-BE49-F238E27FC236}">
                    <a16:creationId xmlns:a16="http://schemas.microsoft.com/office/drawing/2014/main" id="{A60CDC0F-3AA1-45BE-9040-16AB269ABAF7}"/>
                  </a:ext>
                </a:extLst>
              </p:cNvPr>
              <p:cNvGrpSpPr/>
              <p:nvPr/>
            </p:nvGrpSpPr>
            <p:grpSpPr>
              <a:xfrm>
                <a:off x="3510616" y="4683656"/>
                <a:ext cx="1063155" cy="1049049"/>
                <a:chOff x="3510616" y="4683656"/>
                <a:chExt cx="1063155" cy="1049049"/>
              </a:xfrm>
            </p:grpSpPr>
            <p:grpSp>
              <p:nvGrpSpPr>
                <p:cNvPr id="297" name="Group 296">
                  <a:extLst>
                    <a:ext uri="{FF2B5EF4-FFF2-40B4-BE49-F238E27FC236}">
                      <a16:creationId xmlns:a16="http://schemas.microsoft.com/office/drawing/2014/main" id="{5B7DE2B5-15A8-4487-BA4C-11189B4D6C55}"/>
                    </a:ext>
                  </a:extLst>
                </p:cNvPr>
                <p:cNvGrpSpPr/>
                <p:nvPr/>
              </p:nvGrpSpPr>
              <p:grpSpPr>
                <a:xfrm>
                  <a:off x="3684749" y="4856451"/>
                  <a:ext cx="708195" cy="876254"/>
                  <a:chOff x="865613" y="3717809"/>
                  <a:chExt cx="367399" cy="454584"/>
                </a:xfrm>
                <a:solidFill>
                  <a:srgbClr val="009A44"/>
                </a:solidFill>
              </p:grpSpPr>
              <p:sp>
                <p:nvSpPr>
                  <p:cNvPr id="317" name="Freeform 1715">
                    <a:extLst>
                      <a:ext uri="{FF2B5EF4-FFF2-40B4-BE49-F238E27FC236}">
                        <a16:creationId xmlns:a16="http://schemas.microsoft.com/office/drawing/2014/main" id="{D1C7595E-ADD8-4B7F-AA95-736440CCB571}"/>
                      </a:ext>
                    </a:extLst>
                  </p:cNvPr>
                  <p:cNvSpPr>
                    <a:spLocks/>
                  </p:cNvSpPr>
                  <p:nvPr/>
                </p:nvSpPr>
                <p:spPr bwMode="auto">
                  <a:xfrm>
                    <a:off x="1045201" y="3717837"/>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8" name="Freeform 1719">
                    <a:extLst>
                      <a:ext uri="{FF2B5EF4-FFF2-40B4-BE49-F238E27FC236}">
                        <a16:creationId xmlns:a16="http://schemas.microsoft.com/office/drawing/2014/main" id="{F61D83FE-9B92-4438-AF56-C75C934DA048}"/>
                      </a:ext>
                    </a:extLst>
                  </p:cNvPr>
                  <p:cNvSpPr>
                    <a:spLocks/>
                  </p:cNvSpPr>
                  <p:nvPr/>
                </p:nvSpPr>
                <p:spPr bwMode="auto">
                  <a:xfrm>
                    <a:off x="1087994" y="3767107"/>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9" name="Freeform 1715">
                    <a:extLst>
                      <a:ext uri="{FF2B5EF4-FFF2-40B4-BE49-F238E27FC236}">
                        <a16:creationId xmlns:a16="http://schemas.microsoft.com/office/drawing/2014/main" id="{809CF076-7C7B-4C3D-94FE-D59FDFFDAEDD}"/>
                      </a:ext>
                    </a:extLst>
                  </p:cNvPr>
                  <p:cNvSpPr>
                    <a:spLocks/>
                  </p:cNvSpPr>
                  <p:nvPr/>
                </p:nvSpPr>
                <p:spPr bwMode="auto">
                  <a:xfrm>
                    <a:off x="865613" y="3717809"/>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0" name="Freeform 1719">
                    <a:extLst>
                      <a:ext uri="{FF2B5EF4-FFF2-40B4-BE49-F238E27FC236}">
                        <a16:creationId xmlns:a16="http://schemas.microsoft.com/office/drawing/2014/main" id="{56D6317A-D57D-4741-9840-E7A20BDCA177}"/>
                      </a:ext>
                    </a:extLst>
                  </p:cNvPr>
                  <p:cNvSpPr>
                    <a:spLocks/>
                  </p:cNvSpPr>
                  <p:nvPr/>
                </p:nvSpPr>
                <p:spPr bwMode="auto">
                  <a:xfrm>
                    <a:off x="908406" y="3767079"/>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1" name="Freeform 1713">
                    <a:extLst>
                      <a:ext uri="{FF2B5EF4-FFF2-40B4-BE49-F238E27FC236}">
                        <a16:creationId xmlns:a16="http://schemas.microsoft.com/office/drawing/2014/main" id="{6AA52FA5-B561-40A3-BEF4-75B1D431D58F}"/>
                      </a:ext>
                    </a:extLst>
                  </p:cNvPr>
                  <p:cNvSpPr>
                    <a:spLocks/>
                  </p:cNvSpPr>
                  <p:nvPr/>
                </p:nvSpPr>
                <p:spPr bwMode="auto">
                  <a:xfrm>
                    <a:off x="958332" y="3818540"/>
                    <a:ext cx="168857" cy="208281"/>
                  </a:xfrm>
                  <a:custGeom>
                    <a:avLst/>
                    <a:gdLst>
                      <a:gd name="T0" fmla="*/ 156 w 156"/>
                      <a:gd name="T1" fmla="*/ 36 h 185"/>
                      <a:gd name="T2" fmla="*/ 156 w 156"/>
                      <a:gd name="T3" fmla="*/ 36 h 185"/>
                      <a:gd name="T4" fmla="*/ 154 w 156"/>
                      <a:gd name="T5" fmla="*/ 27 h 185"/>
                      <a:gd name="T6" fmla="*/ 149 w 156"/>
                      <a:gd name="T7" fmla="*/ 20 h 185"/>
                      <a:gd name="T8" fmla="*/ 149 w 156"/>
                      <a:gd name="T9" fmla="*/ 20 h 185"/>
                      <a:gd name="T10" fmla="*/ 143 w 156"/>
                      <a:gd name="T11" fmla="*/ 12 h 185"/>
                      <a:gd name="T12" fmla="*/ 136 w 156"/>
                      <a:gd name="T13" fmla="*/ 9 h 185"/>
                      <a:gd name="T14" fmla="*/ 136 w 156"/>
                      <a:gd name="T15" fmla="*/ 9 h 185"/>
                      <a:gd name="T16" fmla="*/ 121 w 156"/>
                      <a:gd name="T17" fmla="*/ 5 h 185"/>
                      <a:gd name="T18" fmla="*/ 107 w 156"/>
                      <a:gd name="T19" fmla="*/ 1 h 185"/>
                      <a:gd name="T20" fmla="*/ 92 w 156"/>
                      <a:gd name="T21" fmla="*/ 0 h 185"/>
                      <a:gd name="T22" fmla="*/ 77 w 156"/>
                      <a:gd name="T23" fmla="*/ 0 h 185"/>
                      <a:gd name="T24" fmla="*/ 64 w 156"/>
                      <a:gd name="T25" fmla="*/ 0 h 185"/>
                      <a:gd name="T26" fmla="*/ 50 w 156"/>
                      <a:gd name="T27" fmla="*/ 1 h 185"/>
                      <a:gd name="T28" fmla="*/ 35 w 156"/>
                      <a:gd name="T29" fmla="*/ 5 h 185"/>
                      <a:gd name="T30" fmla="*/ 20 w 156"/>
                      <a:gd name="T31" fmla="*/ 9 h 185"/>
                      <a:gd name="T32" fmla="*/ 20 w 156"/>
                      <a:gd name="T33" fmla="*/ 9 h 185"/>
                      <a:gd name="T34" fmla="*/ 13 w 156"/>
                      <a:gd name="T35" fmla="*/ 12 h 185"/>
                      <a:gd name="T36" fmla="*/ 5 w 156"/>
                      <a:gd name="T37" fmla="*/ 20 h 185"/>
                      <a:gd name="T38" fmla="*/ 5 w 156"/>
                      <a:gd name="T39" fmla="*/ 20 h 185"/>
                      <a:gd name="T40" fmla="*/ 2 w 156"/>
                      <a:gd name="T41" fmla="*/ 27 h 185"/>
                      <a:gd name="T42" fmla="*/ 0 w 156"/>
                      <a:gd name="T43" fmla="*/ 36 h 185"/>
                      <a:gd name="T44" fmla="*/ 0 w 156"/>
                      <a:gd name="T45" fmla="*/ 165 h 185"/>
                      <a:gd name="T46" fmla="*/ 0 w 156"/>
                      <a:gd name="T47" fmla="*/ 165 h 185"/>
                      <a:gd name="T48" fmla="*/ 2 w 156"/>
                      <a:gd name="T49" fmla="*/ 169 h 185"/>
                      <a:gd name="T50" fmla="*/ 2 w 156"/>
                      <a:gd name="T51" fmla="*/ 172 h 185"/>
                      <a:gd name="T52" fmla="*/ 9 w 156"/>
                      <a:gd name="T53" fmla="*/ 180 h 185"/>
                      <a:gd name="T54" fmla="*/ 9 w 156"/>
                      <a:gd name="T55" fmla="*/ 180 h 185"/>
                      <a:gd name="T56" fmla="*/ 18 w 156"/>
                      <a:gd name="T57" fmla="*/ 183 h 185"/>
                      <a:gd name="T58" fmla="*/ 27 w 156"/>
                      <a:gd name="T59" fmla="*/ 185 h 185"/>
                      <a:gd name="T60" fmla="*/ 129 w 156"/>
                      <a:gd name="T61" fmla="*/ 185 h 185"/>
                      <a:gd name="T62" fmla="*/ 129 w 156"/>
                      <a:gd name="T63" fmla="*/ 185 h 185"/>
                      <a:gd name="T64" fmla="*/ 138 w 156"/>
                      <a:gd name="T65" fmla="*/ 183 h 185"/>
                      <a:gd name="T66" fmla="*/ 147 w 156"/>
                      <a:gd name="T67" fmla="*/ 180 h 185"/>
                      <a:gd name="T68" fmla="*/ 147 w 156"/>
                      <a:gd name="T69" fmla="*/ 180 h 185"/>
                      <a:gd name="T70" fmla="*/ 153 w 156"/>
                      <a:gd name="T71" fmla="*/ 172 h 185"/>
                      <a:gd name="T72" fmla="*/ 154 w 156"/>
                      <a:gd name="T73" fmla="*/ 169 h 185"/>
                      <a:gd name="T74" fmla="*/ 156 w 156"/>
                      <a:gd name="T75" fmla="*/ 165 h 185"/>
                      <a:gd name="T76" fmla="*/ 156 w 156"/>
                      <a:gd name="T77" fmla="*/ 3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 h="185">
                        <a:moveTo>
                          <a:pt x="156" y="36"/>
                        </a:move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lnTo>
                          <a:pt x="129" y="185"/>
                        </a:lnTo>
                        <a:lnTo>
                          <a:pt x="129" y="185"/>
                        </a:lnTo>
                        <a:lnTo>
                          <a:pt x="138" y="183"/>
                        </a:lnTo>
                        <a:lnTo>
                          <a:pt x="147" y="180"/>
                        </a:lnTo>
                        <a:lnTo>
                          <a:pt x="147" y="180"/>
                        </a:lnTo>
                        <a:lnTo>
                          <a:pt x="153" y="172"/>
                        </a:lnTo>
                        <a:lnTo>
                          <a:pt x="154" y="169"/>
                        </a:lnTo>
                        <a:lnTo>
                          <a:pt x="156" y="165"/>
                        </a:lnTo>
                        <a:lnTo>
                          <a:pt x="156" y="36"/>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2" name="Freeform 1715">
                    <a:extLst>
                      <a:ext uri="{FF2B5EF4-FFF2-40B4-BE49-F238E27FC236}">
                        <a16:creationId xmlns:a16="http://schemas.microsoft.com/office/drawing/2014/main" id="{130F92B0-798F-4C93-A01B-8577DFC2FA3A}"/>
                      </a:ext>
                    </a:extLst>
                  </p:cNvPr>
                  <p:cNvSpPr>
                    <a:spLocks/>
                  </p:cNvSpPr>
                  <p:nvPr/>
                </p:nvSpPr>
                <p:spPr bwMode="auto">
                  <a:xfrm>
                    <a:off x="958332" y="3818540"/>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3" name="Freeform 1716">
                    <a:extLst>
                      <a:ext uri="{FF2B5EF4-FFF2-40B4-BE49-F238E27FC236}">
                        <a16:creationId xmlns:a16="http://schemas.microsoft.com/office/drawing/2014/main" id="{4A2F8374-E4BE-42A8-BA56-7937781D9678}"/>
                      </a:ext>
                    </a:extLst>
                  </p:cNvPr>
                  <p:cNvSpPr>
                    <a:spLocks/>
                  </p:cNvSpPr>
                  <p:nvPr/>
                </p:nvSpPr>
                <p:spPr bwMode="auto">
                  <a:xfrm>
                    <a:off x="1003501" y="3726716"/>
                    <a:ext cx="97472" cy="91823"/>
                  </a:xfrm>
                  <a:custGeom>
                    <a:avLst/>
                    <a:gdLst>
                      <a:gd name="T0" fmla="*/ 70 w 82"/>
                      <a:gd name="T1" fmla="*/ 13 h 83"/>
                      <a:gd name="T2" fmla="*/ 70 w 82"/>
                      <a:gd name="T3" fmla="*/ 13 h 83"/>
                      <a:gd name="T4" fmla="*/ 64 w 82"/>
                      <a:gd name="T5" fmla="*/ 7 h 83"/>
                      <a:gd name="T6" fmla="*/ 57 w 82"/>
                      <a:gd name="T7" fmla="*/ 3 h 83"/>
                      <a:gd name="T8" fmla="*/ 49 w 82"/>
                      <a:gd name="T9" fmla="*/ 2 h 83"/>
                      <a:gd name="T10" fmla="*/ 40 w 82"/>
                      <a:gd name="T11" fmla="*/ 0 h 83"/>
                      <a:gd name="T12" fmla="*/ 40 w 82"/>
                      <a:gd name="T13" fmla="*/ 0 h 83"/>
                      <a:gd name="T14" fmla="*/ 33 w 82"/>
                      <a:gd name="T15" fmla="*/ 2 h 83"/>
                      <a:gd name="T16" fmla="*/ 25 w 82"/>
                      <a:gd name="T17" fmla="*/ 3 h 83"/>
                      <a:gd name="T18" fmla="*/ 18 w 82"/>
                      <a:gd name="T19" fmla="*/ 7 h 83"/>
                      <a:gd name="T20" fmla="*/ 13 w 82"/>
                      <a:gd name="T21" fmla="*/ 13 h 83"/>
                      <a:gd name="T22" fmla="*/ 13 w 82"/>
                      <a:gd name="T23" fmla="*/ 13 h 83"/>
                      <a:gd name="T24" fmla="*/ 7 w 82"/>
                      <a:gd name="T25" fmla="*/ 18 h 83"/>
                      <a:gd name="T26" fmla="*/ 3 w 82"/>
                      <a:gd name="T27" fmla="*/ 25 h 83"/>
                      <a:gd name="T28" fmla="*/ 0 w 82"/>
                      <a:gd name="T29" fmla="*/ 33 h 83"/>
                      <a:gd name="T30" fmla="*/ 0 w 82"/>
                      <a:gd name="T31" fmla="*/ 42 h 83"/>
                      <a:gd name="T32" fmla="*/ 0 w 82"/>
                      <a:gd name="T33" fmla="*/ 42 h 83"/>
                      <a:gd name="T34" fmla="*/ 0 w 82"/>
                      <a:gd name="T35" fmla="*/ 49 h 83"/>
                      <a:gd name="T36" fmla="*/ 3 w 82"/>
                      <a:gd name="T37" fmla="*/ 57 h 83"/>
                      <a:gd name="T38" fmla="*/ 7 w 82"/>
                      <a:gd name="T39" fmla="*/ 64 h 83"/>
                      <a:gd name="T40" fmla="*/ 13 w 82"/>
                      <a:gd name="T41" fmla="*/ 70 h 83"/>
                      <a:gd name="T42" fmla="*/ 13 w 82"/>
                      <a:gd name="T43" fmla="*/ 70 h 83"/>
                      <a:gd name="T44" fmla="*/ 18 w 82"/>
                      <a:gd name="T45" fmla="*/ 75 h 83"/>
                      <a:gd name="T46" fmla="*/ 25 w 82"/>
                      <a:gd name="T47" fmla="*/ 79 h 83"/>
                      <a:gd name="T48" fmla="*/ 33 w 82"/>
                      <a:gd name="T49" fmla="*/ 83 h 83"/>
                      <a:gd name="T50" fmla="*/ 40 w 82"/>
                      <a:gd name="T51" fmla="*/ 83 h 83"/>
                      <a:gd name="T52" fmla="*/ 40 w 82"/>
                      <a:gd name="T53" fmla="*/ 83 h 83"/>
                      <a:gd name="T54" fmla="*/ 49 w 82"/>
                      <a:gd name="T55" fmla="*/ 83 h 83"/>
                      <a:gd name="T56" fmla="*/ 57 w 82"/>
                      <a:gd name="T57" fmla="*/ 79 h 83"/>
                      <a:gd name="T58" fmla="*/ 64 w 82"/>
                      <a:gd name="T59" fmla="*/ 75 h 83"/>
                      <a:gd name="T60" fmla="*/ 70 w 82"/>
                      <a:gd name="T61" fmla="*/ 70 h 83"/>
                      <a:gd name="T62" fmla="*/ 70 w 82"/>
                      <a:gd name="T63" fmla="*/ 70 h 83"/>
                      <a:gd name="T64" fmla="*/ 75 w 82"/>
                      <a:gd name="T65" fmla="*/ 64 h 83"/>
                      <a:gd name="T66" fmla="*/ 79 w 82"/>
                      <a:gd name="T67" fmla="*/ 57 h 83"/>
                      <a:gd name="T68" fmla="*/ 81 w 82"/>
                      <a:gd name="T69" fmla="*/ 49 h 83"/>
                      <a:gd name="T70" fmla="*/ 82 w 82"/>
                      <a:gd name="T71" fmla="*/ 42 h 83"/>
                      <a:gd name="T72" fmla="*/ 82 w 82"/>
                      <a:gd name="T73" fmla="*/ 42 h 83"/>
                      <a:gd name="T74" fmla="*/ 81 w 82"/>
                      <a:gd name="T75" fmla="*/ 33 h 83"/>
                      <a:gd name="T76" fmla="*/ 79 w 82"/>
                      <a:gd name="T77" fmla="*/ 25 h 83"/>
                      <a:gd name="T78" fmla="*/ 75 w 82"/>
                      <a:gd name="T79" fmla="*/ 18 h 83"/>
                      <a:gd name="T80" fmla="*/ 70 w 82"/>
                      <a:gd name="T81" fmla="*/ 13 h 83"/>
                      <a:gd name="T82" fmla="*/ 70 w 82"/>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83">
                        <a:moveTo>
                          <a:pt x="70" y="13"/>
                        </a:moveTo>
                        <a:lnTo>
                          <a:pt x="70" y="13"/>
                        </a:lnTo>
                        <a:lnTo>
                          <a:pt x="64" y="7"/>
                        </a:lnTo>
                        <a:lnTo>
                          <a:pt x="57" y="3"/>
                        </a:lnTo>
                        <a:lnTo>
                          <a:pt x="49" y="2"/>
                        </a:lnTo>
                        <a:lnTo>
                          <a:pt x="40" y="0"/>
                        </a:lnTo>
                        <a:lnTo>
                          <a:pt x="40" y="0"/>
                        </a:lnTo>
                        <a:lnTo>
                          <a:pt x="33" y="2"/>
                        </a:lnTo>
                        <a:lnTo>
                          <a:pt x="25" y="3"/>
                        </a:lnTo>
                        <a:lnTo>
                          <a:pt x="18" y="7"/>
                        </a:lnTo>
                        <a:lnTo>
                          <a:pt x="13" y="13"/>
                        </a:lnTo>
                        <a:lnTo>
                          <a:pt x="13" y="13"/>
                        </a:lnTo>
                        <a:lnTo>
                          <a:pt x="7" y="18"/>
                        </a:lnTo>
                        <a:lnTo>
                          <a:pt x="3" y="25"/>
                        </a:lnTo>
                        <a:lnTo>
                          <a:pt x="0" y="33"/>
                        </a:lnTo>
                        <a:lnTo>
                          <a:pt x="0" y="42"/>
                        </a:lnTo>
                        <a:lnTo>
                          <a:pt x="0" y="42"/>
                        </a:lnTo>
                        <a:lnTo>
                          <a:pt x="0" y="49"/>
                        </a:lnTo>
                        <a:lnTo>
                          <a:pt x="3" y="57"/>
                        </a:lnTo>
                        <a:lnTo>
                          <a:pt x="7" y="64"/>
                        </a:lnTo>
                        <a:lnTo>
                          <a:pt x="13" y="70"/>
                        </a:lnTo>
                        <a:lnTo>
                          <a:pt x="13" y="70"/>
                        </a:lnTo>
                        <a:lnTo>
                          <a:pt x="18" y="75"/>
                        </a:lnTo>
                        <a:lnTo>
                          <a:pt x="25" y="79"/>
                        </a:lnTo>
                        <a:lnTo>
                          <a:pt x="33" y="83"/>
                        </a:lnTo>
                        <a:lnTo>
                          <a:pt x="40" y="83"/>
                        </a:lnTo>
                        <a:lnTo>
                          <a:pt x="40" y="83"/>
                        </a:lnTo>
                        <a:lnTo>
                          <a:pt x="49" y="83"/>
                        </a:lnTo>
                        <a:lnTo>
                          <a:pt x="57" y="79"/>
                        </a:lnTo>
                        <a:lnTo>
                          <a:pt x="64" y="75"/>
                        </a:lnTo>
                        <a:lnTo>
                          <a:pt x="70" y="70"/>
                        </a:lnTo>
                        <a:lnTo>
                          <a:pt x="70" y="70"/>
                        </a:lnTo>
                        <a:lnTo>
                          <a:pt x="75" y="64"/>
                        </a:lnTo>
                        <a:lnTo>
                          <a:pt x="79" y="57"/>
                        </a:lnTo>
                        <a:lnTo>
                          <a:pt x="81" y="49"/>
                        </a:lnTo>
                        <a:lnTo>
                          <a:pt x="82" y="42"/>
                        </a:lnTo>
                        <a:lnTo>
                          <a:pt x="82" y="42"/>
                        </a:lnTo>
                        <a:lnTo>
                          <a:pt x="81" y="33"/>
                        </a:lnTo>
                        <a:lnTo>
                          <a:pt x="79" y="25"/>
                        </a:lnTo>
                        <a:lnTo>
                          <a:pt x="75" y="18"/>
                        </a:lnTo>
                        <a:lnTo>
                          <a:pt x="70" y="13"/>
                        </a:lnTo>
                        <a:lnTo>
                          <a:pt x="70" y="13"/>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4" name="Freeform 1717">
                    <a:extLst>
                      <a:ext uri="{FF2B5EF4-FFF2-40B4-BE49-F238E27FC236}">
                        <a16:creationId xmlns:a16="http://schemas.microsoft.com/office/drawing/2014/main" id="{8A003EF6-BF73-422A-BE0E-128FA37219B7}"/>
                      </a:ext>
                    </a:extLst>
                  </p:cNvPr>
                  <p:cNvSpPr>
                    <a:spLocks/>
                  </p:cNvSpPr>
                  <p:nvPr/>
                </p:nvSpPr>
                <p:spPr bwMode="auto">
                  <a:xfrm>
                    <a:off x="1003501" y="3726716"/>
                    <a:ext cx="97472" cy="91823"/>
                  </a:xfrm>
                  <a:custGeom>
                    <a:avLst/>
                    <a:gdLst>
                      <a:gd name="T0" fmla="*/ 82 w 82"/>
                      <a:gd name="T1" fmla="*/ 42 h 83"/>
                      <a:gd name="T2" fmla="*/ 82 w 82"/>
                      <a:gd name="T3" fmla="*/ 42 h 83"/>
                      <a:gd name="T4" fmla="*/ 81 w 82"/>
                      <a:gd name="T5" fmla="*/ 49 h 83"/>
                      <a:gd name="T6" fmla="*/ 79 w 82"/>
                      <a:gd name="T7" fmla="*/ 57 h 83"/>
                      <a:gd name="T8" fmla="*/ 75 w 82"/>
                      <a:gd name="T9" fmla="*/ 64 h 83"/>
                      <a:gd name="T10" fmla="*/ 70 w 82"/>
                      <a:gd name="T11" fmla="*/ 70 h 83"/>
                      <a:gd name="T12" fmla="*/ 70 w 82"/>
                      <a:gd name="T13" fmla="*/ 70 h 83"/>
                      <a:gd name="T14" fmla="*/ 64 w 82"/>
                      <a:gd name="T15" fmla="*/ 75 h 83"/>
                      <a:gd name="T16" fmla="*/ 57 w 82"/>
                      <a:gd name="T17" fmla="*/ 79 h 83"/>
                      <a:gd name="T18" fmla="*/ 49 w 82"/>
                      <a:gd name="T19" fmla="*/ 83 h 83"/>
                      <a:gd name="T20" fmla="*/ 40 w 82"/>
                      <a:gd name="T21" fmla="*/ 83 h 83"/>
                      <a:gd name="T22" fmla="*/ 40 w 82"/>
                      <a:gd name="T23" fmla="*/ 83 h 83"/>
                      <a:gd name="T24" fmla="*/ 33 w 82"/>
                      <a:gd name="T25" fmla="*/ 83 h 83"/>
                      <a:gd name="T26" fmla="*/ 25 w 82"/>
                      <a:gd name="T27" fmla="*/ 79 h 83"/>
                      <a:gd name="T28" fmla="*/ 18 w 82"/>
                      <a:gd name="T29" fmla="*/ 75 h 83"/>
                      <a:gd name="T30" fmla="*/ 13 w 82"/>
                      <a:gd name="T31" fmla="*/ 70 h 83"/>
                      <a:gd name="T32" fmla="*/ 13 w 82"/>
                      <a:gd name="T33" fmla="*/ 70 h 83"/>
                      <a:gd name="T34" fmla="*/ 7 w 82"/>
                      <a:gd name="T35" fmla="*/ 64 h 83"/>
                      <a:gd name="T36" fmla="*/ 3 w 82"/>
                      <a:gd name="T37" fmla="*/ 57 h 83"/>
                      <a:gd name="T38" fmla="*/ 0 w 82"/>
                      <a:gd name="T39" fmla="*/ 49 h 83"/>
                      <a:gd name="T40" fmla="*/ 0 w 82"/>
                      <a:gd name="T41" fmla="*/ 42 h 83"/>
                      <a:gd name="T42" fmla="*/ 0 w 82"/>
                      <a:gd name="T43" fmla="*/ 42 h 83"/>
                      <a:gd name="T44" fmla="*/ 0 w 82"/>
                      <a:gd name="T45" fmla="*/ 33 h 83"/>
                      <a:gd name="T46" fmla="*/ 3 w 82"/>
                      <a:gd name="T47" fmla="*/ 25 h 83"/>
                      <a:gd name="T48" fmla="*/ 7 w 82"/>
                      <a:gd name="T49" fmla="*/ 18 h 83"/>
                      <a:gd name="T50" fmla="*/ 13 w 82"/>
                      <a:gd name="T51" fmla="*/ 13 h 83"/>
                      <a:gd name="T52" fmla="*/ 13 w 82"/>
                      <a:gd name="T53" fmla="*/ 13 h 83"/>
                      <a:gd name="T54" fmla="*/ 18 w 82"/>
                      <a:gd name="T55" fmla="*/ 7 h 83"/>
                      <a:gd name="T56" fmla="*/ 25 w 82"/>
                      <a:gd name="T57" fmla="*/ 3 h 83"/>
                      <a:gd name="T58" fmla="*/ 33 w 82"/>
                      <a:gd name="T59" fmla="*/ 2 h 83"/>
                      <a:gd name="T60" fmla="*/ 40 w 82"/>
                      <a:gd name="T61" fmla="*/ 0 h 83"/>
                      <a:gd name="T62" fmla="*/ 40 w 82"/>
                      <a:gd name="T63" fmla="*/ 0 h 83"/>
                      <a:gd name="T64" fmla="*/ 49 w 82"/>
                      <a:gd name="T65" fmla="*/ 2 h 83"/>
                      <a:gd name="T66" fmla="*/ 57 w 82"/>
                      <a:gd name="T67" fmla="*/ 3 h 83"/>
                      <a:gd name="T68" fmla="*/ 64 w 82"/>
                      <a:gd name="T69" fmla="*/ 7 h 83"/>
                      <a:gd name="T70" fmla="*/ 70 w 82"/>
                      <a:gd name="T71" fmla="*/ 13 h 83"/>
                      <a:gd name="T72" fmla="*/ 70 w 82"/>
                      <a:gd name="T73" fmla="*/ 13 h 83"/>
                      <a:gd name="T74" fmla="*/ 75 w 82"/>
                      <a:gd name="T75" fmla="*/ 18 h 83"/>
                      <a:gd name="T76" fmla="*/ 79 w 82"/>
                      <a:gd name="T77" fmla="*/ 25 h 83"/>
                      <a:gd name="T78" fmla="*/ 81 w 82"/>
                      <a:gd name="T79" fmla="*/ 33 h 83"/>
                      <a:gd name="T80" fmla="*/ 82 w 82"/>
                      <a:gd name="T81" fmla="*/ 42 h 83"/>
                      <a:gd name="T82" fmla="*/ 82 w 82"/>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83">
                        <a:moveTo>
                          <a:pt x="82" y="42"/>
                        </a:moveTo>
                        <a:lnTo>
                          <a:pt x="82" y="42"/>
                        </a:lnTo>
                        <a:lnTo>
                          <a:pt x="81" y="49"/>
                        </a:lnTo>
                        <a:lnTo>
                          <a:pt x="79" y="57"/>
                        </a:lnTo>
                        <a:lnTo>
                          <a:pt x="75" y="64"/>
                        </a:lnTo>
                        <a:lnTo>
                          <a:pt x="70" y="70"/>
                        </a:lnTo>
                        <a:lnTo>
                          <a:pt x="70" y="70"/>
                        </a:lnTo>
                        <a:lnTo>
                          <a:pt x="64" y="75"/>
                        </a:lnTo>
                        <a:lnTo>
                          <a:pt x="57" y="79"/>
                        </a:lnTo>
                        <a:lnTo>
                          <a:pt x="49" y="83"/>
                        </a:lnTo>
                        <a:lnTo>
                          <a:pt x="40" y="83"/>
                        </a:lnTo>
                        <a:lnTo>
                          <a:pt x="40" y="83"/>
                        </a:lnTo>
                        <a:lnTo>
                          <a:pt x="33" y="83"/>
                        </a:lnTo>
                        <a:lnTo>
                          <a:pt x="25" y="79"/>
                        </a:lnTo>
                        <a:lnTo>
                          <a:pt x="18" y="75"/>
                        </a:lnTo>
                        <a:lnTo>
                          <a:pt x="13" y="70"/>
                        </a:lnTo>
                        <a:lnTo>
                          <a:pt x="13" y="70"/>
                        </a:lnTo>
                        <a:lnTo>
                          <a:pt x="7" y="64"/>
                        </a:lnTo>
                        <a:lnTo>
                          <a:pt x="3" y="57"/>
                        </a:lnTo>
                        <a:lnTo>
                          <a:pt x="0" y="49"/>
                        </a:lnTo>
                        <a:lnTo>
                          <a:pt x="0" y="42"/>
                        </a:lnTo>
                        <a:lnTo>
                          <a:pt x="0" y="42"/>
                        </a:lnTo>
                        <a:lnTo>
                          <a:pt x="0" y="33"/>
                        </a:lnTo>
                        <a:lnTo>
                          <a:pt x="3" y="25"/>
                        </a:lnTo>
                        <a:lnTo>
                          <a:pt x="7" y="18"/>
                        </a:lnTo>
                        <a:lnTo>
                          <a:pt x="13" y="13"/>
                        </a:lnTo>
                        <a:lnTo>
                          <a:pt x="13" y="13"/>
                        </a:lnTo>
                        <a:lnTo>
                          <a:pt x="18" y="7"/>
                        </a:lnTo>
                        <a:lnTo>
                          <a:pt x="25" y="3"/>
                        </a:lnTo>
                        <a:lnTo>
                          <a:pt x="33" y="2"/>
                        </a:lnTo>
                        <a:lnTo>
                          <a:pt x="40" y="0"/>
                        </a:lnTo>
                        <a:lnTo>
                          <a:pt x="40" y="0"/>
                        </a:lnTo>
                        <a:lnTo>
                          <a:pt x="49" y="2"/>
                        </a:lnTo>
                        <a:lnTo>
                          <a:pt x="57" y="3"/>
                        </a:lnTo>
                        <a:lnTo>
                          <a:pt x="64" y="7"/>
                        </a:lnTo>
                        <a:lnTo>
                          <a:pt x="70" y="13"/>
                        </a:lnTo>
                        <a:lnTo>
                          <a:pt x="70" y="13"/>
                        </a:lnTo>
                        <a:lnTo>
                          <a:pt x="75" y="18"/>
                        </a:lnTo>
                        <a:lnTo>
                          <a:pt x="79" y="25"/>
                        </a:lnTo>
                        <a:lnTo>
                          <a:pt x="81" y="33"/>
                        </a:lnTo>
                        <a:lnTo>
                          <a:pt x="82" y="42"/>
                        </a:lnTo>
                        <a:lnTo>
                          <a:pt x="82"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5" name="Rectangle 1718">
                    <a:extLst>
                      <a:ext uri="{FF2B5EF4-FFF2-40B4-BE49-F238E27FC236}">
                        <a16:creationId xmlns:a16="http://schemas.microsoft.com/office/drawing/2014/main" id="{E7C69194-7A5D-4189-940A-286202733C60}"/>
                      </a:ext>
                    </a:extLst>
                  </p:cNvPr>
                  <p:cNvSpPr>
                    <a:spLocks noChangeArrowheads="1"/>
                  </p:cNvSpPr>
                  <p:nvPr/>
                </p:nvSpPr>
                <p:spPr bwMode="auto">
                  <a:xfrm>
                    <a:off x="1001125" y="3984529"/>
                    <a:ext cx="102227" cy="187863"/>
                  </a:xfrm>
                  <a:prstGeom prst="rect">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445" name="Freeform 1719">
                    <a:extLst>
                      <a:ext uri="{FF2B5EF4-FFF2-40B4-BE49-F238E27FC236}">
                        <a16:creationId xmlns:a16="http://schemas.microsoft.com/office/drawing/2014/main" id="{DDEC9D12-6553-4B9B-9900-4FD99B3212C8}"/>
                      </a:ext>
                    </a:extLst>
                  </p:cNvPr>
                  <p:cNvSpPr>
                    <a:spLocks/>
                  </p:cNvSpPr>
                  <p:nvPr/>
                </p:nvSpPr>
                <p:spPr bwMode="auto">
                  <a:xfrm>
                    <a:off x="1001125" y="3867811"/>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446" name="Line 1720">
                    <a:extLst>
                      <a:ext uri="{FF2B5EF4-FFF2-40B4-BE49-F238E27FC236}">
                        <a16:creationId xmlns:a16="http://schemas.microsoft.com/office/drawing/2014/main" id="{E8D7B235-ADFF-46C6-B768-A7CC0F3ECF08}"/>
                      </a:ext>
                    </a:extLst>
                  </p:cNvPr>
                  <p:cNvSpPr>
                    <a:spLocks noChangeShapeType="1"/>
                  </p:cNvSpPr>
                  <p:nvPr/>
                </p:nvSpPr>
                <p:spPr bwMode="auto">
                  <a:xfrm>
                    <a:off x="1051048" y="4020102"/>
                    <a:ext cx="0" cy="152291"/>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nvGrpSpPr>
                <p:cNvPr id="298" name="Group 297">
                  <a:extLst>
                    <a:ext uri="{FF2B5EF4-FFF2-40B4-BE49-F238E27FC236}">
                      <a16:creationId xmlns:a16="http://schemas.microsoft.com/office/drawing/2014/main" id="{4768DB89-12B6-4C1D-B471-A8F1B7D914C2}"/>
                    </a:ext>
                  </a:extLst>
                </p:cNvPr>
                <p:cNvGrpSpPr/>
                <p:nvPr/>
              </p:nvGrpSpPr>
              <p:grpSpPr>
                <a:xfrm>
                  <a:off x="3510616" y="4873603"/>
                  <a:ext cx="357439" cy="859083"/>
                  <a:chOff x="775276" y="3726716"/>
                  <a:chExt cx="185433" cy="445677"/>
                </a:xfrm>
                <a:solidFill>
                  <a:srgbClr val="00A3E0"/>
                </a:solidFill>
              </p:grpSpPr>
              <p:sp>
                <p:nvSpPr>
                  <p:cNvPr id="310" name="Freeform 1721">
                    <a:extLst>
                      <a:ext uri="{FF2B5EF4-FFF2-40B4-BE49-F238E27FC236}">
                        <a16:creationId xmlns:a16="http://schemas.microsoft.com/office/drawing/2014/main" id="{416BC778-4649-4116-BEE1-24FF944260F4}"/>
                      </a:ext>
                    </a:extLst>
                  </p:cNvPr>
                  <p:cNvSpPr>
                    <a:spLocks/>
                  </p:cNvSpPr>
                  <p:nvPr/>
                </p:nvSpPr>
                <p:spPr bwMode="auto">
                  <a:xfrm>
                    <a:off x="775276" y="3818540"/>
                    <a:ext cx="185433" cy="208281"/>
                  </a:xfrm>
                  <a:custGeom>
                    <a:avLst/>
                    <a:gdLst>
                      <a:gd name="T0" fmla="*/ 157 w 157"/>
                      <a:gd name="T1" fmla="*/ 165 h 185"/>
                      <a:gd name="T2" fmla="*/ 157 w 157"/>
                      <a:gd name="T3" fmla="*/ 36 h 185"/>
                      <a:gd name="T4" fmla="*/ 157 w 157"/>
                      <a:gd name="T5" fmla="*/ 36 h 185"/>
                      <a:gd name="T6" fmla="*/ 155 w 157"/>
                      <a:gd name="T7" fmla="*/ 27 h 185"/>
                      <a:gd name="T8" fmla="*/ 151 w 157"/>
                      <a:gd name="T9" fmla="*/ 20 h 185"/>
                      <a:gd name="T10" fmla="*/ 151 w 157"/>
                      <a:gd name="T11" fmla="*/ 20 h 185"/>
                      <a:gd name="T12" fmla="*/ 144 w 157"/>
                      <a:gd name="T13" fmla="*/ 12 h 185"/>
                      <a:gd name="T14" fmla="*/ 137 w 157"/>
                      <a:gd name="T15" fmla="*/ 9 h 185"/>
                      <a:gd name="T16" fmla="*/ 137 w 157"/>
                      <a:gd name="T17" fmla="*/ 9 h 185"/>
                      <a:gd name="T18" fmla="*/ 122 w 157"/>
                      <a:gd name="T19" fmla="*/ 5 h 185"/>
                      <a:gd name="T20" fmla="*/ 107 w 157"/>
                      <a:gd name="T21" fmla="*/ 1 h 185"/>
                      <a:gd name="T22" fmla="*/ 94 w 157"/>
                      <a:gd name="T23" fmla="*/ 0 h 185"/>
                      <a:gd name="T24" fmla="*/ 79 w 157"/>
                      <a:gd name="T25" fmla="*/ 0 h 185"/>
                      <a:gd name="T26" fmla="*/ 65 w 157"/>
                      <a:gd name="T27" fmla="*/ 0 h 185"/>
                      <a:gd name="T28" fmla="*/ 50 w 157"/>
                      <a:gd name="T29" fmla="*/ 1 h 185"/>
                      <a:gd name="T30" fmla="*/ 35 w 157"/>
                      <a:gd name="T31" fmla="*/ 5 h 185"/>
                      <a:gd name="T32" fmla="*/ 21 w 157"/>
                      <a:gd name="T33" fmla="*/ 9 h 185"/>
                      <a:gd name="T34" fmla="*/ 21 w 157"/>
                      <a:gd name="T35" fmla="*/ 9 h 185"/>
                      <a:gd name="T36" fmla="*/ 13 w 157"/>
                      <a:gd name="T37" fmla="*/ 12 h 185"/>
                      <a:gd name="T38" fmla="*/ 8 w 157"/>
                      <a:gd name="T39" fmla="*/ 20 h 185"/>
                      <a:gd name="T40" fmla="*/ 8 w 157"/>
                      <a:gd name="T41" fmla="*/ 20 h 185"/>
                      <a:gd name="T42" fmla="*/ 2 w 157"/>
                      <a:gd name="T43" fmla="*/ 27 h 185"/>
                      <a:gd name="T44" fmla="*/ 0 w 157"/>
                      <a:gd name="T45" fmla="*/ 36 h 185"/>
                      <a:gd name="T46" fmla="*/ 0 w 157"/>
                      <a:gd name="T47" fmla="*/ 165 h 185"/>
                      <a:gd name="T48" fmla="*/ 0 w 157"/>
                      <a:gd name="T49" fmla="*/ 165 h 185"/>
                      <a:gd name="T50" fmla="*/ 2 w 157"/>
                      <a:gd name="T51" fmla="*/ 169 h 185"/>
                      <a:gd name="T52" fmla="*/ 4 w 157"/>
                      <a:gd name="T53" fmla="*/ 172 h 185"/>
                      <a:gd name="T54" fmla="*/ 10 w 157"/>
                      <a:gd name="T55" fmla="*/ 180 h 185"/>
                      <a:gd name="T56" fmla="*/ 10 w 157"/>
                      <a:gd name="T57" fmla="*/ 180 h 185"/>
                      <a:gd name="T58" fmla="*/ 19 w 157"/>
                      <a:gd name="T59" fmla="*/ 183 h 185"/>
                      <a:gd name="T60" fmla="*/ 28 w 157"/>
                      <a:gd name="T61" fmla="*/ 185 h 185"/>
                      <a:gd name="T62" fmla="*/ 129 w 157"/>
                      <a:gd name="T63" fmla="*/ 185 h 185"/>
                      <a:gd name="T64" fmla="*/ 129 w 157"/>
                      <a:gd name="T65" fmla="*/ 185 h 185"/>
                      <a:gd name="T66" fmla="*/ 138 w 157"/>
                      <a:gd name="T67" fmla="*/ 183 h 185"/>
                      <a:gd name="T68" fmla="*/ 148 w 157"/>
                      <a:gd name="T69" fmla="*/ 180 h 185"/>
                      <a:gd name="T70" fmla="*/ 148 w 157"/>
                      <a:gd name="T71" fmla="*/ 180 h 185"/>
                      <a:gd name="T72" fmla="*/ 155 w 157"/>
                      <a:gd name="T73" fmla="*/ 172 h 185"/>
                      <a:gd name="T74" fmla="*/ 155 w 157"/>
                      <a:gd name="T75" fmla="*/ 169 h 185"/>
                      <a:gd name="T76" fmla="*/ 157 w 157"/>
                      <a:gd name="T77" fmla="*/ 165 h 185"/>
                      <a:gd name="T78" fmla="*/ 157 w 157"/>
                      <a:gd name="T79" fmla="*/ 16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7" h="185">
                        <a:moveTo>
                          <a:pt x="157" y="165"/>
                        </a:moveTo>
                        <a:lnTo>
                          <a:pt x="157" y="36"/>
                        </a:lnTo>
                        <a:lnTo>
                          <a:pt x="157" y="36"/>
                        </a:lnTo>
                        <a:lnTo>
                          <a:pt x="155" y="27"/>
                        </a:lnTo>
                        <a:lnTo>
                          <a:pt x="151" y="20"/>
                        </a:lnTo>
                        <a:lnTo>
                          <a:pt x="151" y="20"/>
                        </a:lnTo>
                        <a:lnTo>
                          <a:pt x="144" y="12"/>
                        </a:lnTo>
                        <a:lnTo>
                          <a:pt x="137" y="9"/>
                        </a:lnTo>
                        <a:lnTo>
                          <a:pt x="137" y="9"/>
                        </a:lnTo>
                        <a:lnTo>
                          <a:pt x="122" y="5"/>
                        </a:lnTo>
                        <a:lnTo>
                          <a:pt x="107" y="1"/>
                        </a:lnTo>
                        <a:lnTo>
                          <a:pt x="94" y="0"/>
                        </a:lnTo>
                        <a:lnTo>
                          <a:pt x="79" y="0"/>
                        </a:lnTo>
                        <a:lnTo>
                          <a:pt x="65" y="0"/>
                        </a:lnTo>
                        <a:lnTo>
                          <a:pt x="50" y="1"/>
                        </a:lnTo>
                        <a:lnTo>
                          <a:pt x="35" y="5"/>
                        </a:lnTo>
                        <a:lnTo>
                          <a:pt x="21" y="9"/>
                        </a:lnTo>
                        <a:lnTo>
                          <a:pt x="21" y="9"/>
                        </a:lnTo>
                        <a:lnTo>
                          <a:pt x="13" y="12"/>
                        </a:lnTo>
                        <a:lnTo>
                          <a:pt x="8" y="20"/>
                        </a:lnTo>
                        <a:lnTo>
                          <a:pt x="8" y="20"/>
                        </a:lnTo>
                        <a:lnTo>
                          <a:pt x="2" y="27"/>
                        </a:lnTo>
                        <a:lnTo>
                          <a:pt x="0" y="36"/>
                        </a:lnTo>
                        <a:lnTo>
                          <a:pt x="0" y="165"/>
                        </a:lnTo>
                        <a:lnTo>
                          <a:pt x="0" y="165"/>
                        </a:lnTo>
                        <a:lnTo>
                          <a:pt x="2" y="169"/>
                        </a:lnTo>
                        <a:lnTo>
                          <a:pt x="4" y="172"/>
                        </a:lnTo>
                        <a:lnTo>
                          <a:pt x="10" y="180"/>
                        </a:lnTo>
                        <a:lnTo>
                          <a:pt x="10" y="180"/>
                        </a:lnTo>
                        <a:lnTo>
                          <a:pt x="19" y="183"/>
                        </a:lnTo>
                        <a:lnTo>
                          <a:pt x="28" y="185"/>
                        </a:lnTo>
                        <a:lnTo>
                          <a:pt x="129" y="185"/>
                        </a:lnTo>
                        <a:lnTo>
                          <a:pt x="129" y="185"/>
                        </a:lnTo>
                        <a:lnTo>
                          <a:pt x="138" y="183"/>
                        </a:lnTo>
                        <a:lnTo>
                          <a:pt x="148" y="180"/>
                        </a:lnTo>
                        <a:lnTo>
                          <a:pt x="148" y="180"/>
                        </a:lnTo>
                        <a:lnTo>
                          <a:pt x="155" y="172"/>
                        </a:lnTo>
                        <a:lnTo>
                          <a:pt x="155" y="169"/>
                        </a:lnTo>
                        <a:lnTo>
                          <a:pt x="157" y="165"/>
                        </a:lnTo>
                        <a:lnTo>
                          <a:pt x="157" y="165"/>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1" name="Freeform 1722">
                    <a:extLst>
                      <a:ext uri="{FF2B5EF4-FFF2-40B4-BE49-F238E27FC236}">
                        <a16:creationId xmlns:a16="http://schemas.microsoft.com/office/drawing/2014/main" id="{20AD474E-B999-4CCD-B0B0-B096246BDBE6}"/>
                      </a:ext>
                    </a:extLst>
                  </p:cNvPr>
                  <p:cNvSpPr>
                    <a:spLocks/>
                  </p:cNvSpPr>
                  <p:nvPr/>
                </p:nvSpPr>
                <p:spPr bwMode="auto">
                  <a:xfrm>
                    <a:off x="775276" y="3818540"/>
                    <a:ext cx="185433" cy="208281"/>
                  </a:xfrm>
                  <a:custGeom>
                    <a:avLst/>
                    <a:gdLst>
                      <a:gd name="T0" fmla="*/ 129 w 157"/>
                      <a:gd name="T1" fmla="*/ 185 h 185"/>
                      <a:gd name="T2" fmla="*/ 129 w 157"/>
                      <a:gd name="T3" fmla="*/ 185 h 185"/>
                      <a:gd name="T4" fmla="*/ 138 w 157"/>
                      <a:gd name="T5" fmla="*/ 183 h 185"/>
                      <a:gd name="T6" fmla="*/ 148 w 157"/>
                      <a:gd name="T7" fmla="*/ 180 h 185"/>
                      <a:gd name="T8" fmla="*/ 148 w 157"/>
                      <a:gd name="T9" fmla="*/ 180 h 185"/>
                      <a:gd name="T10" fmla="*/ 155 w 157"/>
                      <a:gd name="T11" fmla="*/ 172 h 185"/>
                      <a:gd name="T12" fmla="*/ 155 w 157"/>
                      <a:gd name="T13" fmla="*/ 169 h 185"/>
                      <a:gd name="T14" fmla="*/ 157 w 157"/>
                      <a:gd name="T15" fmla="*/ 165 h 185"/>
                      <a:gd name="T16" fmla="*/ 157 w 157"/>
                      <a:gd name="T17" fmla="*/ 36 h 185"/>
                      <a:gd name="T18" fmla="*/ 157 w 157"/>
                      <a:gd name="T19" fmla="*/ 36 h 185"/>
                      <a:gd name="T20" fmla="*/ 155 w 157"/>
                      <a:gd name="T21" fmla="*/ 27 h 185"/>
                      <a:gd name="T22" fmla="*/ 151 w 157"/>
                      <a:gd name="T23" fmla="*/ 20 h 185"/>
                      <a:gd name="T24" fmla="*/ 151 w 157"/>
                      <a:gd name="T25" fmla="*/ 20 h 185"/>
                      <a:gd name="T26" fmla="*/ 144 w 157"/>
                      <a:gd name="T27" fmla="*/ 12 h 185"/>
                      <a:gd name="T28" fmla="*/ 137 w 157"/>
                      <a:gd name="T29" fmla="*/ 9 h 185"/>
                      <a:gd name="T30" fmla="*/ 137 w 157"/>
                      <a:gd name="T31" fmla="*/ 9 h 185"/>
                      <a:gd name="T32" fmla="*/ 122 w 157"/>
                      <a:gd name="T33" fmla="*/ 5 h 185"/>
                      <a:gd name="T34" fmla="*/ 107 w 157"/>
                      <a:gd name="T35" fmla="*/ 1 h 185"/>
                      <a:gd name="T36" fmla="*/ 94 w 157"/>
                      <a:gd name="T37" fmla="*/ 0 h 185"/>
                      <a:gd name="T38" fmla="*/ 79 w 157"/>
                      <a:gd name="T39" fmla="*/ 0 h 185"/>
                      <a:gd name="T40" fmla="*/ 65 w 157"/>
                      <a:gd name="T41" fmla="*/ 0 h 185"/>
                      <a:gd name="T42" fmla="*/ 50 w 157"/>
                      <a:gd name="T43" fmla="*/ 1 h 185"/>
                      <a:gd name="T44" fmla="*/ 35 w 157"/>
                      <a:gd name="T45" fmla="*/ 5 h 185"/>
                      <a:gd name="T46" fmla="*/ 21 w 157"/>
                      <a:gd name="T47" fmla="*/ 9 h 185"/>
                      <a:gd name="T48" fmla="*/ 21 w 157"/>
                      <a:gd name="T49" fmla="*/ 9 h 185"/>
                      <a:gd name="T50" fmla="*/ 13 w 157"/>
                      <a:gd name="T51" fmla="*/ 12 h 185"/>
                      <a:gd name="T52" fmla="*/ 8 w 157"/>
                      <a:gd name="T53" fmla="*/ 20 h 185"/>
                      <a:gd name="T54" fmla="*/ 8 w 157"/>
                      <a:gd name="T55" fmla="*/ 20 h 185"/>
                      <a:gd name="T56" fmla="*/ 2 w 157"/>
                      <a:gd name="T57" fmla="*/ 27 h 185"/>
                      <a:gd name="T58" fmla="*/ 0 w 157"/>
                      <a:gd name="T59" fmla="*/ 36 h 185"/>
                      <a:gd name="T60" fmla="*/ 0 w 157"/>
                      <a:gd name="T61" fmla="*/ 165 h 185"/>
                      <a:gd name="T62" fmla="*/ 0 w 157"/>
                      <a:gd name="T63" fmla="*/ 165 h 185"/>
                      <a:gd name="T64" fmla="*/ 2 w 157"/>
                      <a:gd name="T65" fmla="*/ 169 h 185"/>
                      <a:gd name="T66" fmla="*/ 4 w 157"/>
                      <a:gd name="T67" fmla="*/ 172 h 185"/>
                      <a:gd name="T68" fmla="*/ 10 w 157"/>
                      <a:gd name="T69" fmla="*/ 180 h 185"/>
                      <a:gd name="T70" fmla="*/ 10 w 157"/>
                      <a:gd name="T71" fmla="*/ 180 h 185"/>
                      <a:gd name="T72" fmla="*/ 19 w 157"/>
                      <a:gd name="T73" fmla="*/ 183 h 185"/>
                      <a:gd name="T74" fmla="*/ 28 w 157"/>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85">
                        <a:moveTo>
                          <a:pt x="129" y="185"/>
                        </a:moveTo>
                        <a:lnTo>
                          <a:pt x="129" y="185"/>
                        </a:lnTo>
                        <a:lnTo>
                          <a:pt x="138" y="183"/>
                        </a:lnTo>
                        <a:lnTo>
                          <a:pt x="148" y="180"/>
                        </a:lnTo>
                        <a:lnTo>
                          <a:pt x="148" y="180"/>
                        </a:lnTo>
                        <a:lnTo>
                          <a:pt x="155" y="172"/>
                        </a:lnTo>
                        <a:lnTo>
                          <a:pt x="155" y="169"/>
                        </a:lnTo>
                        <a:lnTo>
                          <a:pt x="157" y="165"/>
                        </a:lnTo>
                        <a:lnTo>
                          <a:pt x="157" y="36"/>
                        </a:lnTo>
                        <a:lnTo>
                          <a:pt x="157" y="36"/>
                        </a:lnTo>
                        <a:lnTo>
                          <a:pt x="155" y="27"/>
                        </a:lnTo>
                        <a:lnTo>
                          <a:pt x="151" y="20"/>
                        </a:lnTo>
                        <a:lnTo>
                          <a:pt x="151" y="20"/>
                        </a:lnTo>
                        <a:lnTo>
                          <a:pt x="144" y="12"/>
                        </a:lnTo>
                        <a:lnTo>
                          <a:pt x="137" y="9"/>
                        </a:lnTo>
                        <a:lnTo>
                          <a:pt x="137" y="9"/>
                        </a:lnTo>
                        <a:lnTo>
                          <a:pt x="122" y="5"/>
                        </a:lnTo>
                        <a:lnTo>
                          <a:pt x="107" y="1"/>
                        </a:lnTo>
                        <a:lnTo>
                          <a:pt x="94" y="0"/>
                        </a:lnTo>
                        <a:lnTo>
                          <a:pt x="79" y="0"/>
                        </a:lnTo>
                        <a:lnTo>
                          <a:pt x="65" y="0"/>
                        </a:lnTo>
                        <a:lnTo>
                          <a:pt x="50" y="1"/>
                        </a:lnTo>
                        <a:lnTo>
                          <a:pt x="35" y="5"/>
                        </a:lnTo>
                        <a:lnTo>
                          <a:pt x="21" y="9"/>
                        </a:lnTo>
                        <a:lnTo>
                          <a:pt x="21" y="9"/>
                        </a:lnTo>
                        <a:lnTo>
                          <a:pt x="13" y="12"/>
                        </a:lnTo>
                        <a:lnTo>
                          <a:pt x="8" y="20"/>
                        </a:lnTo>
                        <a:lnTo>
                          <a:pt x="8" y="20"/>
                        </a:lnTo>
                        <a:lnTo>
                          <a:pt x="2" y="27"/>
                        </a:lnTo>
                        <a:lnTo>
                          <a:pt x="0" y="36"/>
                        </a:lnTo>
                        <a:lnTo>
                          <a:pt x="0" y="165"/>
                        </a:lnTo>
                        <a:lnTo>
                          <a:pt x="0" y="165"/>
                        </a:lnTo>
                        <a:lnTo>
                          <a:pt x="2" y="169"/>
                        </a:lnTo>
                        <a:lnTo>
                          <a:pt x="4" y="172"/>
                        </a:lnTo>
                        <a:lnTo>
                          <a:pt x="10" y="180"/>
                        </a:lnTo>
                        <a:lnTo>
                          <a:pt x="10" y="180"/>
                        </a:lnTo>
                        <a:lnTo>
                          <a:pt x="19" y="183"/>
                        </a:lnTo>
                        <a:lnTo>
                          <a:pt x="28" y="185"/>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2" name="Freeform 1723">
                    <a:extLst>
                      <a:ext uri="{FF2B5EF4-FFF2-40B4-BE49-F238E27FC236}">
                        <a16:creationId xmlns:a16="http://schemas.microsoft.com/office/drawing/2014/main" id="{E19D00F6-8BF7-4CCE-A269-3309872DC14A}"/>
                      </a:ext>
                    </a:extLst>
                  </p:cNvPr>
                  <p:cNvSpPr>
                    <a:spLocks/>
                  </p:cNvSpPr>
                  <p:nvPr/>
                </p:nvSpPr>
                <p:spPr bwMode="auto">
                  <a:xfrm>
                    <a:off x="820446" y="3726716"/>
                    <a:ext cx="97472" cy="91823"/>
                  </a:xfrm>
                  <a:custGeom>
                    <a:avLst/>
                    <a:gdLst>
                      <a:gd name="T0" fmla="*/ 70 w 83"/>
                      <a:gd name="T1" fmla="*/ 13 h 83"/>
                      <a:gd name="T2" fmla="*/ 70 w 83"/>
                      <a:gd name="T3" fmla="*/ 13 h 83"/>
                      <a:gd name="T4" fmla="*/ 65 w 83"/>
                      <a:gd name="T5" fmla="*/ 7 h 83"/>
                      <a:gd name="T6" fmla="*/ 57 w 83"/>
                      <a:gd name="T7" fmla="*/ 3 h 83"/>
                      <a:gd name="T8" fmla="*/ 50 w 83"/>
                      <a:gd name="T9" fmla="*/ 2 h 83"/>
                      <a:gd name="T10" fmla="*/ 42 w 83"/>
                      <a:gd name="T11" fmla="*/ 0 h 83"/>
                      <a:gd name="T12" fmla="*/ 42 w 83"/>
                      <a:gd name="T13" fmla="*/ 0 h 83"/>
                      <a:gd name="T14" fmla="*/ 33 w 83"/>
                      <a:gd name="T15" fmla="*/ 2 h 83"/>
                      <a:gd name="T16" fmla="*/ 26 w 83"/>
                      <a:gd name="T17" fmla="*/ 3 h 83"/>
                      <a:gd name="T18" fmla="*/ 19 w 83"/>
                      <a:gd name="T19" fmla="*/ 7 h 83"/>
                      <a:gd name="T20" fmla="*/ 13 w 83"/>
                      <a:gd name="T21" fmla="*/ 13 h 83"/>
                      <a:gd name="T22" fmla="*/ 13 w 83"/>
                      <a:gd name="T23" fmla="*/ 13 h 83"/>
                      <a:gd name="T24" fmla="*/ 8 w 83"/>
                      <a:gd name="T25" fmla="*/ 18 h 83"/>
                      <a:gd name="T26" fmla="*/ 4 w 83"/>
                      <a:gd name="T27" fmla="*/ 25 h 83"/>
                      <a:gd name="T28" fmla="*/ 2 w 83"/>
                      <a:gd name="T29" fmla="*/ 33 h 83"/>
                      <a:gd name="T30" fmla="*/ 0 w 83"/>
                      <a:gd name="T31" fmla="*/ 42 h 83"/>
                      <a:gd name="T32" fmla="*/ 0 w 83"/>
                      <a:gd name="T33" fmla="*/ 42 h 83"/>
                      <a:gd name="T34" fmla="*/ 2 w 83"/>
                      <a:gd name="T35" fmla="*/ 49 h 83"/>
                      <a:gd name="T36" fmla="*/ 4 w 83"/>
                      <a:gd name="T37" fmla="*/ 57 h 83"/>
                      <a:gd name="T38" fmla="*/ 8 w 83"/>
                      <a:gd name="T39" fmla="*/ 64 h 83"/>
                      <a:gd name="T40" fmla="*/ 13 w 83"/>
                      <a:gd name="T41" fmla="*/ 70 h 83"/>
                      <a:gd name="T42" fmla="*/ 13 w 83"/>
                      <a:gd name="T43" fmla="*/ 70 h 83"/>
                      <a:gd name="T44" fmla="*/ 19 w 83"/>
                      <a:gd name="T45" fmla="*/ 75 h 83"/>
                      <a:gd name="T46" fmla="*/ 26 w 83"/>
                      <a:gd name="T47" fmla="*/ 79 h 83"/>
                      <a:gd name="T48" fmla="*/ 33 w 83"/>
                      <a:gd name="T49" fmla="*/ 83 h 83"/>
                      <a:gd name="T50" fmla="*/ 42 w 83"/>
                      <a:gd name="T51" fmla="*/ 83 h 83"/>
                      <a:gd name="T52" fmla="*/ 42 w 83"/>
                      <a:gd name="T53" fmla="*/ 83 h 83"/>
                      <a:gd name="T54" fmla="*/ 50 w 83"/>
                      <a:gd name="T55" fmla="*/ 83 h 83"/>
                      <a:gd name="T56" fmla="*/ 57 w 83"/>
                      <a:gd name="T57" fmla="*/ 79 h 83"/>
                      <a:gd name="T58" fmla="*/ 65 w 83"/>
                      <a:gd name="T59" fmla="*/ 75 h 83"/>
                      <a:gd name="T60" fmla="*/ 70 w 83"/>
                      <a:gd name="T61" fmla="*/ 70 h 83"/>
                      <a:gd name="T62" fmla="*/ 70 w 83"/>
                      <a:gd name="T63" fmla="*/ 70 h 83"/>
                      <a:gd name="T64" fmla="*/ 76 w 83"/>
                      <a:gd name="T65" fmla="*/ 64 h 83"/>
                      <a:gd name="T66" fmla="*/ 79 w 83"/>
                      <a:gd name="T67" fmla="*/ 57 h 83"/>
                      <a:gd name="T68" fmla="*/ 83 w 83"/>
                      <a:gd name="T69" fmla="*/ 49 h 83"/>
                      <a:gd name="T70" fmla="*/ 83 w 83"/>
                      <a:gd name="T71" fmla="*/ 42 h 83"/>
                      <a:gd name="T72" fmla="*/ 83 w 83"/>
                      <a:gd name="T73" fmla="*/ 42 h 83"/>
                      <a:gd name="T74" fmla="*/ 83 w 83"/>
                      <a:gd name="T75" fmla="*/ 33 h 83"/>
                      <a:gd name="T76" fmla="*/ 79 w 83"/>
                      <a:gd name="T77" fmla="*/ 25 h 83"/>
                      <a:gd name="T78" fmla="*/ 76 w 83"/>
                      <a:gd name="T79" fmla="*/ 18 h 83"/>
                      <a:gd name="T80" fmla="*/ 70 w 83"/>
                      <a:gd name="T81" fmla="*/ 13 h 83"/>
                      <a:gd name="T82" fmla="*/ 70 w 83"/>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70" y="13"/>
                        </a:moveTo>
                        <a:lnTo>
                          <a:pt x="70" y="13"/>
                        </a:lnTo>
                        <a:lnTo>
                          <a:pt x="65" y="7"/>
                        </a:lnTo>
                        <a:lnTo>
                          <a:pt x="57" y="3"/>
                        </a:lnTo>
                        <a:lnTo>
                          <a:pt x="50" y="2"/>
                        </a:lnTo>
                        <a:lnTo>
                          <a:pt x="42" y="0"/>
                        </a:lnTo>
                        <a:lnTo>
                          <a:pt x="42" y="0"/>
                        </a:lnTo>
                        <a:lnTo>
                          <a:pt x="33" y="2"/>
                        </a:lnTo>
                        <a:lnTo>
                          <a:pt x="26" y="3"/>
                        </a:lnTo>
                        <a:lnTo>
                          <a:pt x="19" y="7"/>
                        </a:lnTo>
                        <a:lnTo>
                          <a:pt x="13" y="13"/>
                        </a:lnTo>
                        <a:lnTo>
                          <a:pt x="13" y="13"/>
                        </a:lnTo>
                        <a:lnTo>
                          <a:pt x="8" y="18"/>
                        </a:lnTo>
                        <a:lnTo>
                          <a:pt x="4" y="25"/>
                        </a:lnTo>
                        <a:lnTo>
                          <a:pt x="2" y="33"/>
                        </a:lnTo>
                        <a:lnTo>
                          <a:pt x="0" y="42"/>
                        </a:lnTo>
                        <a:lnTo>
                          <a:pt x="0" y="42"/>
                        </a:lnTo>
                        <a:lnTo>
                          <a:pt x="2" y="49"/>
                        </a:lnTo>
                        <a:lnTo>
                          <a:pt x="4" y="57"/>
                        </a:lnTo>
                        <a:lnTo>
                          <a:pt x="8" y="64"/>
                        </a:lnTo>
                        <a:lnTo>
                          <a:pt x="13" y="70"/>
                        </a:lnTo>
                        <a:lnTo>
                          <a:pt x="13" y="70"/>
                        </a:lnTo>
                        <a:lnTo>
                          <a:pt x="19" y="75"/>
                        </a:lnTo>
                        <a:lnTo>
                          <a:pt x="26" y="79"/>
                        </a:lnTo>
                        <a:lnTo>
                          <a:pt x="33" y="83"/>
                        </a:lnTo>
                        <a:lnTo>
                          <a:pt x="42" y="83"/>
                        </a:lnTo>
                        <a:lnTo>
                          <a:pt x="42" y="83"/>
                        </a:lnTo>
                        <a:lnTo>
                          <a:pt x="50" y="83"/>
                        </a:lnTo>
                        <a:lnTo>
                          <a:pt x="57" y="79"/>
                        </a:lnTo>
                        <a:lnTo>
                          <a:pt x="65" y="75"/>
                        </a:lnTo>
                        <a:lnTo>
                          <a:pt x="70" y="70"/>
                        </a:lnTo>
                        <a:lnTo>
                          <a:pt x="70" y="70"/>
                        </a:lnTo>
                        <a:lnTo>
                          <a:pt x="76" y="64"/>
                        </a:lnTo>
                        <a:lnTo>
                          <a:pt x="79" y="57"/>
                        </a:lnTo>
                        <a:lnTo>
                          <a:pt x="83" y="49"/>
                        </a:lnTo>
                        <a:lnTo>
                          <a:pt x="83" y="42"/>
                        </a:lnTo>
                        <a:lnTo>
                          <a:pt x="83" y="42"/>
                        </a:lnTo>
                        <a:lnTo>
                          <a:pt x="83" y="33"/>
                        </a:lnTo>
                        <a:lnTo>
                          <a:pt x="79" y="25"/>
                        </a:lnTo>
                        <a:lnTo>
                          <a:pt x="76" y="18"/>
                        </a:lnTo>
                        <a:lnTo>
                          <a:pt x="70" y="13"/>
                        </a:lnTo>
                        <a:lnTo>
                          <a:pt x="70" y="13"/>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3" name="Freeform 1724">
                    <a:extLst>
                      <a:ext uri="{FF2B5EF4-FFF2-40B4-BE49-F238E27FC236}">
                        <a16:creationId xmlns:a16="http://schemas.microsoft.com/office/drawing/2014/main" id="{744AC03D-FDA0-4798-9DC6-8F8DDB6D4256}"/>
                      </a:ext>
                    </a:extLst>
                  </p:cNvPr>
                  <p:cNvSpPr>
                    <a:spLocks/>
                  </p:cNvSpPr>
                  <p:nvPr/>
                </p:nvSpPr>
                <p:spPr bwMode="auto">
                  <a:xfrm>
                    <a:off x="820446" y="3726716"/>
                    <a:ext cx="97472" cy="91823"/>
                  </a:xfrm>
                  <a:custGeom>
                    <a:avLst/>
                    <a:gdLst>
                      <a:gd name="T0" fmla="*/ 83 w 83"/>
                      <a:gd name="T1" fmla="*/ 42 h 83"/>
                      <a:gd name="T2" fmla="*/ 83 w 83"/>
                      <a:gd name="T3" fmla="*/ 42 h 83"/>
                      <a:gd name="T4" fmla="*/ 83 w 83"/>
                      <a:gd name="T5" fmla="*/ 49 h 83"/>
                      <a:gd name="T6" fmla="*/ 79 w 83"/>
                      <a:gd name="T7" fmla="*/ 57 h 83"/>
                      <a:gd name="T8" fmla="*/ 76 w 83"/>
                      <a:gd name="T9" fmla="*/ 64 h 83"/>
                      <a:gd name="T10" fmla="*/ 70 w 83"/>
                      <a:gd name="T11" fmla="*/ 70 h 83"/>
                      <a:gd name="T12" fmla="*/ 70 w 83"/>
                      <a:gd name="T13" fmla="*/ 70 h 83"/>
                      <a:gd name="T14" fmla="*/ 65 w 83"/>
                      <a:gd name="T15" fmla="*/ 75 h 83"/>
                      <a:gd name="T16" fmla="*/ 57 w 83"/>
                      <a:gd name="T17" fmla="*/ 79 h 83"/>
                      <a:gd name="T18" fmla="*/ 50 w 83"/>
                      <a:gd name="T19" fmla="*/ 83 h 83"/>
                      <a:gd name="T20" fmla="*/ 42 w 83"/>
                      <a:gd name="T21" fmla="*/ 83 h 83"/>
                      <a:gd name="T22" fmla="*/ 42 w 83"/>
                      <a:gd name="T23" fmla="*/ 83 h 83"/>
                      <a:gd name="T24" fmla="*/ 33 w 83"/>
                      <a:gd name="T25" fmla="*/ 83 h 83"/>
                      <a:gd name="T26" fmla="*/ 26 w 83"/>
                      <a:gd name="T27" fmla="*/ 79 h 83"/>
                      <a:gd name="T28" fmla="*/ 19 w 83"/>
                      <a:gd name="T29" fmla="*/ 75 h 83"/>
                      <a:gd name="T30" fmla="*/ 13 w 83"/>
                      <a:gd name="T31" fmla="*/ 70 h 83"/>
                      <a:gd name="T32" fmla="*/ 13 w 83"/>
                      <a:gd name="T33" fmla="*/ 70 h 83"/>
                      <a:gd name="T34" fmla="*/ 8 w 83"/>
                      <a:gd name="T35" fmla="*/ 64 h 83"/>
                      <a:gd name="T36" fmla="*/ 4 w 83"/>
                      <a:gd name="T37" fmla="*/ 57 h 83"/>
                      <a:gd name="T38" fmla="*/ 2 w 83"/>
                      <a:gd name="T39" fmla="*/ 49 h 83"/>
                      <a:gd name="T40" fmla="*/ 0 w 83"/>
                      <a:gd name="T41" fmla="*/ 42 h 83"/>
                      <a:gd name="T42" fmla="*/ 0 w 83"/>
                      <a:gd name="T43" fmla="*/ 42 h 83"/>
                      <a:gd name="T44" fmla="*/ 2 w 83"/>
                      <a:gd name="T45" fmla="*/ 33 h 83"/>
                      <a:gd name="T46" fmla="*/ 4 w 83"/>
                      <a:gd name="T47" fmla="*/ 25 h 83"/>
                      <a:gd name="T48" fmla="*/ 8 w 83"/>
                      <a:gd name="T49" fmla="*/ 18 h 83"/>
                      <a:gd name="T50" fmla="*/ 13 w 83"/>
                      <a:gd name="T51" fmla="*/ 13 h 83"/>
                      <a:gd name="T52" fmla="*/ 13 w 83"/>
                      <a:gd name="T53" fmla="*/ 13 h 83"/>
                      <a:gd name="T54" fmla="*/ 19 w 83"/>
                      <a:gd name="T55" fmla="*/ 7 h 83"/>
                      <a:gd name="T56" fmla="*/ 26 w 83"/>
                      <a:gd name="T57" fmla="*/ 3 h 83"/>
                      <a:gd name="T58" fmla="*/ 33 w 83"/>
                      <a:gd name="T59" fmla="*/ 2 h 83"/>
                      <a:gd name="T60" fmla="*/ 42 w 83"/>
                      <a:gd name="T61" fmla="*/ 0 h 83"/>
                      <a:gd name="T62" fmla="*/ 42 w 83"/>
                      <a:gd name="T63" fmla="*/ 0 h 83"/>
                      <a:gd name="T64" fmla="*/ 50 w 83"/>
                      <a:gd name="T65" fmla="*/ 2 h 83"/>
                      <a:gd name="T66" fmla="*/ 57 w 83"/>
                      <a:gd name="T67" fmla="*/ 3 h 83"/>
                      <a:gd name="T68" fmla="*/ 65 w 83"/>
                      <a:gd name="T69" fmla="*/ 7 h 83"/>
                      <a:gd name="T70" fmla="*/ 70 w 83"/>
                      <a:gd name="T71" fmla="*/ 13 h 83"/>
                      <a:gd name="T72" fmla="*/ 70 w 83"/>
                      <a:gd name="T73" fmla="*/ 13 h 83"/>
                      <a:gd name="T74" fmla="*/ 76 w 83"/>
                      <a:gd name="T75" fmla="*/ 18 h 83"/>
                      <a:gd name="T76" fmla="*/ 79 w 83"/>
                      <a:gd name="T77" fmla="*/ 25 h 83"/>
                      <a:gd name="T78" fmla="*/ 83 w 83"/>
                      <a:gd name="T79" fmla="*/ 33 h 83"/>
                      <a:gd name="T80" fmla="*/ 83 w 83"/>
                      <a:gd name="T81" fmla="*/ 42 h 83"/>
                      <a:gd name="T82" fmla="*/ 83 w 83"/>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2"/>
                        </a:moveTo>
                        <a:lnTo>
                          <a:pt x="83" y="42"/>
                        </a:lnTo>
                        <a:lnTo>
                          <a:pt x="83" y="49"/>
                        </a:lnTo>
                        <a:lnTo>
                          <a:pt x="79" y="57"/>
                        </a:lnTo>
                        <a:lnTo>
                          <a:pt x="76" y="64"/>
                        </a:lnTo>
                        <a:lnTo>
                          <a:pt x="70" y="70"/>
                        </a:lnTo>
                        <a:lnTo>
                          <a:pt x="70" y="70"/>
                        </a:lnTo>
                        <a:lnTo>
                          <a:pt x="65" y="75"/>
                        </a:lnTo>
                        <a:lnTo>
                          <a:pt x="57" y="79"/>
                        </a:lnTo>
                        <a:lnTo>
                          <a:pt x="50" y="83"/>
                        </a:lnTo>
                        <a:lnTo>
                          <a:pt x="42" y="83"/>
                        </a:lnTo>
                        <a:lnTo>
                          <a:pt x="42" y="83"/>
                        </a:lnTo>
                        <a:lnTo>
                          <a:pt x="33" y="83"/>
                        </a:lnTo>
                        <a:lnTo>
                          <a:pt x="26" y="79"/>
                        </a:lnTo>
                        <a:lnTo>
                          <a:pt x="19" y="75"/>
                        </a:lnTo>
                        <a:lnTo>
                          <a:pt x="13" y="70"/>
                        </a:lnTo>
                        <a:lnTo>
                          <a:pt x="13" y="70"/>
                        </a:lnTo>
                        <a:lnTo>
                          <a:pt x="8" y="64"/>
                        </a:lnTo>
                        <a:lnTo>
                          <a:pt x="4" y="57"/>
                        </a:lnTo>
                        <a:lnTo>
                          <a:pt x="2" y="49"/>
                        </a:lnTo>
                        <a:lnTo>
                          <a:pt x="0" y="42"/>
                        </a:lnTo>
                        <a:lnTo>
                          <a:pt x="0" y="42"/>
                        </a:lnTo>
                        <a:lnTo>
                          <a:pt x="2" y="33"/>
                        </a:lnTo>
                        <a:lnTo>
                          <a:pt x="4" y="25"/>
                        </a:lnTo>
                        <a:lnTo>
                          <a:pt x="8" y="18"/>
                        </a:lnTo>
                        <a:lnTo>
                          <a:pt x="13" y="13"/>
                        </a:lnTo>
                        <a:lnTo>
                          <a:pt x="13" y="13"/>
                        </a:lnTo>
                        <a:lnTo>
                          <a:pt x="19" y="7"/>
                        </a:lnTo>
                        <a:lnTo>
                          <a:pt x="26" y="3"/>
                        </a:lnTo>
                        <a:lnTo>
                          <a:pt x="33" y="2"/>
                        </a:lnTo>
                        <a:lnTo>
                          <a:pt x="42" y="0"/>
                        </a:lnTo>
                        <a:lnTo>
                          <a:pt x="42" y="0"/>
                        </a:lnTo>
                        <a:lnTo>
                          <a:pt x="50" y="2"/>
                        </a:lnTo>
                        <a:lnTo>
                          <a:pt x="57" y="3"/>
                        </a:lnTo>
                        <a:lnTo>
                          <a:pt x="65" y="7"/>
                        </a:lnTo>
                        <a:lnTo>
                          <a:pt x="70" y="13"/>
                        </a:lnTo>
                        <a:lnTo>
                          <a:pt x="70" y="13"/>
                        </a:lnTo>
                        <a:lnTo>
                          <a:pt x="76" y="18"/>
                        </a:lnTo>
                        <a:lnTo>
                          <a:pt x="79" y="25"/>
                        </a:lnTo>
                        <a:lnTo>
                          <a:pt x="83" y="33"/>
                        </a:lnTo>
                        <a:lnTo>
                          <a:pt x="83" y="42"/>
                        </a:lnTo>
                        <a:lnTo>
                          <a:pt x="83"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4" name="Rectangle 1725">
                    <a:extLst>
                      <a:ext uri="{FF2B5EF4-FFF2-40B4-BE49-F238E27FC236}">
                        <a16:creationId xmlns:a16="http://schemas.microsoft.com/office/drawing/2014/main" id="{B6C18993-1059-4F67-8B7E-DEC50652093E}"/>
                      </a:ext>
                    </a:extLst>
                  </p:cNvPr>
                  <p:cNvSpPr>
                    <a:spLocks noChangeArrowheads="1"/>
                  </p:cNvSpPr>
                  <p:nvPr/>
                </p:nvSpPr>
                <p:spPr bwMode="auto">
                  <a:xfrm>
                    <a:off x="818068" y="3960809"/>
                    <a:ext cx="104603" cy="211584"/>
                  </a:xfrm>
                  <a:prstGeom prst="rect">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5" name="Freeform 1726">
                    <a:extLst>
                      <a:ext uri="{FF2B5EF4-FFF2-40B4-BE49-F238E27FC236}">
                        <a16:creationId xmlns:a16="http://schemas.microsoft.com/office/drawing/2014/main" id="{1B2B298D-74B4-471B-9A3A-787A053021A5}"/>
                      </a:ext>
                    </a:extLst>
                  </p:cNvPr>
                  <p:cNvSpPr>
                    <a:spLocks/>
                  </p:cNvSpPr>
                  <p:nvPr/>
                </p:nvSpPr>
                <p:spPr bwMode="auto">
                  <a:xfrm>
                    <a:off x="818068" y="3906629"/>
                    <a:ext cx="104603" cy="265764"/>
                  </a:xfrm>
                  <a:custGeom>
                    <a:avLst/>
                    <a:gdLst>
                      <a:gd name="T0" fmla="*/ 0 w 89"/>
                      <a:gd name="T1" fmla="*/ 0 h 272"/>
                      <a:gd name="T2" fmla="*/ 0 w 89"/>
                      <a:gd name="T3" fmla="*/ 272 h 272"/>
                      <a:gd name="T4" fmla="*/ 89 w 89"/>
                      <a:gd name="T5" fmla="*/ 272 h 272"/>
                      <a:gd name="T6" fmla="*/ 89 w 89"/>
                      <a:gd name="T7" fmla="*/ 0 h 272"/>
                    </a:gdLst>
                    <a:ahLst/>
                    <a:cxnLst>
                      <a:cxn ang="0">
                        <a:pos x="T0" y="T1"/>
                      </a:cxn>
                      <a:cxn ang="0">
                        <a:pos x="T2" y="T3"/>
                      </a:cxn>
                      <a:cxn ang="0">
                        <a:pos x="T4" y="T5"/>
                      </a:cxn>
                      <a:cxn ang="0">
                        <a:pos x="T6" y="T7"/>
                      </a:cxn>
                    </a:cxnLst>
                    <a:rect l="0" t="0" r="r" b="b"/>
                    <a:pathLst>
                      <a:path w="89" h="272">
                        <a:moveTo>
                          <a:pt x="0" y="0"/>
                        </a:moveTo>
                        <a:lnTo>
                          <a:pt x="0" y="272"/>
                        </a:lnTo>
                        <a:lnTo>
                          <a:pt x="89" y="272"/>
                        </a:lnTo>
                        <a:lnTo>
                          <a:pt x="89" y="0"/>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6" name="Line 1727">
                    <a:extLst>
                      <a:ext uri="{FF2B5EF4-FFF2-40B4-BE49-F238E27FC236}">
                        <a16:creationId xmlns:a16="http://schemas.microsoft.com/office/drawing/2014/main" id="{EF836F1A-DFD1-4368-932F-002847C8C4ED}"/>
                      </a:ext>
                    </a:extLst>
                  </p:cNvPr>
                  <p:cNvSpPr>
                    <a:spLocks noChangeShapeType="1"/>
                  </p:cNvSpPr>
                  <p:nvPr/>
                </p:nvSpPr>
                <p:spPr bwMode="auto">
                  <a:xfrm>
                    <a:off x="870370" y="4020102"/>
                    <a:ext cx="0" cy="152291"/>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299" name="Freeform 1728">
                  <a:extLst>
                    <a:ext uri="{FF2B5EF4-FFF2-40B4-BE49-F238E27FC236}">
                      <a16:creationId xmlns:a16="http://schemas.microsoft.com/office/drawing/2014/main" id="{50110010-3CC1-471E-A11A-8558AF3689C4}"/>
                    </a:ext>
                  </a:extLst>
                </p:cNvPr>
                <p:cNvSpPr>
                  <a:spLocks/>
                </p:cNvSpPr>
                <p:nvPr/>
              </p:nvSpPr>
              <p:spPr bwMode="auto">
                <a:xfrm>
                  <a:off x="4129261" y="4683656"/>
                  <a:ext cx="192468" cy="176997"/>
                </a:xfrm>
                <a:custGeom>
                  <a:avLst/>
                  <a:gdLst>
                    <a:gd name="T0" fmla="*/ 83 w 83"/>
                    <a:gd name="T1" fmla="*/ 41 h 83"/>
                    <a:gd name="T2" fmla="*/ 83 w 83"/>
                    <a:gd name="T3" fmla="*/ 41 h 83"/>
                    <a:gd name="T4" fmla="*/ 81 w 83"/>
                    <a:gd name="T5" fmla="*/ 34 h 83"/>
                    <a:gd name="T6" fmla="*/ 79 w 83"/>
                    <a:gd name="T7" fmla="*/ 24 h 83"/>
                    <a:gd name="T8" fmla="*/ 75 w 83"/>
                    <a:gd name="T9" fmla="*/ 19 h 83"/>
                    <a:gd name="T10" fmla="*/ 70 w 83"/>
                    <a:gd name="T11" fmla="*/ 11 h 83"/>
                    <a:gd name="T12" fmla="*/ 70 w 83"/>
                    <a:gd name="T13" fmla="*/ 11 h 83"/>
                    <a:gd name="T14" fmla="*/ 64 w 83"/>
                    <a:gd name="T15" fmla="*/ 6 h 83"/>
                    <a:gd name="T16" fmla="*/ 57 w 83"/>
                    <a:gd name="T17" fmla="*/ 2 h 83"/>
                    <a:gd name="T18" fmla="*/ 49 w 83"/>
                    <a:gd name="T19" fmla="*/ 0 h 83"/>
                    <a:gd name="T20" fmla="*/ 40 w 83"/>
                    <a:gd name="T21" fmla="*/ 0 h 83"/>
                    <a:gd name="T22" fmla="*/ 40 w 83"/>
                    <a:gd name="T23" fmla="*/ 0 h 83"/>
                    <a:gd name="T24" fmla="*/ 33 w 83"/>
                    <a:gd name="T25" fmla="*/ 0 h 83"/>
                    <a:gd name="T26" fmla="*/ 26 w 83"/>
                    <a:gd name="T27" fmla="*/ 2 h 83"/>
                    <a:gd name="T28" fmla="*/ 18 w 83"/>
                    <a:gd name="T29" fmla="*/ 6 h 83"/>
                    <a:gd name="T30" fmla="*/ 11 w 83"/>
                    <a:gd name="T31" fmla="*/ 11 h 83"/>
                    <a:gd name="T32" fmla="*/ 11 w 83"/>
                    <a:gd name="T33" fmla="*/ 11 h 83"/>
                    <a:gd name="T34" fmla="*/ 7 w 83"/>
                    <a:gd name="T35" fmla="*/ 19 h 83"/>
                    <a:gd name="T36" fmla="*/ 2 w 83"/>
                    <a:gd name="T37" fmla="*/ 24 h 83"/>
                    <a:gd name="T38" fmla="*/ 0 w 83"/>
                    <a:gd name="T39" fmla="*/ 34 h 83"/>
                    <a:gd name="T40" fmla="*/ 0 w 83"/>
                    <a:gd name="T41" fmla="*/ 41 h 83"/>
                    <a:gd name="T42" fmla="*/ 0 w 83"/>
                    <a:gd name="T43" fmla="*/ 41 h 83"/>
                    <a:gd name="T44" fmla="*/ 0 w 83"/>
                    <a:gd name="T45" fmla="*/ 50 h 83"/>
                    <a:gd name="T46" fmla="*/ 2 w 83"/>
                    <a:gd name="T47" fmla="*/ 57 h 83"/>
                    <a:gd name="T48" fmla="*/ 7 w 83"/>
                    <a:gd name="T49" fmla="*/ 65 h 83"/>
                    <a:gd name="T50" fmla="*/ 11 w 83"/>
                    <a:gd name="T51" fmla="*/ 70 h 83"/>
                    <a:gd name="T52" fmla="*/ 11 w 83"/>
                    <a:gd name="T53" fmla="*/ 70 h 83"/>
                    <a:gd name="T54" fmla="*/ 18 w 83"/>
                    <a:gd name="T55" fmla="*/ 76 h 83"/>
                    <a:gd name="T56" fmla="*/ 26 w 83"/>
                    <a:gd name="T57" fmla="*/ 80 h 83"/>
                    <a:gd name="T58" fmla="*/ 33 w 83"/>
                    <a:gd name="T59" fmla="*/ 81 h 83"/>
                    <a:gd name="T60" fmla="*/ 40 w 83"/>
                    <a:gd name="T61" fmla="*/ 83 h 83"/>
                    <a:gd name="T62" fmla="*/ 40 w 83"/>
                    <a:gd name="T63" fmla="*/ 83 h 83"/>
                    <a:gd name="T64" fmla="*/ 49 w 83"/>
                    <a:gd name="T65" fmla="*/ 81 h 83"/>
                    <a:gd name="T66" fmla="*/ 57 w 83"/>
                    <a:gd name="T67" fmla="*/ 80 h 83"/>
                    <a:gd name="T68" fmla="*/ 64 w 83"/>
                    <a:gd name="T69" fmla="*/ 76 h 83"/>
                    <a:gd name="T70" fmla="*/ 70 w 83"/>
                    <a:gd name="T71" fmla="*/ 70 h 83"/>
                    <a:gd name="T72" fmla="*/ 70 w 83"/>
                    <a:gd name="T73" fmla="*/ 70 h 83"/>
                    <a:gd name="T74" fmla="*/ 75 w 83"/>
                    <a:gd name="T75" fmla="*/ 65 h 83"/>
                    <a:gd name="T76" fmla="*/ 79 w 83"/>
                    <a:gd name="T77" fmla="*/ 57 h 83"/>
                    <a:gd name="T78" fmla="*/ 81 w 83"/>
                    <a:gd name="T79" fmla="*/ 50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1" y="34"/>
                      </a:lnTo>
                      <a:lnTo>
                        <a:pt x="79" y="24"/>
                      </a:lnTo>
                      <a:lnTo>
                        <a:pt x="75" y="19"/>
                      </a:lnTo>
                      <a:lnTo>
                        <a:pt x="70" y="11"/>
                      </a:lnTo>
                      <a:lnTo>
                        <a:pt x="70" y="11"/>
                      </a:lnTo>
                      <a:lnTo>
                        <a:pt x="64" y="6"/>
                      </a:lnTo>
                      <a:lnTo>
                        <a:pt x="57" y="2"/>
                      </a:lnTo>
                      <a:lnTo>
                        <a:pt x="49" y="0"/>
                      </a:lnTo>
                      <a:lnTo>
                        <a:pt x="40" y="0"/>
                      </a:lnTo>
                      <a:lnTo>
                        <a:pt x="40" y="0"/>
                      </a:lnTo>
                      <a:lnTo>
                        <a:pt x="33" y="0"/>
                      </a:lnTo>
                      <a:lnTo>
                        <a:pt x="26" y="2"/>
                      </a:lnTo>
                      <a:lnTo>
                        <a:pt x="18" y="6"/>
                      </a:lnTo>
                      <a:lnTo>
                        <a:pt x="11" y="11"/>
                      </a:lnTo>
                      <a:lnTo>
                        <a:pt x="11" y="11"/>
                      </a:lnTo>
                      <a:lnTo>
                        <a:pt x="7" y="19"/>
                      </a:lnTo>
                      <a:lnTo>
                        <a:pt x="2" y="24"/>
                      </a:lnTo>
                      <a:lnTo>
                        <a:pt x="0" y="34"/>
                      </a:lnTo>
                      <a:lnTo>
                        <a:pt x="0" y="41"/>
                      </a:lnTo>
                      <a:lnTo>
                        <a:pt x="0" y="41"/>
                      </a:lnTo>
                      <a:lnTo>
                        <a:pt x="0" y="50"/>
                      </a:lnTo>
                      <a:lnTo>
                        <a:pt x="2" y="57"/>
                      </a:lnTo>
                      <a:lnTo>
                        <a:pt x="7" y="65"/>
                      </a:lnTo>
                      <a:lnTo>
                        <a:pt x="11" y="70"/>
                      </a:lnTo>
                      <a:lnTo>
                        <a:pt x="11" y="70"/>
                      </a:lnTo>
                      <a:lnTo>
                        <a:pt x="18" y="76"/>
                      </a:lnTo>
                      <a:lnTo>
                        <a:pt x="26" y="80"/>
                      </a:lnTo>
                      <a:lnTo>
                        <a:pt x="33" y="81"/>
                      </a:lnTo>
                      <a:lnTo>
                        <a:pt x="40" y="83"/>
                      </a:lnTo>
                      <a:lnTo>
                        <a:pt x="40" y="83"/>
                      </a:lnTo>
                      <a:lnTo>
                        <a:pt x="49" y="81"/>
                      </a:lnTo>
                      <a:lnTo>
                        <a:pt x="57" y="80"/>
                      </a:lnTo>
                      <a:lnTo>
                        <a:pt x="64" y="76"/>
                      </a:lnTo>
                      <a:lnTo>
                        <a:pt x="70" y="70"/>
                      </a:lnTo>
                      <a:lnTo>
                        <a:pt x="70" y="70"/>
                      </a:lnTo>
                      <a:lnTo>
                        <a:pt x="75" y="65"/>
                      </a:lnTo>
                      <a:lnTo>
                        <a:pt x="79" y="57"/>
                      </a:lnTo>
                      <a:lnTo>
                        <a:pt x="81" y="50"/>
                      </a:lnTo>
                      <a:lnTo>
                        <a:pt x="83" y="41"/>
                      </a:lnTo>
                      <a:lnTo>
                        <a:pt x="83" y="41"/>
                      </a:lnTo>
                      <a:close/>
                    </a:path>
                  </a:pathLst>
                </a:custGeom>
                <a:solidFill>
                  <a:srgbClr val="CDD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0" name="Freeform 1729">
                  <a:extLst>
                    <a:ext uri="{FF2B5EF4-FFF2-40B4-BE49-F238E27FC236}">
                      <a16:creationId xmlns:a16="http://schemas.microsoft.com/office/drawing/2014/main" id="{0B4F203E-9C45-453D-8E5C-6BC2170E27D4}"/>
                    </a:ext>
                  </a:extLst>
                </p:cNvPr>
                <p:cNvSpPr>
                  <a:spLocks/>
                </p:cNvSpPr>
                <p:nvPr/>
              </p:nvSpPr>
              <p:spPr bwMode="auto">
                <a:xfrm>
                  <a:off x="4129261" y="4683656"/>
                  <a:ext cx="192468" cy="176997"/>
                </a:xfrm>
                <a:custGeom>
                  <a:avLst/>
                  <a:gdLst>
                    <a:gd name="T0" fmla="*/ 83 w 83"/>
                    <a:gd name="T1" fmla="*/ 41 h 83"/>
                    <a:gd name="T2" fmla="*/ 83 w 83"/>
                    <a:gd name="T3" fmla="*/ 41 h 83"/>
                    <a:gd name="T4" fmla="*/ 81 w 83"/>
                    <a:gd name="T5" fmla="*/ 50 h 83"/>
                    <a:gd name="T6" fmla="*/ 79 w 83"/>
                    <a:gd name="T7" fmla="*/ 57 h 83"/>
                    <a:gd name="T8" fmla="*/ 75 w 83"/>
                    <a:gd name="T9" fmla="*/ 65 h 83"/>
                    <a:gd name="T10" fmla="*/ 70 w 83"/>
                    <a:gd name="T11" fmla="*/ 70 h 83"/>
                    <a:gd name="T12" fmla="*/ 70 w 83"/>
                    <a:gd name="T13" fmla="*/ 70 h 83"/>
                    <a:gd name="T14" fmla="*/ 64 w 83"/>
                    <a:gd name="T15" fmla="*/ 76 h 83"/>
                    <a:gd name="T16" fmla="*/ 57 w 83"/>
                    <a:gd name="T17" fmla="*/ 80 h 83"/>
                    <a:gd name="T18" fmla="*/ 49 w 83"/>
                    <a:gd name="T19" fmla="*/ 81 h 83"/>
                    <a:gd name="T20" fmla="*/ 40 w 83"/>
                    <a:gd name="T21" fmla="*/ 83 h 83"/>
                    <a:gd name="T22" fmla="*/ 40 w 83"/>
                    <a:gd name="T23" fmla="*/ 83 h 83"/>
                    <a:gd name="T24" fmla="*/ 33 w 83"/>
                    <a:gd name="T25" fmla="*/ 81 h 83"/>
                    <a:gd name="T26" fmla="*/ 26 w 83"/>
                    <a:gd name="T27" fmla="*/ 80 h 83"/>
                    <a:gd name="T28" fmla="*/ 18 w 83"/>
                    <a:gd name="T29" fmla="*/ 76 h 83"/>
                    <a:gd name="T30" fmla="*/ 11 w 83"/>
                    <a:gd name="T31" fmla="*/ 70 h 83"/>
                    <a:gd name="T32" fmla="*/ 11 w 83"/>
                    <a:gd name="T33" fmla="*/ 70 h 83"/>
                    <a:gd name="T34" fmla="*/ 7 w 83"/>
                    <a:gd name="T35" fmla="*/ 65 h 83"/>
                    <a:gd name="T36" fmla="*/ 2 w 83"/>
                    <a:gd name="T37" fmla="*/ 57 h 83"/>
                    <a:gd name="T38" fmla="*/ 0 w 83"/>
                    <a:gd name="T39" fmla="*/ 50 h 83"/>
                    <a:gd name="T40" fmla="*/ 0 w 83"/>
                    <a:gd name="T41" fmla="*/ 41 h 83"/>
                    <a:gd name="T42" fmla="*/ 0 w 83"/>
                    <a:gd name="T43" fmla="*/ 41 h 83"/>
                    <a:gd name="T44" fmla="*/ 0 w 83"/>
                    <a:gd name="T45" fmla="*/ 34 h 83"/>
                    <a:gd name="T46" fmla="*/ 2 w 83"/>
                    <a:gd name="T47" fmla="*/ 24 h 83"/>
                    <a:gd name="T48" fmla="*/ 7 w 83"/>
                    <a:gd name="T49" fmla="*/ 19 h 83"/>
                    <a:gd name="T50" fmla="*/ 11 w 83"/>
                    <a:gd name="T51" fmla="*/ 11 h 83"/>
                    <a:gd name="T52" fmla="*/ 11 w 83"/>
                    <a:gd name="T53" fmla="*/ 11 h 83"/>
                    <a:gd name="T54" fmla="*/ 18 w 83"/>
                    <a:gd name="T55" fmla="*/ 6 h 83"/>
                    <a:gd name="T56" fmla="*/ 26 w 83"/>
                    <a:gd name="T57" fmla="*/ 2 h 83"/>
                    <a:gd name="T58" fmla="*/ 33 w 83"/>
                    <a:gd name="T59" fmla="*/ 0 h 83"/>
                    <a:gd name="T60" fmla="*/ 40 w 83"/>
                    <a:gd name="T61" fmla="*/ 0 h 83"/>
                    <a:gd name="T62" fmla="*/ 40 w 83"/>
                    <a:gd name="T63" fmla="*/ 0 h 83"/>
                    <a:gd name="T64" fmla="*/ 49 w 83"/>
                    <a:gd name="T65" fmla="*/ 0 h 83"/>
                    <a:gd name="T66" fmla="*/ 57 w 83"/>
                    <a:gd name="T67" fmla="*/ 2 h 83"/>
                    <a:gd name="T68" fmla="*/ 64 w 83"/>
                    <a:gd name="T69" fmla="*/ 6 h 83"/>
                    <a:gd name="T70" fmla="*/ 70 w 83"/>
                    <a:gd name="T71" fmla="*/ 11 h 83"/>
                    <a:gd name="T72" fmla="*/ 70 w 83"/>
                    <a:gd name="T73" fmla="*/ 11 h 83"/>
                    <a:gd name="T74" fmla="*/ 75 w 83"/>
                    <a:gd name="T75" fmla="*/ 19 h 83"/>
                    <a:gd name="T76" fmla="*/ 79 w 83"/>
                    <a:gd name="T77" fmla="*/ 24 h 83"/>
                    <a:gd name="T78" fmla="*/ 81 w 83"/>
                    <a:gd name="T79" fmla="*/ 34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1" y="50"/>
                      </a:lnTo>
                      <a:lnTo>
                        <a:pt x="79" y="57"/>
                      </a:lnTo>
                      <a:lnTo>
                        <a:pt x="75" y="65"/>
                      </a:lnTo>
                      <a:lnTo>
                        <a:pt x="70" y="70"/>
                      </a:lnTo>
                      <a:lnTo>
                        <a:pt x="70" y="70"/>
                      </a:lnTo>
                      <a:lnTo>
                        <a:pt x="64" y="76"/>
                      </a:lnTo>
                      <a:lnTo>
                        <a:pt x="57" y="80"/>
                      </a:lnTo>
                      <a:lnTo>
                        <a:pt x="49" y="81"/>
                      </a:lnTo>
                      <a:lnTo>
                        <a:pt x="40" y="83"/>
                      </a:lnTo>
                      <a:lnTo>
                        <a:pt x="40" y="83"/>
                      </a:lnTo>
                      <a:lnTo>
                        <a:pt x="33" y="81"/>
                      </a:lnTo>
                      <a:lnTo>
                        <a:pt x="26" y="80"/>
                      </a:lnTo>
                      <a:lnTo>
                        <a:pt x="18" y="76"/>
                      </a:lnTo>
                      <a:lnTo>
                        <a:pt x="11" y="70"/>
                      </a:lnTo>
                      <a:lnTo>
                        <a:pt x="11" y="70"/>
                      </a:lnTo>
                      <a:lnTo>
                        <a:pt x="7" y="65"/>
                      </a:lnTo>
                      <a:lnTo>
                        <a:pt x="2" y="57"/>
                      </a:lnTo>
                      <a:lnTo>
                        <a:pt x="0" y="50"/>
                      </a:lnTo>
                      <a:lnTo>
                        <a:pt x="0" y="41"/>
                      </a:lnTo>
                      <a:lnTo>
                        <a:pt x="0" y="41"/>
                      </a:lnTo>
                      <a:lnTo>
                        <a:pt x="0" y="34"/>
                      </a:lnTo>
                      <a:lnTo>
                        <a:pt x="2" y="24"/>
                      </a:lnTo>
                      <a:lnTo>
                        <a:pt x="7" y="19"/>
                      </a:lnTo>
                      <a:lnTo>
                        <a:pt x="11" y="11"/>
                      </a:lnTo>
                      <a:lnTo>
                        <a:pt x="11" y="11"/>
                      </a:lnTo>
                      <a:lnTo>
                        <a:pt x="18" y="6"/>
                      </a:lnTo>
                      <a:lnTo>
                        <a:pt x="26" y="2"/>
                      </a:lnTo>
                      <a:lnTo>
                        <a:pt x="33" y="0"/>
                      </a:lnTo>
                      <a:lnTo>
                        <a:pt x="40" y="0"/>
                      </a:lnTo>
                      <a:lnTo>
                        <a:pt x="40" y="0"/>
                      </a:lnTo>
                      <a:lnTo>
                        <a:pt x="49" y="0"/>
                      </a:lnTo>
                      <a:lnTo>
                        <a:pt x="57" y="2"/>
                      </a:lnTo>
                      <a:lnTo>
                        <a:pt x="64" y="6"/>
                      </a:lnTo>
                      <a:lnTo>
                        <a:pt x="70" y="11"/>
                      </a:lnTo>
                      <a:lnTo>
                        <a:pt x="70" y="11"/>
                      </a:lnTo>
                      <a:lnTo>
                        <a:pt x="75" y="19"/>
                      </a:lnTo>
                      <a:lnTo>
                        <a:pt x="79" y="24"/>
                      </a:lnTo>
                      <a:lnTo>
                        <a:pt x="81" y="34"/>
                      </a:lnTo>
                      <a:lnTo>
                        <a:pt x="83" y="41"/>
                      </a:lnTo>
                      <a:lnTo>
                        <a:pt x="83" y="41"/>
                      </a:lnTo>
                      <a:close/>
                    </a:path>
                  </a:pathLst>
                </a:custGeom>
                <a:noFill/>
                <a:ln w="17463">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1" name="Freeform 1730">
                  <a:extLst>
                    <a:ext uri="{FF2B5EF4-FFF2-40B4-BE49-F238E27FC236}">
                      <a16:creationId xmlns:a16="http://schemas.microsoft.com/office/drawing/2014/main" id="{63390B24-AACD-4995-843A-1488C5D1AED0}"/>
                    </a:ext>
                  </a:extLst>
                </p:cNvPr>
                <p:cNvSpPr>
                  <a:spLocks/>
                </p:cNvSpPr>
                <p:nvPr/>
              </p:nvSpPr>
              <p:spPr bwMode="auto">
                <a:xfrm>
                  <a:off x="3776404" y="4683656"/>
                  <a:ext cx="192468" cy="176997"/>
                </a:xfrm>
                <a:custGeom>
                  <a:avLst/>
                  <a:gdLst>
                    <a:gd name="T0" fmla="*/ 13 w 83"/>
                    <a:gd name="T1" fmla="*/ 11 h 83"/>
                    <a:gd name="T2" fmla="*/ 13 w 83"/>
                    <a:gd name="T3" fmla="*/ 11 h 83"/>
                    <a:gd name="T4" fmla="*/ 8 w 83"/>
                    <a:gd name="T5" fmla="*/ 19 h 83"/>
                    <a:gd name="T6" fmla="*/ 4 w 83"/>
                    <a:gd name="T7" fmla="*/ 24 h 83"/>
                    <a:gd name="T8" fmla="*/ 2 w 83"/>
                    <a:gd name="T9" fmla="*/ 34 h 83"/>
                    <a:gd name="T10" fmla="*/ 0 w 83"/>
                    <a:gd name="T11" fmla="*/ 41 h 83"/>
                    <a:gd name="T12" fmla="*/ 0 w 83"/>
                    <a:gd name="T13" fmla="*/ 41 h 83"/>
                    <a:gd name="T14" fmla="*/ 2 w 83"/>
                    <a:gd name="T15" fmla="*/ 50 h 83"/>
                    <a:gd name="T16" fmla="*/ 4 w 83"/>
                    <a:gd name="T17" fmla="*/ 57 h 83"/>
                    <a:gd name="T18" fmla="*/ 8 w 83"/>
                    <a:gd name="T19" fmla="*/ 65 h 83"/>
                    <a:gd name="T20" fmla="*/ 13 w 83"/>
                    <a:gd name="T21" fmla="*/ 70 h 83"/>
                    <a:gd name="T22" fmla="*/ 13 w 83"/>
                    <a:gd name="T23" fmla="*/ 70 h 83"/>
                    <a:gd name="T24" fmla="*/ 19 w 83"/>
                    <a:gd name="T25" fmla="*/ 76 h 83"/>
                    <a:gd name="T26" fmla="*/ 26 w 83"/>
                    <a:gd name="T27" fmla="*/ 80 h 83"/>
                    <a:gd name="T28" fmla="*/ 33 w 83"/>
                    <a:gd name="T29" fmla="*/ 81 h 83"/>
                    <a:gd name="T30" fmla="*/ 43 w 83"/>
                    <a:gd name="T31" fmla="*/ 83 h 83"/>
                    <a:gd name="T32" fmla="*/ 43 w 83"/>
                    <a:gd name="T33" fmla="*/ 83 h 83"/>
                    <a:gd name="T34" fmla="*/ 50 w 83"/>
                    <a:gd name="T35" fmla="*/ 81 h 83"/>
                    <a:gd name="T36" fmla="*/ 57 w 83"/>
                    <a:gd name="T37" fmla="*/ 80 h 83"/>
                    <a:gd name="T38" fmla="*/ 65 w 83"/>
                    <a:gd name="T39" fmla="*/ 76 h 83"/>
                    <a:gd name="T40" fmla="*/ 72 w 83"/>
                    <a:gd name="T41" fmla="*/ 70 h 83"/>
                    <a:gd name="T42" fmla="*/ 72 w 83"/>
                    <a:gd name="T43" fmla="*/ 70 h 83"/>
                    <a:gd name="T44" fmla="*/ 76 w 83"/>
                    <a:gd name="T45" fmla="*/ 65 h 83"/>
                    <a:gd name="T46" fmla="*/ 81 w 83"/>
                    <a:gd name="T47" fmla="*/ 57 h 83"/>
                    <a:gd name="T48" fmla="*/ 83 w 83"/>
                    <a:gd name="T49" fmla="*/ 50 h 83"/>
                    <a:gd name="T50" fmla="*/ 83 w 83"/>
                    <a:gd name="T51" fmla="*/ 41 h 83"/>
                    <a:gd name="T52" fmla="*/ 83 w 83"/>
                    <a:gd name="T53" fmla="*/ 41 h 83"/>
                    <a:gd name="T54" fmla="*/ 83 w 83"/>
                    <a:gd name="T55" fmla="*/ 34 h 83"/>
                    <a:gd name="T56" fmla="*/ 81 w 83"/>
                    <a:gd name="T57" fmla="*/ 26 h 83"/>
                    <a:gd name="T58" fmla="*/ 76 w 83"/>
                    <a:gd name="T59" fmla="*/ 19 h 83"/>
                    <a:gd name="T60" fmla="*/ 72 w 83"/>
                    <a:gd name="T61" fmla="*/ 11 h 83"/>
                    <a:gd name="T62" fmla="*/ 72 w 83"/>
                    <a:gd name="T63" fmla="*/ 11 h 83"/>
                    <a:gd name="T64" fmla="*/ 65 w 83"/>
                    <a:gd name="T65" fmla="*/ 6 h 83"/>
                    <a:gd name="T66" fmla="*/ 57 w 83"/>
                    <a:gd name="T67" fmla="*/ 2 h 83"/>
                    <a:gd name="T68" fmla="*/ 50 w 83"/>
                    <a:gd name="T69" fmla="*/ 0 h 83"/>
                    <a:gd name="T70" fmla="*/ 43 w 83"/>
                    <a:gd name="T71" fmla="*/ 0 h 83"/>
                    <a:gd name="T72" fmla="*/ 43 w 83"/>
                    <a:gd name="T73" fmla="*/ 0 h 83"/>
                    <a:gd name="T74" fmla="*/ 33 w 83"/>
                    <a:gd name="T75" fmla="*/ 0 h 83"/>
                    <a:gd name="T76" fmla="*/ 26 w 83"/>
                    <a:gd name="T77" fmla="*/ 2 h 83"/>
                    <a:gd name="T78" fmla="*/ 19 w 83"/>
                    <a:gd name="T79" fmla="*/ 6 h 83"/>
                    <a:gd name="T80" fmla="*/ 13 w 83"/>
                    <a:gd name="T81" fmla="*/ 11 h 83"/>
                    <a:gd name="T82" fmla="*/ 13 w 83"/>
                    <a:gd name="T83" fmla="*/ 1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13" y="11"/>
                      </a:moveTo>
                      <a:lnTo>
                        <a:pt x="13" y="11"/>
                      </a:lnTo>
                      <a:lnTo>
                        <a:pt x="8" y="19"/>
                      </a:lnTo>
                      <a:lnTo>
                        <a:pt x="4" y="24"/>
                      </a:lnTo>
                      <a:lnTo>
                        <a:pt x="2" y="34"/>
                      </a:lnTo>
                      <a:lnTo>
                        <a:pt x="0" y="41"/>
                      </a:lnTo>
                      <a:lnTo>
                        <a:pt x="0" y="41"/>
                      </a:lnTo>
                      <a:lnTo>
                        <a:pt x="2" y="50"/>
                      </a:lnTo>
                      <a:lnTo>
                        <a:pt x="4" y="57"/>
                      </a:lnTo>
                      <a:lnTo>
                        <a:pt x="8" y="65"/>
                      </a:lnTo>
                      <a:lnTo>
                        <a:pt x="13" y="70"/>
                      </a:lnTo>
                      <a:lnTo>
                        <a:pt x="13" y="70"/>
                      </a:lnTo>
                      <a:lnTo>
                        <a:pt x="19" y="76"/>
                      </a:lnTo>
                      <a:lnTo>
                        <a:pt x="26" y="80"/>
                      </a:lnTo>
                      <a:lnTo>
                        <a:pt x="33" y="81"/>
                      </a:lnTo>
                      <a:lnTo>
                        <a:pt x="43" y="83"/>
                      </a:lnTo>
                      <a:lnTo>
                        <a:pt x="43" y="83"/>
                      </a:lnTo>
                      <a:lnTo>
                        <a:pt x="50" y="81"/>
                      </a:lnTo>
                      <a:lnTo>
                        <a:pt x="57" y="80"/>
                      </a:lnTo>
                      <a:lnTo>
                        <a:pt x="65" y="76"/>
                      </a:lnTo>
                      <a:lnTo>
                        <a:pt x="72" y="70"/>
                      </a:lnTo>
                      <a:lnTo>
                        <a:pt x="72" y="70"/>
                      </a:lnTo>
                      <a:lnTo>
                        <a:pt x="76" y="65"/>
                      </a:lnTo>
                      <a:lnTo>
                        <a:pt x="81" y="57"/>
                      </a:lnTo>
                      <a:lnTo>
                        <a:pt x="83" y="50"/>
                      </a:lnTo>
                      <a:lnTo>
                        <a:pt x="83" y="41"/>
                      </a:lnTo>
                      <a:lnTo>
                        <a:pt x="83" y="41"/>
                      </a:lnTo>
                      <a:lnTo>
                        <a:pt x="83" y="34"/>
                      </a:lnTo>
                      <a:lnTo>
                        <a:pt x="81" y="26"/>
                      </a:lnTo>
                      <a:lnTo>
                        <a:pt x="76" y="19"/>
                      </a:lnTo>
                      <a:lnTo>
                        <a:pt x="72" y="11"/>
                      </a:lnTo>
                      <a:lnTo>
                        <a:pt x="72" y="11"/>
                      </a:lnTo>
                      <a:lnTo>
                        <a:pt x="65" y="6"/>
                      </a:lnTo>
                      <a:lnTo>
                        <a:pt x="57" y="2"/>
                      </a:lnTo>
                      <a:lnTo>
                        <a:pt x="50" y="0"/>
                      </a:lnTo>
                      <a:lnTo>
                        <a:pt x="43" y="0"/>
                      </a:lnTo>
                      <a:lnTo>
                        <a:pt x="43" y="0"/>
                      </a:lnTo>
                      <a:lnTo>
                        <a:pt x="33" y="0"/>
                      </a:lnTo>
                      <a:lnTo>
                        <a:pt x="26" y="2"/>
                      </a:lnTo>
                      <a:lnTo>
                        <a:pt x="19" y="6"/>
                      </a:lnTo>
                      <a:lnTo>
                        <a:pt x="13" y="11"/>
                      </a:lnTo>
                      <a:lnTo>
                        <a:pt x="13"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2" name="Freeform 1731">
                  <a:extLst>
                    <a:ext uri="{FF2B5EF4-FFF2-40B4-BE49-F238E27FC236}">
                      <a16:creationId xmlns:a16="http://schemas.microsoft.com/office/drawing/2014/main" id="{47B8B43D-490F-4447-A23E-2751150632B1}"/>
                    </a:ext>
                  </a:extLst>
                </p:cNvPr>
                <p:cNvSpPr>
                  <a:spLocks/>
                </p:cNvSpPr>
                <p:nvPr/>
              </p:nvSpPr>
              <p:spPr bwMode="auto">
                <a:xfrm>
                  <a:off x="3776404" y="4683656"/>
                  <a:ext cx="192468" cy="176997"/>
                </a:xfrm>
                <a:custGeom>
                  <a:avLst/>
                  <a:gdLst>
                    <a:gd name="T0" fmla="*/ 83 w 83"/>
                    <a:gd name="T1" fmla="*/ 41 h 83"/>
                    <a:gd name="T2" fmla="*/ 83 w 83"/>
                    <a:gd name="T3" fmla="*/ 41 h 83"/>
                    <a:gd name="T4" fmla="*/ 83 w 83"/>
                    <a:gd name="T5" fmla="*/ 50 h 83"/>
                    <a:gd name="T6" fmla="*/ 81 w 83"/>
                    <a:gd name="T7" fmla="*/ 57 h 83"/>
                    <a:gd name="T8" fmla="*/ 76 w 83"/>
                    <a:gd name="T9" fmla="*/ 65 h 83"/>
                    <a:gd name="T10" fmla="*/ 72 w 83"/>
                    <a:gd name="T11" fmla="*/ 70 h 83"/>
                    <a:gd name="T12" fmla="*/ 72 w 83"/>
                    <a:gd name="T13" fmla="*/ 70 h 83"/>
                    <a:gd name="T14" fmla="*/ 65 w 83"/>
                    <a:gd name="T15" fmla="*/ 76 h 83"/>
                    <a:gd name="T16" fmla="*/ 57 w 83"/>
                    <a:gd name="T17" fmla="*/ 80 h 83"/>
                    <a:gd name="T18" fmla="*/ 50 w 83"/>
                    <a:gd name="T19" fmla="*/ 81 h 83"/>
                    <a:gd name="T20" fmla="*/ 43 w 83"/>
                    <a:gd name="T21" fmla="*/ 83 h 83"/>
                    <a:gd name="T22" fmla="*/ 43 w 83"/>
                    <a:gd name="T23" fmla="*/ 83 h 83"/>
                    <a:gd name="T24" fmla="*/ 33 w 83"/>
                    <a:gd name="T25" fmla="*/ 81 h 83"/>
                    <a:gd name="T26" fmla="*/ 26 w 83"/>
                    <a:gd name="T27" fmla="*/ 80 h 83"/>
                    <a:gd name="T28" fmla="*/ 19 w 83"/>
                    <a:gd name="T29" fmla="*/ 76 h 83"/>
                    <a:gd name="T30" fmla="*/ 13 w 83"/>
                    <a:gd name="T31" fmla="*/ 70 h 83"/>
                    <a:gd name="T32" fmla="*/ 13 w 83"/>
                    <a:gd name="T33" fmla="*/ 70 h 83"/>
                    <a:gd name="T34" fmla="*/ 8 w 83"/>
                    <a:gd name="T35" fmla="*/ 65 h 83"/>
                    <a:gd name="T36" fmla="*/ 4 w 83"/>
                    <a:gd name="T37" fmla="*/ 57 h 83"/>
                    <a:gd name="T38" fmla="*/ 2 w 83"/>
                    <a:gd name="T39" fmla="*/ 50 h 83"/>
                    <a:gd name="T40" fmla="*/ 0 w 83"/>
                    <a:gd name="T41" fmla="*/ 41 h 83"/>
                    <a:gd name="T42" fmla="*/ 0 w 83"/>
                    <a:gd name="T43" fmla="*/ 41 h 83"/>
                    <a:gd name="T44" fmla="*/ 2 w 83"/>
                    <a:gd name="T45" fmla="*/ 34 h 83"/>
                    <a:gd name="T46" fmla="*/ 4 w 83"/>
                    <a:gd name="T47" fmla="*/ 24 h 83"/>
                    <a:gd name="T48" fmla="*/ 8 w 83"/>
                    <a:gd name="T49" fmla="*/ 19 h 83"/>
                    <a:gd name="T50" fmla="*/ 13 w 83"/>
                    <a:gd name="T51" fmla="*/ 11 h 83"/>
                    <a:gd name="T52" fmla="*/ 13 w 83"/>
                    <a:gd name="T53" fmla="*/ 11 h 83"/>
                    <a:gd name="T54" fmla="*/ 19 w 83"/>
                    <a:gd name="T55" fmla="*/ 6 h 83"/>
                    <a:gd name="T56" fmla="*/ 26 w 83"/>
                    <a:gd name="T57" fmla="*/ 2 h 83"/>
                    <a:gd name="T58" fmla="*/ 33 w 83"/>
                    <a:gd name="T59" fmla="*/ 0 h 83"/>
                    <a:gd name="T60" fmla="*/ 43 w 83"/>
                    <a:gd name="T61" fmla="*/ 0 h 83"/>
                    <a:gd name="T62" fmla="*/ 43 w 83"/>
                    <a:gd name="T63" fmla="*/ 0 h 83"/>
                    <a:gd name="T64" fmla="*/ 50 w 83"/>
                    <a:gd name="T65" fmla="*/ 0 h 83"/>
                    <a:gd name="T66" fmla="*/ 57 w 83"/>
                    <a:gd name="T67" fmla="*/ 2 h 83"/>
                    <a:gd name="T68" fmla="*/ 65 w 83"/>
                    <a:gd name="T69" fmla="*/ 6 h 83"/>
                    <a:gd name="T70" fmla="*/ 72 w 83"/>
                    <a:gd name="T71" fmla="*/ 11 h 83"/>
                    <a:gd name="T72" fmla="*/ 72 w 83"/>
                    <a:gd name="T73" fmla="*/ 11 h 83"/>
                    <a:gd name="T74" fmla="*/ 76 w 83"/>
                    <a:gd name="T75" fmla="*/ 19 h 83"/>
                    <a:gd name="T76" fmla="*/ 81 w 83"/>
                    <a:gd name="T77" fmla="*/ 26 h 83"/>
                    <a:gd name="T78" fmla="*/ 83 w 83"/>
                    <a:gd name="T79" fmla="*/ 34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3" y="50"/>
                      </a:lnTo>
                      <a:lnTo>
                        <a:pt x="81" y="57"/>
                      </a:lnTo>
                      <a:lnTo>
                        <a:pt x="76" y="65"/>
                      </a:lnTo>
                      <a:lnTo>
                        <a:pt x="72" y="70"/>
                      </a:lnTo>
                      <a:lnTo>
                        <a:pt x="72" y="70"/>
                      </a:lnTo>
                      <a:lnTo>
                        <a:pt x="65" y="76"/>
                      </a:lnTo>
                      <a:lnTo>
                        <a:pt x="57" y="80"/>
                      </a:lnTo>
                      <a:lnTo>
                        <a:pt x="50" y="81"/>
                      </a:lnTo>
                      <a:lnTo>
                        <a:pt x="43" y="83"/>
                      </a:lnTo>
                      <a:lnTo>
                        <a:pt x="43" y="83"/>
                      </a:lnTo>
                      <a:lnTo>
                        <a:pt x="33" y="81"/>
                      </a:lnTo>
                      <a:lnTo>
                        <a:pt x="26" y="80"/>
                      </a:lnTo>
                      <a:lnTo>
                        <a:pt x="19" y="76"/>
                      </a:lnTo>
                      <a:lnTo>
                        <a:pt x="13" y="70"/>
                      </a:lnTo>
                      <a:lnTo>
                        <a:pt x="13" y="70"/>
                      </a:lnTo>
                      <a:lnTo>
                        <a:pt x="8" y="65"/>
                      </a:lnTo>
                      <a:lnTo>
                        <a:pt x="4" y="57"/>
                      </a:lnTo>
                      <a:lnTo>
                        <a:pt x="2" y="50"/>
                      </a:lnTo>
                      <a:lnTo>
                        <a:pt x="0" y="41"/>
                      </a:lnTo>
                      <a:lnTo>
                        <a:pt x="0" y="41"/>
                      </a:lnTo>
                      <a:lnTo>
                        <a:pt x="2" y="34"/>
                      </a:lnTo>
                      <a:lnTo>
                        <a:pt x="4" y="24"/>
                      </a:lnTo>
                      <a:lnTo>
                        <a:pt x="8" y="19"/>
                      </a:lnTo>
                      <a:lnTo>
                        <a:pt x="13" y="11"/>
                      </a:lnTo>
                      <a:lnTo>
                        <a:pt x="13" y="11"/>
                      </a:lnTo>
                      <a:lnTo>
                        <a:pt x="19" y="6"/>
                      </a:lnTo>
                      <a:lnTo>
                        <a:pt x="26" y="2"/>
                      </a:lnTo>
                      <a:lnTo>
                        <a:pt x="33" y="0"/>
                      </a:lnTo>
                      <a:lnTo>
                        <a:pt x="43" y="0"/>
                      </a:lnTo>
                      <a:lnTo>
                        <a:pt x="43" y="0"/>
                      </a:lnTo>
                      <a:lnTo>
                        <a:pt x="50" y="0"/>
                      </a:lnTo>
                      <a:lnTo>
                        <a:pt x="57" y="2"/>
                      </a:lnTo>
                      <a:lnTo>
                        <a:pt x="65" y="6"/>
                      </a:lnTo>
                      <a:lnTo>
                        <a:pt x="72" y="11"/>
                      </a:lnTo>
                      <a:lnTo>
                        <a:pt x="72" y="11"/>
                      </a:lnTo>
                      <a:lnTo>
                        <a:pt x="76" y="19"/>
                      </a:lnTo>
                      <a:lnTo>
                        <a:pt x="81" y="26"/>
                      </a:lnTo>
                      <a:lnTo>
                        <a:pt x="83" y="34"/>
                      </a:lnTo>
                      <a:lnTo>
                        <a:pt x="83" y="41"/>
                      </a:lnTo>
                      <a:lnTo>
                        <a:pt x="83" y="41"/>
                      </a:lnTo>
                      <a:close/>
                    </a:path>
                  </a:pathLst>
                </a:custGeom>
                <a:solidFill>
                  <a:srgbClr val="CDD5D7"/>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3" name="Freeform 1706">
                  <a:extLst>
                    <a:ext uri="{FF2B5EF4-FFF2-40B4-BE49-F238E27FC236}">
                      <a16:creationId xmlns:a16="http://schemas.microsoft.com/office/drawing/2014/main" id="{59AB95EF-B2CF-4288-9098-0C59937842BE}"/>
                    </a:ext>
                  </a:extLst>
                </p:cNvPr>
                <p:cNvSpPr>
                  <a:spLocks/>
                </p:cNvSpPr>
                <p:nvPr/>
              </p:nvSpPr>
              <p:spPr bwMode="auto">
                <a:xfrm>
                  <a:off x="4220914" y="5050602"/>
                  <a:ext cx="352857" cy="401481"/>
                </a:xfrm>
                <a:custGeom>
                  <a:avLst/>
                  <a:gdLst>
                    <a:gd name="T0" fmla="*/ 26 w 155"/>
                    <a:gd name="T1" fmla="*/ 185 h 185"/>
                    <a:gd name="T2" fmla="*/ 129 w 155"/>
                    <a:gd name="T3" fmla="*/ 185 h 185"/>
                    <a:gd name="T4" fmla="*/ 129 w 155"/>
                    <a:gd name="T5" fmla="*/ 185 h 185"/>
                    <a:gd name="T6" fmla="*/ 138 w 155"/>
                    <a:gd name="T7" fmla="*/ 183 h 185"/>
                    <a:gd name="T8" fmla="*/ 146 w 155"/>
                    <a:gd name="T9" fmla="*/ 180 h 185"/>
                    <a:gd name="T10" fmla="*/ 146 w 155"/>
                    <a:gd name="T11" fmla="*/ 180 h 185"/>
                    <a:gd name="T12" fmla="*/ 153 w 155"/>
                    <a:gd name="T13" fmla="*/ 172 h 185"/>
                    <a:gd name="T14" fmla="*/ 155 w 155"/>
                    <a:gd name="T15" fmla="*/ 169 h 185"/>
                    <a:gd name="T16" fmla="*/ 155 w 155"/>
                    <a:gd name="T17" fmla="*/ 165 h 185"/>
                    <a:gd name="T18" fmla="*/ 155 w 155"/>
                    <a:gd name="T19" fmla="*/ 36 h 185"/>
                    <a:gd name="T20" fmla="*/ 155 w 155"/>
                    <a:gd name="T21" fmla="*/ 36 h 185"/>
                    <a:gd name="T22" fmla="*/ 155 w 155"/>
                    <a:gd name="T23" fmla="*/ 27 h 185"/>
                    <a:gd name="T24" fmla="*/ 149 w 155"/>
                    <a:gd name="T25" fmla="*/ 20 h 185"/>
                    <a:gd name="T26" fmla="*/ 149 w 155"/>
                    <a:gd name="T27" fmla="*/ 20 h 185"/>
                    <a:gd name="T28" fmla="*/ 144 w 155"/>
                    <a:gd name="T29" fmla="*/ 12 h 185"/>
                    <a:gd name="T30" fmla="*/ 137 w 155"/>
                    <a:gd name="T31" fmla="*/ 9 h 185"/>
                    <a:gd name="T32" fmla="*/ 137 w 155"/>
                    <a:gd name="T33" fmla="*/ 9 h 185"/>
                    <a:gd name="T34" fmla="*/ 122 w 155"/>
                    <a:gd name="T35" fmla="*/ 5 h 185"/>
                    <a:gd name="T36" fmla="*/ 107 w 155"/>
                    <a:gd name="T37" fmla="*/ 1 h 185"/>
                    <a:gd name="T38" fmla="*/ 92 w 155"/>
                    <a:gd name="T39" fmla="*/ 0 h 185"/>
                    <a:gd name="T40" fmla="*/ 78 w 155"/>
                    <a:gd name="T41" fmla="*/ 0 h 185"/>
                    <a:gd name="T42" fmla="*/ 63 w 155"/>
                    <a:gd name="T43" fmla="*/ 0 h 185"/>
                    <a:gd name="T44" fmla="*/ 48 w 155"/>
                    <a:gd name="T45" fmla="*/ 1 h 185"/>
                    <a:gd name="T46" fmla="*/ 34 w 155"/>
                    <a:gd name="T47" fmla="*/ 5 h 185"/>
                    <a:gd name="T48" fmla="*/ 21 w 155"/>
                    <a:gd name="T49" fmla="*/ 9 h 185"/>
                    <a:gd name="T50" fmla="*/ 21 w 155"/>
                    <a:gd name="T51" fmla="*/ 9 h 185"/>
                    <a:gd name="T52" fmla="*/ 13 w 155"/>
                    <a:gd name="T53" fmla="*/ 12 h 185"/>
                    <a:gd name="T54" fmla="*/ 6 w 155"/>
                    <a:gd name="T55" fmla="*/ 20 h 185"/>
                    <a:gd name="T56" fmla="*/ 6 w 155"/>
                    <a:gd name="T57" fmla="*/ 20 h 185"/>
                    <a:gd name="T58" fmla="*/ 2 w 155"/>
                    <a:gd name="T59" fmla="*/ 27 h 185"/>
                    <a:gd name="T60" fmla="*/ 0 w 155"/>
                    <a:gd name="T61" fmla="*/ 36 h 185"/>
                    <a:gd name="T62" fmla="*/ 0 w 155"/>
                    <a:gd name="T63" fmla="*/ 165 h 185"/>
                    <a:gd name="T64" fmla="*/ 0 w 155"/>
                    <a:gd name="T65" fmla="*/ 165 h 185"/>
                    <a:gd name="T66" fmla="*/ 0 w 155"/>
                    <a:gd name="T67" fmla="*/ 169 h 185"/>
                    <a:gd name="T68" fmla="*/ 2 w 155"/>
                    <a:gd name="T69" fmla="*/ 172 h 185"/>
                    <a:gd name="T70" fmla="*/ 10 w 155"/>
                    <a:gd name="T71" fmla="*/ 180 h 185"/>
                    <a:gd name="T72" fmla="*/ 10 w 155"/>
                    <a:gd name="T73" fmla="*/ 180 h 185"/>
                    <a:gd name="T74" fmla="*/ 19 w 155"/>
                    <a:gd name="T75" fmla="*/ 183 h 185"/>
                    <a:gd name="T76" fmla="*/ 26 w 155"/>
                    <a:gd name="T77" fmla="*/ 185 h 185"/>
                    <a:gd name="T78" fmla="*/ 26 w 155"/>
                    <a:gd name="T7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85">
                      <a:moveTo>
                        <a:pt x="26" y="185"/>
                      </a:moveTo>
                      <a:lnTo>
                        <a:pt x="129" y="185"/>
                      </a:lnTo>
                      <a:lnTo>
                        <a:pt x="129" y="185"/>
                      </a:lnTo>
                      <a:lnTo>
                        <a:pt x="138" y="183"/>
                      </a:lnTo>
                      <a:lnTo>
                        <a:pt x="146" y="180"/>
                      </a:lnTo>
                      <a:lnTo>
                        <a:pt x="146" y="180"/>
                      </a:lnTo>
                      <a:lnTo>
                        <a:pt x="153" y="172"/>
                      </a:lnTo>
                      <a:lnTo>
                        <a:pt x="155" y="169"/>
                      </a:lnTo>
                      <a:lnTo>
                        <a:pt x="155" y="165"/>
                      </a:lnTo>
                      <a:lnTo>
                        <a:pt x="155" y="36"/>
                      </a:lnTo>
                      <a:lnTo>
                        <a:pt x="155" y="36"/>
                      </a:lnTo>
                      <a:lnTo>
                        <a:pt x="155" y="27"/>
                      </a:lnTo>
                      <a:lnTo>
                        <a:pt x="149" y="20"/>
                      </a:lnTo>
                      <a:lnTo>
                        <a:pt x="149" y="20"/>
                      </a:lnTo>
                      <a:lnTo>
                        <a:pt x="144" y="12"/>
                      </a:lnTo>
                      <a:lnTo>
                        <a:pt x="137" y="9"/>
                      </a:lnTo>
                      <a:lnTo>
                        <a:pt x="137" y="9"/>
                      </a:lnTo>
                      <a:lnTo>
                        <a:pt x="122" y="5"/>
                      </a:lnTo>
                      <a:lnTo>
                        <a:pt x="107" y="1"/>
                      </a:lnTo>
                      <a:lnTo>
                        <a:pt x="92" y="0"/>
                      </a:lnTo>
                      <a:lnTo>
                        <a:pt x="78" y="0"/>
                      </a:lnTo>
                      <a:lnTo>
                        <a:pt x="63" y="0"/>
                      </a:lnTo>
                      <a:lnTo>
                        <a:pt x="48" y="1"/>
                      </a:lnTo>
                      <a:lnTo>
                        <a:pt x="34" y="5"/>
                      </a:lnTo>
                      <a:lnTo>
                        <a:pt x="21" y="9"/>
                      </a:lnTo>
                      <a:lnTo>
                        <a:pt x="21" y="9"/>
                      </a:lnTo>
                      <a:lnTo>
                        <a:pt x="13" y="12"/>
                      </a:lnTo>
                      <a:lnTo>
                        <a:pt x="6" y="20"/>
                      </a:lnTo>
                      <a:lnTo>
                        <a:pt x="6" y="20"/>
                      </a:lnTo>
                      <a:lnTo>
                        <a:pt x="2" y="27"/>
                      </a:lnTo>
                      <a:lnTo>
                        <a:pt x="0" y="36"/>
                      </a:lnTo>
                      <a:lnTo>
                        <a:pt x="0" y="165"/>
                      </a:lnTo>
                      <a:lnTo>
                        <a:pt x="0" y="165"/>
                      </a:lnTo>
                      <a:lnTo>
                        <a:pt x="0" y="169"/>
                      </a:lnTo>
                      <a:lnTo>
                        <a:pt x="2" y="172"/>
                      </a:lnTo>
                      <a:lnTo>
                        <a:pt x="10" y="180"/>
                      </a:lnTo>
                      <a:lnTo>
                        <a:pt x="10" y="180"/>
                      </a:lnTo>
                      <a:lnTo>
                        <a:pt x="19" y="183"/>
                      </a:lnTo>
                      <a:lnTo>
                        <a:pt x="26" y="185"/>
                      </a:lnTo>
                      <a:lnTo>
                        <a:pt x="26" y="185"/>
                      </a:lnTo>
                      <a:close/>
                    </a:path>
                  </a:pathLst>
                </a:custGeom>
                <a:solidFill>
                  <a:srgbClr val="86BC25"/>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4" name="Freeform 1708">
                  <a:extLst>
                    <a:ext uri="{FF2B5EF4-FFF2-40B4-BE49-F238E27FC236}">
                      <a16:creationId xmlns:a16="http://schemas.microsoft.com/office/drawing/2014/main" id="{FAC1ED55-462C-475D-B162-3285871DA431}"/>
                    </a:ext>
                  </a:extLst>
                </p:cNvPr>
                <p:cNvSpPr>
                  <a:spLocks/>
                </p:cNvSpPr>
                <p:nvPr/>
              </p:nvSpPr>
              <p:spPr bwMode="auto">
                <a:xfrm>
                  <a:off x="4303400" y="4873607"/>
                  <a:ext cx="187886" cy="176997"/>
                </a:xfrm>
                <a:custGeom>
                  <a:avLst/>
                  <a:gdLst>
                    <a:gd name="T0" fmla="*/ 70 w 83"/>
                    <a:gd name="T1" fmla="*/ 13 h 83"/>
                    <a:gd name="T2" fmla="*/ 70 w 83"/>
                    <a:gd name="T3" fmla="*/ 13 h 83"/>
                    <a:gd name="T4" fmla="*/ 65 w 83"/>
                    <a:gd name="T5" fmla="*/ 7 h 83"/>
                    <a:gd name="T6" fmla="*/ 57 w 83"/>
                    <a:gd name="T7" fmla="*/ 3 h 83"/>
                    <a:gd name="T8" fmla="*/ 50 w 83"/>
                    <a:gd name="T9" fmla="*/ 2 h 83"/>
                    <a:gd name="T10" fmla="*/ 41 w 83"/>
                    <a:gd name="T11" fmla="*/ 0 h 83"/>
                    <a:gd name="T12" fmla="*/ 41 w 83"/>
                    <a:gd name="T13" fmla="*/ 0 h 83"/>
                    <a:gd name="T14" fmla="*/ 33 w 83"/>
                    <a:gd name="T15" fmla="*/ 2 h 83"/>
                    <a:gd name="T16" fmla="*/ 26 w 83"/>
                    <a:gd name="T17" fmla="*/ 3 h 83"/>
                    <a:gd name="T18" fmla="*/ 19 w 83"/>
                    <a:gd name="T19" fmla="*/ 7 h 83"/>
                    <a:gd name="T20" fmla="*/ 11 w 83"/>
                    <a:gd name="T21" fmla="*/ 13 h 83"/>
                    <a:gd name="T22" fmla="*/ 11 w 83"/>
                    <a:gd name="T23" fmla="*/ 13 h 83"/>
                    <a:gd name="T24" fmla="*/ 6 w 83"/>
                    <a:gd name="T25" fmla="*/ 18 h 83"/>
                    <a:gd name="T26" fmla="*/ 2 w 83"/>
                    <a:gd name="T27" fmla="*/ 25 h 83"/>
                    <a:gd name="T28" fmla="*/ 0 w 83"/>
                    <a:gd name="T29" fmla="*/ 33 h 83"/>
                    <a:gd name="T30" fmla="*/ 0 w 83"/>
                    <a:gd name="T31" fmla="*/ 42 h 83"/>
                    <a:gd name="T32" fmla="*/ 0 w 83"/>
                    <a:gd name="T33" fmla="*/ 42 h 83"/>
                    <a:gd name="T34" fmla="*/ 0 w 83"/>
                    <a:gd name="T35" fmla="*/ 49 h 83"/>
                    <a:gd name="T36" fmla="*/ 2 w 83"/>
                    <a:gd name="T37" fmla="*/ 57 h 83"/>
                    <a:gd name="T38" fmla="*/ 6 w 83"/>
                    <a:gd name="T39" fmla="*/ 64 h 83"/>
                    <a:gd name="T40" fmla="*/ 11 w 83"/>
                    <a:gd name="T41" fmla="*/ 70 h 83"/>
                    <a:gd name="T42" fmla="*/ 11 w 83"/>
                    <a:gd name="T43" fmla="*/ 70 h 83"/>
                    <a:gd name="T44" fmla="*/ 19 w 83"/>
                    <a:gd name="T45" fmla="*/ 75 h 83"/>
                    <a:gd name="T46" fmla="*/ 26 w 83"/>
                    <a:gd name="T47" fmla="*/ 79 h 83"/>
                    <a:gd name="T48" fmla="*/ 33 w 83"/>
                    <a:gd name="T49" fmla="*/ 83 h 83"/>
                    <a:gd name="T50" fmla="*/ 41 w 83"/>
                    <a:gd name="T51" fmla="*/ 83 h 83"/>
                    <a:gd name="T52" fmla="*/ 41 w 83"/>
                    <a:gd name="T53" fmla="*/ 83 h 83"/>
                    <a:gd name="T54" fmla="*/ 50 w 83"/>
                    <a:gd name="T55" fmla="*/ 83 h 83"/>
                    <a:gd name="T56" fmla="*/ 57 w 83"/>
                    <a:gd name="T57" fmla="*/ 79 h 83"/>
                    <a:gd name="T58" fmla="*/ 65 w 83"/>
                    <a:gd name="T59" fmla="*/ 75 h 83"/>
                    <a:gd name="T60" fmla="*/ 70 w 83"/>
                    <a:gd name="T61" fmla="*/ 70 h 83"/>
                    <a:gd name="T62" fmla="*/ 70 w 83"/>
                    <a:gd name="T63" fmla="*/ 70 h 83"/>
                    <a:gd name="T64" fmla="*/ 76 w 83"/>
                    <a:gd name="T65" fmla="*/ 64 h 83"/>
                    <a:gd name="T66" fmla="*/ 79 w 83"/>
                    <a:gd name="T67" fmla="*/ 57 h 83"/>
                    <a:gd name="T68" fmla="*/ 81 w 83"/>
                    <a:gd name="T69" fmla="*/ 49 h 83"/>
                    <a:gd name="T70" fmla="*/ 83 w 83"/>
                    <a:gd name="T71" fmla="*/ 42 h 83"/>
                    <a:gd name="T72" fmla="*/ 83 w 83"/>
                    <a:gd name="T73" fmla="*/ 42 h 83"/>
                    <a:gd name="T74" fmla="*/ 81 w 83"/>
                    <a:gd name="T75" fmla="*/ 33 h 83"/>
                    <a:gd name="T76" fmla="*/ 79 w 83"/>
                    <a:gd name="T77" fmla="*/ 25 h 83"/>
                    <a:gd name="T78" fmla="*/ 76 w 83"/>
                    <a:gd name="T79" fmla="*/ 18 h 83"/>
                    <a:gd name="T80" fmla="*/ 70 w 83"/>
                    <a:gd name="T81" fmla="*/ 13 h 83"/>
                    <a:gd name="T82" fmla="*/ 70 w 83"/>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70" y="13"/>
                      </a:moveTo>
                      <a:lnTo>
                        <a:pt x="70" y="13"/>
                      </a:lnTo>
                      <a:lnTo>
                        <a:pt x="65" y="7"/>
                      </a:lnTo>
                      <a:lnTo>
                        <a:pt x="57" y="3"/>
                      </a:lnTo>
                      <a:lnTo>
                        <a:pt x="50" y="2"/>
                      </a:lnTo>
                      <a:lnTo>
                        <a:pt x="41" y="0"/>
                      </a:lnTo>
                      <a:lnTo>
                        <a:pt x="41" y="0"/>
                      </a:lnTo>
                      <a:lnTo>
                        <a:pt x="33" y="2"/>
                      </a:lnTo>
                      <a:lnTo>
                        <a:pt x="26" y="3"/>
                      </a:lnTo>
                      <a:lnTo>
                        <a:pt x="19" y="7"/>
                      </a:lnTo>
                      <a:lnTo>
                        <a:pt x="11" y="13"/>
                      </a:lnTo>
                      <a:lnTo>
                        <a:pt x="11" y="13"/>
                      </a:lnTo>
                      <a:lnTo>
                        <a:pt x="6" y="18"/>
                      </a:lnTo>
                      <a:lnTo>
                        <a:pt x="2" y="25"/>
                      </a:lnTo>
                      <a:lnTo>
                        <a:pt x="0" y="33"/>
                      </a:lnTo>
                      <a:lnTo>
                        <a:pt x="0" y="42"/>
                      </a:lnTo>
                      <a:lnTo>
                        <a:pt x="0" y="42"/>
                      </a:lnTo>
                      <a:lnTo>
                        <a:pt x="0" y="49"/>
                      </a:lnTo>
                      <a:lnTo>
                        <a:pt x="2" y="57"/>
                      </a:lnTo>
                      <a:lnTo>
                        <a:pt x="6" y="64"/>
                      </a:lnTo>
                      <a:lnTo>
                        <a:pt x="11" y="70"/>
                      </a:lnTo>
                      <a:lnTo>
                        <a:pt x="11" y="70"/>
                      </a:lnTo>
                      <a:lnTo>
                        <a:pt x="19" y="75"/>
                      </a:lnTo>
                      <a:lnTo>
                        <a:pt x="26" y="79"/>
                      </a:lnTo>
                      <a:lnTo>
                        <a:pt x="33" y="83"/>
                      </a:lnTo>
                      <a:lnTo>
                        <a:pt x="41" y="83"/>
                      </a:lnTo>
                      <a:lnTo>
                        <a:pt x="41" y="83"/>
                      </a:lnTo>
                      <a:lnTo>
                        <a:pt x="50" y="83"/>
                      </a:lnTo>
                      <a:lnTo>
                        <a:pt x="57" y="79"/>
                      </a:lnTo>
                      <a:lnTo>
                        <a:pt x="65" y="75"/>
                      </a:lnTo>
                      <a:lnTo>
                        <a:pt x="70" y="70"/>
                      </a:lnTo>
                      <a:lnTo>
                        <a:pt x="70" y="70"/>
                      </a:lnTo>
                      <a:lnTo>
                        <a:pt x="76" y="64"/>
                      </a:lnTo>
                      <a:lnTo>
                        <a:pt x="79" y="57"/>
                      </a:lnTo>
                      <a:lnTo>
                        <a:pt x="81" y="49"/>
                      </a:lnTo>
                      <a:lnTo>
                        <a:pt x="83" y="42"/>
                      </a:lnTo>
                      <a:lnTo>
                        <a:pt x="83" y="42"/>
                      </a:lnTo>
                      <a:lnTo>
                        <a:pt x="81" y="33"/>
                      </a:lnTo>
                      <a:lnTo>
                        <a:pt x="79" y="25"/>
                      </a:lnTo>
                      <a:lnTo>
                        <a:pt x="76" y="18"/>
                      </a:lnTo>
                      <a:lnTo>
                        <a:pt x="70" y="13"/>
                      </a:lnTo>
                      <a:lnTo>
                        <a:pt x="70" y="13"/>
                      </a:lnTo>
                      <a:close/>
                    </a:path>
                  </a:pathLst>
                </a:custGeom>
                <a:solidFill>
                  <a:srgbClr val="C4D600"/>
                </a:solidFill>
                <a:ln>
                  <a:noFill/>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5" name="Rectangle 1710">
                  <a:extLst>
                    <a:ext uri="{FF2B5EF4-FFF2-40B4-BE49-F238E27FC236}">
                      <a16:creationId xmlns:a16="http://schemas.microsoft.com/office/drawing/2014/main" id="{CF20F51D-1C1D-48B4-AB4D-EA608C052F4B}"/>
                    </a:ext>
                  </a:extLst>
                </p:cNvPr>
                <p:cNvSpPr>
                  <a:spLocks noChangeArrowheads="1"/>
                </p:cNvSpPr>
                <p:nvPr/>
              </p:nvSpPr>
              <p:spPr bwMode="auto">
                <a:xfrm>
                  <a:off x="4294234" y="5145576"/>
                  <a:ext cx="201632" cy="587110"/>
                </a:xfrm>
                <a:prstGeom prst="rect">
                  <a:avLst/>
                </a:prstGeom>
                <a:grpFill/>
                <a:ln w="17463">
                  <a:solidFill>
                    <a:srgbClr val="C4D600"/>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6" name="Freeform 1707">
                  <a:extLst>
                    <a:ext uri="{FF2B5EF4-FFF2-40B4-BE49-F238E27FC236}">
                      <a16:creationId xmlns:a16="http://schemas.microsoft.com/office/drawing/2014/main" id="{9261222C-BF13-4292-B0CB-B143F764DC6B}"/>
                    </a:ext>
                  </a:extLst>
                </p:cNvPr>
                <p:cNvSpPr>
                  <a:spLocks/>
                </p:cNvSpPr>
                <p:nvPr/>
              </p:nvSpPr>
              <p:spPr bwMode="auto">
                <a:xfrm>
                  <a:off x="4220914" y="5050602"/>
                  <a:ext cx="352857" cy="401481"/>
                </a:xfrm>
                <a:custGeom>
                  <a:avLst/>
                  <a:gdLst>
                    <a:gd name="T0" fmla="*/ 129 w 155"/>
                    <a:gd name="T1" fmla="*/ 185 h 185"/>
                    <a:gd name="T2" fmla="*/ 129 w 155"/>
                    <a:gd name="T3" fmla="*/ 185 h 185"/>
                    <a:gd name="T4" fmla="*/ 138 w 155"/>
                    <a:gd name="T5" fmla="*/ 183 h 185"/>
                    <a:gd name="T6" fmla="*/ 146 w 155"/>
                    <a:gd name="T7" fmla="*/ 180 h 185"/>
                    <a:gd name="T8" fmla="*/ 146 w 155"/>
                    <a:gd name="T9" fmla="*/ 180 h 185"/>
                    <a:gd name="T10" fmla="*/ 153 w 155"/>
                    <a:gd name="T11" fmla="*/ 172 h 185"/>
                    <a:gd name="T12" fmla="*/ 155 w 155"/>
                    <a:gd name="T13" fmla="*/ 169 h 185"/>
                    <a:gd name="T14" fmla="*/ 155 w 155"/>
                    <a:gd name="T15" fmla="*/ 165 h 185"/>
                    <a:gd name="T16" fmla="*/ 155 w 155"/>
                    <a:gd name="T17" fmla="*/ 36 h 185"/>
                    <a:gd name="T18" fmla="*/ 155 w 155"/>
                    <a:gd name="T19" fmla="*/ 36 h 185"/>
                    <a:gd name="T20" fmla="*/ 155 w 155"/>
                    <a:gd name="T21" fmla="*/ 27 h 185"/>
                    <a:gd name="T22" fmla="*/ 149 w 155"/>
                    <a:gd name="T23" fmla="*/ 20 h 185"/>
                    <a:gd name="T24" fmla="*/ 149 w 155"/>
                    <a:gd name="T25" fmla="*/ 20 h 185"/>
                    <a:gd name="T26" fmla="*/ 144 w 155"/>
                    <a:gd name="T27" fmla="*/ 12 h 185"/>
                    <a:gd name="T28" fmla="*/ 137 w 155"/>
                    <a:gd name="T29" fmla="*/ 9 h 185"/>
                    <a:gd name="T30" fmla="*/ 137 w 155"/>
                    <a:gd name="T31" fmla="*/ 9 h 185"/>
                    <a:gd name="T32" fmla="*/ 122 w 155"/>
                    <a:gd name="T33" fmla="*/ 5 h 185"/>
                    <a:gd name="T34" fmla="*/ 107 w 155"/>
                    <a:gd name="T35" fmla="*/ 1 h 185"/>
                    <a:gd name="T36" fmla="*/ 92 w 155"/>
                    <a:gd name="T37" fmla="*/ 0 h 185"/>
                    <a:gd name="T38" fmla="*/ 78 w 155"/>
                    <a:gd name="T39" fmla="*/ 0 h 185"/>
                    <a:gd name="T40" fmla="*/ 63 w 155"/>
                    <a:gd name="T41" fmla="*/ 0 h 185"/>
                    <a:gd name="T42" fmla="*/ 48 w 155"/>
                    <a:gd name="T43" fmla="*/ 1 h 185"/>
                    <a:gd name="T44" fmla="*/ 34 w 155"/>
                    <a:gd name="T45" fmla="*/ 5 h 185"/>
                    <a:gd name="T46" fmla="*/ 21 w 155"/>
                    <a:gd name="T47" fmla="*/ 9 h 185"/>
                    <a:gd name="T48" fmla="*/ 21 w 155"/>
                    <a:gd name="T49" fmla="*/ 9 h 185"/>
                    <a:gd name="T50" fmla="*/ 13 w 155"/>
                    <a:gd name="T51" fmla="*/ 12 h 185"/>
                    <a:gd name="T52" fmla="*/ 6 w 155"/>
                    <a:gd name="T53" fmla="*/ 20 h 185"/>
                    <a:gd name="T54" fmla="*/ 6 w 155"/>
                    <a:gd name="T55" fmla="*/ 20 h 185"/>
                    <a:gd name="T56" fmla="*/ 2 w 155"/>
                    <a:gd name="T57" fmla="*/ 27 h 185"/>
                    <a:gd name="T58" fmla="*/ 0 w 155"/>
                    <a:gd name="T59" fmla="*/ 36 h 185"/>
                    <a:gd name="T60" fmla="*/ 0 w 155"/>
                    <a:gd name="T61" fmla="*/ 165 h 185"/>
                    <a:gd name="T62" fmla="*/ 0 w 155"/>
                    <a:gd name="T63" fmla="*/ 165 h 185"/>
                    <a:gd name="T64" fmla="*/ 0 w 155"/>
                    <a:gd name="T65" fmla="*/ 169 h 185"/>
                    <a:gd name="T66" fmla="*/ 2 w 155"/>
                    <a:gd name="T67" fmla="*/ 172 h 185"/>
                    <a:gd name="T68" fmla="*/ 10 w 155"/>
                    <a:gd name="T69" fmla="*/ 180 h 185"/>
                    <a:gd name="T70" fmla="*/ 10 w 155"/>
                    <a:gd name="T71" fmla="*/ 180 h 185"/>
                    <a:gd name="T72" fmla="*/ 19 w 155"/>
                    <a:gd name="T73" fmla="*/ 183 h 185"/>
                    <a:gd name="T74" fmla="*/ 26 w 155"/>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5" h="185">
                      <a:moveTo>
                        <a:pt x="129" y="185"/>
                      </a:moveTo>
                      <a:lnTo>
                        <a:pt x="129" y="185"/>
                      </a:lnTo>
                      <a:lnTo>
                        <a:pt x="138" y="183"/>
                      </a:lnTo>
                      <a:lnTo>
                        <a:pt x="146" y="180"/>
                      </a:lnTo>
                      <a:lnTo>
                        <a:pt x="146" y="180"/>
                      </a:lnTo>
                      <a:lnTo>
                        <a:pt x="153" y="172"/>
                      </a:lnTo>
                      <a:lnTo>
                        <a:pt x="155" y="169"/>
                      </a:lnTo>
                      <a:lnTo>
                        <a:pt x="155" y="165"/>
                      </a:lnTo>
                      <a:lnTo>
                        <a:pt x="155" y="36"/>
                      </a:lnTo>
                      <a:lnTo>
                        <a:pt x="155" y="36"/>
                      </a:lnTo>
                      <a:lnTo>
                        <a:pt x="155" y="27"/>
                      </a:lnTo>
                      <a:lnTo>
                        <a:pt x="149" y="20"/>
                      </a:lnTo>
                      <a:lnTo>
                        <a:pt x="149" y="20"/>
                      </a:lnTo>
                      <a:lnTo>
                        <a:pt x="144" y="12"/>
                      </a:lnTo>
                      <a:lnTo>
                        <a:pt x="137" y="9"/>
                      </a:lnTo>
                      <a:lnTo>
                        <a:pt x="137" y="9"/>
                      </a:lnTo>
                      <a:lnTo>
                        <a:pt x="122" y="5"/>
                      </a:lnTo>
                      <a:lnTo>
                        <a:pt x="107" y="1"/>
                      </a:lnTo>
                      <a:lnTo>
                        <a:pt x="92" y="0"/>
                      </a:lnTo>
                      <a:lnTo>
                        <a:pt x="78" y="0"/>
                      </a:lnTo>
                      <a:lnTo>
                        <a:pt x="63" y="0"/>
                      </a:lnTo>
                      <a:lnTo>
                        <a:pt x="48" y="1"/>
                      </a:lnTo>
                      <a:lnTo>
                        <a:pt x="34" y="5"/>
                      </a:lnTo>
                      <a:lnTo>
                        <a:pt x="21" y="9"/>
                      </a:lnTo>
                      <a:lnTo>
                        <a:pt x="21" y="9"/>
                      </a:lnTo>
                      <a:lnTo>
                        <a:pt x="13" y="12"/>
                      </a:lnTo>
                      <a:lnTo>
                        <a:pt x="6" y="20"/>
                      </a:lnTo>
                      <a:lnTo>
                        <a:pt x="6" y="20"/>
                      </a:lnTo>
                      <a:lnTo>
                        <a:pt x="2" y="27"/>
                      </a:lnTo>
                      <a:lnTo>
                        <a:pt x="0" y="36"/>
                      </a:lnTo>
                      <a:lnTo>
                        <a:pt x="0" y="165"/>
                      </a:lnTo>
                      <a:lnTo>
                        <a:pt x="0" y="165"/>
                      </a:lnTo>
                      <a:lnTo>
                        <a:pt x="0" y="169"/>
                      </a:lnTo>
                      <a:lnTo>
                        <a:pt x="2" y="172"/>
                      </a:lnTo>
                      <a:lnTo>
                        <a:pt x="10" y="180"/>
                      </a:lnTo>
                      <a:lnTo>
                        <a:pt x="10" y="180"/>
                      </a:lnTo>
                      <a:lnTo>
                        <a:pt x="19" y="183"/>
                      </a:lnTo>
                      <a:lnTo>
                        <a:pt x="26" y="185"/>
                      </a:lnTo>
                    </a:path>
                  </a:pathLst>
                </a:custGeom>
                <a:solidFill>
                  <a:srgbClr val="C4D600"/>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7" name="Freeform 1709">
                  <a:extLst>
                    <a:ext uri="{FF2B5EF4-FFF2-40B4-BE49-F238E27FC236}">
                      <a16:creationId xmlns:a16="http://schemas.microsoft.com/office/drawing/2014/main" id="{52B094EA-4643-4B43-B3FD-6D3129B341B2}"/>
                    </a:ext>
                  </a:extLst>
                </p:cNvPr>
                <p:cNvSpPr>
                  <a:spLocks/>
                </p:cNvSpPr>
                <p:nvPr/>
              </p:nvSpPr>
              <p:spPr bwMode="auto">
                <a:xfrm>
                  <a:off x="4303400" y="4873607"/>
                  <a:ext cx="187886" cy="176997"/>
                </a:xfrm>
                <a:custGeom>
                  <a:avLst/>
                  <a:gdLst>
                    <a:gd name="T0" fmla="*/ 83 w 83"/>
                    <a:gd name="T1" fmla="*/ 42 h 83"/>
                    <a:gd name="T2" fmla="*/ 83 w 83"/>
                    <a:gd name="T3" fmla="*/ 42 h 83"/>
                    <a:gd name="T4" fmla="*/ 81 w 83"/>
                    <a:gd name="T5" fmla="*/ 49 h 83"/>
                    <a:gd name="T6" fmla="*/ 79 w 83"/>
                    <a:gd name="T7" fmla="*/ 57 h 83"/>
                    <a:gd name="T8" fmla="*/ 76 w 83"/>
                    <a:gd name="T9" fmla="*/ 64 h 83"/>
                    <a:gd name="T10" fmla="*/ 70 w 83"/>
                    <a:gd name="T11" fmla="*/ 70 h 83"/>
                    <a:gd name="T12" fmla="*/ 70 w 83"/>
                    <a:gd name="T13" fmla="*/ 70 h 83"/>
                    <a:gd name="T14" fmla="*/ 65 w 83"/>
                    <a:gd name="T15" fmla="*/ 75 h 83"/>
                    <a:gd name="T16" fmla="*/ 57 w 83"/>
                    <a:gd name="T17" fmla="*/ 79 h 83"/>
                    <a:gd name="T18" fmla="*/ 50 w 83"/>
                    <a:gd name="T19" fmla="*/ 83 h 83"/>
                    <a:gd name="T20" fmla="*/ 41 w 83"/>
                    <a:gd name="T21" fmla="*/ 83 h 83"/>
                    <a:gd name="T22" fmla="*/ 41 w 83"/>
                    <a:gd name="T23" fmla="*/ 83 h 83"/>
                    <a:gd name="T24" fmla="*/ 33 w 83"/>
                    <a:gd name="T25" fmla="*/ 83 h 83"/>
                    <a:gd name="T26" fmla="*/ 26 w 83"/>
                    <a:gd name="T27" fmla="*/ 79 h 83"/>
                    <a:gd name="T28" fmla="*/ 19 w 83"/>
                    <a:gd name="T29" fmla="*/ 75 h 83"/>
                    <a:gd name="T30" fmla="*/ 11 w 83"/>
                    <a:gd name="T31" fmla="*/ 70 h 83"/>
                    <a:gd name="T32" fmla="*/ 11 w 83"/>
                    <a:gd name="T33" fmla="*/ 70 h 83"/>
                    <a:gd name="T34" fmla="*/ 6 w 83"/>
                    <a:gd name="T35" fmla="*/ 64 h 83"/>
                    <a:gd name="T36" fmla="*/ 2 w 83"/>
                    <a:gd name="T37" fmla="*/ 57 h 83"/>
                    <a:gd name="T38" fmla="*/ 0 w 83"/>
                    <a:gd name="T39" fmla="*/ 49 h 83"/>
                    <a:gd name="T40" fmla="*/ 0 w 83"/>
                    <a:gd name="T41" fmla="*/ 42 h 83"/>
                    <a:gd name="T42" fmla="*/ 0 w 83"/>
                    <a:gd name="T43" fmla="*/ 42 h 83"/>
                    <a:gd name="T44" fmla="*/ 0 w 83"/>
                    <a:gd name="T45" fmla="*/ 33 h 83"/>
                    <a:gd name="T46" fmla="*/ 2 w 83"/>
                    <a:gd name="T47" fmla="*/ 25 h 83"/>
                    <a:gd name="T48" fmla="*/ 6 w 83"/>
                    <a:gd name="T49" fmla="*/ 18 h 83"/>
                    <a:gd name="T50" fmla="*/ 11 w 83"/>
                    <a:gd name="T51" fmla="*/ 13 h 83"/>
                    <a:gd name="T52" fmla="*/ 11 w 83"/>
                    <a:gd name="T53" fmla="*/ 13 h 83"/>
                    <a:gd name="T54" fmla="*/ 19 w 83"/>
                    <a:gd name="T55" fmla="*/ 7 h 83"/>
                    <a:gd name="T56" fmla="*/ 26 w 83"/>
                    <a:gd name="T57" fmla="*/ 3 h 83"/>
                    <a:gd name="T58" fmla="*/ 33 w 83"/>
                    <a:gd name="T59" fmla="*/ 2 h 83"/>
                    <a:gd name="T60" fmla="*/ 41 w 83"/>
                    <a:gd name="T61" fmla="*/ 0 h 83"/>
                    <a:gd name="T62" fmla="*/ 41 w 83"/>
                    <a:gd name="T63" fmla="*/ 0 h 83"/>
                    <a:gd name="T64" fmla="*/ 50 w 83"/>
                    <a:gd name="T65" fmla="*/ 2 h 83"/>
                    <a:gd name="T66" fmla="*/ 57 w 83"/>
                    <a:gd name="T67" fmla="*/ 3 h 83"/>
                    <a:gd name="T68" fmla="*/ 65 w 83"/>
                    <a:gd name="T69" fmla="*/ 7 h 83"/>
                    <a:gd name="T70" fmla="*/ 70 w 83"/>
                    <a:gd name="T71" fmla="*/ 13 h 83"/>
                    <a:gd name="T72" fmla="*/ 70 w 83"/>
                    <a:gd name="T73" fmla="*/ 13 h 83"/>
                    <a:gd name="T74" fmla="*/ 76 w 83"/>
                    <a:gd name="T75" fmla="*/ 18 h 83"/>
                    <a:gd name="T76" fmla="*/ 79 w 83"/>
                    <a:gd name="T77" fmla="*/ 25 h 83"/>
                    <a:gd name="T78" fmla="*/ 81 w 83"/>
                    <a:gd name="T79" fmla="*/ 33 h 83"/>
                    <a:gd name="T80" fmla="*/ 83 w 83"/>
                    <a:gd name="T81" fmla="*/ 42 h 83"/>
                    <a:gd name="T82" fmla="*/ 83 w 83"/>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2"/>
                      </a:moveTo>
                      <a:lnTo>
                        <a:pt x="83" y="42"/>
                      </a:lnTo>
                      <a:lnTo>
                        <a:pt x="81" y="49"/>
                      </a:lnTo>
                      <a:lnTo>
                        <a:pt x="79" y="57"/>
                      </a:lnTo>
                      <a:lnTo>
                        <a:pt x="76" y="64"/>
                      </a:lnTo>
                      <a:lnTo>
                        <a:pt x="70" y="70"/>
                      </a:lnTo>
                      <a:lnTo>
                        <a:pt x="70" y="70"/>
                      </a:lnTo>
                      <a:lnTo>
                        <a:pt x="65" y="75"/>
                      </a:lnTo>
                      <a:lnTo>
                        <a:pt x="57" y="79"/>
                      </a:lnTo>
                      <a:lnTo>
                        <a:pt x="50" y="83"/>
                      </a:lnTo>
                      <a:lnTo>
                        <a:pt x="41" y="83"/>
                      </a:lnTo>
                      <a:lnTo>
                        <a:pt x="41" y="83"/>
                      </a:lnTo>
                      <a:lnTo>
                        <a:pt x="33" y="83"/>
                      </a:lnTo>
                      <a:lnTo>
                        <a:pt x="26" y="79"/>
                      </a:lnTo>
                      <a:lnTo>
                        <a:pt x="19" y="75"/>
                      </a:lnTo>
                      <a:lnTo>
                        <a:pt x="11" y="70"/>
                      </a:lnTo>
                      <a:lnTo>
                        <a:pt x="11" y="70"/>
                      </a:lnTo>
                      <a:lnTo>
                        <a:pt x="6" y="64"/>
                      </a:lnTo>
                      <a:lnTo>
                        <a:pt x="2" y="57"/>
                      </a:lnTo>
                      <a:lnTo>
                        <a:pt x="0" y="49"/>
                      </a:lnTo>
                      <a:lnTo>
                        <a:pt x="0" y="42"/>
                      </a:lnTo>
                      <a:lnTo>
                        <a:pt x="0" y="42"/>
                      </a:lnTo>
                      <a:lnTo>
                        <a:pt x="0" y="33"/>
                      </a:lnTo>
                      <a:lnTo>
                        <a:pt x="2" y="25"/>
                      </a:lnTo>
                      <a:lnTo>
                        <a:pt x="6" y="18"/>
                      </a:lnTo>
                      <a:lnTo>
                        <a:pt x="11" y="13"/>
                      </a:lnTo>
                      <a:lnTo>
                        <a:pt x="11" y="13"/>
                      </a:lnTo>
                      <a:lnTo>
                        <a:pt x="19" y="7"/>
                      </a:lnTo>
                      <a:lnTo>
                        <a:pt x="26" y="3"/>
                      </a:lnTo>
                      <a:lnTo>
                        <a:pt x="33" y="2"/>
                      </a:lnTo>
                      <a:lnTo>
                        <a:pt x="41" y="0"/>
                      </a:lnTo>
                      <a:lnTo>
                        <a:pt x="41" y="0"/>
                      </a:lnTo>
                      <a:lnTo>
                        <a:pt x="50" y="2"/>
                      </a:lnTo>
                      <a:lnTo>
                        <a:pt x="57" y="3"/>
                      </a:lnTo>
                      <a:lnTo>
                        <a:pt x="65" y="7"/>
                      </a:lnTo>
                      <a:lnTo>
                        <a:pt x="70" y="13"/>
                      </a:lnTo>
                      <a:lnTo>
                        <a:pt x="70" y="13"/>
                      </a:lnTo>
                      <a:lnTo>
                        <a:pt x="76" y="18"/>
                      </a:lnTo>
                      <a:lnTo>
                        <a:pt x="79" y="25"/>
                      </a:lnTo>
                      <a:lnTo>
                        <a:pt x="81" y="33"/>
                      </a:lnTo>
                      <a:lnTo>
                        <a:pt x="83" y="42"/>
                      </a:lnTo>
                      <a:lnTo>
                        <a:pt x="83"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8" name="Freeform 1711">
                  <a:extLst>
                    <a:ext uri="{FF2B5EF4-FFF2-40B4-BE49-F238E27FC236}">
                      <a16:creationId xmlns:a16="http://schemas.microsoft.com/office/drawing/2014/main" id="{536AF543-FAE2-4814-A891-6D9F94484F04}"/>
                    </a:ext>
                  </a:extLst>
                </p:cNvPr>
                <p:cNvSpPr>
                  <a:spLocks/>
                </p:cNvSpPr>
                <p:nvPr/>
              </p:nvSpPr>
              <p:spPr bwMode="auto">
                <a:xfrm>
                  <a:off x="4294234" y="5145576"/>
                  <a:ext cx="201632" cy="587110"/>
                </a:xfrm>
                <a:custGeom>
                  <a:avLst/>
                  <a:gdLst>
                    <a:gd name="T0" fmla="*/ 0 w 88"/>
                    <a:gd name="T1" fmla="*/ 0 h 272"/>
                    <a:gd name="T2" fmla="*/ 0 w 88"/>
                    <a:gd name="T3" fmla="*/ 272 h 272"/>
                    <a:gd name="T4" fmla="*/ 88 w 88"/>
                    <a:gd name="T5" fmla="*/ 272 h 272"/>
                    <a:gd name="T6" fmla="*/ 88 w 88"/>
                    <a:gd name="T7" fmla="*/ 0 h 272"/>
                  </a:gdLst>
                  <a:ahLst/>
                  <a:cxnLst>
                    <a:cxn ang="0">
                      <a:pos x="T0" y="T1"/>
                    </a:cxn>
                    <a:cxn ang="0">
                      <a:pos x="T2" y="T3"/>
                    </a:cxn>
                    <a:cxn ang="0">
                      <a:pos x="T4" y="T5"/>
                    </a:cxn>
                    <a:cxn ang="0">
                      <a:pos x="T6" y="T7"/>
                    </a:cxn>
                  </a:cxnLst>
                  <a:rect l="0" t="0" r="r" b="b"/>
                  <a:pathLst>
                    <a:path w="88" h="272">
                      <a:moveTo>
                        <a:pt x="0" y="0"/>
                      </a:moveTo>
                      <a:lnTo>
                        <a:pt x="0" y="272"/>
                      </a:lnTo>
                      <a:lnTo>
                        <a:pt x="88" y="272"/>
                      </a:lnTo>
                      <a:lnTo>
                        <a:pt x="88" y="0"/>
                      </a:lnTo>
                    </a:path>
                  </a:pathLst>
                </a:custGeom>
                <a:solidFill>
                  <a:srgbClr val="C4D600"/>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9" name="Line 1712">
                  <a:extLst>
                    <a:ext uri="{FF2B5EF4-FFF2-40B4-BE49-F238E27FC236}">
                      <a16:creationId xmlns:a16="http://schemas.microsoft.com/office/drawing/2014/main" id="{3542EC93-0652-41D9-ACC4-1EFA4D7696F7}"/>
                    </a:ext>
                  </a:extLst>
                </p:cNvPr>
                <p:cNvSpPr>
                  <a:spLocks noChangeShapeType="1"/>
                </p:cNvSpPr>
                <p:nvPr/>
              </p:nvSpPr>
              <p:spPr bwMode="auto">
                <a:xfrm>
                  <a:off x="4395051" y="5439131"/>
                  <a:ext cx="0" cy="293555"/>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grpSp>
        <p:nvGrpSpPr>
          <p:cNvPr id="157" name="Group 156">
            <a:extLst>
              <a:ext uri="{FF2B5EF4-FFF2-40B4-BE49-F238E27FC236}">
                <a16:creationId xmlns:a16="http://schemas.microsoft.com/office/drawing/2014/main" id="{98BC5807-2756-42ED-9F2F-1BB9BBD241AE}"/>
              </a:ext>
            </a:extLst>
          </p:cNvPr>
          <p:cNvGrpSpPr/>
          <p:nvPr/>
        </p:nvGrpSpPr>
        <p:grpSpPr>
          <a:xfrm>
            <a:off x="4864347" y="1029452"/>
            <a:ext cx="2421732" cy="1438759"/>
            <a:chOff x="4223310" y="1139995"/>
            <a:chExt cx="3824772" cy="2226247"/>
          </a:xfrm>
        </p:grpSpPr>
        <p:sp>
          <p:nvSpPr>
            <p:cNvPr id="217" name="Rectangle 216">
              <a:extLst>
                <a:ext uri="{FF2B5EF4-FFF2-40B4-BE49-F238E27FC236}">
                  <a16:creationId xmlns:a16="http://schemas.microsoft.com/office/drawing/2014/main" id="{F8844270-2957-466B-A695-4973A0922642}"/>
                </a:ext>
              </a:extLst>
            </p:cNvPr>
            <p:cNvSpPr/>
            <p:nvPr/>
          </p:nvSpPr>
          <p:spPr bwMode="gray">
            <a:xfrm>
              <a:off x="4223310" y="1766755"/>
              <a:ext cx="3824772" cy="1599487"/>
            </a:xfrm>
            <a:prstGeom prst="rect">
              <a:avLst/>
            </a:prstGeom>
            <a:solidFill>
              <a:sysClr val="window" lastClr="FFFFFF"/>
            </a:solidFill>
            <a:ln w="19050" algn="ctr">
              <a:solidFill>
                <a:schemeClr val="accent4">
                  <a:lumMod val="75000"/>
                </a:schemeClr>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solidFill>
                  <a:schemeClr val="accent4"/>
                </a:solidFill>
              </a:endParaRPr>
            </a:p>
          </p:txBody>
        </p:sp>
        <p:grpSp>
          <p:nvGrpSpPr>
            <p:cNvPr id="236" name="Group 64">
              <a:extLst>
                <a:ext uri="{FF2B5EF4-FFF2-40B4-BE49-F238E27FC236}">
                  <a16:creationId xmlns:a16="http://schemas.microsoft.com/office/drawing/2014/main" id="{B49615E5-E11D-4069-BFA2-04756CADE490}"/>
                </a:ext>
              </a:extLst>
            </p:cNvPr>
            <p:cNvGrpSpPr>
              <a:grpSpLocks noChangeAspect="1"/>
            </p:cNvGrpSpPr>
            <p:nvPr/>
          </p:nvGrpSpPr>
          <p:grpSpPr bwMode="auto">
            <a:xfrm rot="8100000">
              <a:off x="5498539" y="1139995"/>
              <a:ext cx="1168247" cy="1168250"/>
              <a:chOff x="701" y="2170"/>
              <a:chExt cx="587" cy="587"/>
            </a:xfrm>
          </p:grpSpPr>
          <p:sp>
            <p:nvSpPr>
              <p:cNvPr id="269" name="Oval 65">
                <a:extLst>
                  <a:ext uri="{FF2B5EF4-FFF2-40B4-BE49-F238E27FC236}">
                    <a16:creationId xmlns:a16="http://schemas.microsoft.com/office/drawing/2014/main" id="{DF647826-2F67-4DD0-9A2C-DD27668C31FB}"/>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0" name="Line 66">
                <a:extLst>
                  <a:ext uri="{FF2B5EF4-FFF2-40B4-BE49-F238E27FC236}">
                    <a16:creationId xmlns:a16="http://schemas.microsoft.com/office/drawing/2014/main" id="{664BE8FC-D2F8-4438-9EFC-EC4612015DE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1" name="Line 67">
                <a:extLst>
                  <a:ext uri="{FF2B5EF4-FFF2-40B4-BE49-F238E27FC236}">
                    <a16:creationId xmlns:a16="http://schemas.microsoft.com/office/drawing/2014/main" id="{5AFF3B93-46EE-4E97-B5AB-89AD463CE0B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2" name="Line 69">
                <a:extLst>
                  <a:ext uri="{FF2B5EF4-FFF2-40B4-BE49-F238E27FC236}">
                    <a16:creationId xmlns:a16="http://schemas.microsoft.com/office/drawing/2014/main" id="{4F730E66-51E1-4294-AC3B-40B754BF648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3" name="Line 74">
                <a:extLst>
                  <a:ext uri="{FF2B5EF4-FFF2-40B4-BE49-F238E27FC236}">
                    <a16:creationId xmlns:a16="http://schemas.microsoft.com/office/drawing/2014/main" id="{EC677468-90D2-43AB-AB5A-BCAE825F17C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4" name="Freeform 78">
                <a:extLst>
                  <a:ext uri="{FF2B5EF4-FFF2-40B4-BE49-F238E27FC236}">
                    <a16:creationId xmlns:a16="http://schemas.microsoft.com/office/drawing/2014/main" id="{140B90F3-BA31-4475-971F-3390F8BB3CC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accent4">
                    <a:lumMod val="7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5" name="Freeform 80">
                <a:extLst>
                  <a:ext uri="{FF2B5EF4-FFF2-40B4-BE49-F238E27FC236}">
                    <a16:creationId xmlns:a16="http://schemas.microsoft.com/office/drawing/2014/main" id="{0916F3FA-6262-4B2B-8D14-533C2C3F7E2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4">
                    <a:lumMod val="7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237" name="Rectangle 236">
              <a:extLst>
                <a:ext uri="{FF2B5EF4-FFF2-40B4-BE49-F238E27FC236}">
                  <a16:creationId xmlns:a16="http://schemas.microsoft.com/office/drawing/2014/main" id="{E440913B-49CC-4465-AFF1-85E14B5B804F}"/>
                </a:ext>
              </a:extLst>
            </p:cNvPr>
            <p:cNvSpPr/>
            <p:nvPr/>
          </p:nvSpPr>
          <p:spPr>
            <a:xfrm>
              <a:off x="4503017" y="2133171"/>
              <a:ext cx="3203841" cy="944287"/>
            </a:xfrm>
            <a:prstGeom prst="rect">
              <a:avLst/>
            </a:prstGeom>
          </p:spPr>
          <p:txBody>
            <a:bodyPr wrap="square">
              <a:spAutoFit/>
            </a:bodyPr>
            <a:lstStyle/>
            <a:p>
              <a:pPr algn="ctr" defTabSz="914126">
                <a:spcAft>
                  <a:spcPts val="225"/>
                </a:spcAft>
                <a:buClr>
                  <a:srgbClr val="62B5E5"/>
                </a:buClr>
                <a:defRPr/>
              </a:pPr>
              <a:r>
                <a:rPr lang="en-US" sz="1799" b="1" kern="0" dirty="0">
                  <a:solidFill>
                    <a:schemeClr val="accent4">
                      <a:lumMod val="75000"/>
                    </a:schemeClr>
                  </a:solidFill>
                  <a:ea typeface="Open Sans" panose="020B0606030504020204" pitchFamily="34" charset="0"/>
                  <a:cs typeface="Open Sans" panose="020B0606030504020204" pitchFamily="34" charset="0"/>
                </a:rPr>
                <a:t>Scrum Master</a:t>
              </a:r>
            </a:p>
            <a:p>
              <a:pPr algn="ctr" defTabSz="914126">
                <a:spcAft>
                  <a:spcPts val="225"/>
                </a:spcAft>
                <a:buClr>
                  <a:srgbClr val="62B5E5"/>
                </a:buClr>
                <a:defRPr/>
              </a:pPr>
              <a:r>
                <a:rPr lang="en-US" sz="1400" kern="0" dirty="0">
                  <a:solidFill>
                    <a:schemeClr val="accent4">
                      <a:lumMod val="75000"/>
                    </a:schemeClr>
                  </a:solidFill>
                  <a:ea typeface="Open Sans" panose="020B0606030504020204" pitchFamily="34" charset="0"/>
                  <a:cs typeface="Open Sans" panose="020B0606030504020204" pitchFamily="34" charset="0"/>
                </a:rPr>
                <a:t>“Servant leader”</a:t>
              </a:r>
            </a:p>
          </p:txBody>
        </p:sp>
        <p:grpSp>
          <p:nvGrpSpPr>
            <p:cNvPr id="238" name="Group 237">
              <a:extLst>
                <a:ext uri="{FF2B5EF4-FFF2-40B4-BE49-F238E27FC236}">
                  <a16:creationId xmlns:a16="http://schemas.microsoft.com/office/drawing/2014/main" id="{BFBC8EAA-78A1-44D7-9ECF-DADE5BC54CBB}"/>
                </a:ext>
              </a:extLst>
            </p:cNvPr>
            <p:cNvGrpSpPr/>
            <p:nvPr/>
          </p:nvGrpSpPr>
          <p:grpSpPr>
            <a:xfrm>
              <a:off x="5637344" y="1307197"/>
              <a:ext cx="879367" cy="863025"/>
              <a:chOff x="468738" y="2241878"/>
              <a:chExt cx="1655483" cy="1624719"/>
            </a:xfrm>
          </p:grpSpPr>
          <p:sp>
            <p:nvSpPr>
              <p:cNvPr id="239" name="Freeform 5">
                <a:extLst>
                  <a:ext uri="{FF2B5EF4-FFF2-40B4-BE49-F238E27FC236}">
                    <a16:creationId xmlns:a16="http://schemas.microsoft.com/office/drawing/2014/main" id="{280D5E36-61DC-4B5C-9FE7-A682497E0645}"/>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0" name="Freeform 6">
                <a:extLst>
                  <a:ext uri="{FF2B5EF4-FFF2-40B4-BE49-F238E27FC236}">
                    <a16:creationId xmlns:a16="http://schemas.microsoft.com/office/drawing/2014/main" id="{5F712E1A-C9CF-4C45-A8ED-CD5920D0ED8A}"/>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1" name="Line 7">
                <a:extLst>
                  <a:ext uri="{FF2B5EF4-FFF2-40B4-BE49-F238E27FC236}">
                    <a16:creationId xmlns:a16="http://schemas.microsoft.com/office/drawing/2014/main" id="{9D8E36CB-45BB-4EDE-8AC8-464169E4145F}"/>
                  </a:ext>
                </a:extLst>
              </p:cNvPr>
              <p:cNvSpPr>
                <a:spLocks noChangeShapeType="1"/>
              </p:cNvSpPr>
              <p:nvPr/>
            </p:nvSpPr>
            <p:spPr bwMode="auto">
              <a:xfrm flipH="1">
                <a:off x="1772614" y="3068155"/>
                <a:ext cx="325237" cy="0"/>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2" name="Freeform 8">
                <a:extLst>
                  <a:ext uri="{FF2B5EF4-FFF2-40B4-BE49-F238E27FC236}">
                    <a16:creationId xmlns:a16="http://schemas.microsoft.com/office/drawing/2014/main" id="{A92D9408-3704-4927-8167-FD66B1F16EC3}"/>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3" name="Line 9">
                <a:extLst>
                  <a:ext uri="{FF2B5EF4-FFF2-40B4-BE49-F238E27FC236}">
                    <a16:creationId xmlns:a16="http://schemas.microsoft.com/office/drawing/2014/main" id="{1CC78D8D-077E-4851-8DBD-342DD1BBEE6E}"/>
                  </a:ext>
                </a:extLst>
              </p:cNvPr>
              <p:cNvSpPr>
                <a:spLocks noChangeShapeType="1"/>
              </p:cNvSpPr>
              <p:nvPr/>
            </p:nvSpPr>
            <p:spPr bwMode="auto">
              <a:xfrm>
                <a:off x="492178" y="3068155"/>
                <a:ext cx="328167" cy="0"/>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nvGrpSpPr>
              <p:cNvPr id="244" name="Group 243">
                <a:extLst>
                  <a:ext uri="{FF2B5EF4-FFF2-40B4-BE49-F238E27FC236}">
                    <a16:creationId xmlns:a16="http://schemas.microsoft.com/office/drawing/2014/main" id="{173DA354-0C45-4014-837F-EE0806A430BB}"/>
                  </a:ext>
                </a:extLst>
              </p:cNvPr>
              <p:cNvGrpSpPr/>
              <p:nvPr/>
            </p:nvGrpSpPr>
            <p:grpSpPr>
              <a:xfrm>
                <a:off x="1207113" y="2241878"/>
                <a:ext cx="178734" cy="348678"/>
                <a:chOff x="1207113" y="2241878"/>
                <a:chExt cx="178734" cy="348678"/>
              </a:xfrm>
            </p:grpSpPr>
            <p:sp>
              <p:nvSpPr>
                <p:cNvPr id="267" name="Freeform 10">
                  <a:extLst>
                    <a:ext uri="{FF2B5EF4-FFF2-40B4-BE49-F238E27FC236}">
                      <a16:creationId xmlns:a16="http://schemas.microsoft.com/office/drawing/2014/main" id="{3772E9F8-7D71-43AF-B65A-C811DA0C68F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8" name="Line 11">
                  <a:extLst>
                    <a:ext uri="{FF2B5EF4-FFF2-40B4-BE49-F238E27FC236}">
                      <a16:creationId xmlns:a16="http://schemas.microsoft.com/office/drawing/2014/main" id="{4786B032-DFDA-47D2-AAE1-88B9137F9059}"/>
                    </a:ext>
                  </a:extLst>
                </p:cNvPr>
                <p:cNvSpPr>
                  <a:spLocks noChangeShapeType="1"/>
                </p:cNvSpPr>
                <p:nvPr/>
              </p:nvSpPr>
              <p:spPr bwMode="auto">
                <a:xfrm>
                  <a:off x="1295014" y="2265319"/>
                  <a:ext cx="0" cy="325237"/>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245" name="Freeform 12">
                <a:extLst>
                  <a:ext uri="{FF2B5EF4-FFF2-40B4-BE49-F238E27FC236}">
                    <a16:creationId xmlns:a16="http://schemas.microsoft.com/office/drawing/2014/main" id="{EEFA80C5-A2B6-4AB3-8B80-3DC483FA3A0C}"/>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6" name="Line 13">
                <a:extLst>
                  <a:ext uri="{FF2B5EF4-FFF2-40B4-BE49-F238E27FC236}">
                    <a16:creationId xmlns:a16="http://schemas.microsoft.com/office/drawing/2014/main" id="{E97AD5D6-9CB8-4691-85AF-4108272F5963}"/>
                  </a:ext>
                </a:extLst>
              </p:cNvPr>
              <p:cNvSpPr>
                <a:spLocks noChangeShapeType="1"/>
              </p:cNvSpPr>
              <p:nvPr/>
            </p:nvSpPr>
            <p:spPr bwMode="auto">
              <a:xfrm flipH="1">
                <a:off x="1634901" y="2499724"/>
                <a:ext cx="231475" cy="23147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7" name="Freeform 14">
                <a:extLst>
                  <a:ext uri="{FF2B5EF4-FFF2-40B4-BE49-F238E27FC236}">
                    <a16:creationId xmlns:a16="http://schemas.microsoft.com/office/drawing/2014/main" id="{CD75C9C1-D2BB-4EAA-B634-EC44D2C7E81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8" name="Line 15">
                <a:extLst>
                  <a:ext uri="{FF2B5EF4-FFF2-40B4-BE49-F238E27FC236}">
                    <a16:creationId xmlns:a16="http://schemas.microsoft.com/office/drawing/2014/main" id="{A7B44DDA-FAD5-40CD-BBBD-1DFF677D5744}"/>
                  </a:ext>
                </a:extLst>
              </p:cNvPr>
              <p:cNvSpPr>
                <a:spLocks noChangeShapeType="1"/>
              </p:cNvSpPr>
              <p:nvPr/>
            </p:nvSpPr>
            <p:spPr bwMode="auto">
              <a:xfrm flipV="1">
                <a:off x="726583" y="3408042"/>
                <a:ext cx="231475" cy="22854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9" name="Freeform 16">
                <a:extLst>
                  <a:ext uri="{FF2B5EF4-FFF2-40B4-BE49-F238E27FC236}">
                    <a16:creationId xmlns:a16="http://schemas.microsoft.com/office/drawing/2014/main" id="{E23042C0-D8B0-43E5-9CA6-C06E66E52D4C}"/>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0" name="Line 17">
                <a:extLst>
                  <a:ext uri="{FF2B5EF4-FFF2-40B4-BE49-F238E27FC236}">
                    <a16:creationId xmlns:a16="http://schemas.microsoft.com/office/drawing/2014/main" id="{F5E1235C-8EA6-4274-BAF5-F104A77E2EC6}"/>
                  </a:ext>
                </a:extLst>
              </p:cNvPr>
              <p:cNvSpPr>
                <a:spLocks noChangeShapeType="1"/>
              </p:cNvSpPr>
              <p:nvPr/>
            </p:nvSpPr>
            <p:spPr bwMode="auto">
              <a:xfrm flipH="1" flipV="1">
                <a:off x="1634901" y="3408042"/>
                <a:ext cx="231475" cy="22854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1" name="Freeform 18">
                <a:extLst>
                  <a:ext uri="{FF2B5EF4-FFF2-40B4-BE49-F238E27FC236}">
                    <a16:creationId xmlns:a16="http://schemas.microsoft.com/office/drawing/2014/main" id="{4CAE590D-FCD1-450D-ABA6-5A73DD033D0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2" name="Line 19">
                <a:extLst>
                  <a:ext uri="{FF2B5EF4-FFF2-40B4-BE49-F238E27FC236}">
                    <a16:creationId xmlns:a16="http://schemas.microsoft.com/office/drawing/2014/main" id="{CEAB91F9-6E6C-40EA-AD32-C46CCFA8A8C3}"/>
                  </a:ext>
                </a:extLst>
              </p:cNvPr>
              <p:cNvSpPr>
                <a:spLocks noChangeShapeType="1"/>
              </p:cNvSpPr>
              <p:nvPr/>
            </p:nvSpPr>
            <p:spPr bwMode="auto">
              <a:xfrm>
                <a:off x="726583" y="2499724"/>
                <a:ext cx="231475" cy="23147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3" name="Freeform 35">
                <a:extLst>
                  <a:ext uri="{FF2B5EF4-FFF2-40B4-BE49-F238E27FC236}">
                    <a16:creationId xmlns:a16="http://schemas.microsoft.com/office/drawing/2014/main" id="{29D4EFAC-D4E3-4E64-8E1F-609FC9CC8E5D}"/>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4" name="Freeform 36">
                <a:extLst>
                  <a:ext uri="{FF2B5EF4-FFF2-40B4-BE49-F238E27FC236}">
                    <a16:creationId xmlns:a16="http://schemas.microsoft.com/office/drawing/2014/main" id="{CEF9B55C-F863-406C-8386-BA58D4814746}"/>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5" name="Freeform 37">
                <a:extLst>
                  <a:ext uri="{FF2B5EF4-FFF2-40B4-BE49-F238E27FC236}">
                    <a16:creationId xmlns:a16="http://schemas.microsoft.com/office/drawing/2014/main" id="{C9822C86-B4A1-4B65-ACC9-262FE222B11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6" name="Freeform 38">
                <a:extLst>
                  <a:ext uri="{FF2B5EF4-FFF2-40B4-BE49-F238E27FC236}">
                    <a16:creationId xmlns:a16="http://schemas.microsoft.com/office/drawing/2014/main" id="{D72D7883-4843-4652-B764-962EC37C4B11}"/>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7" name="Freeform 39">
                <a:extLst>
                  <a:ext uri="{FF2B5EF4-FFF2-40B4-BE49-F238E27FC236}">
                    <a16:creationId xmlns:a16="http://schemas.microsoft.com/office/drawing/2014/main" id="{9F2C1F4E-A02E-4BC4-8F03-7CF7C4BFE3A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8" name="Freeform 40">
                <a:extLst>
                  <a:ext uri="{FF2B5EF4-FFF2-40B4-BE49-F238E27FC236}">
                    <a16:creationId xmlns:a16="http://schemas.microsoft.com/office/drawing/2014/main" id="{34950170-9D3D-41A2-804A-AF9C9E4CC096}"/>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9" name="Freeform 41">
                <a:extLst>
                  <a:ext uri="{FF2B5EF4-FFF2-40B4-BE49-F238E27FC236}">
                    <a16:creationId xmlns:a16="http://schemas.microsoft.com/office/drawing/2014/main" id="{FD54A8C7-2828-4C77-A9A5-F5E7EB5CDEBC}"/>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0" name="Line 42">
                <a:extLst>
                  <a:ext uri="{FF2B5EF4-FFF2-40B4-BE49-F238E27FC236}">
                    <a16:creationId xmlns:a16="http://schemas.microsoft.com/office/drawing/2014/main" id="{824E83C0-2F6C-49EF-B655-22491EE3D894}"/>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1" name="Freeform 43">
                <a:extLst>
                  <a:ext uri="{FF2B5EF4-FFF2-40B4-BE49-F238E27FC236}">
                    <a16:creationId xmlns:a16="http://schemas.microsoft.com/office/drawing/2014/main" id="{176C3DD1-778A-46DF-8233-FC5076108883}"/>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2" name="Freeform 44">
                <a:extLst>
                  <a:ext uri="{FF2B5EF4-FFF2-40B4-BE49-F238E27FC236}">
                    <a16:creationId xmlns:a16="http://schemas.microsoft.com/office/drawing/2014/main" id="{977F9E12-1756-4B2C-8CF8-951B1EFBA51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3" name="Freeform 45">
                <a:extLst>
                  <a:ext uri="{FF2B5EF4-FFF2-40B4-BE49-F238E27FC236}">
                    <a16:creationId xmlns:a16="http://schemas.microsoft.com/office/drawing/2014/main" id="{32F2AC9D-DB2D-4D30-96F1-A4D7FC9D9479}"/>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nvGrpSpPr>
              <p:cNvPr id="264" name="Group 263">
                <a:extLst>
                  <a:ext uri="{FF2B5EF4-FFF2-40B4-BE49-F238E27FC236}">
                    <a16:creationId xmlns:a16="http://schemas.microsoft.com/office/drawing/2014/main" id="{E599D22C-DBE6-4175-AC62-0C0A7BBB52FD}"/>
                  </a:ext>
                </a:extLst>
              </p:cNvPr>
              <p:cNvGrpSpPr/>
              <p:nvPr/>
            </p:nvGrpSpPr>
            <p:grpSpPr>
              <a:xfrm flipV="1">
                <a:off x="1202047" y="3517919"/>
                <a:ext cx="178734" cy="348678"/>
                <a:chOff x="1207113" y="2241878"/>
                <a:chExt cx="178734" cy="348678"/>
              </a:xfrm>
            </p:grpSpPr>
            <p:sp>
              <p:nvSpPr>
                <p:cNvPr id="265" name="Freeform 10">
                  <a:extLst>
                    <a:ext uri="{FF2B5EF4-FFF2-40B4-BE49-F238E27FC236}">
                      <a16:creationId xmlns:a16="http://schemas.microsoft.com/office/drawing/2014/main" id="{13252597-1B73-43E5-A70B-6CD0582E251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6" name="Line 11">
                  <a:extLst>
                    <a:ext uri="{FF2B5EF4-FFF2-40B4-BE49-F238E27FC236}">
                      <a16:creationId xmlns:a16="http://schemas.microsoft.com/office/drawing/2014/main" id="{3CC5A7B4-1B16-4B77-A735-3AF2F8BB5361}"/>
                    </a:ext>
                  </a:extLst>
                </p:cNvPr>
                <p:cNvSpPr>
                  <a:spLocks noChangeShapeType="1"/>
                </p:cNvSpPr>
                <p:nvPr/>
              </p:nvSpPr>
              <p:spPr bwMode="auto">
                <a:xfrm>
                  <a:off x="1295014" y="2265319"/>
                  <a:ext cx="0" cy="325237"/>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grpSp>
        <p:nvGrpSpPr>
          <p:cNvPr id="159" name="Group 158">
            <a:extLst>
              <a:ext uri="{FF2B5EF4-FFF2-40B4-BE49-F238E27FC236}">
                <a16:creationId xmlns:a16="http://schemas.microsoft.com/office/drawing/2014/main" id="{2407ED4C-E1FD-475A-BEF5-8C7F06AFC767}"/>
              </a:ext>
            </a:extLst>
          </p:cNvPr>
          <p:cNvGrpSpPr/>
          <p:nvPr/>
        </p:nvGrpSpPr>
        <p:grpSpPr>
          <a:xfrm>
            <a:off x="1354761" y="1029452"/>
            <a:ext cx="2421732" cy="1438759"/>
            <a:chOff x="92136" y="1632338"/>
            <a:chExt cx="4292183" cy="2498308"/>
          </a:xfrm>
        </p:grpSpPr>
        <p:sp>
          <p:nvSpPr>
            <p:cNvPr id="197" name="Rectangle 196">
              <a:extLst>
                <a:ext uri="{FF2B5EF4-FFF2-40B4-BE49-F238E27FC236}">
                  <a16:creationId xmlns:a16="http://schemas.microsoft.com/office/drawing/2014/main" id="{8144E458-7E4E-48F6-BDBD-29DBCCCACF55}"/>
                </a:ext>
              </a:extLst>
            </p:cNvPr>
            <p:cNvSpPr/>
            <p:nvPr/>
          </p:nvSpPr>
          <p:spPr bwMode="gray">
            <a:xfrm>
              <a:off x="92136" y="2335695"/>
              <a:ext cx="4292183" cy="1794951"/>
            </a:xfrm>
            <a:prstGeom prst="rect">
              <a:avLst/>
            </a:prstGeom>
            <a:solidFill>
              <a:sysClr val="window" lastClr="FFFFFF"/>
            </a:solidFill>
            <a:ln w="19050" algn="ctr">
              <a:solidFill>
                <a:schemeClr val="accent6"/>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solidFill>
                  <a:prstClr val="white"/>
                </a:solidFill>
              </a:endParaRPr>
            </a:p>
          </p:txBody>
        </p:sp>
        <p:grpSp>
          <p:nvGrpSpPr>
            <p:cNvPr id="198" name="Group 64">
              <a:extLst>
                <a:ext uri="{FF2B5EF4-FFF2-40B4-BE49-F238E27FC236}">
                  <a16:creationId xmlns:a16="http://schemas.microsoft.com/office/drawing/2014/main" id="{1990DC60-A4CA-4EDB-85CF-8E28E6BE1FD6}"/>
                </a:ext>
              </a:extLst>
            </p:cNvPr>
            <p:cNvGrpSpPr>
              <a:grpSpLocks noChangeAspect="1"/>
            </p:cNvGrpSpPr>
            <p:nvPr/>
          </p:nvGrpSpPr>
          <p:grpSpPr bwMode="auto">
            <a:xfrm rot="8100000">
              <a:off x="1523208" y="1632338"/>
              <a:ext cx="1311014" cy="1311017"/>
              <a:chOff x="701" y="2170"/>
              <a:chExt cx="587" cy="587"/>
            </a:xfrm>
          </p:grpSpPr>
          <p:sp>
            <p:nvSpPr>
              <p:cNvPr id="210" name="Oval 65">
                <a:extLst>
                  <a:ext uri="{FF2B5EF4-FFF2-40B4-BE49-F238E27FC236}">
                    <a16:creationId xmlns:a16="http://schemas.microsoft.com/office/drawing/2014/main" id="{515F5681-5810-4E2F-AB0F-D9124BE215FA}"/>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1" name="Line 66">
                <a:extLst>
                  <a:ext uri="{FF2B5EF4-FFF2-40B4-BE49-F238E27FC236}">
                    <a16:creationId xmlns:a16="http://schemas.microsoft.com/office/drawing/2014/main" id="{26A7A2F3-7AE1-4998-B49F-C43AC2318E5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2" name="Line 67">
                <a:extLst>
                  <a:ext uri="{FF2B5EF4-FFF2-40B4-BE49-F238E27FC236}">
                    <a16:creationId xmlns:a16="http://schemas.microsoft.com/office/drawing/2014/main" id="{AFA96B5C-A1B1-43FA-97CF-ED4C347B400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3" name="Line 69">
                <a:extLst>
                  <a:ext uri="{FF2B5EF4-FFF2-40B4-BE49-F238E27FC236}">
                    <a16:creationId xmlns:a16="http://schemas.microsoft.com/office/drawing/2014/main" id="{D6A1B4E0-AF91-4EE0-8FCD-25FCFB3E21E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4" name="Line 74">
                <a:extLst>
                  <a:ext uri="{FF2B5EF4-FFF2-40B4-BE49-F238E27FC236}">
                    <a16:creationId xmlns:a16="http://schemas.microsoft.com/office/drawing/2014/main" id="{77C4DEDD-3539-49D5-B8C4-30D64EC802E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5" name="Freeform 78">
                <a:extLst>
                  <a:ext uri="{FF2B5EF4-FFF2-40B4-BE49-F238E27FC236}">
                    <a16:creationId xmlns:a16="http://schemas.microsoft.com/office/drawing/2014/main" id="{F2ED74C4-EAA3-4F53-BB18-03395D8F659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solidFill>
                <a:srgbClr val="FFFFFF"/>
              </a:solidFill>
              <a:ln w="19050" cap="flat">
                <a:solidFill>
                  <a:srgbClr val="00A3E0"/>
                </a:solidFill>
                <a:prstDash val="sysDot"/>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6" name="Freeform 80">
                <a:extLst>
                  <a:ext uri="{FF2B5EF4-FFF2-40B4-BE49-F238E27FC236}">
                    <a16:creationId xmlns:a16="http://schemas.microsoft.com/office/drawing/2014/main" id="{A54F03B6-A923-4D59-A039-76E3012CCD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199" name="Rectangle 198">
              <a:extLst>
                <a:ext uri="{FF2B5EF4-FFF2-40B4-BE49-F238E27FC236}">
                  <a16:creationId xmlns:a16="http://schemas.microsoft.com/office/drawing/2014/main" id="{FF96BC00-7929-401A-AE08-83704236C9D7}"/>
                </a:ext>
              </a:extLst>
            </p:cNvPr>
            <p:cNvSpPr/>
            <p:nvPr/>
          </p:nvSpPr>
          <p:spPr>
            <a:xfrm>
              <a:off x="322974" y="2746886"/>
              <a:ext cx="3741411" cy="1059684"/>
            </a:xfrm>
            <a:prstGeom prst="rect">
              <a:avLst/>
            </a:prstGeom>
          </p:spPr>
          <p:txBody>
            <a:bodyPr wrap="square">
              <a:spAutoFit/>
            </a:bodyPr>
            <a:lstStyle/>
            <a:p>
              <a:pPr algn="ctr" defTabSz="914126">
                <a:spcAft>
                  <a:spcPts val="225"/>
                </a:spcAft>
                <a:buClr>
                  <a:srgbClr val="62B5E5"/>
                </a:buClr>
                <a:defRPr/>
              </a:pPr>
              <a:r>
                <a:rPr lang="en-US" sz="1799" b="1" kern="0" dirty="0">
                  <a:solidFill>
                    <a:schemeClr val="accent6"/>
                  </a:solidFill>
                  <a:ea typeface="Open Sans" panose="020B0606030504020204" pitchFamily="34" charset="0"/>
                  <a:cs typeface="Open Sans" panose="020B0606030504020204" pitchFamily="34" charset="0"/>
                </a:rPr>
                <a:t>Product Owner</a:t>
              </a:r>
            </a:p>
            <a:p>
              <a:pPr algn="ctr" defTabSz="914126">
                <a:spcAft>
                  <a:spcPts val="450"/>
                </a:spcAft>
                <a:buClr>
                  <a:srgbClr val="62B5E5"/>
                </a:buClr>
                <a:defRPr/>
              </a:pPr>
              <a:r>
                <a:rPr lang="en-US" sz="1400" kern="0" dirty="0">
                  <a:solidFill>
                    <a:schemeClr val="accent6"/>
                  </a:solidFill>
                  <a:ea typeface="Open Sans" panose="020B0606030504020204" pitchFamily="34" charset="0"/>
                  <a:cs typeface="Open Sans" panose="020B0606030504020204" pitchFamily="34" charset="0"/>
                </a:rPr>
                <a:t>“Voice of the customer”</a:t>
              </a:r>
            </a:p>
          </p:txBody>
        </p:sp>
        <p:grpSp>
          <p:nvGrpSpPr>
            <p:cNvPr id="200" name="Group 199">
              <a:extLst>
                <a:ext uri="{FF2B5EF4-FFF2-40B4-BE49-F238E27FC236}">
                  <a16:creationId xmlns:a16="http://schemas.microsoft.com/office/drawing/2014/main" id="{D377BA84-E0AC-4528-820F-BE2263753131}"/>
                </a:ext>
              </a:extLst>
            </p:cNvPr>
            <p:cNvGrpSpPr/>
            <p:nvPr/>
          </p:nvGrpSpPr>
          <p:grpSpPr>
            <a:xfrm>
              <a:off x="1847886" y="1796936"/>
              <a:ext cx="486350" cy="990752"/>
              <a:chOff x="2806707" y="2803319"/>
              <a:chExt cx="433388" cy="882861"/>
            </a:xfrm>
          </p:grpSpPr>
          <p:grpSp>
            <p:nvGrpSpPr>
              <p:cNvPr id="201" name="Group 51">
                <a:extLst>
                  <a:ext uri="{FF2B5EF4-FFF2-40B4-BE49-F238E27FC236}">
                    <a16:creationId xmlns:a16="http://schemas.microsoft.com/office/drawing/2014/main" id="{6DCC10E6-BF2B-46D5-AAFA-445E8F65D099}"/>
                  </a:ext>
                </a:extLst>
              </p:cNvPr>
              <p:cNvGrpSpPr>
                <a:grpSpLocks noChangeAspect="1"/>
              </p:cNvGrpSpPr>
              <p:nvPr/>
            </p:nvGrpSpPr>
            <p:grpSpPr bwMode="auto">
              <a:xfrm>
                <a:off x="2806707" y="3043242"/>
                <a:ext cx="433388" cy="642938"/>
                <a:chOff x="1768" y="1917"/>
                <a:chExt cx="273" cy="405"/>
              </a:xfrm>
            </p:grpSpPr>
            <p:sp>
              <p:nvSpPr>
                <p:cNvPr id="203" name="Freeform 52">
                  <a:extLst>
                    <a:ext uri="{FF2B5EF4-FFF2-40B4-BE49-F238E27FC236}">
                      <a16:creationId xmlns:a16="http://schemas.microsoft.com/office/drawing/2014/main" id="{BCDED810-659C-4432-A7B7-00EA16B8BDEB}"/>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4" name="Line 54">
                  <a:extLst>
                    <a:ext uri="{FF2B5EF4-FFF2-40B4-BE49-F238E27FC236}">
                      <a16:creationId xmlns:a16="http://schemas.microsoft.com/office/drawing/2014/main" id="{4EAEC4FB-7B22-4C19-8CDA-BB13582063FD}"/>
                    </a:ext>
                  </a:extLst>
                </p:cNvPr>
                <p:cNvSpPr>
                  <a:spLocks noChangeShapeType="1"/>
                </p:cNvSpPr>
                <p:nvPr/>
              </p:nvSpPr>
              <p:spPr bwMode="auto">
                <a:xfrm flipV="1">
                  <a:off x="1877" y="1995"/>
                  <a:ext cx="0" cy="327"/>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5" name="Line 55">
                  <a:extLst>
                    <a:ext uri="{FF2B5EF4-FFF2-40B4-BE49-F238E27FC236}">
                      <a16:creationId xmlns:a16="http://schemas.microsoft.com/office/drawing/2014/main" id="{412CCD28-31C4-4D6F-B7C6-69A136B428F3}"/>
                    </a:ext>
                  </a:extLst>
                </p:cNvPr>
                <p:cNvSpPr>
                  <a:spLocks noChangeShapeType="1"/>
                </p:cNvSpPr>
                <p:nvPr/>
              </p:nvSpPr>
              <p:spPr bwMode="auto">
                <a:xfrm flipV="1">
                  <a:off x="2009" y="1995"/>
                  <a:ext cx="0" cy="153"/>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6" name="Freeform 56">
                  <a:extLst>
                    <a:ext uri="{FF2B5EF4-FFF2-40B4-BE49-F238E27FC236}">
                      <a16:creationId xmlns:a16="http://schemas.microsoft.com/office/drawing/2014/main" id="{857AA5CC-1925-47EB-9CFB-85BFF901933E}"/>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7" name="Line 57">
                  <a:extLst>
                    <a:ext uri="{FF2B5EF4-FFF2-40B4-BE49-F238E27FC236}">
                      <a16:creationId xmlns:a16="http://schemas.microsoft.com/office/drawing/2014/main" id="{F616229B-E6F8-4FA4-9220-019C94BD38D2}"/>
                    </a:ext>
                  </a:extLst>
                </p:cNvPr>
                <p:cNvSpPr>
                  <a:spLocks noChangeShapeType="1"/>
                </p:cNvSpPr>
                <p:nvPr/>
              </p:nvSpPr>
              <p:spPr bwMode="auto">
                <a:xfrm>
                  <a:off x="1943" y="2135"/>
                  <a:ext cx="0" cy="186"/>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8" name="Freeform 58">
                  <a:extLst>
                    <a:ext uri="{FF2B5EF4-FFF2-40B4-BE49-F238E27FC236}">
                      <a16:creationId xmlns:a16="http://schemas.microsoft.com/office/drawing/2014/main" id="{0E8B5E91-E1C6-4C3D-8117-0BDC2872F62A}"/>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9" name="Rectangle 59">
                  <a:extLst>
                    <a:ext uri="{FF2B5EF4-FFF2-40B4-BE49-F238E27FC236}">
                      <a16:creationId xmlns:a16="http://schemas.microsoft.com/office/drawing/2014/main" id="{BE9701F3-3BCC-4043-9732-71BFCCCB3D9D}"/>
                    </a:ext>
                  </a:extLst>
                </p:cNvPr>
                <p:cNvSpPr>
                  <a:spLocks noChangeArrowheads="1"/>
                </p:cNvSpPr>
                <p:nvPr/>
              </p:nvSpPr>
              <p:spPr bwMode="auto">
                <a:xfrm>
                  <a:off x="1768" y="2102"/>
                  <a:ext cx="132" cy="109"/>
                </a:xfrm>
                <a:prstGeom prst="rect">
                  <a:avLst/>
                </a:prstGeom>
                <a:solidFill>
                  <a:sysClr val="windowText" lastClr="000000">
                    <a:lumMod val="50000"/>
                    <a:lumOff val="50000"/>
                  </a:sysClr>
                </a:solidFill>
                <a:ln w="14288">
                  <a:solidFill>
                    <a:sysClr val="windowText" lastClr="000000">
                      <a:lumMod val="65000"/>
                      <a:lumOff val="35000"/>
                    </a:sysClr>
                  </a:solidFill>
                  <a:prstDash val="solid"/>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202" name="Oval 201">
                <a:extLst>
                  <a:ext uri="{FF2B5EF4-FFF2-40B4-BE49-F238E27FC236}">
                    <a16:creationId xmlns:a16="http://schemas.microsoft.com/office/drawing/2014/main" id="{86AE0FEA-197D-4967-933B-C3B0B741065D}"/>
                  </a:ext>
                </a:extLst>
              </p:cNvPr>
              <p:cNvSpPr/>
              <p:nvPr/>
            </p:nvSpPr>
            <p:spPr bwMode="gray">
              <a:xfrm>
                <a:off x="2981633" y="2803319"/>
                <a:ext cx="193842" cy="193842"/>
              </a:xfrm>
              <a:prstGeom prst="ellipse">
                <a:avLst/>
              </a:prstGeom>
              <a:solidFill>
                <a:srgbClr val="00A3E0"/>
              </a:solidFill>
              <a:ln w="15875">
                <a:solidFill>
                  <a:sysClr val="windowText" lastClr="000000">
                    <a:lumMod val="65000"/>
                    <a:lumOff val="35000"/>
                  </a:sysClr>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nvGrpSpPr>
          <p:cNvPr id="160" name="Group 159">
            <a:extLst>
              <a:ext uri="{FF2B5EF4-FFF2-40B4-BE49-F238E27FC236}">
                <a16:creationId xmlns:a16="http://schemas.microsoft.com/office/drawing/2014/main" id="{304C395A-9C5A-4FBF-BEF8-B3F7DDAA6D75}"/>
              </a:ext>
            </a:extLst>
          </p:cNvPr>
          <p:cNvGrpSpPr/>
          <p:nvPr/>
        </p:nvGrpSpPr>
        <p:grpSpPr>
          <a:xfrm>
            <a:off x="8373934" y="1029450"/>
            <a:ext cx="2584172" cy="1467514"/>
            <a:chOff x="7819869" y="524668"/>
            <a:chExt cx="4053905" cy="2255489"/>
          </a:xfrm>
        </p:grpSpPr>
        <p:grpSp>
          <p:nvGrpSpPr>
            <p:cNvPr id="171" name="Group 170">
              <a:extLst>
                <a:ext uri="{FF2B5EF4-FFF2-40B4-BE49-F238E27FC236}">
                  <a16:creationId xmlns:a16="http://schemas.microsoft.com/office/drawing/2014/main" id="{AE0A40D9-34BD-477A-8A57-8EBB79CE47CA}"/>
                </a:ext>
              </a:extLst>
            </p:cNvPr>
            <p:cNvGrpSpPr/>
            <p:nvPr/>
          </p:nvGrpSpPr>
          <p:grpSpPr>
            <a:xfrm>
              <a:off x="8047967" y="524668"/>
              <a:ext cx="3599766" cy="2211295"/>
              <a:chOff x="7993550" y="2734469"/>
              <a:chExt cx="3624114" cy="2226250"/>
            </a:xfrm>
          </p:grpSpPr>
          <p:grpSp>
            <p:nvGrpSpPr>
              <p:cNvPr id="173" name="Group 172">
                <a:extLst>
                  <a:ext uri="{FF2B5EF4-FFF2-40B4-BE49-F238E27FC236}">
                    <a16:creationId xmlns:a16="http://schemas.microsoft.com/office/drawing/2014/main" id="{EAE8ED9F-4DAF-40A0-914A-80EEB3CB0383}"/>
                  </a:ext>
                </a:extLst>
              </p:cNvPr>
              <p:cNvGrpSpPr/>
              <p:nvPr/>
            </p:nvGrpSpPr>
            <p:grpSpPr>
              <a:xfrm>
                <a:off x="7993550" y="2734469"/>
                <a:ext cx="3624114" cy="2226250"/>
                <a:chOff x="7993550" y="1139995"/>
                <a:chExt cx="3624114" cy="2226250"/>
              </a:xfrm>
            </p:grpSpPr>
            <p:sp>
              <p:nvSpPr>
                <p:cNvPr id="188" name="Rectangle 187">
                  <a:extLst>
                    <a:ext uri="{FF2B5EF4-FFF2-40B4-BE49-F238E27FC236}">
                      <a16:creationId xmlns:a16="http://schemas.microsoft.com/office/drawing/2014/main" id="{35734938-FD04-44B1-9A54-EB3631E86C46}"/>
                    </a:ext>
                  </a:extLst>
                </p:cNvPr>
                <p:cNvSpPr/>
                <p:nvPr/>
              </p:nvSpPr>
              <p:spPr bwMode="gray">
                <a:xfrm>
                  <a:off x="7993550" y="1779913"/>
                  <a:ext cx="3624114" cy="1586332"/>
                </a:xfrm>
                <a:prstGeom prst="rect">
                  <a:avLst/>
                </a:prstGeom>
                <a:solidFill>
                  <a:sysClr val="window" lastClr="FFFFFF"/>
                </a:solidFill>
                <a:ln w="19050" algn="ctr">
                  <a:solidFill>
                    <a:schemeClr val="accent1"/>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ln>
                      <a:solidFill>
                        <a:srgbClr val="43B02A"/>
                      </a:solidFill>
                    </a:ln>
                    <a:solidFill>
                      <a:srgbClr val="86BC25"/>
                    </a:solidFill>
                  </a:endParaRPr>
                </a:p>
              </p:txBody>
            </p:sp>
            <p:grpSp>
              <p:nvGrpSpPr>
                <p:cNvPr id="189" name="Group 64">
                  <a:extLst>
                    <a:ext uri="{FF2B5EF4-FFF2-40B4-BE49-F238E27FC236}">
                      <a16:creationId xmlns:a16="http://schemas.microsoft.com/office/drawing/2014/main" id="{E446707D-A912-4503-BA55-2313F49E7855}"/>
                    </a:ext>
                  </a:extLst>
                </p:cNvPr>
                <p:cNvGrpSpPr>
                  <a:grpSpLocks noChangeAspect="1"/>
                </p:cNvGrpSpPr>
                <p:nvPr/>
              </p:nvGrpSpPr>
              <p:grpSpPr bwMode="auto">
                <a:xfrm rot="8100000">
                  <a:off x="9254103" y="1139995"/>
                  <a:ext cx="1168247" cy="1168250"/>
                  <a:chOff x="701" y="2170"/>
                  <a:chExt cx="587" cy="587"/>
                </a:xfrm>
              </p:grpSpPr>
              <p:sp>
                <p:nvSpPr>
                  <p:cNvPr id="190" name="Oval 65">
                    <a:extLst>
                      <a:ext uri="{FF2B5EF4-FFF2-40B4-BE49-F238E27FC236}">
                        <a16:creationId xmlns:a16="http://schemas.microsoft.com/office/drawing/2014/main" id="{0F6803FF-89A4-4857-8340-130BC6DDBB17}"/>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1" name="Line 66">
                    <a:extLst>
                      <a:ext uri="{FF2B5EF4-FFF2-40B4-BE49-F238E27FC236}">
                        <a16:creationId xmlns:a16="http://schemas.microsoft.com/office/drawing/2014/main" id="{8605BB6B-5DA2-4D82-B3DE-5E33979DC1A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2" name="Line 67">
                    <a:extLst>
                      <a:ext uri="{FF2B5EF4-FFF2-40B4-BE49-F238E27FC236}">
                        <a16:creationId xmlns:a16="http://schemas.microsoft.com/office/drawing/2014/main" id="{4028A519-206B-489E-81D0-BFF28CD3004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3" name="Line 69">
                    <a:extLst>
                      <a:ext uri="{FF2B5EF4-FFF2-40B4-BE49-F238E27FC236}">
                        <a16:creationId xmlns:a16="http://schemas.microsoft.com/office/drawing/2014/main" id="{2A4B2AF2-9BD3-4317-B35D-1542C594428B}"/>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4" name="Line 74">
                    <a:extLst>
                      <a:ext uri="{FF2B5EF4-FFF2-40B4-BE49-F238E27FC236}">
                        <a16:creationId xmlns:a16="http://schemas.microsoft.com/office/drawing/2014/main" id="{71300A80-B4A2-4604-989D-AB1445F37C6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5" name="Freeform 78">
                    <a:extLst>
                      <a:ext uri="{FF2B5EF4-FFF2-40B4-BE49-F238E27FC236}">
                        <a16:creationId xmlns:a16="http://schemas.microsoft.com/office/drawing/2014/main" id="{094E6B0E-D3E1-4D7D-9629-5AAD1B87FE40}"/>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6" name="Freeform 80">
                    <a:extLst>
                      <a:ext uri="{FF2B5EF4-FFF2-40B4-BE49-F238E27FC236}">
                        <a16:creationId xmlns:a16="http://schemas.microsoft.com/office/drawing/2014/main" id="{1F36885C-FF86-4EEA-AE5E-E5D80D4B8D5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nvGrpSpPr>
              <p:cNvPr id="174" name="Group 173">
                <a:extLst>
                  <a:ext uri="{FF2B5EF4-FFF2-40B4-BE49-F238E27FC236}">
                    <a16:creationId xmlns:a16="http://schemas.microsoft.com/office/drawing/2014/main" id="{C28DE069-CCC1-4B7D-B247-6B3F28BE97B7}"/>
                  </a:ext>
                </a:extLst>
              </p:cNvPr>
              <p:cNvGrpSpPr/>
              <p:nvPr/>
            </p:nvGrpSpPr>
            <p:grpSpPr>
              <a:xfrm>
                <a:off x="9392771" y="3033655"/>
                <a:ext cx="882489" cy="655154"/>
                <a:chOff x="5299997" y="2907109"/>
                <a:chExt cx="1542922" cy="1145462"/>
              </a:xfrm>
            </p:grpSpPr>
            <p:sp>
              <p:nvSpPr>
                <p:cNvPr id="175" name="Freeform 33">
                  <a:extLst>
                    <a:ext uri="{FF2B5EF4-FFF2-40B4-BE49-F238E27FC236}">
                      <a16:creationId xmlns:a16="http://schemas.microsoft.com/office/drawing/2014/main" id="{554BDE6D-6BA4-4304-B8D9-444FD1979562}"/>
                    </a:ext>
                  </a:extLst>
                </p:cNvPr>
                <p:cNvSpPr>
                  <a:spLocks/>
                </p:cNvSpPr>
                <p:nvPr/>
              </p:nvSpPr>
              <p:spPr bwMode="auto">
                <a:xfrm>
                  <a:off x="6555189" y="2907109"/>
                  <a:ext cx="274319" cy="273255"/>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6" name="Freeform 34">
                  <a:extLst>
                    <a:ext uri="{FF2B5EF4-FFF2-40B4-BE49-F238E27FC236}">
                      <a16:creationId xmlns:a16="http://schemas.microsoft.com/office/drawing/2014/main" id="{05157D28-96B5-421B-A9D0-1D3C75265E0B}"/>
                    </a:ext>
                  </a:extLst>
                </p:cNvPr>
                <p:cNvSpPr>
                  <a:spLocks/>
                </p:cNvSpPr>
                <p:nvPr/>
              </p:nvSpPr>
              <p:spPr bwMode="auto">
                <a:xfrm rot="16200000">
                  <a:off x="6569665" y="3254888"/>
                  <a:ext cx="273254" cy="273255"/>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7" name="Freeform 37">
                  <a:extLst>
                    <a:ext uri="{FF2B5EF4-FFF2-40B4-BE49-F238E27FC236}">
                      <a16:creationId xmlns:a16="http://schemas.microsoft.com/office/drawing/2014/main" id="{D58A25D5-6FED-4FCB-A48F-020BC5135CBA}"/>
                    </a:ext>
                  </a:extLst>
                </p:cNvPr>
                <p:cNvSpPr>
                  <a:spLocks/>
                </p:cNvSpPr>
                <p:nvPr/>
              </p:nvSpPr>
              <p:spPr bwMode="auto">
                <a:xfrm>
                  <a:off x="5324835" y="2907109"/>
                  <a:ext cx="274319" cy="273255"/>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8" name="Freeform 38">
                  <a:extLst>
                    <a:ext uri="{FF2B5EF4-FFF2-40B4-BE49-F238E27FC236}">
                      <a16:creationId xmlns:a16="http://schemas.microsoft.com/office/drawing/2014/main" id="{5CC0DF22-0E80-4E8B-A18A-8940BFB18A63}"/>
                    </a:ext>
                  </a:extLst>
                </p:cNvPr>
                <p:cNvSpPr>
                  <a:spLocks/>
                </p:cNvSpPr>
                <p:nvPr/>
              </p:nvSpPr>
              <p:spPr bwMode="auto">
                <a:xfrm rot="16200000">
                  <a:off x="5299998" y="3254888"/>
                  <a:ext cx="273254" cy="273255"/>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9" name="Freeform 32">
                  <a:extLst>
                    <a:ext uri="{FF2B5EF4-FFF2-40B4-BE49-F238E27FC236}">
                      <a16:creationId xmlns:a16="http://schemas.microsoft.com/office/drawing/2014/main" id="{58DA6AC8-2BD7-4081-A5EA-AA5368DF65EC}"/>
                    </a:ext>
                  </a:extLst>
                </p:cNvPr>
                <p:cNvSpPr>
                  <a:spLocks/>
                </p:cNvSpPr>
                <p:nvPr/>
              </p:nvSpPr>
              <p:spPr bwMode="auto">
                <a:xfrm>
                  <a:off x="6229914" y="2913260"/>
                  <a:ext cx="347473" cy="347779"/>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0" name="Freeform 35">
                  <a:extLst>
                    <a:ext uri="{FF2B5EF4-FFF2-40B4-BE49-F238E27FC236}">
                      <a16:creationId xmlns:a16="http://schemas.microsoft.com/office/drawing/2014/main" id="{FFEF9CBC-4057-4E61-9B43-D6ECC2EBDF80}"/>
                    </a:ext>
                  </a:extLst>
                </p:cNvPr>
                <p:cNvSpPr>
                  <a:spLocks/>
                </p:cNvSpPr>
                <p:nvPr/>
              </p:nvSpPr>
              <p:spPr bwMode="auto">
                <a:xfrm rot="16200000">
                  <a:off x="6246727" y="3329412"/>
                  <a:ext cx="322936" cy="375380"/>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1" name="Freeform 36">
                  <a:extLst>
                    <a:ext uri="{FF2B5EF4-FFF2-40B4-BE49-F238E27FC236}">
                      <a16:creationId xmlns:a16="http://schemas.microsoft.com/office/drawing/2014/main" id="{3F6B2746-9B7F-467F-8472-81710D37FD08}"/>
                    </a:ext>
                  </a:extLst>
                </p:cNvPr>
                <p:cNvSpPr>
                  <a:spLocks/>
                </p:cNvSpPr>
                <p:nvPr/>
              </p:nvSpPr>
              <p:spPr bwMode="auto">
                <a:xfrm>
                  <a:off x="5573250" y="2907109"/>
                  <a:ext cx="347473" cy="347779"/>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2" name="Freeform 25">
                  <a:extLst>
                    <a:ext uri="{FF2B5EF4-FFF2-40B4-BE49-F238E27FC236}">
                      <a16:creationId xmlns:a16="http://schemas.microsoft.com/office/drawing/2014/main" id="{50D2BB8F-E327-4321-8525-49452F73807A}"/>
                    </a:ext>
                  </a:extLst>
                </p:cNvPr>
                <p:cNvSpPr>
                  <a:spLocks/>
                </p:cNvSpPr>
                <p:nvPr/>
              </p:nvSpPr>
              <p:spPr bwMode="auto">
                <a:xfrm>
                  <a:off x="5846505" y="2907109"/>
                  <a:ext cx="452664" cy="447144"/>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3" name="Freeform 39">
                  <a:extLst>
                    <a:ext uri="{FF2B5EF4-FFF2-40B4-BE49-F238E27FC236}">
                      <a16:creationId xmlns:a16="http://schemas.microsoft.com/office/drawing/2014/main" id="{BFF41DCF-652C-43AB-A8DB-21702F073454}"/>
                    </a:ext>
                  </a:extLst>
                </p:cNvPr>
                <p:cNvSpPr>
                  <a:spLocks/>
                </p:cNvSpPr>
                <p:nvPr/>
              </p:nvSpPr>
              <p:spPr bwMode="auto">
                <a:xfrm rot="16200000">
                  <a:off x="5573250" y="3329412"/>
                  <a:ext cx="322936" cy="375380"/>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4" name="Freeform 26">
                  <a:extLst>
                    <a:ext uri="{FF2B5EF4-FFF2-40B4-BE49-F238E27FC236}">
                      <a16:creationId xmlns:a16="http://schemas.microsoft.com/office/drawing/2014/main" id="{4FD50B45-F00E-4256-9C97-EC8EA06E720F}"/>
                    </a:ext>
                  </a:extLst>
                </p:cNvPr>
                <p:cNvSpPr>
                  <a:spLocks/>
                </p:cNvSpPr>
                <p:nvPr/>
              </p:nvSpPr>
              <p:spPr bwMode="auto">
                <a:xfrm>
                  <a:off x="5796824" y="3431537"/>
                  <a:ext cx="549268" cy="422303"/>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5" name="Rectangle 27">
                  <a:extLst>
                    <a:ext uri="{FF2B5EF4-FFF2-40B4-BE49-F238E27FC236}">
                      <a16:creationId xmlns:a16="http://schemas.microsoft.com/office/drawing/2014/main" id="{6C7E1975-F1BF-482E-82D8-E33F9C006F3E}"/>
                    </a:ext>
                  </a:extLst>
                </p:cNvPr>
                <p:cNvSpPr>
                  <a:spLocks noChangeArrowheads="1"/>
                </p:cNvSpPr>
                <p:nvPr/>
              </p:nvSpPr>
              <p:spPr bwMode="auto">
                <a:xfrm>
                  <a:off x="5923789" y="3605427"/>
                  <a:ext cx="295335" cy="447144"/>
                </a:xfrm>
                <a:prstGeom prst="rect">
                  <a:avLst/>
                </a:prstGeom>
                <a:solidFill>
                  <a:srgbClr val="C4D600"/>
                </a:solidFill>
                <a:ln w="25400">
                  <a:noFill/>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6" name="Line 29">
                  <a:extLst>
                    <a:ext uri="{FF2B5EF4-FFF2-40B4-BE49-F238E27FC236}">
                      <a16:creationId xmlns:a16="http://schemas.microsoft.com/office/drawing/2014/main" id="{F76A10DD-5A96-4C89-9411-F684FD6F5D9D}"/>
                    </a:ext>
                  </a:extLst>
                </p:cNvPr>
                <p:cNvSpPr>
                  <a:spLocks noChangeShapeType="1"/>
                </p:cNvSpPr>
                <p:nvPr/>
              </p:nvSpPr>
              <p:spPr bwMode="auto">
                <a:xfrm flipV="1">
                  <a:off x="6219124" y="3605427"/>
                  <a:ext cx="0" cy="447144"/>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7" name="Line 31">
                  <a:extLst>
                    <a:ext uri="{FF2B5EF4-FFF2-40B4-BE49-F238E27FC236}">
                      <a16:creationId xmlns:a16="http://schemas.microsoft.com/office/drawing/2014/main" id="{B0C519B5-D09D-46A3-89AF-E0228447CF22}"/>
                    </a:ext>
                  </a:extLst>
                </p:cNvPr>
                <p:cNvSpPr>
                  <a:spLocks noChangeShapeType="1"/>
                </p:cNvSpPr>
                <p:nvPr/>
              </p:nvSpPr>
              <p:spPr bwMode="auto">
                <a:xfrm>
                  <a:off x="5923789" y="3605427"/>
                  <a:ext cx="0" cy="447144"/>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sp>
          <p:nvSpPr>
            <p:cNvPr id="172" name="Rectangle 171">
              <a:extLst>
                <a:ext uri="{FF2B5EF4-FFF2-40B4-BE49-F238E27FC236}">
                  <a16:creationId xmlns:a16="http://schemas.microsoft.com/office/drawing/2014/main" id="{B9BF7689-1E2A-4EFA-B9A1-44845F39DE16}"/>
                </a:ext>
              </a:extLst>
            </p:cNvPr>
            <p:cNvSpPr/>
            <p:nvPr/>
          </p:nvSpPr>
          <p:spPr>
            <a:xfrm>
              <a:off x="7819869" y="1511175"/>
              <a:ext cx="4053905" cy="1268982"/>
            </a:xfrm>
            <a:prstGeom prst="rect">
              <a:avLst/>
            </a:prstGeom>
            <a:noFill/>
          </p:spPr>
          <p:txBody>
            <a:bodyPr wrap="square">
              <a:spAutoFit/>
            </a:bodyPr>
            <a:lstStyle/>
            <a:p>
              <a:pPr algn="ctr" defTabSz="914126">
                <a:spcAft>
                  <a:spcPts val="225"/>
                </a:spcAft>
                <a:buClr>
                  <a:srgbClr val="62B5E5"/>
                </a:buClr>
                <a:defRPr/>
              </a:pPr>
              <a:r>
                <a:rPr lang="en-US" sz="1799" b="1" kern="0" dirty="0">
                  <a:solidFill>
                    <a:schemeClr val="accent1"/>
                  </a:solidFill>
                  <a:ea typeface="Open Sans" panose="020B0606030504020204" pitchFamily="34" charset="0"/>
                  <a:cs typeface="Open Sans" panose="020B0606030504020204" pitchFamily="34" charset="0"/>
                </a:rPr>
                <a:t>Development team</a:t>
              </a:r>
            </a:p>
            <a:p>
              <a:pPr algn="ctr" defTabSz="914126">
                <a:buClr>
                  <a:srgbClr val="62B5E5"/>
                </a:buClr>
                <a:defRPr/>
              </a:pPr>
              <a:r>
                <a:rPr lang="en-US" sz="1400" kern="0" dirty="0">
                  <a:solidFill>
                    <a:schemeClr val="accent1"/>
                  </a:solidFill>
                  <a:ea typeface="Open Sans" panose="020B0606030504020204" pitchFamily="34" charset="0"/>
                  <a:cs typeface="Open Sans" panose="020B0606030504020204" pitchFamily="34" charset="0"/>
                </a:rPr>
                <a:t>“Multi-talented group of </a:t>
              </a:r>
            </a:p>
            <a:p>
              <a:pPr algn="ctr" defTabSz="914126">
                <a:buClr>
                  <a:srgbClr val="62B5E5"/>
                </a:buClr>
                <a:defRPr/>
              </a:pPr>
              <a:r>
                <a:rPr lang="en-US" sz="1400" kern="0" dirty="0">
                  <a:solidFill>
                    <a:schemeClr val="accent1"/>
                  </a:solidFill>
                  <a:ea typeface="Open Sans" panose="020B0606030504020204" pitchFamily="34" charset="0"/>
                  <a:cs typeface="Open Sans" panose="020B0606030504020204" pitchFamily="34" charset="0"/>
                </a:rPr>
                <a:t>people”</a:t>
              </a:r>
            </a:p>
          </p:txBody>
        </p:sp>
      </p:grpSp>
      <p:sp>
        <p:nvSpPr>
          <p:cNvPr id="145" name="Rectangle 144">
            <a:extLst>
              <a:ext uri="{FF2B5EF4-FFF2-40B4-BE49-F238E27FC236}">
                <a16:creationId xmlns:a16="http://schemas.microsoft.com/office/drawing/2014/main" id="{B63B8203-0E7C-4C63-AD4B-839DFD22C1A6}"/>
              </a:ext>
            </a:extLst>
          </p:cNvPr>
          <p:cNvSpPr/>
          <p:nvPr/>
        </p:nvSpPr>
        <p:spPr bwMode="gray">
          <a:xfrm>
            <a:off x="1700710" y="4085584"/>
            <a:ext cx="1886288" cy="1264135"/>
          </a:xfrm>
          <a:prstGeom prst="rect">
            <a:avLst/>
          </a:prstGeom>
          <a:solidFill>
            <a:sysClr val="window" lastClr="FFFFFF"/>
          </a:solidFill>
          <a:ln w="19050" algn="ctr">
            <a:solidFill>
              <a:schemeClr val="accent6"/>
            </a:solidFill>
            <a:prstDash val="sysDot"/>
            <a:miter lim="800000"/>
            <a:headEnd/>
            <a:tailEnd/>
          </a:ln>
        </p:spPr>
        <p:txBody>
          <a:bodyPr wrap="square" lIns="150817" tIns="66649" rIns="34277" bIns="66649" rtlCol="0" anchor="ctr"/>
          <a:lstStyle/>
          <a:p>
            <a:pPr algn="ctr">
              <a:lnSpc>
                <a:spcPct val="106000"/>
              </a:lnSpc>
            </a:pPr>
            <a:r>
              <a:rPr lang="en-US" sz="1400" kern="0" dirty="0">
                <a:solidFill>
                  <a:srgbClr val="313131"/>
                </a:solidFill>
                <a:ea typeface="Open Sans" panose="020B0606030504020204" pitchFamily="34" charset="0"/>
                <a:cs typeface="Open Sans" panose="020B0606030504020204" pitchFamily="34" charset="0"/>
              </a:rPr>
              <a:t>Must be experienced, empowered, influential, committed, and trained</a:t>
            </a:r>
          </a:p>
        </p:txBody>
      </p:sp>
      <p:sp>
        <p:nvSpPr>
          <p:cNvPr id="146" name="Oval 65">
            <a:extLst>
              <a:ext uri="{FF2B5EF4-FFF2-40B4-BE49-F238E27FC236}">
                <a16:creationId xmlns:a16="http://schemas.microsoft.com/office/drawing/2014/main" id="{7DAFCE60-CF38-4A94-B216-04F32FD9D7FA}"/>
              </a:ext>
            </a:extLst>
          </p:cNvPr>
          <p:cNvSpPr>
            <a:spLocks noChangeArrowheads="1"/>
          </p:cNvSpPr>
          <p:nvPr/>
        </p:nvSpPr>
        <p:spPr bwMode="auto">
          <a:xfrm rot="8100000">
            <a:off x="1130838" y="4340149"/>
            <a:ext cx="739699" cy="755005"/>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200" kern="0" dirty="0">
              <a:solidFill>
                <a:prstClr val="black"/>
              </a:solidFill>
            </a:endParaRPr>
          </a:p>
        </p:txBody>
      </p:sp>
      <p:sp>
        <p:nvSpPr>
          <p:cNvPr id="147" name="Freeform 867">
            <a:extLst>
              <a:ext uri="{FF2B5EF4-FFF2-40B4-BE49-F238E27FC236}">
                <a16:creationId xmlns:a16="http://schemas.microsoft.com/office/drawing/2014/main" id="{0481CC1C-661A-48B2-AADA-92217AFD37F9}"/>
              </a:ext>
            </a:extLst>
          </p:cNvPr>
          <p:cNvSpPr>
            <a:spLocks noChangeAspect="1" noEditPoints="1"/>
          </p:cNvSpPr>
          <p:nvPr/>
        </p:nvSpPr>
        <p:spPr bwMode="auto">
          <a:xfrm>
            <a:off x="1330756" y="4500762"/>
            <a:ext cx="521601" cy="532392"/>
          </a:xfrm>
          <a:custGeom>
            <a:avLst/>
            <a:gdLst>
              <a:gd name="T0" fmla="*/ 138 w 512"/>
              <a:gd name="T1" fmla="*/ 138 h 512"/>
              <a:gd name="T2" fmla="*/ 373 w 512"/>
              <a:gd name="T3" fmla="*/ 138 h 512"/>
              <a:gd name="T4" fmla="*/ 373 w 512"/>
              <a:gd name="T5" fmla="*/ 309 h 512"/>
              <a:gd name="T6" fmla="*/ 138 w 512"/>
              <a:gd name="T7" fmla="*/ 309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266 w 512"/>
              <a:gd name="T25" fmla="*/ 117 h 512"/>
              <a:gd name="T26" fmla="*/ 256 w 512"/>
              <a:gd name="T27" fmla="*/ 106 h 512"/>
              <a:gd name="T28" fmla="*/ 245 w 512"/>
              <a:gd name="T29" fmla="*/ 117 h 512"/>
              <a:gd name="T30" fmla="*/ 128 w 512"/>
              <a:gd name="T31" fmla="*/ 117 h 512"/>
              <a:gd name="T32" fmla="*/ 117 w 512"/>
              <a:gd name="T33" fmla="*/ 128 h 512"/>
              <a:gd name="T34" fmla="*/ 117 w 512"/>
              <a:gd name="T35" fmla="*/ 320 h 512"/>
              <a:gd name="T36" fmla="*/ 128 w 512"/>
              <a:gd name="T37" fmla="*/ 330 h 512"/>
              <a:gd name="T38" fmla="*/ 198 w 512"/>
              <a:gd name="T39" fmla="*/ 330 h 512"/>
              <a:gd name="T40" fmla="*/ 171 w 512"/>
              <a:gd name="T41" fmla="*/ 401 h 512"/>
              <a:gd name="T42" fmla="*/ 177 w 512"/>
              <a:gd name="T43" fmla="*/ 415 h 512"/>
              <a:gd name="T44" fmla="*/ 181 w 512"/>
              <a:gd name="T45" fmla="*/ 416 h 512"/>
              <a:gd name="T46" fmla="*/ 191 w 512"/>
              <a:gd name="T47" fmla="*/ 409 h 512"/>
              <a:gd name="T48" fmla="*/ 220 w 512"/>
              <a:gd name="T49" fmla="*/ 330 h 512"/>
              <a:gd name="T50" fmla="*/ 245 w 512"/>
              <a:gd name="T51" fmla="*/ 330 h 512"/>
              <a:gd name="T52" fmla="*/ 245 w 512"/>
              <a:gd name="T53" fmla="*/ 373 h 512"/>
              <a:gd name="T54" fmla="*/ 256 w 512"/>
              <a:gd name="T55" fmla="*/ 384 h 512"/>
              <a:gd name="T56" fmla="*/ 266 w 512"/>
              <a:gd name="T57" fmla="*/ 373 h 512"/>
              <a:gd name="T58" fmla="*/ 266 w 512"/>
              <a:gd name="T59" fmla="*/ 330 h 512"/>
              <a:gd name="T60" fmla="*/ 291 w 512"/>
              <a:gd name="T61" fmla="*/ 330 h 512"/>
              <a:gd name="T62" fmla="*/ 320 w 512"/>
              <a:gd name="T63" fmla="*/ 409 h 512"/>
              <a:gd name="T64" fmla="*/ 330 w 512"/>
              <a:gd name="T65" fmla="*/ 416 h 512"/>
              <a:gd name="T66" fmla="*/ 334 w 512"/>
              <a:gd name="T67" fmla="*/ 415 h 512"/>
              <a:gd name="T68" fmla="*/ 340 w 512"/>
              <a:gd name="T69" fmla="*/ 401 h 512"/>
              <a:gd name="T70" fmla="*/ 314 w 512"/>
              <a:gd name="T71" fmla="*/ 330 h 512"/>
              <a:gd name="T72" fmla="*/ 384 w 512"/>
              <a:gd name="T73" fmla="*/ 330 h 512"/>
              <a:gd name="T74" fmla="*/ 394 w 512"/>
              <a:gd name="T75" fmla="*/ 320 h 512"/>
              <a:gd name="T76" fmla="*/ 394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138" y="138"/>
                </a:moveTo>
                <a:cubicBezTo>
                  <a:pt x="373" y="138"/>
                  <a:pt x="373" y="138"/>
                  <a:pt x="373" y="138"/>
                </a:cubicBezTo>
                <a:cubicBezTo>
                  <a:pt x="373" y="309"/>
                  <a:pt x="373" y="309"/>
                  <a:pt x="373" y="309"/>
                </a:cubicBezTo>
                <a:cubicBezTo>
                  <a:pt x="138" y="309"/>
                  <a:pt x="138" y="309"/>
                  <a:pt x="138" y="309"/>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266" y="117"/>
                  <a:pt x="266" y="117"/>
                  <a:pt x="266" y="117"/>
                </a:cubicBezTo>
                <a:cubicBezTo>
                  <a:pt x="266" y="111"/>
                  <a:pt x="262" y="106"/>
                  <a:pt x="256" y="106"/>
                </a:cubicBezTo>
                <a:cubicBezTo>
                  <a:pt x="250" y="106"/>
                  <a:pt x="245" y="111"/>
                  <a:pt x="245" y="117"/>
                </a:cubicBezTo>
                <a:cubicBezTo>
                  <a:pt x="128" y="117"/>
                  <a:pt x="128" y="117"/>
                  <a:pt x="128" y="117"/>
                </a:cubicBezTo>
                <a:cubicBezTo>
                  <a:pt x="122" y="117"/>
                  <a:pt x="117" y="122"/>
                  <a:pt x="117" y="128"/>
                </a:cubicBezTo>
                <a:cubicBezTo>
                  <a:pt x="117" y="320"/>
                  <a:pt x="117" y="320"/>
                  <a:pt x="117" y="320"/>
                </a:cubicBezTo>
                <a:cubicBezTo>
                  <a:pt x="117" y="326"/>
                  <a:pt x="122" y="330"/>
                  <a:pt x="128" y="330"/>
                </a:cubicBezTo>
                <a:cubicBezTo>
                  <a:pt x="198" y="330"/>
                  <a:pt x="198" y="330"/>
                  <a:pt x="198" y="330"/>
                </a:cubicBezTo>
                <a:cubicBezTo>
                  <a:pt x="171" y="401"/>
                  <a:pt x="171" y="401"/>
                  <a:pt x="171" y="401"/>
                </a:cubicBezTo>
                <a:cubicBezTo>
                  <a:pt x="169" y="407"/>
                  <a:pt x="172" y="413"/>
                  <a:pt x="177" y="415"/>
                </a:cubicBezTo>
                <a:cubicBezTo>
                  <a:pt x="178" y="415"/>
                  <a:pt x="180" y="416"/>
                  <a:pt x="181" y="416"/>
                </a:cubicBezTo>
                <a:cubicBezTo>
                  <a:pt x="185" y="416"/>
                  <a:pt x="189" y="413"/>
                  <a:pt x="191" y="409"/>
                </a:cubicBezTo>
                <a:cubicBezTo>
                  <a:pt x="220" y="330"/>
                  <a:pt x="220" y="330"/>
                  <a:pt x="220" y="330"/>
                </a:cubicBezTo>
                <a:cubicBezTo>
                  <a:pt x="245" y="330"/>
                  <a:pt x="245" y="330"/>
                  <a:pt x="245" y="330"/>
                </a:cubicBezTo>
                <a:cubicBezTo>
                  <a:pt x="245" y="373"/>
                  <a:pt x="245" y="373"/>
                  <a:pt x="245" y="373"/>
                </a:cubicBezTo>
                <a:cubicBezTo>
                  <a:pt x="245" y="379"/>
                  <a:pt x="250" y="384"/>
                  <a:pt x="256" y="384"/>
                </a:cubicBezTo>
                <a:cubicBezTo>
                  <a:pt x="262" y="384"/>
                  <a:pt x="266" y="379"/>
                  <a:pt x="266" y="373"/>
                </a:cubicBezTo>
                <a:cubicBezTo>
                  <a:pt x="266" y="330"/>
                  <a:pt x="266" y="330"/>
                  <a:pt x="266" y="330"/>
                </a:cubicBezTo>
                <a:cubicBezTo>
                  <a:pt x="291" y="330"/>
                  <a:pt x="291" y="330"/>
                  <a:pt x="291" y="330"/>
                </a:cubicBezTo>
                <a:cubicBezTo>
                  <a:pt x="320" y="409"/>
                  <a:pt x="320" y="409"/>
                  <a:pt x="320" y="409"/>
                </a:cubicBezTo>
                <a:cubicBezTo>
                  <a:pt x="322" y="413"/>
                  <a:pt x="326" y="416"/>
                  <a:pt x="330" y="416"/>
                </a:cubicBezTo>
                <a:cubicBezTo>
                  <a:pt x="332" y="416"/>
                  <a:pt x="333" y="415"/>
                  <a:pt x="334" y="415"/>
                </a:cubicBezTo>
                <a:cubicBezTo>
                  <a:pt x="340" y="413"/>
                  <a:pt x="342" y="407"/>
                  <a:pt x="340" y="401"/>
                </a:cubicBezTo>
                <a:cubicBezTo>
                  <a:pt x="314" y="330"/>
                  <a:pt x="314" y="330"/>
                  <a:pt x="314" y="330"/>
                </a:cubicBezTo>
                <a:cubicBezTo>
                  <a:pt x="384" y="330"/>
                  <a:pt x="384" y="330"/>
                  <a:pt x="384" y="330"/>
                </a:cubicBezTo>
                <a:cubicBezTo>
                  <a:pt x="390" y="330"/>
                  <a:pt x="394" y="326"/>
                  <a:pt x="394" y="320"/>
                </a:cubicBezTo>
                <a:lnTo>
                  <a:pt x="394" y="128"/>
                </a:lnTo>
                <a:close/>
              </a:path>
            </a:pathLst>
          </a:custGeom>
          <a:solidFill>
            <a:schemeClr val="accent6"/>
          </a:solidFill>
          <a:ln>
            <a:noFill/>
          </a:ln>
        </p:spPr>
        <p:txBody>
          <a:bodyPr vert="horz" wrap="square" lIns="68553" tIns="34277" rIns="68553" bIns="34277" numCol="1" anchor="t" anchorCtr="0" compatLnSpc="1">
            <a:prstTxWarp prst="textNoShape">
              <a:avLst/>
            </a:prstTxWarp>
          </a:bodyPr>
          <a:lstStyle/>
          <a:p>
            <a:pPr defTabSz="914126">
              <a:defRPr/>
            </a:pPr>
            <a:endParaRPr lang="en-US" sz="1400" kern="0" dirty="0">
              <a:solidFill>
                <a:prstClr val="black"/>
              </a:solidFill>
            </a:endParaRPr>
          </a:p>
        </p:txBody>
      </p:sp>
      <p:sp>
        <p:nvSpPr>
          <p:cNvPr id="148" name="Rectangle 147">
            <a:extLst>
              <a:ext uri="{FF2B5EF4-FFF2-40B4-BE49-F238E27FC236}">
                <a16:creationId xmlns:a16="http://schemas.microsoft.com/office/drawing/2014/main" id="{92A8E1AF-7694-4632-8630-CA179C551F79}"/>
              </a:ext>
            </a:extLst>
          </p:cNvPr>
          <p:cNvSpPr/>
          <p:nvPr/>
        </p:nvSpPr>
        <p:spPr bwMode="gray">
          <a:xfrm>
            <a:off x="1709692" y="2649970"/>
            <a:ext cx="1886288" cy="1264363"/>
          </a:xfrm>
          <a:prstGeom prst="rect">
            <a:avLst/>
          </a:prstGeom>
          <a:solidFill>
            <a:sysClr val="window" lastClr="FFFFFF"/>
          </a:solidFill>
          <a:ln w="19050" algn="ctr">
            <a:solidFill>
              <a:schemeClr val="accent6"/>
            </a:solidFill>
            <a:prstDash val="sysDot"/>
            <a:miter lim="800000"/>
            <a:headEnd/>
            <a:tailEnd/>
          </a:ln>
        </p:spPr>
        <p:txBody>
          <a:bodyPr wrap="square" lIns="137106" tIns="66649" rIns="66649" bIns="66649" rtlCol="0" anchor="ctr"/>
          <a:lstStyle/>
          <a:p>
            <a:pPr algn="ctr">
              <a:lnSpc>
                <a:spcPct val="106000"/>
              </a:lnSpc>
            </a:pPr>
            <a:r>
              <a:rPr lang="en-US" sz="1400" kern="0" dirty="0">
                <a:solidFill>
                  <a:srgbClr val="313131"/>
                </a:solidFill>
                <a:ea typeface="Open Sans" panose="020B0606030504020204" pitchFamily="34" charset="0"/>
                <a:cs typeface="Open Sans" panose="020B0606030504020204" pitchFamily="34" charset="0"/>
              </a:rPr>
              <a:t>Organization; </a:t>
            </a:r>
            <a:br>
              <a:rPr lang="en-US" sz="1400" kern="0" dirty="0">
                <a:solidFill>
                  <a:srgbClr val="313131"/>
                </a:solidFill>
                <a:ea typeface="Open Sans" panose="020B0606030504020204" pitchFamily="34" charset="0"/>
                <a:cs typeface="Open Sans" panose="020B0606030504020204" pitchFamily="34" charset="0"/>
              </a:rPr>
            </a:br>
            <a:r>
              <a:rPr lang="en-US" sz="1400" kern="0" dirty="0">
                <a:solidFill>
                  <a:srgbClr val="313131"/>
                </a:solidFill>
                <a:ea typeface="Open Sans" panose="020B0606030504020204" pitchFamily="34" charset="0"/>
                <a:cs typeface="Open Sans" panose="020B0606030504020204" pitchFamily="34" charset="0"/>
              </a:rPr>
              <a:t>represents </a:t>
            </a:r>
            <a:br>
              <a:rPr lang="en-US" sz="1400" kern="0" dirty="0">
                <a:solidFill>
                  <a:srgbClr val="313131"/>
                </a:solidFill>
                <a:ea typeface="Open Sans" panose="020B0606030504020204" pitchFamily="34" charset="0"/>
                <a:cs typeface="Open Sans" panose="020B0606030504020204" pitchFamily="34" charset="0"/>
              </a:rPr>
            </a:br>
            <a:r>
              <a:rPr lang="en-US" sz="1400" kern="0" dirty="0">
                <a:solidFill>
                  <a:srgbClr val="313131"/>
                </a:solidFill>
                <a:ea typeface="Open Sans" panose="020B0606030504020204" pitchFamily="34" charset="0"/>
                <a:cs typeface="Open Sans" panose="020B0606030504020204" pitchFamily="34" charset="0"/>
              </a:rPr>
              <a:t>the stakeholders </a:t>
            </a:r>
          </a:p>
        </p:txBody>
      </p:sp>
      <p:sp>
        <p:nvSpPr>
          <p:cNvPr id="149" name="Oval 65">
            <a:extLst>
              <a:ext uri="{FF2B5EF4-FFF2-40B4-BE49-F238E27FC236}">
                <a16:creationId xmlns:a16="http://schemas.microsoft.com/office/drawing/2014/main" id="{C77D1437-B7D3-4701-B168-8AB062D09AB7}"/>
              </a:ext>
            </a:extLst>
          </p:cNvPr>
          <p:cNvSpPr>
            <a:spLocks noChangeArrowheads="1"/>
          </p:cNvSpPr>
          <p:nvPr/>
        </p:nvSpPr>
        <p:spPr bwMode="auto">
          <a:xfrm rot="8100000">
            <a:off x="1218065" y="2904648"/>
            <a:ext cx="739699" cy="755005"/>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600" kern="0" dirty="0">
              <a:solidFill>
                <a:prstClr val="black"/>
              </a:solidFill>
            </a:endParaRPr>
          </a:p>
        </p:txBody>
      </p:sp>
      <p:grpSp>
        <p:nvGrpSpPr>
          <p:cNvPr id="150" name="Group 149">
            <a:extLst>
              <a:ext uri="{FF2B5EF4-FFF2-40B4-BE49-F238E27FC236}">
                <a16:creationId xmlns:a16="http://schemas.microsoft.com/office/drawing/2014/main" id="{587669F5-290D-473A-9E89-EBB0366BF311}"/>
              </a:ext>
            </a:extLst>
          </p:cNvPr>
          <p:cNvGrpSpPr>
            <a:grpSpLocks noChangeAspect="1"/>
          </p:cNvGrpSpPr>
          <p:nvPr/>
        </p:nvGrpSpPr>
        <p:grpSpPr>
          <a:xfrm>
            <a:off x="1325703" y="2963577"/>
            <a:ext cx="524403" cy="532567"/>
            <a:chOff x="5672133" y="4513272"/>
            <a:chExt cx="1579564" cy="1571627"/>
          </a:xfrm>
          <a:solidFill>
            <a:schemeClr val="accent6"/>
          </a:solidFill>
        </p:grpSpPr>
        <p:sp>
          <p:nvSpPr>
            <p:cNvPr id="151" name="Rectangle 5">
              <a:extLst>
                <a:ext uri="{FF2B5EF4-FFF2-40B4-BE49-F238E27FC236}">
                  <a16:creationId xmlns:a16="http://schemas.microsoft.com/office/drawing/2014/main" id="{BB7A2462-A603-42EF-BEFF-93FA24C86522}"/>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152" name="Oval 6">
              <a:extLst>
                <a:ext uri="{FF2B5EF4-FFF2-40B4-BE49-F238E27FC236}">
                  <a16:creationId xmlns:a16="http://schemas.microsoft.com/office/drawing/2014/main" id="{2B42B695-80F6-4A69-9FB9-4627A024F82A}"/>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155" name="Rectangle 7">
              <a:extLst>
                <a:ext uri="{FF2B5EF4-FFF2-40B4-BE49-F238E27FC236}">
                  <a16:creationId xmlns:a16="http://schemas.microsoft.com/office/drawing/2014/main" id="{F6248150-DD81-4752-9286-131C1EFE4AFF}"/>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156" name="Oval 8">
              <a:extLst>
                <a:ext uri="{FF2B5EF4-FFF2-40B4-BE49-F238E27FC236}">
                  <a16:creationId xmlns:a16="http://schemas.microsoft.com/office/drawing/2014/main" id="{1379C208-EC51-42E7-89A7-BDF96CBE142C}"/>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158" name="Oval 9">
              <a:extLst>
                <a:ext uri="{FF2B5EF4-FFF2-40B4-BE49-F238E27FC236}">
                  <a16:creationId xmlns:a16="http://schemas.microsoft.com/office/drawing/2014/main" id="{F640F36B-BA14-4ECB-80A8-960C56564EA7}"/>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161" name="Freeform 10">
              <a:extLst>
                <a:ext uri="{FF2B5EF4-FFF2-40B4-BE49-F238E27FC236}">
                  <a16:creationId xmlns:a16="http://schemas.microsoft.com/office/drawing/2014/main" id="{3BA4463C-DECC-48FB-A7F1-6F9EDEADE837}"/>
                </a:ext>
              </a:extLst>
            </p:cNvPr>
            <p:cNvSpPr>
              <a:spLocks noEditPoints="1"/>
            </p:cNvSpPr>
            <p:nvPr/>
          </p:nvSpPr>
          <p:spPr bwMode="auto">
            <a:xfrm>
              <a:off x="5672133" y="4513272"/>
              <a:ext cx="1579564" cy="1571627"/>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799" kern="0" dirty="0">
                <a:solidFill>
                  <a:prstClr val="black"/>
                </a:solidFill>
              </a:endParaRPr>
            </a:p>
          </p:txBody>
        </p:sp>
        <p:sp>
          <p:nvSpPr>
            <p:cNvPr id="162" name="Freeform 11">
              <a:extLst>
                <a:ext uri="{FF2B5EF4-FFF2-40B4-BE49-F238E27FC236}">
                  <a16:creationId xmlns:a16="http://schemas.microsoft.com/office/drawing/2014/main" id="{6CC13C13-5DB3-4ACA-89FB-9DE1739BDF16}"/>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grpSp>
    </p:spTree>
    <p:custDataLst>
      <p:tags r:id="rId1"/>
    </p:custDataLst>
    <p:extLst>
      <p:ext uri="{BB962C8B-B14F-4D97-AF65-F5344CB8AC3E}">
        <p14:creationId xmlns:p14="http://schemas.microsoft.com/office/powerpoint/2010/main" val="149625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005E5A67-1FB7-463C-AD93-7274A40DA11C}"/>
              </a:ext>
            </a:extLst>
          </p:cNvPr>
          <p:cNvSpPr>
            <a:spLocks noGrp="1"/>
          </p:cNvSpPr>
          <p:nvPr>
            <p:ph type="title"/>
          </p:nvPr>
        </p:nvSpPr>
        <p:spPr/>
        <p:txBody>
          <a:bodyPr/>
          <a:lstStyle/>
          <a:p>
            <a:r>
              <a:rPr lang="en-US" dirty="0">
                <a:solidFill>
                  <a:schemeClr val="tx1"/>
                </a:solidFill>
              </a:rPr>
              <a:t>Roles: Scrum Master </a:t>
            </a:r>
          </a:p>
        </p:txBody>
      </p:sp>
      <p:sp>
        <p:nvSpPr>
          <p:cNvPr id="430" name="Text Placeholder 3">
            <a:extLst>
              <a:ext uri="{FF2B5EF4-FFF2-40B4-BE49-F238E27FC236}">
                <a16:creationId xmlns:a16="http://schemas.microsoft.com/office/drawing/2014/main" id="{07D9CD7A-2C59-45C5-8EE8-B17E30D8531A}"/>
              </a:ext>
            </a:extLst>
          </p:cNvPr>
          <p:cNvSpPr txBox="1">
            <a:spLocks/>
          </p:cNvSpPr>
          <p:nvPr/>
        </p:nvSpPr>
        <p:spPr>
          <a:xfrm>
            <a:off x="1363512" y="1247555"/>
            <a:ext cx="8893256" cy="767574"/>
          </a:xfrm>
          <a:prstGeom prst="rect">
            <a:avLst/>
          </a:prstGeom>
        </p:spPr>
        <p:txBody>
          <a:bodyPr vert="horz" lIns="0" tIns="0" rIns="0" bIns="0" rtlCol="0">
            <a:noAutofit/>
          </a:bodyPr>
          <a:lstStyle>
            <a:lvl1pPr marL="0" indent="0" algn="l" defTabSz="911970" rtl="0" eaLnBrk="1" latinLnBrk="0" hangingPunct="1">
              <a:spcBef>
                <a:spcPts val="0"/>
              </a:spcBef>
              <a:spcAft>
                <a:spcPts val="997"/>
              </a:spcAft>
              <a:buSzPct val="100000"/>
              <a:buFontTx/>
              <a:buNone/>
              <a:defRPr sz="2000" b="0" kern="1200">
                <a:solidFill>
                  <a:srgbClr val="575757"/>
                </a:solidFill>
                <a:latin typeface="+mn-lt"/>
                <a:ea typeface="+mn-ea"/>
                <a:cs typeface="+mn-cs"/>
              </a:defRPr>
            </a:lvl1pPr>
            <a:lvl2pPr marL="95000" indent="-95000" algn="l" defTabSz="911970" rtl="0" eaLnBrk="1" latinLnBrk="0" hangingPunct="1">
              <a:spcBef>
                <a:spcPts val="0"/>
              </a:spcBef>
              <a:spcAft>
                <a:spcPts val="997"/>
              </a:spcAft>
              <a:buClrTx/>
              <a:buSzPct val="100000"/>
              <a:buFont typeface="Arial" panose="020B0604020202020204" pitchFamily="34" charset="0"/>
              <a:buChar char="•"/>
              <a:defRPr lang="en-US" sz="898" b="0" kern="1200" dirty="0" smtClean="0">
                <a:solidFill>
                  <a:schemeClr val="tx1"/>
                </a:solidFill>
                <a:latin typeface="+mn-lt"/>
                <a:ea typeface="+mn-ea"/>
                <a:cs typeface="+mn-cs"/>
              </a:defRPr>
            </a:lvl2pPr>
            <a:lvl3pPr marL="208999" indent="-95000" algn="l" defTabSz="911970" rtl="0" eaLnBrk="1" latinLnBrk="0" hangingPunct="1">
              <a:spcBef>
                <a:spcPts val="0"/>
              </a:spcBef>
              <a:spcAft>
                <a:spcPts val="997"/>
              </a:spcAft>
              <a:buClrTx/>
              <a:buSzPct val="100000"/>
              <a:buFont typeface="Arial" panose="020B0604020202020204" pitchFamily="34" charset="0"/>
              <a:buChar char="−"/>
              <a:defRPr lang="en-US" sz="898" kern="1200" dirty="0" smtClean="0">
                <a:solidFill>
                  <a:schemeClr val="tx1"/>
                </a:solidFill>
                <a:latin typeface="+mn-lt"/>
                <a:ea typeface="+mn-ea"/>
                <a:cs typeface="+mn-cs"/>
              </a:defRPr>
            </a:lvl3pPr>
            <a:lvl4pPr marL="322998" indent="-95000" algn="l" defTabSz="911970" rtl="0" eaLnBrk="1" latinLnBrk="0" hangingPunct="1">
              <a:spcBef>
                <a:spcPts val="0"/>
              </a:spcBef>
              <a:spcAft>
                <a:spcPts val="997"/>
              </a:spcAft>
              <a:buClrTx/>
              <a:buSzPct val="100000"/>
              <a:buFont typeface="Arial" panose="020B0604020202020204" pitchFamily="34" charset="0"/>
              <a:buChar char="◦"/>
              <a:defRPr lang="en-US" sz="898" kern="1200" baseline="0" dirty="0" smtClean="0">
                <a:solidFill>
                  <a:schemeClr val="tx1"/>
                </a:solidFill>
                <a:latin typeface="+mn-lt"/>
                <a:ea typeface="+mn-ea"/>
                <a:cs typeface="+mn-cs"/>
              </a:defRPr>
            </a:lvl4pPr>
            <a:lvl5pPr marL="436997" indent="-95000" algn="l" defTabSz="796390" rtl="0" eaLnBrk="1" latinLnBrk="0" hangingPunct="1">
              <a:spcBef>
                <a:spcPts val="0"/>
              </a:spcBef>
              <a:spcAft>
                <a:spcPts val="997"/>
              </a:spcAft>
              <a:buClrTx/>
              <a:buSzPct val="100000"/>
              <a:buFont typeface="Arial" panose="020B0604020202020204" pitchFamily="34" charset="0"/>
              <a:buChar char="−"/>
              <a:tabLst/>
              <a:defRPr lang="en-US" sz="898" kern="1200" baseline="0" dirty="0" smtClean="0">
                <a:solidFill>
                  <a:schemeClr val="tx1"/>
                </a:solidFill>
                <a:latin typeface="+mn-lt"/>
                <a:ea typeface="+mn-ea"/>
                <a:cs typeface="+mn-cs"/>
              </a:defRPr>
            </a:lvl5pPr>
            <a:lvl6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6pPr>
            <a:lvl7pPr marL="531384" indent="-175931" algn="l" defTabSz="911970" rtl="0" eaLnBrk="1" latinLnBrk="0" hangingPunct="1">
              <a:spcBef>
                <a:spcPts val="0"/>
              </a:spcBef>
              <a:spcAft>
                <a:spcPts val="997"/>
              </a:spcAft>
              <a:buFont typeface="Verdana" panose="020B0604030504040204" pitchFamily="34" charset="0"/>
              <a:buChar char="−"/>
              <a:defRPr sz="1197" kern="1200">
                <a:solidFill>
                  <a:schemeClr val="tx1"/>
                </a:solidFill>
                <a:latin typeface="+mn-lt"/>
                <a:ea typeface="+mn-ea"/>
                <a:cs typeface="+mn-cs"/>
              </a:defRPr>
            </a:lvl7pPr>
            <a:lvl8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8pPr>
            <a:lvl9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9pPr>
          </a:lstStyle>
          <a:p>
            <a:pPr defTabSz="911696">
              <a:defRPr/>
            </a:pPr>
            <a:r>
              <a:rPr lang="en-US" sz="1999" dirty="0">
                <a:latin typeface="Verdana"/>
              </a:rPr>
              <a:t> </a:t>
            </a:r>
          </a:p>
        </p:txBody>
      </p:sp>
      <p:sp>
        <p:nvSpPr>
          <p:cNvPr id="605" name="Rectangle 604">
            <a:extLst>
              <a:ext uri="{FF2B5EF4-FFF2-40B4-BE49-F238E27FC236}">
                <a16:creationId xmlns:a16="http://schemas.microsoft.com/office/drawing/2014/main" id="{63A1AD97-202E-4BA5-B5DF-3F329A8EE629}"/>
              </a:ext>
            </a:extLst>
          </p:cNvPr>
          <p:cNvSpPr/>
          <p:nvPr/>
        </p:nvSpPr>
        <p:spPr bwMode="gray">
          <a:xfrm>
            <a:off x="5206423" y="2645381"/>
            <a:ext cx="1883664" cy="1273040"/>
          </a:xfrm>
          <a:prstGeom prst="rect">
            <a:avLst/>
          </a:prstGeom>
          <a:solidFill>
            <a:sysClr val="window" lastClr="FFFFFF"/>
          </a:solidFill>
          <a:ln w="19050" algn="ctr">
            <a:solidFill>
              <a:schemeClr val="accent4">
                <a:lumMod val="75000"/>
              </a:schemeClr>
            </a:solidFill>
            <a:prstDash val="sysDot"/>
            <a:miter lim="800000"/>
            <a:headEnd/>
            <a:tailEnd/>
          </a:ln>
        </p:spPr>
        <p:txBody>
          <a:bodyPr wrap="square" lIns="137106" tIns="66649" rIns="66649" bIns="66649" rtlCol="0" anchor="ctr"/>
          <a:lstStyle/>
          <a:p>
            <a:pPr algn="ctr">
              <a:lnSpc>
                <a:spcPct val="106000"/>
              </a:lnSpc>
            </a:pPr>
            <a:r>
              <a:rPr lang="en-US" sz="1400" dirty="0">
                <a:ea typeface="Open Sans" panose="020B0606030504020204" pitchFamily="34" charset="0"/>
                <a:cs typeface="Open Sans" panose="020B0606030504020204" pitchFamily="34" charset="0"/>
              </a:rPr>
              <a:t>Ensures that the team is fully functional and productive</a:t>
            </a:r>
          </a:p>
        </p:txBody>
      </p:sp>
      <p:sp>
        <p:nvSpPr>
          <p:cNvPr id="606" name="Rectangle 605">
            <a:extLst>
              <a:ext uri="{FF2B5EF4-FFF2-40B4-BE49-F238E27FC236}">
                <a16:creationId xmlns:a16="http://schemas.microsoft.com/office/drawing/2014/main" id="{7587BE78-7FB9-424E-A279-96A8B7F7D8C1}"/>
              </a:ext>
            </a:extLst>
          </p:cNvPr>
          <p:cNvSpPr/>
          <p:nvPr/>
        </p:nvSpPr>
        <p:spPr bwMode="gray">
          <a:xfrm>
            <a:off x="5206423" y="4055437"/>
            <a:ext cx="1883664" cy="1273040"/>
          </a:xfrm>
          <a:prstGeom prst="rect">
            <a:avLst/>
          </a:prstGeom>
          <a:solidFill>
            <a:sysClr val="window" lastClr="FFFFFF"/>
          </a:solidFill>
          <a:ln w="19050" algn="ctr">
            <a:solidFill>
              <a:schemeClr val="accent4">
                <a:lumMod val="75000"/>
              </a:schemeClr>
            </a:solidFill>
            <a:prstDash val="sysDot"/>
            <a:miter lim="800000"/>
            <a:headEnd/>
            <a:tailEnd/>
          </a:ln>
        </p:spPr>
        <p:txBody>
          <a:bodyPr wrap="square" lIns="137106" tIns="66649" rIns="66649" bIns="66649" rtlCol="0" anchor="ctr"/>
          <a:lstStyle/>
          <a:p>
            <a:pPr algn="ctr">
              <a:spcAft>
                <a:spcPts val="226"/>
              </a:spcAft>
            </a:pPr>
            <a:r>
              <a:rPr lang="en-US" sz="1400" dirty="0">
                <a:ea typeface="Open Sans" panose="020B0606030504020204" pitchFamily="34" charset="0"/>
                <a:cs typeface="Open Sans" panose="020B0606030504020204" pitchFamily="34" charset="0"/>
              </a:rPr>
              <a:t>Facilitates team’s success</a:t>
            </a:r>
          </a:p>
        </p:txBody>
      </p:sp>
      <p:grpSp>
        <p:nvGrpSpPr>
          <p:cNvPr id="607" name="Group 606">
            <a:extLst>
              <a:ext uri="{FF2B5EF4-FFF2-40B4-BE49-F238E27FC236}">
                <a16:creationId xmlns:a16="http://schemas.microsoft.com/office/drawing/2014/main" id="{2C0B868A-9947-4E9A-B112-0F69DC517999}"/>
              </a:ext>
            </a:extLst>
          </p:cNvPr>
          <p:cNvGrpSpPr/>
          <p:nvPr/>
        </p:nvGrpSpPr>
        <p:grpSpPr>
          <a:xfrm>
            <a:off x="4636564" y="4332276"/>
            <a:ext cx="743912" cy="761965"/>
            <a:chOff x="4475223" y="3871971"/>
            <a:chExt cx="888318" cy="888321"/>
          </a:xfrm>
        </p:grpSpPr>
        <p:sp>
          <p:nvSpPr>
            <p:cNvPr id="611" name="Oval 65">
              <a:extLst>
                <a:ext uri="{FF2B5EF4-FFF2-40B4-BE49-F238E27FC236}">
                  <a16:creationId xmlns:a16="http://schemas.microsoft.com/office/drawing/2014/main" id="{B3387B40-33C0-4D82-AB61-114E4FD1A7E5}"/>
                </a:ext>
              </a:extLst>
            </p:cNvPr>
            <p:cNvSpPr>
              <a:spLocks noChangeArrowheads="1"/>
            </p:cNvSpPr>
            <p:nvPr/>
          </p:nvSpPr>
          <p:spPr bwMode="auto">
            <a:xfrm rot="8100000">
              <a:off x="4475223" y="3871971"/>
              <a:ext cx="888318" cy="888321"/>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400" kern="0" dirty="0">
                <a:solidFill>
                  <a:prstClr val="black"/>
                </a:solidFill>
              </a:endParaRPr>
            </a:p>
          </p:txBody>
        </p:sp>
        <p:sp>
          <p:nvSpPr>
            <p:cNvPr id="612" name="Freeform 547">
              <a:extLst>
                <a:ext uri="{FF2B5EF4-FFF2-40B4-BE49-F238E27FC236}">
                  <a16:creationId xmlns:a16="http://schemas.microsoft.com/office/drawing/2014/main" id="{D433AB05-0738-4D78-9648-B798C829CC54}"/>
                </a:ext>
              </a:extLst>
            </p:cNvPr>
            <p:cNvSpPr>
              <a:spLocks noChangeAspect="1" noEditPoints="1"/>
            </p:cNvSpPr>
            <p:nvPr/>
          </p:nvSpPr>
          <p:spPr bwMode="auto">
            <a:xfrm>
              <a:off x="4687023" y="3988046"/>
              <a:ext cx="626400" cy="626400"/>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accent4">
                <a:lumMod val="75000"/>
              </a:schemeClr>
            </a:solidFill>
            <a:ln>
              <a:noFill/>
            </a:ln>
          </p:spPr>
          <p:txBody>
            <a:bodyPr vert="horz" wrap="square" lIns="68553" tIns="34277" rIns="68553" bIns="34277" numCol="1" anchor="t" anchorCtr="0" compatLnSpc="1">
              <a:prstTxWarp prst="textNoShape">
                <a:avLst/>
              </a:prstTxWarp>
            </a:bodyPr>
            <a:lstStyle/>
            <a:p>
              <a:pPr defTabSz="914126">
                <a:defRPr/>
              </a:pPr>
              <a:endParaRPr lang="en-US" sz="1999" kern="0" dirty="0">
                <a:solidFill>
                  <a:prstClr val="black"/>
                </a:solidFill>
              </a:endParaRPr>
            </a:p>
          </p:txBody>
        </p:sp>
      </p:grpSp>
      <p:grpSp>
        <p:nvGrpSpPr>
          <p:cNvPr id="608" name="Group 607">
            <a:extLst>
              <a:ext uri="{FF2B5EF4-FFF2-40B4-BE49-F238E27FC236}">
                <a16:creationId xmlns:a16="http://schemas.microsoft.com/office/drawing/2014/main" id="{996B1570-18BD-4B88-8326-088F537B5C49}"/>
              </a:ext>
            </a:extLst>
          </p:cNvPr>
          <p:cNvGrpSpPr/>
          <p:nvPr/>
        </p:nvGrpSpPr>
        <p:grpSpPr>
          <a:xfrm>
            <a:off x="4636563" y="2901828"/>
            <a:ext cx="743912" cy="761965"/>
            <a:chOff x="4480718" y="2519854"/>
            <a:chExt cx="888318" cy="888321"/>
          </a:xfrm>
        </p:grpSpPr>
        <p:sp>
          <p:nvSpPr>
            <p:cNvPr id="609" name="Oval 65">
              <a:extLst>
                <a:ext uri="{FF2B5EF4-FFF2-40B4-BE49-F238E27FC236}">
                  <a16:creationId xmlns:a16="http://schemas.microsoft.com/office/drawing/2014/main" id="{E1403B01-6C54-4DDA-9F77-DF3F9517DF13}"/>
                </a:ext>
              </a:extLst>
            </p:cNvPr>
            <p:cNvSpPr>
              <a:spLocks noChangeArrowheads="1"/>
            </p:cNvSpPr>
            <p:nvPr/>
          </p:nvSpPr>
          <p:spPr bwMode="auto">
            <a:xfrm rot="8100000">
              <a:off x="4480718" y="2519854"/>
              <a:ext cx="888318" cy="888321"/>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400" kern="0" dirty="0">
                <a:solidFill>
                  <a:prstClr val="black"/>
                </a:solidFill>
              </a:endParaRPr>
            </a:p>
          </p:txBody>
        </p:sp>
        <p:sp>
          <p:nvSpPr>
            <p:cNvPr id="610" name="Freeform 189">
              <a:extLst>
                <a:ext uri="{FF2B5EF4-FFF2-40B4-BE49-F238E27FC236}">
                  <a16:creationId xmlns:a16="http://schemas.microsoft.com/office/drawing/2014/main" id="{BF4FBD81-A780-4EAF-B402-C750354B61F1}"/>
                </a:ext>
              </a:extLst>
            </p:cNvPr>
            <p:cNvSpPr>
              <a:spLocks noChangeAspect="1" noEditPoints="1"/>
            </p:cNvSpPr>
            <p:nvPr/>
          </p:nvSpPr>
          <p:spPr bwMode="auto">
            <a:xfrm>
              <a:off x="4678193" y="2636241"/>
              <a:ext cx="626402" cy="6264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4">
                <a:lumMod val="75000"/>
              </a:schemeClr>
            </a:solidFill>
            <a:ln>
              <a:noFill/>
            </a:ln>
          </p:spPr>
          <p:txBody>
            <a:bodyPr vert="horz" wrap="square" lIns="68553" tIns="34277" rIns="68553" bIns="34277" numCol="1" anchor="t" anchorCtr="0" compatLnSpc="1">
              <a:prstTxWarp prst="textNoShape">
                <a:avLst/>
              </a:prstTxWarp>
            </a:bodyPr>
            <a:lstStyle/>
            <a:p>
              <a:pPr defTabSz="914126">
                <a:defRPr/>
              </a:pPr>
              <a:endParaRPr lang="en-US" sz="1999" kern="0" dirty="0">
                <a:solidFill>
                  <a:prstClr val="black"/>
                </a:solidFill>
              </a:endParaRPr>
            </a:p>
          </p:txBody>
        </p:sp>
      </p:grpSp>
      <p:sp>
        <p:nvSpPr>
          <p:cNvPr id="158" name="Rectangle 157">
            <a:extLst>
              <a:ext uri="{FF2B5EF4-FFF2-40B4-BE49-F238E27FC236}">
                <a16:creationId xmlns:a16="http://schemas.microsoft.com/office/drawing/2014/main" id="{24DFFCB3-14A9-4688-B272-E0359D097F1E}"/>
              </a:ext>
            </a:extLst>
          </p:cNvPr>
          <p:cNvSpPr/>
          <p:nvPr/>
        </p:nvSpPr>
        <p:spPr bwMode="gray">
          <a:xfrm>
            <a:off x="584551" y="1871404"/>
            <a:ext cx="10964258" cy="4231174"/>
          </a:xfrm>
          <a:prstGeom prst="rect">
            <a:avLst/>
          </a:prstGeom>
          <a:noFill/>
          <a:ln w="19050" algn="ctr">
            <a:solidFill>
              <a:schemeClr val="tx1"/>
            </a:solidFill>
            <a:prstDash val="sysDot"/>
            <a:miter lim="800000"/>
            <a:headEnd/>
            <a:tailEnd/>
          </a:ln>
        </p:spPr>
        <p:txBody>
          <a:bodyPr wrap="square" lIns="66649" tIns="66649" rIns="66649" bIns="66649" rtlCol="0" anchor="ctr"/>
          <a:lstStyle/>
          <a:p>
            <a:pPr algn="ctr" defTabSz="914126">
              <a:lnSpc>
                <a:spcPct val="106000"/>
              </a:lnSpc>
              <a:defRPr/>
            </a:pPr>
            <a:endParaRPr lang="en-US" sz="1799" b="1" kern="0" dirty="0">
              <a:solidFill>
                <a:prstClr val="white"/>
              </a:solidFill>
            </a:endParaRPr>
          </a:p>
        </p:txBody>
      </p:sp>
      <p:grpSp>
        <p:nvGrpSpPr>
          <p:cNvPr id="159" name="Group 158">
            <a:extLst>
              <a:ext uri="{FF2B5EF4-FFF2-40B4-BE49-F238E27FC236}">
                <a16:creationId xmlns:a16="http://schemas.microsoft.com/office/drawing/2014/main" id="{356EC091-29A9-4D96-ABBB-FD01CFEF68D3}"/>
              </a:ext>
            </a:extLst>
          </p:cNvPr>
          <p:cNvGrpSpPr/>
          <p:nvPr/>
        </p:nvGrpSpPr>
        <p:grpSpPr>
          <a:xfrm>
            <a:off x="8421377" y="5256737"/>
            <a:ext cx="1785239" cy="1258964"/>
            <a:chOff x="8969343" y="4993105"/>
            <a:chExt cx="2143925" cy="1481265"/>
          </a:xfrm>
        </p:grpSpPr>
        <p:sp>
          <p:nvSpPr>
            <p:cNvPr id="160" name="Oval 159">
              <a:extLst>
                <a:ext uri="{FF2B5EF4-FFF2-40B4-BE49-F238E27FC236}">
                  <a16:creationId xmlns:a16="http://schemas.microsoft.com/office/drawing/2014/main" id="{11BE8AD0-4243-4429-B262-6E4D96DD27BD}"/>
                </a:ext>
              </a:extLst>
            </p:cNvPr>
            <p:cNvSpPr/>
            <p:nvPr/>
          </p:nvSpPr>
          <p:spPr bwMode="gray">
            <a:xfrm>
              <a:off x="9301769" y="4993105"/>
              <a:ext cx="1378514" cy="1378514"/>
            </a:xfrm>
            <a:prstGeom prst="ellipse">
              <a:avLst/>
            </a:prstGeom>
            <a:solidFill>
              <a:sysClr val="window" lastClr="FFFFFF"/>
            </a:solidFill>
            <a:ln w="19050" algn="ctr">
              <a:noFill/>
              <a:miter lim="800000"/>
              <a:headEnd/>
              <a:tailEnd/>
            </a:ln>
          </p:spPr>
          <p:txBody>
            <a:bodyPr wrap="square" lIns="66649" tIns="66649" rIns="66649" bIns="66649" rtlCol="0" anchor="ctr"/>
            <a:lstStyle/>
            <a:p>
              <a:pPr algn="ctr" defTabSz="914126">
                <a:lnSpc>
                  <a:spcPct val="106000"/>
                </a:lnSpc>
                <a:defRPr/>
              </a:pPr>
              <a:endParaRPr lang="en-US" sz="1799" b="1" kern="0" dirty="0">
                <a:solidFill>
                  <a:prstClr val="white"/>
                </a:solidFill>
              </a:endParaRPr>
            </a:p>
          </p:txBody>
        </p:sp>
        <p:grpSp>
          <p:nvGrpSpPr>
            <p:cNvPr id="164" name="Group 163">
              <a:extLst>
                <a:ext uri="{FF2B5EF4-FFF2-40B4-BE49-F238E27FC236}">
                  <a16:creationId xmlns:a16="http://schemas.microsoft.com/office/drawing/2014/main" id="{68410FE2-72FE-4935-9F76-5CBCDE4C4A7E}"/>
                </a:ext>
              </a:extLst>
            </p:cNvPr>
            <p:cNvGrpSpPr/>
            <p:nvPr/>
          </p:nvGrpSpPr>
          <p:grpSpPr>
            <a:xfrm>
              <a:off x="8969343" y="5325267"/>
              <a:ext cx="2143925" cy="1149103"/>
              <a:chOff x="2316671" y="4683656"/>
              <a:chExt cx="3593472" cy="1926034"/>
            </a:xfrm>
          </p:grpSpPr>
          <p:sp>
            <p:nvSpPr>
              <p:cNvPr id="165" name="Freeform 78">
                <a:extLst>
                  <a:ext uri="{FF2B5EF4-FFF2-40B4-BE49-F238E27FC236}">
                    <a16:creationId xmlns:a16="http://schemas.microsoft.com/office/drawing/2014/main" id="{C227270E-8A68-48EC-B610-773D9045ED8E}"/>
                  </a:ext>
                </a:extLst>
              </p:cNvPr>
              <p:cNvSpPr>
                <a:spLocks/>
              </p:cNvSpPr>
              <p:nvPr/>
            </p:nvSpPr>
            <p:spPr bwMode="auto">
              <a:xfrm rot="8100000">
                <a:off x="4204663" y="4919560"/>
                <a:ext cx="744453" cy="74445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tx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66" name="Freeform 80">
                <a:extLst>
                  <a:ext uri="{FF2B5EF4-FFF2-40B4-BE49-F238E27FC236}">
                    <a16:creationId xmlns:a16="http://schemas.microsoft.com/office/drawing/2014/main" id="{FEFA5A7E-85F8-40ED-BA93-53F7B601F17B}"/>
                  </a:ext>
                </a:extLst>
              </p:cNvPr>
              <p:cNvSpPr>
                <a:spLocks/>
              </p:cNvSpPr>
              <p:nvPr/>
            </p:nvSpPr>
            <p:spPr bwMode="auto">
              <a:xfrm rot="8100000">
                <a:off x="3160984" y="4923346"/>
                <a:ext cx="736882" cy="736884"/>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tx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67" name="Rectangle 166">
                <a:extLst>
                  <a:ext uri="{FF2B5EF4-FFF2-40B4-BE49-F238E27FC236}">
                    <a16:creationId xmlns:a16="http://schemas.microsoft.com/office/drawing/2014/main" id="{F6E27EFC-5D65-4845-91DC-2CFBBAAB957A}"/>
                  </a:ext>
                </a:extLst>
              </p:cNvPr>
              <p:cNvSpPr/>
              <p:nvPr/>
            </p:nvSpPr>
            <p:spPr>
              <a:xfrm>
                <a:off x="2316671" y="5881527"/>
                <a:ext cx="3593472" cy="728163"/>
              </a:xfrm>
              <a:prstGeom prst="rect">
                <a:avLst/>
              </a:prstGeom>
            </p:spPr>
            <p:txBody>
              <a:bodyPr wrap="square">
                <a:spAutoFit/>
              </a:bodyPr>
              <a:lstStyle/>
              <a:p>
                <a:pPr algn="ctr" defTabSz="914126">
                  <a:buClr>
                    <a:srgbClr val="62B5E5"/>
                  </a:buClr>
                  <a:defRPr/>
                </a:pPr>
                <a:r>
                  <a:rPr lang="en-US" sz="1799" b="1" kern="0" dirty="0">
                    <a:ea typeface="Open Sans" panose="020B0606030504020204" pitchFamily="34" charset="0"/>
                    <a:cs typeface="Open Sans" panose="020B0606030504020204" pitchFamily="34" charset="0"/>
                  </a:rPr>
                  <a:t>Scrum Team </a:t>
                </a:r>
              </a:p>
            </p:txBody>
          </p:sp>
          <p:grpSp>
            <p:nvGrpSpPr>
              <p:cNvPr id="168" name="Group 167">
                <a:extLst>
                  <a:ext uri="{FF2B5EF4-FFF2-40B4-BE49-F238E27FC236}">
                    <a16:creationId xmlns:a16="http://schemas.microsoft.com/office/drawing/2014/main" id="{8F6505D8-63B0-4E1E-9CEB-85FC84C422AE}"/>
                  </a:ext>
                </a:extLst>
              </p:cNvPr>
              <p:cNvGrpSpPr/>
              <p:nvPr/>
            </p:nvGrpSpPr>
            <p:grpSpPr>
              <a:xfrm>
                <a:off x="3510616" y="4683656"/>
                <a:ext cx="1063155" cy="1049049"/>
                <a:chOff x="3510616" y="4683656"/>
                <a:chExt cx="1063155" cy="1049049"/>
              </a:xfrm>
            </p:grpSpPr>
            <p:grpSp>
              <p:nvGrpSpPr>
                <p:cNvPr id="169" name="Group 168">
                  <a:extLst>
                    <a:ext uri="{FF2B5EF4-FFF2-40B4-BE49-F238E27FC236}">
                      <a16:creationId xmlns:a16="http://schemas.microsoft.com/office/drawing/2014/main" id="{B2A03626-735A-4564-863E-36FCA61153EA}"/>
                    </a:ext>
                  </a:extLst>
                </p:cNvPr>
                <p:cNvGrpSpPr/>
                <p:nvPr/>
              </p:nvGrpSpPr>
              <p:grpSpPr>
                <a:xfrm>
                  <a:off x="3684749" y="4856451"/>
                  <a:ext cx="708195" cy="876254"/>
                  <a:chOff x="865613" y="3717809"/>
                  <a:chExt cx="367399" cy="454584"/>
                </a:xfrm>
                <a:solidFill>
                  <a:srgbClr val="009A44"/>
                </a:solidFill>
              </p:grpSpPr>
              <p:sp>
                <p:nvSpPr>
                  <p:cNvPr id="189" name="Freeform 1715">
                    <a:extLst>
                      <a:ext uri="{FF2B5EF4-FFF2-40B4-BE49-F238E27FC236}">
                        <a16:creationId xmlns:a16="http://schemas.microsoft.com/office/drawing/2014/main" id="{B49F1507-DD12-4E76-9BC4-1143722712EB}"/>
                      </a:ext>
                    </a:extLst>
                  </p:cNvPr>
                  <p:cNvSpPr>
                    <a:spLocks/>
                  </p:cNvSpPr>
                  <p:nvPr/>
                </p:nvSpPr>
                <p:spPr bwMode="auto">
                  <a:xfrm>
                    <a:off x="1045201" y="3717837"/>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0" name="Freeform 1719">
                    <a:extLst>
                      <a:ext uri="{FF2B5EF4-FFF2-40B4-BE49-F238E27FC236}">
                        <a16:creationId xmlns:a16="http://schemas.microsoft.com/office/drawing/2014/main" id="{CBDF618F-3F14-4454-B6A7-C820BE36DC01}"/>
                      </a:ext>
                    </a:extLst>
                  </p:cNvPr>
                  <p:cNvSpPr>
                    <a:spLocks/>
                  </p:cNvSpPr>
                  <p:nvPr/>
                </p:nvSpPr>
                <p:spPr bwMode="auto">
                  <a:xfrm>
                    <a:off x="1087994" y="3767107"/>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1" name="Freeform 1715">
                    <a:extLst>
                      <a:ext uri="{FF2B5EF4-FFF2-40B4-BE49-F238E27FC236}">
                        <a16:creationId xmlns:a16="http://schemas.microsoft.com/office/drawing/2014/main" id="{90E5AF4C-5417-480D-9F06-A0408AE2EB02}"/>
                      </a:ext>
                    </a:extLst>
                  </p:cNvPr>
                  <p:cNvSpPr>
                    <a:spLocks/>
                  </p:cNvSpPr>
                  <p:nvPr/>
                </p:nvSpPr>
                <p:spPr bwMode="auto">
                  <a:xfrm>
                    <a:off x="865613" y="3717809"/>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2" name="Freeform 1719">
                    <a:extLst>
                      <a:ext uri="{FF2B5EF4-FFF2-40B4-BE49-F238E27FC236}">
                        <a16:creationId xmlns:a16="http://schemas.microsoft.com/office/drawing/2014/main" id="{C1250F82-A8C5-404C-B415-6227DD2CCFE2}"/>
                      </a:ext>
                    </a:extLst>
                  </p:cNvPr>
                  <p:cNvSpPr>
                    <a:spLocks/>
                  </p:cNvSpPr>
                  <p:nvPr/>
                </p:nvSpPr>
                <p:spPr bwMode="auto">
                  <a:xfrm>
                    <a:off x="908406" y="3767079"/>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3" name="Freeform 1713">
                    <a:extLst>
                      <a:ext uri="{FF2B5EF4-FFF2-40B4-BE49-F238E27FC236}">
                        <a16:creationId xmlns:a16="http://schemas.microsoft.com/office/drawing/2014/main" id="{12D5F4E4-F0F3-437E-87D4-75E05BE84637}"/>
                      </a:ext>
                    </a:extLst>
                  </p:cNvPr>
                  <p:cNvSpPr>
                    <a:spLocks/>
                  </p:cNvSpPr>
                  <p:nvPr/>
                </p:nvSpPr>
                <p:spPr bwMode="auto">
                  <a:xfrm>
                    <a:off x="958332" y="3818540"/>
                    <a:ext cx="168857" cy="208281"/>
                  </a:xfrm>
                  <a:custGeom>
                    <a:avLst/>
                    <a:gdLst>
                      <a:gd name="T0" fmla="*/ 156 w 156"/>
                      <a:gd name="T1" fmla="*/ 36 h 185"/>
                      <a:gd name="T2" fmla="*/ 156 w 156"/>
                      <a:gd name="T3" fmla="*/ 36 h 185"/>
                      <a:gd name="T4" fmla="*/ 154 w 156"/>
                      <a:gd name="T5" fmla="*/ 27 h 185"/>
                      <a:gd name="T6" fmla="*/ 149 w 156"/>
                      <a:gd name="T7" fmla="*/ 20 h 185"/>
                      <a:gd name="T8" fmla="*/ 149 w 156"/>
                      <a:gd name="T9" fmla="*/ 20 h 185"/>
                      <a:gd name="T10" fmla="*/ 143 w 156"/>
                      <a:gd name="T11" fmla="*/ 12 h 185"/>
                      <a:gd name="T12" fmla="*/ 136 w 156"/>
                      <a:gd name="T13" fmla="*/ 9 h 185"/>
                      <a:gd name="T14" fmla="*/ 136 w 156"/>
                      <a:gd name="T15" fmla="*/ 9 h 185"/>
                      <a:gd name="T16" fmla="*/ 121 w 156"/>
                      <a:gd name="T17" fmla="*/ 5 h 185"/>
                      <a:gd name="T18" fmla="*/ 107 w 156"/>
                      <a:gd name="T19" fmla="*/ 1 h 185"/>
                      <a:gd name="T20" fmla="*/ 92 w 156"/>
                      <a:gd name="T21" fmla="*/ 0 h 185"/>
                      <a:gd name="T22" fmla="*/ 77 w 156"/>
                      <a:gd name="T23" fmla="*/ 0 h 185"/>
                      <a:gd name="T24" fmla="*/ 64 w 156"/>
                      <a:gd name="T25" fmla="*/ 0 h 185"/>
                      <a:gd name="T26" fmla="*/ 50 w 156"/>
                      <a:gd name="T27" fmla="*/ 1 h 185"/>
                      <a:gd name="T28" fmla="*/ 35 w 156"/>
                      <a:gd name="T29" fmla="*/ 5 h 185"/>
                      <a:gd name="T30" fmla="*/ 20 w 156"/>
                      <a:gd name="T31" fmla="*/ 9 h 185"/>
                      <a:gd name="T32" fmla="*/ 20 w 156"/>
                      <a:gd name="T33" fmla="*/ 9 h 185"/>
                      <a:gd name="T34" fmla="*/ 13 w 156"/>
                      <a:gd name="T35" fmla="*/ 12 h 185"/>
                      <a:gd name="T36" fmla="*/ 5 w 156"/>
                      <a:gd name="T37" fmla="*/ 20 h 185"/>
                      <a:gd name="T38" fmla="*/ 5 w 156"/>
                      <a:gd name="T39" fmla="*/ 20 h 185"/>
                      <a:gd name="T40" fmla="*/ 2 w 156"/>
                      <a:gd name="T41" fmla="*/ 27 h 185"/>
                      <a:gd name="T42" fmla="*/ 0 w 156"/>
                      <a:gd name="T43" fmla="*/ 36 h 185"/>
                      <a:gd name="T44" fmla="*/ 0 w 156"/>
                      <a:gd name="T45" fmla="*/ 165 h 185"/>
                      <a:gd name="T46" fmla="*/ 0 w 156"/>
                      <a:gd name="T47" fmla="*/ 165 h 185"/>
                      <a:gd name="T48" fmla="*/ 2 w 156"/>
                      <a:gd name="T49" fmla="*/ 169 h 185"/>
                      <a:gd name="T50" fmla="*/ 2 w 156"/>
                      <a:gd name="T51" fmla="*/ 172 h 185"/>
                      <a:gd name="T52" fmla="*/ 9 w 156"/>
                      <a:gd name="T53" fmla="*/ 180 h 185"/>
                      <a:gd name="T54" fmla="*/ 9 w 156"/>
                      <a:gd name="T55" fmla="*/ 180 h 185"/>
                      <a:gd name="T56" fmla="*/ 18 w 156"/>
                      <a:gd name="T57" fmla="*/ 183 h 185"/>
                      <a:gd name="T58" fmla="*/ 27 w 156"/>
                      <a:gd name="T59" fmla="*/ 185 h 185"/>
                      <a:gd name="T60" fmla="*/ 129 w 156"/>
                      <a:gd name="T61" fmla="*/ 185 h 185"/>
                      <a:gd name="T62" fmla="*/ 129 w 156"/>
                      <a:gd name="T63" fmla="*/ 185 h 185"/>
                      <a:gd name="T64" fmla="*/ 138 w 156"/>
                      <a:gd name="T65" fmla="*/ 183 h 185"/>
                      <a:gd name="T66" fmla="*/ 147 w 156"/>
                      <a:gd name="T67" fmla="*/ 180 h 185"/>
                      <a:gd name="T68" fmla="*/ 147 w 156"/>
                      <a:gd name="T69" fmla="*/ 180 h 185"/>
                      <a:gd name="T70" fmla="*/ 153 w 156"/>
                      <a:gd name="T71" fmla="*/ 172 h 185"/>
                      <a:gd name="T72" fmla="*/ 154 w 156"/>
                      <a:gd name="T73" fmla="*/ 169 h 185"/>
                      <a:gd name="T74" fmla="*/ 156 w 156"/>
                      <a:gd name="T75" fmla="*/ 165 h 185"/>
                      <a:gd name="T76" fmla="*/ 156 w 156"/>
                      <a:gd name="T77" fmla="*/ 3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 h="185">
                        <a:moveTo>
                          <a:pt x="156" y="36"/>
                        </a:move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lnTo>
                          <a:pt x="129" y="185"/>
                        </a:lnTo>
                        <a:lnTo>
                          <a:pt x="129" y="185"/>
                        </a:lnTo>
                        <a:lnTo>
                          <a:pt x="138" y="183"/>
                        </a:lnTo>
                        <a:lnTo>
                          <a:pt x="147" y="180"/>
                        </a:lnTo>
                        <a:lnTo>
                          <a:pt x="147" y="180"/>
                        </a:lnTo>
                        <a:lnTo>
                          <a:pt x="153" y="172"/>
                        </a:lnTo>
                        <a:lnTo>
                          <a:pt x="154" y="169"/>
                        </a:lnTo>
                        <a:lnTo>
                          <a:pt x="156" y="165"/>
                        </a:lnTo>
                        <a:lnTo>
                          <a:pt x="156" y="36"/>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4" name="Freeform 1715">
                    <a:extLst>
                      <a:ext uri="{FF2B5EF4-FFF2-40B4-BE49-F238E27FC236}">
                        <a16:creationId xmlns:a16="http://schemas.microsoft.com/office/drawing/2014/main" id="{016FD597-BF99-43B0-89E9-AE7BF1E8409F}"/>
                      </a:ext>
                    </a:extLst>
                  </p:cNvPr>
                  <p:cNvSpPr>
                    <a:spLocks/>
                  </p:cNvSpPr>
                  <p:nvPr/>
                </p:nvSpPr>
                <p:spPr bwMode="auto">
                  <a:xfrm>
                    <a:off x="958332" y="3818540"/>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5" name="Freeform 1716">
                    <a:extLst>
                      <a:ext uri="{FF2B5EF4-FFF2-40B4-BE49-F238E27FC236}">
                        <a16:creationId xmlns:a16="http://schemas.microsoft.com/office/drawing/2014/main" id="{F447ECE5-C232-486B-A984-B5EC020893EA}"/>
                      </a:ext>
                    </a:extLst>
                  </p:cNvPr>
                  <p:cNvSpPr>
                    <a:spLocks/>
                  </p:cNvSpPr>
                  <p:nvPr/>
                </p:nvSpPr>
                <p:spPr bwMode="auto">
                  <a:xfrm>
                    <a:off x="1003501" y="3726716"/>
                    <a:ext cx="97472" cy="91823"/>
                  </a:xfrm>
                  <a:custGeom>
                    <a:avLst/>
                    <a:gdLst>
                      <a:gd name="T0" fmla="*/ 70 w 82"/>
                      <a:gd name="T1" fmla="*/ 13 h 83"/>
                      <a:gd name="T2" fmla="*/ 70 w 82"/>
                      <a:gd name="T3" fmla="*/ 13 h 83"/>
                      <a:gd name="T4" fmla="*/ 64 w 82"/>
                      <a:gd name="T5" fmla="*/ 7 h 83"/>
                      <a:gd name="T6" fmla="*/ 57 w 82"/>
                      <a:gd name="T7" fmla="*/ 3 h 83"/>
                      <a:gd name="T8" fmla="*/ 49 w 82"/>
                      <a:gd name="T9" fmla="*/ 2 h 83"/>
                      <a:gd name="T10" fmla="*/ 40 w 82"/>
                      <a:gd name="T11" fmla="*/ 0 h 83"/>
                      <a:gd name="T12" fmla="*/ 40 w 82"/>
                      <a:gd name="T13" fmla="*/ 0 h 83"/>
                      <a:gd name="T14" fmla="*/ 33 w 82"/>
                      <a:gd name="T15" fmla="*/ 2 h 83"/>
                      <a:gd name="T16" fmla="*/ 25 w 82"/>
                      <a:gd name="T17" fmla="*/ 3 h 83"/>
                      <a:gd name="T18" fmla="*/ 18 w 82"/>
                      <a:gd name="T19" fmla="*/ 7 h 83"/>
                      <a:gd name="T20" fmla="*/ 13 w 82"/>
                      <a:gd name="T21" fmla="*/ 13 h 83"/>
                      <a:gd name="T22" fmla="*/ 13 w 82"/>
                      <a:gd name="T23" fmla="*/ 13 h 83"/>
                      <a:gd name="T24" fmla="*/ 7 w 82"/>
                      <a:gd name="T25" fmla="*/ 18 h 83"/>
                      <a:gd name="T26" fmla="*/ 3 w 82"/>
                      <a:gd name="T27" fmla="*/ 25 h 83"/>
                      <a:gd name="T28" fmla="*/ 0 w 82"/>
                      <a:gd name="T29" fmla="*/ 33 h 83"/>
                      <a:gd name="T30" fmla="*/ 0 w 82"/>
                      <a:gd name="T31" fmla="*/ 42 h 83"/>
                      <a:gd name="T32" fmla="*/ 0 w 82"/>
                      <a:gd name="T33" fmla="*/ 42 h 83"/>
                      <a:gd name="T34" fmla="*/ 0 w 82"/>
                      <a:gd name="T35" fmla="*/ 49 h 83"/>
                      <a:gd name="T36" fmla="*/ 3 w 82"/>
                      <a:gd name="T37" fmla="*/ 57 h 83"/>
                      <a:gd name="T38" fmla="*/ 7 w 82"/>
                      <a:gd name="T39" fmla="*/ 64 h 83"/>
                      <a:gd name="T40" fmla="*/ 13 w 82"/>
                      <a:gd name="T41" fmla="*/ 70 h 83"/>
                      <a:gd name="T42" fmla="*/ 13 w 82"/>
                      <a:gd name="T43" fmla="*/ 70 h 83"/>
                      <a:gd name="T44" fmla="*/ 18 w 82"/>
                      <a:gd name="T45" fmla="*/ 75 h 83"/>
                      <a:gd name="T46" fmla="*/ 25 w 82"/>
                      <a:gd name="T47" fmla="*/ 79 h 83"/>
                      <a:gd name="T48" fmla="*/ 33 w 82"/>
                      <a:gd name="T49" fmla="*/ 83 h 83"/>
                      <a:gd name="T50" fmla="*/ 40 w 82"/>
                      <a:gd name="T51" fmla="*/ 83 h 83"/>
                      <a:gd name="T52" fmla="*/ 40 w 82"/>
                      <a:gd name="T53" fmla="*/ 83 h 83"/>
                      <a:gd name="T54" fmla="*/ 49 w 82"/>
                      <a:gd name="T55" fmla="*/ 83 h 83"/>
                      <a:gd name="T56" fmla="*/ 57 w 82"/>
                      <a:gd name="T57" fmla="*/ 79 h 83"/>
                      <a:gd name="T58" fmla="*/ 64 w 82"/>
                      <a:gd name="T59" fmla="*/ 75 h 83"/>
                      <a:gd name="T60" fmla="*/ 70 w 82"/>
                      <a:gd name="T61" fmla="*/ 70 h 83"/>
                      <a:gd name="T62" fmla="*/ 70 w 82"/>
                      <a:gd name="T63" fmla="*/ 70 h 83"/>
                      <a:gd name="T64" fmla="*/ 75 w 82"/>
                      <a:gd name="T65" fmla="*/ 64 h 83"/>
                      <a:gd name="T66" fmla="*/ 79 w 82"/>
                      <a:gd name="T67" fmla="*/ 57 h 83"/>
                      <a:gd name="T68" fmla="*/ 81 w 82"/>
                      <a:gd name="T69" fmla="*/ 49 h 83"/>
                      <a:gd name="T70" fmla="*/ 82 w 82"/>
                      <a:gd name="T71" fmla="*/ 42 h 83"/>
                      <a:gd name="T72" fmla="*/ 82 w 82"/>
                      <a:gd name="T73" fmla="*/ 42 h 83"/>
                      <a:gd name="T74" fmla="*/ 81 w 82"/>
                      <a:gd name="T75" fmla="*/ 33 h 83"/>
                      <a:gd name="T76" fmla="*/ 79 w 82"/>
                      <a:gd name="T77" fmla="*/ 25 h 83"/>
                      <a:gd name="T78" fmla="*/ 75 w 82"/>
                      <a:gd name="T79" fmla="*/ 18 h 83"/>
                      <a:gd name="T80" fmla="*/ 70 w 82"/>
                      <a:gd name="T81" fmla="*/ 13 h 83"/>
                      <a:gd name="T82" fmla="*/ 70 w 82"/>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83">
                        <a:moveTo>
                          <a:pt x="70" y="13"/>
                        </a:moveTo>
                        <a:lnTo>
                          <a:pt x="70" y="13"/>
                        </a:lnTo>
                        <a:lnTo>
                          <a:pt x="64" y="7"/>
                        </a:lnTo>
                        <a:lnTo>
                          <a:pt x="57" y="3"/>
                        </a:lnTo>
                        <a:lnTo>
                          <a:pt x="49" y="2"/>
                        </a:lnTo>
                        <a:lnTo>
                          <a:pt x="40" y="0"/>
                        </a:lnTo>
                        <a:lnTo>
                          <a:pt x="40" y="0"/>
                        </a:lnTo>
                        <a:lnTo>
                          <a:pt x="33" y="2"/>
                        </a:lnTo>
                        <a:lnTo>
                          <a:pt x="25" y="3"/>
                        </a:lnTo>
                        <a:lnTo>
                          <a:pt x="18" y="7"/>
                        </a:lnTo>
                        <a:lnTo>
                          <a:pt x="13" y="13"/>
                        </a:lnTo>
                        <a:lnTo>
                          <a:pt x="13" y="13"/>
                        </a:lnTo>
                        <a:lnTo>
                          <a:pt x="7" y="18"/>
                        </a:lnTo>
                        <a:lnTo>
                          <a:pt x="3" y="25"/>
                        </a:lnTo>
                        <a:lnTo>
                          <a:pt x="0" y="33"/>
                        </a:lnTo>
                        <a:lnTo>
                          <a:pt x="0" y="42"/>
                        </a:lnTo>
                        <a:lnTo>
                          <a:pt x="0" y="42"/>
                        </a:lnTo>
                        <a:lnTo>
                          <a:pt x="0" y="49"/>
                        </a:lnTo>
                        <a:lnTo>
                          <a:pt x="3" y="57"/>
                        </a:lnTo>
                        <a:lnTo>
                          <a:pt x="7" y="64"/>
                        </a:lnTo>
                        <a:lnTo>
                          <a:pt x="13" y="70"/>
                        </a:lnTo>
                        <a:lnTo>
                          <a:pt x="13" y="70"/>
                        </a:lnTo>
                        <a:lnTo>
                          <a:pt x="18" y="75"/>
                        </a:lnTo>
                        <a:lnTo>
                          <a:pt x="25" y="79"/>
                        </a:lnTo>
                        <a:lnTo>
                          <a:pt x="33" y="83"/>
                        </a:lnTo>
                        <a:lnTo>
                          <a:pt x="40" y="83"/>
                        </a:lnTo>
                        <a:lnTo>
                          <a:pt x="40" y="83"/>
                        </a:lnTo>
                        <a:lnTo>
                          <a:pt x="49" y="83"/>
                        </a:lnTo>
                        <a:lnTo>
                          <a:pt x="57" y="79"/>
                        </a:lnTo>
                        <a:lnTo>
                          <a:pt x="64" y="75"/>
                        </a:lnTo>
                        <a:lnTo>
                          <a:pt x="70" y="70"/>
                        </a:lnTo>
                        <a:lnTo>
                          <a:pt x="70" y="70"/>
                        </a:lnTo>
                        <a:lnTo>
                          <a:pt x="75" y="64"/>
                        </a:lnTo>
                        <a:lnTo>
                          <a:pt x="79" y="57"/>
                        </a:lnTo>
                        <a:lnTo>
                          <a:pt x="81" y="49"/>
                        </a:lnTo>
                        <a:lnTo>
                          <a:pt x="82" y="42"/>
                        </a:lnTo>
                        <a:lnTo>
                          <a:pt x="82" y="42"/>
                        </a:lnTo>
                        <a:lnTo>
                          <a:pt x="81" y="33"/>
                        </a:lnTo>
                        <a:lnTo>
                          <a:pt x="79" y="25"/>
                        </a:lnTo>
                        <a:lnTo>
                          <a:pt x="75" y="18"/>
                        </a:lnTo>
                        <a:lnTo>
                          <a:pt x="70" y="13"/>
                        </a:lnTo>
                        <a:lnTo>
                          <a:pt x="70" y="13"/>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6" name="Freeform 1717">
                    <a:extLst>
                      <a:ext uri="{FF2B5EF4-FFF2-40B4-BE49-F238E27FC236}">
                        <a16:creationId xmlns:a16="http://schemas.microsoft.com/office/drawing/2014/main" id="{25686079-61ED-404C-8461-E94CE4DEFFBD}"/>
                      </a:ext>
                    </a:extLst>
                  </p:cNvPr>
                  <p:cNvSpPr>
                    <a:spLocks/>
                  </p:cNvSpPr>
                  <p:nvPr/>
                </p:nvSpPr>
                <p:spPr bwMode="auto">
                  <a:xfrm>
                    <a:off x="1003501" y="3726716"/>
                    <a:ext cx="97472" cy="91823"/>
                  </a:xfrm>
                  <a:custGeom>
                    <a:avLst/>
                    <a:gdLst>
                      <a:gd name="T0" fmla="*/ 82 w 82"/>
                      <a:gd name="T1" fmla="*/ 42 h 83"/>
                      <a:gd name="T2" fmla="*/ 82 w 82"/>
                      <a:gd name="T3" fmla="*/ 42 h 83"/>
                      <a:gd name="T4" fmla="*/ 81 w 82"/>
                      <a:gd name="T5" fmla="*/ 49 h 83"/>
                      <a:gd name="T6" fmla="*/ 79 w 82"/>
                      <a:gd name="T7" fmla="*/ 57 h 83"/>
                      <a:gd name="T8" fmla="*/ 75 w 82"/>
                      <a:gd name="T9" fmla="*/ 64 h 83"/>
                      <a:gd name="T10" fmla="*/ 70 w 82"/>
                      <a:gd name="T11" fmla="*/ 70 h 83"/>
                      <a:gd name="T12" fmla="*/ 70 w 82"/>
                      <a:gd name="T13" fmla="*/ 70 h 83"/>
                      <a:gd name="T14" fmla="*/ 64 w 82"/>
                      <a:gd name="T15" fmla="*/ 75 h 83"/>
                      <a:gd name="T16" fmla="*/ 57 w 82"/>
                      <a:gd name="T17" fmla="*/ 79 h 83"/>
                      <a:gd name="T18" fmla="*/ 49 w 82"/>
                      <a:gd name="T19" fmla="*/ 83 h 83"/>
                      <a:gd name="T20" fmla="*/ 40 w 82"/>
                      <a:gd name="T21" fmla="*/ 83 h 83"/>
                      <a:gd name="T22" fmla="*/ 40 w 82"/>
                      <a:gd name="T23" fmla="*/ 83 h 83"/>
                      <a:gd name="T24" fmla="*/ 33 w 82"/>
                      <a:gd name="T25" fmla="*/ 83 h 83"/>
                      <a:gd name="T26" fmla="*/ 25 w 82"/>
                      <a:gd name="T27" fmla="*/ 79 h 83"/>
                      <a:gd name="T28" fmla="*/ 18 w 82"/>
                      <a:gd name="T29" fmla="*/ 75 h 83"/>
                      <a:gd name="T30" fmla="*/ 13 w 82"/>
                      <a:gd name="T31" fmla="*/ 70 h 83"/>
                      <a:gd name="T32" fmla="*/ 13 w 82"/>
                      <a:gd name="T33" fmla="*/ 70 h 83"/>
                      <a:gd name="T34" fmla="*/ 7 w 82"/>
                      <a:gd name="T35" fmla="*/ 64 h 83"/>
                      <a:gd name="T36" fmla="*/ 3 w 82"/>
                      <a:gd name="T37" fmla="*/ 57 h 83"/>
                      <a:gd name="T38" fmla="*/ 0 w 82"/>
                      <a:gd name="T39" fmla="*/ 49 h 83"/>
                      <a:gd name="T40" fmla="*/ 0 w 82"/>
                      <a:gd name="T41" fmla="*/ 42 h 83"/>
                      <a:gd name="T42" fmla="*/ 0 w 82"/>
                      <a:gd name="T43" fmla="*/ 42 h 83"/>
                      <a:gd name="T44" fmla="*/ 0 w 82"/>
                      <a:gd name="T45" fmla="*/ 33 h 83"/>
                      <a:gd name="T46" fmla="*/ 3 w 82"/>
                      <a:gd name="T47" fmla="*/ 25 h 83"/>
                      <a:gd name="T48" fmla="*/ 7 w 82"/>
                      <a:gd name="T49" fmla="*/ 18 h 83"/>
                      <a:gd name="T50" fmla="*/ 13 w 82"/>
                      <a:gd name="T51" fmla="*/ 13 h 83"/>
                      <a:gd name="T52" fmla="*/ 13 w 82"/>
                      <a:gd name="T53" fmla="*/ 13 h 83"/>
                      <a:gd name="T54" fmla="*/ 18 w 82"/>
                      <a:gd name="T55" fmla="*/ 7 h 83"/>
                      <a:gd name="T56" fmla="*/ 25 w 82"/>
                      <a:gd name="T57" fmla="*/ 3 h 83"/>
                      <a:gd name="T58" fmla="*/ 33 w 82"/>
                      <a:gd name="T59" fmla="*/ 2 h 83"/>
                      <a:gd name="T60" fmla="*/ 40 w 82"/>
                      <a:gd name="T61" fmla="*/ 0 h 83"/>
                      <a:gd name="T62" fmla="*/ 40 w 82"/>
                      <a:gd name="T63" fmla="*/ 0 h 83"/>
                      <a:gd name="T64" fmla="*/ 49 w 82"/>
                      <a:gd name="T65" fmla="*/ 2 h 83"/>
                      <a:gd name="T66" fmla="*/ 57 w 82"/>
                      <a:gd name="T67" fmla="*/ 3 h 83"/>
                      <a:gd name="T68" fmla="*/ 64 w 82"/>
                      <a:gd name="T69" fmla="*/ 7 h 83"/>
                      <a:gd name="T70" fmla="*/ 70 w 82"/>
                      <a:gd name="T71" fmla="*/ 13 h 83"/>
                      <a:gd name="T72" fmla="*/ 70 w 82"/>
                      <a:gd name="T73" fmla="*/ 13 h 83"/>
                      <a:gd name="T74" fmla="*/ 75 w 82"/>
                      <a:gd name="T75" fmla="*/ 18 h 83"/>
                      <a:gd name="T76" fmla="*/ 79 w 82"/>
                      <a:gd name="T77" fmla="*/ 25 h 83"/>
                      <a:gd name="T78" fmla="*/ 81 w 82"/>
                      <a:gd name="T79" fmla="*/ 33 h 83"/>
                      <a:gd name="T80" fmla="*/ 82 w 82"/>
                      <a:gd name="T81" fmla="*/ 42 h 83"/>
                      <a:gd name="T82" fmla="*/ 82 w 82"/>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83">
                        <a:moveTo>
                          <a:pt x="82" y="42"/>
                        </a:moveTo>
                        <a:lnTo>
                          <a:pt x="82" y="42"/>
                        </a:lnTo>
                        <a:lnTo>
                          <a:pt x="81" y="49"/>
                        </a:lnTo>
                        <a:lnTo>
                          <a:pt x="79" y="57"/>
                        </a:lnTo>
                        <a:lnTo>
                          <a:pt x="75" y="64"/>
                        </a:lnTo>
                        <a:lnTo>
                          <a:pt x="70" y="70"/>
                        </a:lnTo>
                        <a:lnTo>
                          <a:pt x="70" y="70"/>
                        </a:lnTo>
                        <a:lnTo>
                          <a:pt x="64" y="75"/>
                        </a:lnTo>
                        <a:lnTo>
                          <a:pt x="57" y="79"/>
                        </a:lnTo>
                        <a:lnTo>
                          <a:pt x="49" y="83"/>
                        </a:lnTo>
                        <a:lnTo>
                          <a:pt x="40" y="83"/>
                        </a:lnTo>
                        <a:lnTo>
                          <a:pt x="40" y="83"/>
                        </a:lnTo>
                        <a:lnTo>
                          <a:pt x="33" y="83"/>
                        </a:lnTo>
                        <a:lnTo>
                          <a:pt x="25" y="79"/>
                        </a:lnTo>
                        <a:lnTo>
                          <a:pt x="18" y="75"/>
                        </a:lnTo>
                        <a:lnTo>
                          <a:pt x="13" y="70"/>
                        </a:lnTo>
                        <a:lnTo>
                          <a:pt x="13" y="70"/>
                        </a:lnTo>
                        <a:lnTo>
                          <a:pt x="7" y="64"/>
                        </a:lnTo>
                        <a:lnTo>
                          <a:pt x="3" y="57"/>
                        </a:lnTo>
                        <a:lnTo>
                          <a:pt x="0" y="49"/>
                        </a:lnTo>
                        <a:lnTo>
                          <a:pt x="0" y="42"/>
                        </a:lnTo>
                        <a:lnTo>
                          <a:pt x="0" y="42"/>
                        </a:lnTo>
                        <a:lnTo>
                          <a:pt x="0" y="33"/>
                        </a:lnTo>
                        <a:lnTo>
                          <a:pt x="3" y="25"/>
                        </a:lnTo>
                        <a:lnTo>
                          <a:pt x="7" y="18"/>
                        </a:lnTo>
                        <a:lnTo>
                          <a:pt x="13" y="13"/>
                        </a:lnTo>
                        <a:lnTo>
                          <a:pt x="13" y="13"/>
                        </a:lnTo>
                        <a:lnTo>
                          <a:pt x="18" y="7"/>
                        </a:lnTo>
                        <a:lnTo>
                          <a:pt x="25" y="3"/>
                        </a:lnTo>
                        <a:lnTo>
                          <a:pt x="33" y="2"/>
                        </a:lnTo>
                        <a:lnTo>
                          <a:pt x="40" y="0"/>
                        </a:lnTo>
                        <a:lnTo>
                          <a:pt x="40" y="0"/>
                        </a:lnTo>
                        <a:lnTo>
                          <a:pt x="49" y="2"/>
                        </a:lnTo>
                        <a:lnTo>
                          <a:pt x="57" y="3"/>
                        </a:lnTo>
                        <a:lnTo>
                          <a:pt x="64" y="7"/>
                        </a:lnTo>
                        <a:lnTo>
                          <a:pt x="70" y="13"/>
                        </a:lnTo>
                        <a:lnTo>
                          <a:pt x="70" y="13"/>
                        </a:lnTo>
                        <a:lnTo>
                          <a:pt x="75" y="18"/>
                        </a:lnTo>
                        <a:lnTo>
                          <a:pt x="79" y="25"/>
                        </a:lnTo>
                        <a:lnTo>
                          <a:pt x="81" y="33"/>
                        </a:lnTo>
                        <a:lnTo>
                          <a:pt x="82" y="42"/>
                        </a:lnTo>
                        <a:lnTo>
                          <a:pt x="82"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7" name="Rectangle 1718">
                    <a:extLst>
                      <a:ext uri="{FF2B5EF4-FFF2-40B4-BE49-F238E27FC236}">
                        <a16:creationId xmlns:a16="http://schemas.microsoft.com/office/drawing/2014/main" id="{156C1E57-2A82-4E94-BC4B-D806C2D9FB7A}"/>
                      </a:ext>
                    </a:extLst>
                  </p:cNvPr>
                  <p:cNvSpPr>
                    <a:spLocks noChangeArrowheads="1"/>
                  </p:cNvSpPr>
                  <p:nvPr/>
                </p:nvSpPr>
                <p:spPr bwMode="auto">
                  <a:xfrm>
                    <a:off x="1001125" y="3984529"/>
                    <a:ext cx="102227" cy="187863"/>
                  </a:xfrm>
                  <a:prstGeom prst="rect">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8" name="Freeform 1719">
                    <a:extLst>
                      <a:ext uri="{FF2B5EF4-FFF2-40B4-BE49-F238E27FC236}">
                        <a16:creationId xmlns:a16="http://schemas.microsoft.com/office/drawing/2014/main" id="{D0BD5FF7-4509-4107-A288-3962BE1AE149}"/>
                      </a:ext>
                    </a:extLst>
                  </p:cNvPr>
                  <p:cNvSpPr>
                    <a:spLocks/>
                  </p:cNvSpPr>
                  <p:nvPr/>
                </p:nvSpPr>
                <p:spPr bwMode="auto">
                  <a:xfrm>
                    <a:off x="1001125" y="3867811"/>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9" name="Line 1720">
                    <a:extLst>
                      <a:ext uri="{FF2B5EF4-FFF2-40B4-BE49-F238E27FC236}">
                        <a16:creationId xmlns:a16="http://schemas.microsoft.com/office/drawing/2014/main" id="{E0F71775-05BC-4E86-8018-2A291E3A4AA5}"/>
                      </a:ext>
                    </a:extLst>
                  </p:cNvPr>
                  <p:cNvSpPr>
                    <a:spLocks noChangeShapeType="1"/>
                  </p:cNvSpPr>
                  <p:nvPr/>
                </p:nvSpPr>
                <p:spPr bwMode="auto">
                  <a:xfrm>
                    <a:off x="1051048" y="4020102"/>
                    <a:ext cx="0" cy="152291"/>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nvGrpSpPr>
                <p:cNvPr id="170" name="Group 169">
                  <a:extLst>
                    <a:ext uri="{FF2B5EF4-FFF2-40B4-BE49-F238E27FC236}">
                      <a16:creationId xmlns:a16="http://schemas.microsoft.com/office/drawing/2014/main" id="{2DD9DC2A-9E9C-4773-829A-4B719A6C2AF3}"/>
                    </a:ext>
                  </a:extLst>
                </p:cNvPr>
                <p:cNvGrpSpPr/>
                <p:nvPr/>
              </p:nvGrpSpPr>
              <p:grpSpPr>
                <a:xfrm>
                  <a:off x="3510616" y="4873603"/>
                  <a:ext cx="357439" cy="859083"/>
                  <a:chOff x="775276" y="3726716"/>
                  <a:chExt cx="185433" cy="445677"/>
                </a:xfrm>
                <a:solidFill>
                  <a:srgbClr val="00A3E0"/>
                </a:solidFill>
              </p:grpSpPr>
              <p:sp>
                <p:nvSpPr>
                  <p:cNvPr id="182" name="Freeform 1721">
                    <a:extLst>
                      <a:ext uri="{FF2B5EF4-FFF2-40B4-BE49-F238E27FC236}">
                        <a16:creationId xmlns:a16="http://schemas.microsoft.com/office/drawing/2014/main" id="{89A28511-2AFA-4104-9C6E-5756D06A6C59}"/>
                      </a:ext>
                    </a:extLst>
                  </p:cNvPr>
                  <p:cNvSpPr>
                    <a:spLocks/>
                  </p:cNvSpPr>
                  <p:nvPr/>
                </p:nvSpPr>
                <p:spPr bwMode="auto">
                  <a:xfrm>
                    <a:off x="775276" y="3818540"/>
                    <a:ext cx="185433" cy="208281"/>
                  </a:xfrm>
                  <a:custGeom>
                    <a:avLst/>
                    <a:gdLst>
                      <a:gd name="T0" fmla="*/ 157 w 157"/>
                      <a:gd name="T1" fmla="*/ 165 h 185"/>
                      <a:gd name="T2" fmla="*/ 157 w 157"/>
                      <a:gd name="T3" fmla="*/ 36 h 185"/>
                      <a:gd name="T4" fmla="*/ 157 w 157"/>
                      <a:gd name="T5" fmla="*/ 36 h 185"/>
                      <a:gd name="T6" fmla="*/ 155 w 157"/>
                      <a:gd name="T7" fmla="*/ 27 h 185"/>
                      <a:gd name="T8" fmla="*/ 151 w 157"/>
                      <a:gd name="T9" fmla="*/ 20 h 185"/>
                      <a:gd name="T10" fmla="*/ 151 w 157"/>
                      <a:gd name="T11" fmla="*/ 20 h 185"/>
                      <a:gd name="T12" fmla="*/ 144 w 157"/>
                      <a:gd name="T13" fmla="*/ 12 h 185"/>
                      <a:gd name="T14" fmla="*/ 137 w 157"/>
                      <a:gd name="T15" fmla="*/ 9 h 185"/>
                      <a:gd name="T16" fmla="*/ 137 w 157"/>
                      <a:gd name="T17" fmla="*/ 9 h 185"/>
                      <a:gd name="T18" fmla="*/ 122 w 157"/>
                      <a:gd name="T19" fmla="*/ 5 h 185"/>
                      <a:gd name="T20" fmla="*/ 107 w 157"/>
                      <a:gd name="T21" fmla="*/ 1 h 185"/>
                      <a:gd name="T22" fmla="*/ 94 w 157"/>
                      <a:gd name="T23" fmla="*/ 0 h 185"/>
                      <a:gd name="T24" fmla="*/ 79 w 157"/>
                      <a:gd name="T25" fmla="*/ 0 h 185"/>
                      <a:gd name="T26" fmla="*/ 65 w 157"/>
                      <a:gd name="T27" fmla="*/ 0 h 185"/>
                      <a:gd name="T28" fmla="*/ 50 w 157"/>
                      <a:gd name="T29" fmla="*/ 1 h 185"/>
                      <a:gd name="T30" fmla="*/ 35 w 157"/>
                      <a:gd name="T31" fmla="*/ 5 h 185"/>
                      <a:gd name="T32" fmla="*/ 21 w 157"/>
                      <a:gd name="T33" fmla="*/ 9 h 185"/>
                      <a:gd name="T34" fmla="*/ 21 w 157"/>
                      <a:gd name="T35" fmla="*/ 9 h 185"/>
                      <a:gd name="T36" fmla="*/ 13 w 157"/>
                      <a:gd name="T37" fmla="*/ 12 h 185"/>
                      <a:gd name="T38" fmla="*/ 8 w 157"/>
                      <a:gd name="T39" fmla="*/ 20 h 185"/>
                      <a:gd name="T40" fmla="*/ 8 w 157"/>
                      <a:gd name="T41" fmla="*/ 20 h 185"/>
                      <a:gd name="T42" fmla="*/ 2 w 157"/>
                      <a:gd name="T43" fmla="*/ 27 h 185"/>
                      <a:gd name="T44" fmla="*/ 0 w 157"/>
                      <a:gd name="T45" fmla="*/ 36 h 185"/>
                      <a:gd name="T46" fmla="*/ 0 w 157"/>
                      <a:gd name="T47" fmla="*/ 165 h 185"/>
                      <a:gd name="T48" fmla="*/ 0 w 157"/>
                      <a:gd name="T49" fmla="*/ 165 h 185"/>
                      <a:gd name="T50" fmla="*/ 2 w 157"/>
                      <a:gd name="T51" fmla="*/ 169 h 185"/>
                      <a:gd name="T52" fmla="*/ 4 w 157"/>
                      <a:gd name="T53" fmla="*/ 172 h 185"/>
                      <a:gd name="T54" fmla="*/ 10 w 157"/>
                      <a:gd name="T55" fmla="*/ 180 h 185"/>
                      <a:gd name="T56" fmla="*/ 10 w 157"/>
                      <a:gd name="T57" fmla="*/ 180 h 185"/>
                      <a:gd name="T58" fmla="*/ 19 w 157"/>
                      <a:gd name="T59" fmla="*/ 183 h 185"/>
                      <a:gd name="T60" fmla="*/ 28 w 157"/>
                      <a:gd name="T61" fmla="*/ 185 h 185"/>
                      <a:gd name="T62" fmla="*/ 129 w 157"/>
                      <a:gd name="T63" fmla="*/ 185 h 185"/>
                      <a:gd name="T64" fmla="*/ 129 w 157"/>
                      <a:gd name="T65" fmla="*/ 185 h 185"/>
                      <a:gd name="T66" fmla="*/ 138 w 157"/>
                      <a:gd name="T67" fmla="*/ 183 h 185"/>
                      <a:gd name="T68" fmla="*/ 148 w 157"/>
                      <a:gd name="T69" fmla="*/ 180 h 185"/>
                      <a:gd name="T70" fmla="*/ 148 w 157"/>
                      <a:gd name="T71" fmla="*/ 180 h 185"/>
                      <a:gd name="T72" fmla="*/ 155 w 157"/>
                      <a:gd name="T73" fmla="*/ 172 h 185"/>
                      <a:gd name="T74" fmla="*/ 155 w 157"/>
                      <a:gd name="T75" fmla="*/ 169 h 185"/>
                      <a:gd name="T76" fmla="*/ 157 w 157"/>
                      <a:gd name="T77" fmla="*/ 165 h 185"/>
                      <a:gd name="T78" fmla="*/ 157 w 157"/>
                      <a:gd name="T79" fmla="*/ 16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7" h="185">
                        <a:moveTo>
                          <a:pt x="157" y="165"/>
                        </a:moveTo>
                        <a:lnTo>
                          <a:pt x="157" y="36"/>
                        </a:lnTo>
                        <a:lnTo>
                          <a:pt x="157" y="36"/>
                        </a:lnTo>
                        <a:lnTo>
                          <a:pt x="155" y="27"/>
                        </a:lnTo>
                        <a:lnTo>
                          <a:pt x="151" y="20"/>
                        </a:lnTo>
                        <a:lnTo>
                          <a:pt x="151" y="20"/>
                        </a:lnTo>
                        <a:lnTo>
                          <a:pt x="144" y="12"/>
                        </a:lnTo>
                        <a:lnTo>
                          <a:pt x="137" y="9"/>
                        </a:lnTo>
                        <a:lnTo>
                          <a:pt x="137" y="9"/>
                        </a:lnTo>
                        <a:lnTo>
                          <a:pt x="122" y="5"/>
                        </a:lnTo>
                        <a:lnTo>
                          <a:pt x="107" y="1"/>
                        </a:lnTo>
                        <a:lnTo>
                          <a:pt x="94" y="0"/>
                        </a:lnTo>
                        <a:lnTo>
                          <a:pt x="79" y="0"/>
                        </a:lnTo>
                        <a:lnTo>
                          <a:pt x="65" y="0"/>
                        </a:lnTo>
                        <a:lnTo>
                          <a:pt x="50" y="1"/>
                        </a:lnTo>
                        <a:lnTo>
                          <a:pt x="35" y="5"/>
                        </a:lnTo>
                        <a:lnTo>
                          <a:pt x="21" y="9"/>
                        </a:lnTo>
                        <a:lnTo>
                          <a:pt x="21" y="9"/>
                        </a:lnTo>
                        <a:lnTo>
                          <a:pt x="13" y="12"/>
                        </a:lnTo>
                        <a:lnTo>
                          <a:pt x="8" y="20"/>
                        </a:lnTo>
                        <a:lnTo>
                          <a:pt x="8" y="20"/>
                        </a:lnTo>
                        <a:lnTo>
                          <a:pt x="2" y="27"/>
                        </a:lnTo>
                        <a:lnTo>
                          <a:pt x="0" y="36"/>
                        </a:lnTo>
                        <a:lnTo>
                          <a:pt x="0" y="165"/>
                        </a:lnTo>
                        <a:lnTo>
                          <a:pt x="0" y="165"/>
                        </a:lnTo>
                        <a:lnTo>
                          <a:pt x="2" y="169"/>
                        </a:lnTo>
                        <a:lnTo>
                          <a:pt x="4" y="172"/>
                        </a:lnTo>
                        <a:lnTo>
                          <a:pt x="10" y="180"/>
                        </a:lnTo>
                        <a:lnTo>
                          <a:pt x="10" y="180"/>
                        </a:lnTo>
                        <a:lnTo>
                          <a:pt x="19" y="183"/>
                        </a:lnTo>
                        <a:lnTo>
                          <a:pt x="28" y="185"/>
                        </a:lnTo>
                        <a:lnTo>
                          <a:pt x="129" y="185"/>
                        </a:lnTo>
                        <a:lnTo>
                          <a:pt x="129" y="185"/>
                        </a:lnTo>
                        <a:lnTo>
                          <a:pt x="138" y="183"/>
                        </a:lnTo>
                        <a:lnTo>
                          <a:pt x="148" y="180"/>
                        </a:lnTo>
                        <a:lnTo>
                          <a:pt x="148" y="180"/>
                        </a:lnTo>
                        <a:lnTo>
                          <a:pt x="155" y="172"/>
                        </a:lnTo>
                        <a:lnTo>
                          <a:pt x="155" y="169"/>
                        </a:lnTo>
                        <a:lnTo>
                          <a:pt x="157" y="165"/>
                        </a:lnTo>
                        <a:lnTo>
                          <a:pt x="157" y="165"/>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3" name="Freeform 1722">
                    <a:extLst>
                      <a:ext uri="{FF2B5EF4-FFF2-40B4-BE49-F238E27FC236}">
                        <a16:creationId xmlns:a16="http://schemas.microsoft.com/office/drawing/2014/main" id="{430EA31F-749B-44E4-AC30-61428FB84D55}"/>
                      </a:ext>
                    </a:extLst>
                  </p:cNvPr>
                  <p:cNvSpPr>
                    <a:spLocks/>
                  </p:cNvSpPr>
                  <p:nvPr/>
                </p:nvSpPr>
                <p:spPr bwMode="auto">
                  <a:xfrm>
                    <a:off x="775276" y="3818540"/>
                    <a:ext cx="185433" cy="208281"/>
                  </a:xfrm>
                  <a:custGeom>
                    <a:avLst/>
                    <a:gdLst>
                      <a:gd name="T0" fmla="*/ 129 w 157"/>
                      <a:gd name="T1" fmla="*/ 185 h 185"/>
                      <a:gd name="T2" fmla="*/ 129 w 157"/>
                      <a:gd name="T3" fmla="*/ 185 h 185"/>
                      <a:gd name="T4" fmla="*/ 138 w 157"/>
                      <a:gd name="T5" fmla="*/ 183 h 185"/>
                      <a:gd name="T6" fmla="*/ 148 w 157"/>
                      <a:gd name="T7" fmla="*/ 180 h 185"/>
                      <a:gd name="T8" fmla="*/ 148 w 157"/>
                      <a:gd name="T9" fmla="*/ 180 h 185"/>
                      <a:gd name="T10" fmla="*/ 155 w 157"/>
                      <a:gd name="T11" fmla="*/ 172 h 185"/>
                      <a:gd name="T12" fmla="*/ 155 w 157"/>
                      <a:gd name="T13" fmla="*/ 169 h 185"/>
                      <a:gd name="T14" fmla="*/ 157 w 157"/>
                      <a:gd name="T15" fmla="*/ 165 h 185"/>
                      <a:gd name="T16" fmla="*/ 157 w 157"/>
                      <a:gd name="T17" fmla="*/ 36 h 185"/>
                      <a:gd name="T18" fmla="*/ 157 w 157"/>
                      <a:gd name="T19" fmla="*/ 36 h 185"/>
                      <a:gd name="T20" fmla="*/ 155 w 157"/>
                      <a:gd name="T21" fmla="*/ 27 h 185"/>
                      <a:gd name="T22" fmla="*/ 151 w 157"/>
                      <a:gd name="T23" fmla="*/ 20 h 185"/>
                      <a:gd name="T24" fmla="*/ 151 w 157"/>
                      <a:gd name="T25" fmla="*/ 20 h 185"/>
                      <a:gd name="T26" fmla="*/ 144 w 157"/>
                      <a:gd name="T27" fmla="*/ 12 h 185"/>
                      <a:gd name="T28" fmla="*/ 137 w 157"/>
                      <a:gd name="T29" fmla="*/ 9 h 185"/>
                      <a:gd name="T30" fmla="*/ 137 w 157"/>
                      <a:gd name="T31" fmla="*/ 9 h 185"/>
                      <a:gd name="T32" fmla="*/ 122 w 157"/>
                      <a:gd name="T33" fmla="*/ 5 h 185"/>
                      <a:gd name="T34" fmla="*/ 107 w 157"/>
                      <a:gd name="T35" fmla="*/ 1 h 185"/>
                      <a:gd name="T36" fmla="*/ 94 w 157"/>
                      <a:gd name="T37" fmla="*/ 0 h 185"/>
                      <a:gd name="T38" fmla="*/ 79 w 157"/>
                      <a:gd name="T39" fmla="*/ 0 h 185"/>
                      <a:gd name="T40" fmla="*/ 65 w 157"/>
                      <a:gd name="T41" fmla="*/ 0 h 185"/>
                      <a:gd name="T42" fmla="*/ 50 w 157"/>
                      <a:gd name="T43" fmla="*/ 1 h 185"/>
                      <a:gd name="T44" fmla="*/ 35 w 157"/>
                      <a:gd name="T45" fmla="*/ 5 h 185"/>
                      <a:gd name="T46" fmla="*/ 21 w 157"/>
                      <a:gd name="T47" fmla="*/ 9 h 185"/>
                      <a:gd name="T48" fmla="*/ 21 w 157"/>
                      <a:gd name="T49" fmla="*/ 9 h 185"/>
                      <a:gd name="T50" fmla="*/ 13 w 157"/>
                      <a:gd name="T51" fmla="*/ 12 h 185"/>
                      <a:gd name="T52" fmla="*/ 8 w 157"/>
                      <a:gd name="T53" fmla="*/ 20 h 185"/>
                      <a:gd name="T54" fmla="*/ 8 w 157"/>
                      <a:gd name="T55" fmla="*/ 20 h 185"/>
                      <a:gd name="T56" fmla="*/ 2 w 157"/>
                      <a:gd name="T57" fmla="*/ 27 h 185"/>
                      <a:gd name="T58" fmla="*/ 0 w 157"/>
                      <a:gd name="T59" fmla="*/ 36 h 185"/>
                      <a:gd name="T60" fmla="*/ 0 w 157"/>
                      <a:gd name="T61" fmla="*/ 165 h 185"/>
                      <a:gd name="T62" fmla="*/ 0 w 157"/>
                      <a:gd name="T63" fmla="*/ 165 h 185"/>
                      <a:gd name="T64" fmla="*/ 2 w 157"/>
                      <a:gd name="T65" fmla="*/ 169 h 185"/>
                      <a:gd name="T66" fmla="*/ 4 w 157"/>
                      <a:gd name="T67" fmla="*/ 172 h 185"/>
                      <a:gd name="T68" fmla="*/ 10 w 157"/>
                      <a:gd name="T69" fmla="*/ 180 h 185"/>
                      <a:gd name="T70" fmla="*/ 10 w 157"/>
                      <a:gd name="T71" fmla="*/ 180 h 185"/>
                      <a:gd name="T72" fmla="*/ 19 w 157"/>
                      <a:gd name="T73" fmla="*/ 183 h 185"/>
                      <a:gd name="T74" fmla="*/ 28 w 157"/>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85">
                        <a:moveTo>
                          <a:pt x="129" y="185"/>
                        </a:moveTo>
                        <a:lnTo>
                          <a:pt x="129" y="185"/>
                        </a:lnTo>
                        <a:lnTo>
                          <a:pt x="138" y="183"/>
                        </a:lnTo>
                        <a:lnTo>
                          <a:pt x="148" y="180"/>
                        </a:lnTo>
                        <a:lnTo>
                          <a:pt x="148" y="180"/>
                        </a:lnTo>
                        <a:lnTo>
                          <a:pt x="155" y="172"/>
                        </a:lnTo>
                        <a:lnTo>
                          <a:pt x="155" y="169"/>
                        </a:lnTo>
                        <a:lnTo>
                          <a:pt x="157" y="165"/>
                        </a:lnTo>
                        <a:lnTo>
                          <a:pt x="157" y="36"/>
                        </a:lnTo>
                        <a:lnTo>
                          <a:pt x="157" y="36"/>
                        </a:lnTo>
                        <a:lnTo>
                          <a:pt x="155" y="27"/>
                        </a:lnTo>
                        <a:lnTo>
                          <a:pt x="151" y="20"/>
                        </a:lnTo>
                        <a:lnTo>
                          <a:pt x="151" y="20"/>
                        </a:lnTo>
                        <a:lnTo>
                          <a:pt x="144" y="12"/>
                        </a:lnTo>
                        <a:lnTo>
                          <a:pt x="137" y="9"/>
                        </a:lnTo>
                        <a:lnTo>
                          <a:pt x="137" y="9"/>
                        </a:lnTo>
                        <a:lnTo>
                          <a:pt x="122" y="5"/>
                        </a:lnTo>
                        <a:lnTo>
                          <a:pt x="107" y="1"/>
                        </a:lnTo>
                        <a:lnTo>
                          <a:pt x="94" y="0"/>
                        </a:lnTo>
                        <a:lnTo>
                          <a:pt x="79" y="0"/>
                        </a:lnTo>
                        <a:lnTo>
                          <a:pt x="65" y="0"/>
                        </a:lnTo>
                        <a:lnTo>
                          <a:pt x="50" y="1"/>
                        </a:lnTo>
                        <a:lnTo>
                          <a:pt x="35" y="5"/>
                        </a:lnTo>
                        <a:lnTo>
                          <a:pt x="21" y="9"/>
                        </a:lnTo>
                        <a:lnTo>
                          <a:pt x="21" y="9"/>
                        </a:lnTo>
                        <a:lnTo>
                          <a:pt x="13" y="12"/>
                        </a:lnTo>
                        <a:lnTo>
                          <a:pt x="8" y="20"/>
                        </a:lnTo>
                        <a:lnTo>
                          <a:pt x="8" y="20"/>
                        </a:lnTo>
                        <a:lnTo>
                          <a:pt x="2" y="27"/>
                        </a:lnTo>
                        <a:lnTo>
                          <a:pt x="0" y="36"/>
                        </a:lnTo>
                        <a:lnTo>
                          <a:pt x="0" y="165"/>
                        </a:lnTo>
                        <a:lnTo>
                          <a:pt x="0" y="165"/>
                        </a:lnTo>
                        <a:lnTo>
                          <a:pt x="2" y="169"/>
                        </a:lnTo>
                        <a:lnTo>
                          <a:pt x="4" y="172"/>
                        </a:lnTo>
                        <a:lnTo>
                          <a:pt x="10" y="180"/>
                        </a:lnTo>
                        <a:lnTo>
                          <a:pt x="10" y="180"/>
                        </a:lnTo>
                        <a:lnTo>
                          <a:pt x="19" y="183"/>
                        </a:lnTo>
                        <a:lnTo>
                          <a:pt x="28" y="185"/>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4" name="Freeform 1723">
                    <a:extLst>
                      <a:ext uri="{FF2B5EF4-FFF2-40B4-BE49-F238E27FC236}">
                        <a16:creationId xmlns:a16="http://schemas.microsoft.com/office/drawing/2014/main" id="{BC10D734-35A0-4EAA-8C74-D6EE07CBF674}"/>
                      </a:ext>
                    </a:extLst>
                  </p:cNvPr>
                  <p:cNvSpPr>
                    <a:spLocks/>
                  </p:cNvSpPr>
                  <p:nvPr/>
                </p:nvSpPr>
                <p:spPr bwMode="auto">
                  <a:xfrm>
                    <a:off x="820446" y="3726716"/>
                    <a:ext cx="97472" cy="91823"/>
                  </a:xfrm>
                  <a:custGeom>
                    <a:avLst/>
                    <a:gdLst>
                      <a:gd name="T0" fmla="*/ 70 w 83"/>
                      <a:gd name="T1" fmla="*/ 13 h 83"/>
                      <a:gd name="T2" fmla="*/ 70 w 83"/>
                      <a:gd name="T3" fmla="*/ 13 h 83"/>
                      <a:gd name="T4" fmla="*/ 65 w 83"/>
                      <a:gd name="T5" fmla="*/ 7 h 83"/>
                      <a:gd name="T6" fmla="*/ 57 w 83"/>
                      <a:gd name="T7" fmla="*/ 3 h 83"/>
                      <a:gd name="T8" fmla="*/ 50 w 83"/>
                      <a:gd name="T9" fmla="*/ 2 h 83"/>
                      <a:gd name="T10" fmla="*/ 42 w 83"/>
                      <a:gd name="T11" fmla="*/ 0 h 83"/>
                      <a:gd name="T12" fmla="*/ 42 w 83"/>
                      <a:gd name="T13" fmla="*/ 0 h 83"/>
                      <a:gd name="T14" fmla="*/ 33 w 83"/>
                      <a:gd name="T15" fmla="*/ 2 h 83"/>
                      <a:gd name="T16" fmla="*/ 26 w 83"/>
                      <a:gd name="T17" fmla="*/ 3 h 83"/>
                      <a:gd name="T18" fmla="*/ 19 w 83"/>
                      <a:gd name="T19" fmla="*/ 7 h 83"/>
                      <a:gd name="T20" fmla="*/ 13 w 83"/>
                      <a:gd name="T21" fmla="*/ 13 h 83"/>
                      <a:gd name="T22" fmla="*/ 13 w 83"/>
                      <a:gd name="T23" fmla="*/ 13 h 83"/>
                      <a:gd name="T24" fmla="*/ 8 w 83"/>
                      <a:gd name="T25" fmla="*/ 18 h 83"/>
                      <a:gd name="T26" fmla="*/ 4 w 83"/>
                      <a:gd name="T27" fmla="*/ 25 h 83"/>
                      <a:gd name="T28" fmla="*/ 2 w 83"/>
                      <a:gd name="T29" fmla="*/ 33 h 83"/>
                      <a:gd name="T30" fmla="*/ 0 w 83"/>
                      <a:gd name="T31" fmla="*/ 42 h 83"/>
                      <a:gd name="T32" fmla="*/ 0 w 83"/>
                      <a:gd name="T33" fmla="*/ 42 h 83"/>
                      <a:gd name="T34" fmla="*/ 2 w 83"/>
                      <a:gd name="T35" fmla="*/ 49 h 83"/>
                      <a:gd name="T36" fmla="*/ 4 w 83"/>
                      <a:gd name="T37" fmla="*/ 57 h 83"/>
                      <a:gd name="T38" fmla="*/ 8 w 83"/>
                      <a:gd name="T39" fmla="*/ 64 h 83"/>
                      <a:gd name="T40" fmla="*/ 13 w 83"/>
                      <a:gd name="T41" fmla="*/ 70 h 83"/>
                      <a:gd name="T42" fmla="*/ 13 w 83"/>
                      <a:gd name="T43" fmla="*/ 70 h 83"/>
                      <a:gd name="T44" fmla="*/ 19 w 83"/>
                      <a:gd name="T45" fmla="*/ 75 h 83"/>
                      <a:gd name="T46" fmla="*/ 26 w 83"/>
                      <a:gd name="T47" fmla="*/ 79 h 83"/>
                      <a:gd name="T48" fmla="*/ 33 w 83"/>
                      <a:gd name="T49" fmla="*/ 83 h 83"/>
                      <a:gd name="T50" fmla="*/ 42 w 83"/>
                      <a:gd name="T51" fmla="*/ 83 h 83"/>
                      <a:gd name="T52" fmla="*/ 42 w 83"/>
                      <a:gd name="T53" fmla="*/ 83 h 83"/>
                      <a:gd name="T54" fmla="*/ 50 w 83"/>
                      <a:gd name="T55" fmla="*/ 83 h 83"/>
                      <a:gd name="T56" fmla="*/ 57 w 83"/>
                      <a:gd name="T57" fmla="*/ 79 h 83"/>
                      <a:gd name="T58" fmla="*/ 65 w 83"/>
                      <a:gd name="T59" fmla="*/ 75 h 83"/>
                      <a:gd name="T60" fmla="*/ 70 w 83"/>
                      <a:gd name="T61" fmla="*/ 70 h 83"/>
                      <a:gd name="T62" fmla="*/ 70 w 83"/>
                      <a:gd name="T63" fmla="*/ 70 h 83"/>
                      <a:gd name="T64" fmla="*/ 76 w 83"/>
                      <a:gd name="T65" fmla="*/ 64 h 83"/>
                      <a:gd name="T66" fmla="*/ 79 w 83"/>
                      <a:gd name="T67" fmla="*/ 57 h 83"/>
                      <a:gd name="T68" fmla="*/ 83 w 83"/>
                      <a:gd name="T69" fmla="*/ 49 h 83"/>
                      <a:gd name="T70" fmla="*/ 83 w 83"/>
                      <a:gd name="T71" fmla="*/ 42 h 83"/>
                      <a:gd name="T72" fmla="*/ 83 w 83"/>
                      <a:gd name="T73" fmla="*/ 42 h 83"/>
                      <a:gd name="T74" fmla="*/ 83 w 83"/>
                      <a:gd name="T75" fmla="*/ 33 h 83"/>
                      <a:gd name="T76" fmla="*/ 79 w 83"/>
                      <a:gd name="T77" fmla="*/ 25 h 83"/>
                      <a:gd name="T78" fmla="*/ 76 w 83"/>
                      <a:gd name="T79" fmla="*/ 18 h 83"/>
                      <a:gd name="T80" fmla="*/ 70 w 83"/>
                      <a:gd name="T81" fmla="*/ 13 h 83"/>
                      <a:gd name="T82" fmla="*/ 70 w 83"/>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70" y="13"/>
                        </a:moveTo>
                        <a:lnTo>
                          <a:pt x="70" y="13"/>
                        </a:lnTo>
                        <a:lnTo>
                          <a:pt x="65" y="7"/>
                        </a:lnTo>
                        <a:lnTo>
                          <a:pt x="57" y="3"/>
                        </a:lnTo>
                        <a:lnTo>
                          <a:pt x="50" y="2"/>
                        </a:lnTo>
                        <a:lnTo>
                          <a:pt x="42" y="0"/>
                        </a:lnTo>
                        <a:lnTo>
                          <a:pt x="42" y="0"/>
                        </a:lnTo>
                        <a:lnTo>
                          <a:pt x="33" y="2"/>
                        </a:lnTo>
                        <a:lnTo>
                          <a:pt x="26" y="3"/>
                        </a:lnTo>
                        <a:lnTo>
                          <a:pt x="19" y="7"/>
                        </a:lnTo>
                        <a:lnTo>
                          <a:pt x="13" y="13"/>
                        </a:lnTo>
                        <a:lnTo>
                          <a:pt x="13" y="13"/>
                        </a:lnTo>
                        <a:lnTo>
                          <a:pt x="8" y="18"/>
                        </a:lnTo>
                        <a:lnTo>
                          <a:pt x="4" y="25"/>
                        </a:lnTo>
                        <a:lnTo>
                          <a:pt x="2" y="33"/>
                        </a:lnTo>
                        <a:lnTo>
                          <a:pt x="0" y="42"/>
                        </a:lnTo>
                        <a:lnTo>
                          <a:pt x="0" y="42"/>
                        </a:lnTo>
                        <a:lnTo>
                          <a:pt x="2" y="49"/>
                        </a:lnTo>
                        <a:lnTo>
                          <a:pt x="4" y="57"/>
                        </a:lnTo>
                        <a:lnTo>
                          <a:pt x="8" y="64"/>
                        </a:lnTo>
                        <a:lnTo>
                          <a:pt x="13" y="70"/>
                        </a:lnTo>
                        <a:lnTo>
                          <a:pt x="13" y="70"/>
                        </a:lnTo>
                        <a:lnTo>
                          <a:pt x="19" y="75"/>
                        </a:lnTo>
                        <a:lnTo>
                          <a:pt x="26" y="79"/>
                        </a:lnTo>
                        <a:lnTo>
                          <a:pt x="33" y="83"/>
                        </a:lnTo>
                        <a:lnTo>
                          <a:pt x="42" y="83"/>
                        </a:lnTo>
                        <a:lnTo>
                          <a:pt x="42" y="83"/>
                        </a:lnTo>
                        <a:lnTo>
                          <a:pt x="50" y="83"/>
                        </a:lnTo>
                        <a:lnTo>
                          <a:pt x="57" y="79"/>
                        </a:lnTo>
                        <a:lnTo>
                          <a:pt x="65" y="75"/>
                        </a:lnTo>
                        <a:lnTo>
                          <a:pt x="70" y="70"/>
                        </a:lnTo>
                        <a:lnTo>
                          <a:pt x="70" y="70"/>
                        </a:lnTo>
                        <a:lnTo>
                          <a:pt x="76" y="64"/>
                        </a:lnTo>
                        <a:lnTo>
                          <a:pt x="79" y="57"/>
                        </a:lnTo>
                        <a:lnTo>
                          <a:pt x="83" y="49"/>
                        </a:lnTo>
                        <a:lnTo>
                          <a:pt x="83" y="42"/>
                        </a:lnTo>
                        <a:lnTo>
                          <a:pt x="83" y="42"/>
                        </a:lnTo>
                        <a:lnTo>
                          <a:pt x="83" y="33"/>
                        </a:lnTo>
                        <a:lnTo>
                          <a:pt x="79" y="25"/>
                        </a:lnTo>
                        <a:lnTo>
                          <a:pt x="76" y="18"/>
                        </a:lnTo>
                        <a:lnTo>
                          <a:pt x="70" y="13"/>
                        </a:lnTo>
                        <a:lnTo>
                          <a:pt x="70" y="13"/>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5" name="Freeform 1724">
                    <a:extLst>
                      <a:ext uri="{FF2B5EF4-FFF2-40B4-BE49-F238E27FC236}">
                        <a16:creationId xmlns:a16="http://schemas.microsoft.com/office/drawing/2014/main" id="{A16D5AE2-AE4B-4FDE-8278-A723C987B68C}"/>
                      </a:ext>
                    </a:extLst>
                  </p:cNvPr>
                  <p:cNvSpPr>
                    <a:spLocks/>
                  </p:cNvSpPr>
                  <p:nvPr/>
                </p:nvSpPr>
                <p:spPr bwMode="auto">
                  <a:xfrm>
                    <a:off x="820446" y="3726716"/>
                    <a:ext cx="97472" cy="91823"/>
                  </a:xfrm>
                  <a:custGeom>
                    <a:avLst/>
                    <a:gdLst>
                      <a:gd name="T0" fmla="*/ 83 w 83"/>
                      <a:gd name="T1" fmla="*/ 42 h 83"/>
                      <a:gd name="T2" fmla="*/ 83 w 83"/>
                      <a:gd name="T3" fmla="*/ 42 h 83"/>
                      <a:gd name="T4" fmla="*/ 83 w 83"/>
                      <a:gd name="T5" fmla="*/ 49 h 83"/>
                      <a:gd name="T6" fmla="*/ 79 w 83"/>
                      <a:gd name="T7" fmla="*/ 57 h 83"/>
                      <a:gd name="T8" fmla="*/ 76 w 83"/>
                      <a:gd name="T9" fmla="*/ 64 h 83"/>
                      <a:gd name="T10" fmla="*/ 70 w 83"/>
                      <a:gd name="T11" fmla="*/ 70 h 83"/>
                      <a:gd name="T12" fmla="*/ 70 w 83"/>
                      <a:gd name="T13" fmla="*/ 70 h 83"/>
                      <a:gd name="T14" fmla="*/ 65 w 83"/>
                      <a:gd name="T15" fmla="*/ 75 h 83"/>
                      <a:gd name="T16" fmla="*/ 57 w 83"/>
                      <a:gd name="T17" fmla="*/ 79 h 83"/>
                      <a:gd name="T18" fmla="*/ 50 w 83"/>
                      <a:gd name="T19" fmla="*/ 83 h 83"/>
                      <a:gd name="T20" fmla="*/ 42 w 83"/>
                      <a:gd name="T21" fmla="*/ 83 h 83"/>
                      <a:gd name="T22" fmla="*/ 42 w 83"/>
                      <a:gd name="T23" fmla="*/ 83 h 83"/>
                      <a:gd name="T24" fmla="*/ 33 w 83"/>
                      <a:gd name="T25" fmla="*/ 83 h 83"/>
                      <a:gd name="T26" fmla="*/ 26 w 83"/>
                      <a:gd name="T27" fmla="*/ 79 h 83"/>
                      <a:gd name="T28" fmla="*/ 19 w 83"/>
                      <a:gd name="T29" fmla="*/ 75 h 83"/>
                      <a:gd name="T30" fmla="*/ 13 w 83"/>
                      <a:gd name="T31" fmla="*/ 70 h 83"/>
                      <a:gd name="T32" fmla="*/ 13 w 83"/>
                      <a:gd name="T33" fmla="*/ 70 h 83"/>
                      <a:gd name="T34" fmla="*/ 8 w 83"/>
                      <a:gd name="T35" fmla="*/ 64 h 83"/>
                      <a:gd name="T36" fmla="*/ 4 w 83"/>
                      <a:gd name="T37" fmla="*/ 57 h 83"/>
                      <a:gd name="T38" fmla="*/ 2 w 83"/>
                      <a:gd name="T39" fmla="*/ 49 h 83"/>
                      <a:gd name="T40" fmla="*/ 0 w 83"/>
                      <a:gd name="T41" fmla="*/ 42 h 83"/>
                      <a:gd name="T42" fmla="*/ 0 w 83"/>
                      <a:gd name="T43" fmla="*/ 42 h 83"/>
                      <a:gd name="T44" fmla="*/ 2 w 83"/>
                      <a:gd name="T45" fmla="*/ 33 h 83"/>
                      <a:gd name="T46" fmla="*/ 4 w 83"/>
                      <a:gd name="T47" fmla="*/ 25 h 83"/>
                      <a:gd name="T48" fmla="*/ 8 w 83"/>
                      <a:gd name="T49" fmla="*/ 18 h 83"/>
                      <a:gd name="T50" fmla="*/ 13 w 83"/>
                      <a:gd name="T51" fmla="*/ 13 h 83"/>
                      <a:gd name="T52" fmla="*/ 13 w 83"/>
                      <a:gd name="T53" fmla="*/ 13 h 83"/>
                      <a:gd name="T54" fmla="*/ 19 w 83"/>
                      <a:gd name="T55" fmla="*/ 7 h 83"/>
                      <a:gd name="T56" fmla="*/ 26 w 83"/>
                      <a:gd name="T57" fmla="*/ 3 h 83"/>
                      <a:gd name="T58" fmla="*/ 33 w 83"/>
                      <a:gd name="T59" fmla="*/ 2 h 83"/>
                      <a:gd name="T60" fmla="*/ 42 w 83"/>
                      <a:gd name="T61" fmla="*/ 0 h 83"/>
                      <a:gd name="T62" fmla="*/ 42 w 83"/>
                      <a:gd name="T63" fmla="*/ 0 h 83"/>
                      <a:gd name="T64" fmla="*/ 50 w 83"/>
                      <a:gd name="T65" fmla="*/ 2 h 83"/>
                      <a:gd name="T66" fmla="*/ 57 w 83"/>
                      <a:gd name="T67" fmla="*/ 3 h 83"/>
                      <a:gd name="T68" fmla="*/ 65 w 83"/>
                      <a:gd name="T69" fmla="*/ 7 h 83"/>
                      <a:gd name="T70" fmla="*/ 70 w 83"/>
                      <a:gd name="T71" fmla="*/ 13 h 83"/>
                      <a:gd name="T72" fmla="*/ 70 w 83"/>
                      <a:gd name="T73" fmla="*/ 13 h 83"/>
                      <a:gd name="T74" fmla="*/ 76 w 83"/>
                      <a:gd name="T75" fmla="*/ 18 h 83"/>
                      <a:gd name="T76" fmla="*/ 79 w 83"/>
                      <a:gd name="T77" fmla="*/ 25 h 83"/>
                      <a:gd name="T78" fmla="*/ 83 w 83"/>
                      <a:gd name="T79" fmla="*/ 33 h 83"/>
                      <a:gd name="T80" fmla="*/ 83 w 83"/>
                      <a:gd name="T81" fmla="*/ 42 h 83"/>
                      <a:gd name="T82" fmla="*/ 83 w 83"/>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2"/>
                        </a:moveTo>
                        <a:lnTo>
                          <a:pt x="83" y="42"/>
                        </a:lnTo>
                        <a:lnTo>
                          <a:pt x="83" y="49"/>
                        </a:lnTo>
                        <a:lnTo>
                          <a:pt x="79" y="57"/>
                        </a:lnTo>
                        <a:lnTo>
                          <a:pt x="76" y="64"/>
                        </a:lnTo>
                        <a:lnTo>
                          <a:pt x="70" y="70"/>
                        </a:lnTo>
                        <a:lnTo>
                          <a:pt x="70" y="70"/>
                        </a:lnTo>
                        <a:lnTo>
                          <a:pt x="65" y="75"/>
                        </a:lnTo>
                        <a:lnTo>
                          <a:pt x="57" y="79"/>
                        </a:lnTo>
                        <a:lnTo>
                          <a:pt x="50" y="83"/>
                        </a:lnTo>
                        <a:lnTo>
                          <a:pt x="42" y="83"/>
                        </a:lnTo>
                        <a:lnTo>
                          <a:pt x="42" y="83"/>
                        </a:lnTo>
                        <a:lnTo>
                          <a:pt x="33" y="83"/>
                        </a:lnTo>
                        <a:lnTo>
                          <a:pt x="26" y="79"/>
                        </a:lnTo>
                        <a:lnTo>
                          <a:pt x="19" y="75"/>
                        </a:lnTo>
                        <a:lnTo>
                          <a:pt x="13" y="70"/>
                        </a:lnTo>
                        <a:lnTo>
                          <a:pt x="13" y="70"/>
                        </a:lnTo>
                        <a:lnTo>
                          <a:pt x="8" y="64"/>
                        </a:lnTo>
                        <a:lnTo>
                          <a:pt x="4" y="57"/>
                        </a:lnTo>
                        <a:lnTo>
                          <a:pt x="2" y="49"/>
                        </a:lnTo>
                        <a:lnTo>
                          <a:pt x="0" y="42"/>
                        </a:lnTo>
                        <a:lnTo>
                          <a:pt x="0" y="42"/>
                        </a:lnTo>
                        <a:lnTo>
                          <a:pt x="2" y="33"/>
                        </a:lnTo>
                        <a:lnTo>
                          <a:pt x="4" y="25"/>
                        </a:lnTo>
                        <a:lnTo>
                          <a:pt x="8" y="18"/>
                        </a:lnTo>
                        <a:lnTo>
                          <a:pt x="13" y="13"/>
                        </a:lnTo>
                        <a:lnTo>
                          <a:pt x="13" y="13"/>
                        </a:lnTo>
                        <a:lnTo>
                          <a:pt x="19" y="7"/>
                        </a:lnTo>
                        <a:lnTo>
                          <a:pt x="26" y="3"/>
                        </a:lnTo>
                        <a:lnTo>
                          <a:pt x="33" y="2"/>
                        </a:lnTo>
                        <a:lnTo>
                          <a:pt x="42" y="0"/>
                        </a:lnTo>
                        <a:lnTo>
                          <a:pt x="42" y="0"/>
                        </a:lnTo>
                        <a:lnTo>
                          <a:pt x="50" y="2"/>
                        </a:lnTo>
                        <a:lnTo>
                          <a:pt x="57" y="3"/>
                        </a:lnTo>
                        <a:lnTo>
                          <a:pt x="65" y="7"/>
                        </a:lnTo>
                        <a:lnTo>
                          <a:pt x="70" y="13"/>
                        </a:lnTo>
                        <a:lnTo>
                          <a:pt x="70" y="13"/>
                        </a:lnTo>
                        <a:lnTo>
                          <a:pt x="76" y="18"/>
                        </a:lnTo>
                        <a:lnTo>
                          <a:pt x="79" y="25"/>
                        </a:lnTo>
                        <a:lnTo>
                          <a:pt x="83" y="33"/>
                        </a:lnTo>
                        <a:lnTo>
                          <a:pt x="83" y="42"/>
                        </a:lnTo>
                        <a:lnTo>
                          <a:pt x="83"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6" name="Rectangle 1725">
                    <a:extLst>
                      <a:ext uri="{FF2B5EF4-FFF2-40B4-BE49-F238E27FC236}">
                        <a16:creationId xmlns:a16="http://schemas.microsoft.com/office/drawing/2014/main" id="{AFC6EBAB-637F-4C9D-A172-75545F6CB3C7}"/>
                      </a:ext>
                    </a:extLst>
                  </p:cNvPr>
                  <p:cNvSpPr>
                    <a:spLocks noChangeArrowheads="1"/>
                  </p:cNvSpPr>
                  <p:nvPr/>
                </p:nvSpPr>
                <p:spPr bwMode="auto">
                  <a:xfrm>
                    <a:off x="818068" y="3960809"/>
                    <a:ext cx="104603" cy="211584"/>
                  </a:xfrm>
                  <a:prstGeom prst="rect">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7" name="Freeform 1726">
                    <a:extLst>
                      <a:ext uri="{FF2B5EF4-FFF2-40B4-BE49-F238E27FC236}">
                        <a16:creationId xmlns:a16="http://schemas.microsoft.com/office/drawing/2014/main" id="{9876E820-3190-4014-8323-A14B8715C4F4}"/>
                      </a:ext>
                    </a:extLst>
                  </p:cNvPr>
                  <p:cNvSpPr>
                    <a:spLocks/>
                  </p:cNvSpPr>
                  <p:nvPr/>
                </p:nvSpPr>
                <p:spPr bwMode="auto">
                  <a:xfrm>
                    <a:off x="818068" y="3906629"/>
                    <a:ext cx="104603" cy="265764"/>
                  </a:xfrm>
                  <a:custGeom>
                    <a:avLst/>
                    <a:gdLst>
                      <a:gd name="T0" fmla="*/ 0 w 89"/>
                      <a:gd name="T1" fmla="*/ 0 h 272"/>
                      <a:gd name="T2" fmla="*/ 0 w 89"/>
                      <a:gd name="T3" fmla="*/ 272 h 272"/>
                      <a:gd name="T4" fmla="*/ 89 w 89"/>
                      <a:gd name="T5" fmla="*/ 272 h 272"/>
                      <a:gd name="T6" fmla="*/ 89 w 89"/>
                      <a:gd name="T7" fmla="*/ 0 h 272"/>
                    </a:gdLst>
                    <a:ahLst/>
                    <a:cxnLst>
                      <a:cxn ang="0">
                        <a:pos x="T0" y="T1"/>
                      </a:cxn>
                      <a:cxn ang="0">
                        <a:pos x="T2" y="T3"/>
                      </a:cxn>
                      <a:cxn ang="0">
                        <a:pos x="T4" y="T5"/>
                      </a:cxn>
                      <a:cxn ang="0">
                        <a:pos x="T6" y="T7"/>
                      </a:cxn>
                    </a:cxnLst>
                    <a:rect l="0" t="0" r="r" b="b"/>
                    <a:pathLst>
                      <a:path w="89" h="272">
                        <a:moveTo>
                          <a:pt x="0" y="0"/>
                        </a:moveTo>
                        <a:lnTo>
                          <a:pt x="0" y="272"/>
                        </a:lnTo>
                        <a:lnTo>
                          <a:pt x="89" y="272"/>
                        </a:lnTo>
                        <a:lnTo>
                          <a:pt x="89" y="0"/>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8" name="Line 1727">
                    <a:extLst>
                      <a:ext uri="{FF2B5EF4-FFF2-40B4-BE49-F238E27FC236}">
                        <a16:creationId xmlns:a16="http://schemas.microsoft.com/office/drawing/2014/main" id="{96A2D9A4-AF21-4C27-A55B-18115484BC97}"/>
                      </a:ext>
                    </a:extLst>
                  </p:cNvPr>
                  <p:cNvSpPr>
                    <a:spLocks noChangeShapeType="1"/>
                  </p:cNvSpPr>
                  <p:nvPr/>
                </p:nvSpPr>
                <p:spPr bwMode="auto">
                  <a:xfrm>
                    <a:off x="870370" y="4020102"/>
                    <a:ext cx="0" cy="152291"/>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171" name="Freeform 1728">
                  <a:extLst>
                    <a:ext uri="{FF2B5EF4-FFF2-40B4-BE49-F238E27FC236}">
                      <a16:creationId xmlns:a16="http://schemas.microsoft.com/office/drawing/2014/main" id="{0A2244B1-6F50-40B7-9F58-5103C57B49B2}"/>
                    </a:ext>
                  </a:extLst>
                </p:cNvPr>
                <p:cNvSpPr>
                  <a:spLocks/>
                </p:cNvSpPr>
                <p:nvPr/>
              </p:nvSpPr>
              <p:spPr bwMode="auto">
                <a:xfrm>
                  <a:off x="4129261" y="4683656"/>
                  <a:ext cx="192468" cy="176997"/>
                </a:xfrm>
                <a:custGeom>
                  <a:avLst/>
                  <a:gdLst>
                    <a:gd name="T0" fmla="*/ 83 w 83"/>
                    <a:gd name="T1" fmla="*/ 41 h 83"/>
                    <a:gd name="T2" fmla="*/ 83 w 83"/>
                    <a:gd name="T3" fmla="*/ 41 h 83"/>
                    <a:gd name="T4" fmla="*/ 81 w 83"/>
                    <a:gd name="T5" fmla="*/ 34 h 83"/>
                    <a:gd name="T6" fmla="*/ 79 w 83"/>
                    <a:gd name="T7" fmla="*/ 24 h 83"/>
                    <a:gd name="T8" fmla="*/ 75 w 83"/>
                    <a:gd name="T9" fmla="*/ 19 h 83"/>
                    <a:gd name="T10" fmla="*/ 70 w 83"/>
                    <a:gd name="T11" fmla="*/ 11 h 83"/>
                    <a:gd name="T12" fmla="*/ 70 w 83"/>
                    <a:gd name="T13" fmla="*/ 11 h 83"/>
                    <a:gd name="T14" fmla="*/ 64 w 83"/>
                    <a:gd name="T15" fmla="*/ 6 h 83"/>
                    <a:gd name="T16" fmla="*/ 57 w 83"/>
                    <a:gd name="T17" fmla="*/ 2 h 83"/>
                    <a:gd name="T18" fmla="*/ 49 w 83"/>
                    <a:gd name="T19" fmla="*/ 0 h 83"/>
                    <a:gd name="T20" fmla="*/ 40 w 83"/>
                    <a:gd name="T21" fmla="*/ 0 h 83"/>
                    <a:gd name="T22" fmla="*/ 40 w 83"/>
                    <a:gd name="T23" fmla="*/ 0 h 83"/>
                    <a:gd name="T24" fmla="*/ 33 w 83"/>
                    <a:gd name="T25" fmla="*/ 0 h 83"/>
                    <a:gd name="T26" fmla="*/ 26 w 83"/>
                    <a:gd name="T27" fmla="*/ 2 h 83"/>
                    <a:gd name="T28" fmla="*/ 18 w 83"/>
                    <a:gd name="T29" fmla="*/ 6 h 83"/>
                    <a:gd name="T30" fmla="*/ 11 w 83"/>
                    <a:gd name="T31" fmla="*/ 11 h 83"/>
                    <a:gd name="T32" fmla="*/ 11 w 83"/>
                    <a:gd name="T33" fmla="*/ 11 h 83"/>
                    <a:gd name="T34" fmla="*/ 7 w 83"/>
                    <a:gd name="T35" fmla="*/ 19 h 83"/>
                    <a:gd name="T36" fmla="*/ 2 w 83"/>
                    <a:gd name="T37" fmla="*/ 24 h 83"/>
                    <a:gd name="T38" fmla="*/ 0 w 83"/>
                    <a:gd name="T39" fmla="*/ 34 h 83"/>
                    <a:gd name="T40" fmla="*/ 0 w 83"/>
                    <a:gd name="T41" fmla="*/ 41 h 83"/>
                    <a:gd name="T42" fmla="*/ 0 w 83"/>
                    <a:gd name="T43" fmla="*/ 41 h 83"/>
                    <a:gd name="T44" fmla="*/ 0 w 83"/>
                    <a:gd name="T45" fmla="*/ 50 h 83"/>
                    <a:gd name="T46" fmla="*/ 2 w 83"/>
                    <a:gd name="T47" fmla="*/ 57 h 83"/>
                    <a:gd name="T48" fmla="*/ 7 w 83"/>
                    <a:gd name="T49" fmla="*/ 65 h 83"/>
                    <a:gd name="T50" fmla="*/ 11 w 83"/>
                    <a:gd name="T51" fmla="*/ 70 h 83"/>
                    <a:gd name="T52" fmla="*/ 11 w 83"/>
                    <a:gd name="T53" fmla="*/ 70 h 83"/>
                    <a:gd name="T54" fmla="*/ 18 w 83"/>
                    <a:gd name="T55" fmla="*/ 76 h 83"/>
                    <a:gd name="T56" fmla="*/ 26 w 83"/>
                    <a:gd name="T57" fmla="*/ 80 h 83"/>
                    <a:gd name="T58" fmla="*/ 33 w 83"/>
                    <a:gd name="T59" fmla="*/ 81 h 83"/>
                    <a:gd name="T60" fmla="*/ 40 w 83"/>
                    <a:gd name="T61" fmla="*/ 83 h 83"/>
                    <a:gd name="T62" fmla="*/ 40 w 83"/>
                    <a:gd name="T63" fmla="*/ 83 h 83"/>
                    <a:gd name="T64" fmla="*/ 49 w 83"/>
                    <a:gd name="T65" fmla="*/ 81 h 83"/>
                    <a:gd name="T66" fmla="*/ 57 w 83"/>
                    <a:gd name="T67" fmla="*/ 80 h 83"/>
                    <a:gd name="T68" fmla="*/ 64 w 83"/>
                    <a:gd name="T69" fmla="*/ 76 h 83"/>
                    <a:gd name="T70" fmla="*/ 70 w 83"/>
                    <a:gd name="T71" fmla="*/ 70 h 83"/>
                    <a:gd name="T72" fmla="*/ 70 w 83"/>
                    <a:gd name="T73" fmla="*/ 70 h 83"/>
                    <a:gd name="T74" fmla="*/ 75 w 83"/>
                    <a:gd name="T75" fmla="*/ 65 h 83"/>
                    <a:gd name="T76" fmla="*/ 79 w 83"/>
                    <a:gd name="T77" fmla="*/ 57 h 83"/>
                    <a:gd name="T78" fmla="*/ 81 w 83"/>
                    <a:gd name="T79" fmla="*/ 50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1" y="34"/>
                      </a:lnTo>
                      <a:lnTo>
                        <a:pt x="79" y="24"/>
                      </a:lnTo>
                      <a:lnTo>
                        <a:pt x="75" y="19"/>
                      </a:lnTo>
                      <a:lnTo>
                        <a:pt x="70" y="11"/>
                      </a:lnTo>
                      <a:lnTo>
                        <a:pt x="70" y="11"/>
                      </a:lnTo>
                      <a:lnTo>
                        <a:pt x="64" y="6"/>
                      </a:lnTo>
                      <a:lnTo>
                        <a:pt x="57" y="2"/>
                      </a:lnTo>
                      <a:lnTo>
                        <a:pt x="49" y="0"/>
                      </a:lnTo>
                      <a:lnTo>
                        <a:pt x="40" y="0"/>
                      </a:lnTo>
                      <a:lnTo>
                        <a:pt x="40" y="0"/>
                      </a:lnTo>
                      <a:lnTo>
                        <a:pt x="33" y="0"/>
                      </a:lnTo>
                      <a:lnTo>
                        <a:pt x="26" y="2"/>
                      </a:lnTo>
                      <a:lnTo>
                        <a:pt x="18" y="6"/>
                      </a:lnTo>
                      <a:lnTo>
                        <a:pt x="11" y="11"/>
                      </a:lnTo>
                      <a:lnTo>
                        <a:pt x="11" y="11"/>
                      </a:lnTo>
                      <a:lnTo>
                        <a:pt x="7" y="19"/>
                      </a:lnTo>
                      <a:lnTo>
                        <a:pt x="2" y="24"/>
                      </a:lnTo>
                      <a:lnTo>
                        <a:pt x="0" y="34"/>
                      </a:lnTo>
                      <a:lnTo>
                        <a:pt x="0" y="41"/>
                      </a:lnTo>
                      <a:lnTo>
                        <a:pt x="0" y="41"/>
                      </a:lnTo>
                      <a:lnTo>
                        <a:pt x="0" y="50"/>
                      </a:lnTo>
                      <a:lnTo>
                        <a:pt x="2" y="57"/>
                      </a:lnTo>
                      <a:lnTo>
                        <a:pt x="7" y="65"/>
                      </a:lnTo>
                      <a:lnTo>
                        <a:pt x="11" y="70"/>
                      </a:lnTo>
                      <a:lnTo>
                        <a:pt x="11" y="70"/>
                      </a:lnTo>
                      <a:lnTo>
                        <a:pt x="18" y="76"/>
                      </a:lnTo>
                      <a:lnTo>
                        <a:pt x="26" y="80"/>
                      </a:lnTo>
                      <a:lnTo>
                        <a:pt x="33" y="81"/>
                      </a:lnTo>
                      <a:lnTo>
                        <a:pt x="40" y="83"/>
                      </a:lnTo>
                      <a:lnTo>
                        <a:pt x="40" y="83"/>
                      </a:lnTo>
                      <a:lnTo>
                        <a:pt x="49" y="81"/>
                      </a:lnTo>
                      <a:lnTo>
                        <a:pt x="57" y="80"/>
                      </a:lnTo>
                      <a:lnTo>
                        <a:pt x="64" y="76"/>
                      </a:lnTo>
                      <a:lnTo>
                        <a:pt x="70" y="70"/>
                      </a:lnTo>
                      <a:lnTo>
                        <a:pt x="70" y="70"/>
                      </a:lnTo>
                      <a:lnTo>
                        <a:pt x="75" y="65"/>
                      </a:lnTo>
                      <a:lnTo>
                        <a:pt x="79" y="57"/>
                      </a:lnTo>
                      <a:lnTo>
                        <a:pt x="81" y="50"/>
                      </a:lnTo>
                      <a:lnTo>
                        <a:pt x="83" y="41"/>
                      </a:lnTo>
                      <a:lnTo>
                        <a:pt x="83" y="41"/>
                      </a:lnTo>
                      <a:close/>
                    </a:path>
                  </a:pathLst>
                </a:custGeom>
                <a:solidFill>
                  <a:srgbClr val="CDD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2" name="Freeform 1729">
                  <a:extLst>
                    <a:ext uri="{FF2B5EF4-FFF2-40B4-BE49-F238E27FC236}">
                      <a16:creationId xmlns:a16="http://schemas.microsoft.com/office/drawing/2014/main" id="{42A37D41-937C-49AC-B8DF-4E8402B88D6A}"/>
                    </a:ext>
                  </a:extLst>
                </p:cNvPr>
                <p:cNvSpPr>
                  <a:spLocks/>
                </p:cNvSpPr>
                <p:nvPr/>
              </p:nvSpPr>
              <p:spPr bwMode="auto">
                <a:xfrm>
                  <a:off x="4129261" y="4683656"/>
                  <a:ext cx="192468" cy="176997"/>
                </a:xfrm>
                <a:custGeom>
                  <a:avLst/>
                  <a:gdLst>
                    <a:gd name="T0" fmla="*/ 83 w 83"/>
                    <a:gd name="T1" fmla="*/ 41 h 83"/>
                    <a:gd name="T2" fmla="*/ 83 w 83"/>
                    <a:gd name="T3" fmla="*/ 41 h 83"/>
                    <a:gd name="T4" fmla="*/ 81 w 83"/>
                    <a:gd name="T5" fmla="*/ 50 h 83"/>
                    <a:gd name="T6" fmla="*/ 79 w 83"/>
                    <a:gd name="T7" fmla="*/ 57 h 83"/>
                    <a:gd name="T8" fmla="*/ 75 w 83"/>
                    <a:gd name="T9" fmla="*/ 65 h 83"/>
                    <a:gd name="T10" fmla="*/ 70 w 83"/>
                    <a:gd name="T11" fmla="*/ 70 h 83"/>
                    <a:gd name="T12" fmla="*/ 70 w 83"/>
                    <a:gd name="T13" fmla="*/ 70 h 83"/>
                    <a:gd name="T14" fmla="*/ 64 w 83"/>
                    <a:gd name="T15" fmla="*/ 76 h 83"/>
                    <a:gd name="T16" fmla="*/ 57 w 83"/>
                    <a:gd name="T17" fmla="*/ 80 h 83"/>
                    <a:gd name="T18" fmla="*/ 49 w 83"/>
                    <a:gd name="T19" fmla="*/ 81 h 83"/>
                    <a:gd name="T20" fmla="*/ 40 w 83"/>
                    <a:gd name="T21" fmla="*/ 83 h 83"/>
                    <a:gd name="T22" fmla="*/ 40 w 83"/>
                    <a:gd name="T23" fmla="*/ 83 h 83"/>
                    <a:gd name="T24" fmla="*/ 33 w 83"/>
                    <a:gd name="T25" fmla="*/ 81 h 83"/>
                    <a:gd name="T26" fmla="*/ 26 w 83"/>
                    <a:gd name="T27" fmla="*/ 80 h 83"/>
                    <a:gd name="T28" fmla="*/ 18 w 83"/>
                    <a:gd name="T29" fmla="*/ 76 h 83"/>
                    <a:gd name="T30" fmla="*/ 11 w 83"/>
                    <a:gd name="T31" fmla="*/ 70 h 83"/>
                    <a:gd name="T32" fmla="*/ 11 w 83"/>
                    <a:gd name="T33" fmla="*/ 70 h 83"/>
                    <a:gd name="T34" fmla="*/ 7 w 83"/>
                    <a:gd name="T35" fmla="*/ 65 h 83"/>
                    <a:gd name="T36" fmla="*/ 2 w 83"/>
                    <a:gd name="T37" fmla="*/ 57 h 83"/>
                    <a:gd name="T38" fmla="*/ 0 w 83"/>
                    <a:gd name="T39" fmla="*/ 50 h 83"/>
                    <a:gd name="T40" fmla="*/ 0 w 83"/>
                    <a:gd name="T41" fmla="*/ 41 h 83"/>
                    <a:gd name="T42" fmla="*/ 0 w 83"/>
                    <a:gd name="T43" fmla="*/ 41 h 83"/>
                    <a:gd name="T44" fmla="*/ 0 w 83"/>
                    <a:gd name="T45" fmla="*/ 34 h 83"/>
                    <a:gd name="T46" fmla="*/ 2 w 83"/>
                    <a:gd name="T47" fmla="*/ 24 h 83"/>
                    <a:gd name="T48" fmla="*/ 7 w 83"/>
                    <a:gd name="T49" fmla="*/ 19 h 83"/>
                    <a:gd name="T50" fmla="*/ 11 w 83"/>
                    <a:gd name="T51" fmla="*/ 11 h 83"/>
                    <a:gd name="T52" fmla="*/ 11 w 83"/>
                    <a:gd name="T53" fmla="*/ 11 h 83"/>
                    <a:gd name="T54" fmla="*/ 18 w 83"/>
                    <a:gd name="T55" fmla="*/ 6 h 83"/>
                    <a:gd name="T56" fmla="*/ 26 w 83"/>
                    <a:gd name="T57" fmla="*/ 2 h 83"/>
                    <a:gd name="T58" fmla="*/ 33 w 83"/>
                    <a:gd name="T59" fmla="*/ 0 h 83"/>
                    <a:gd name="T60" fmla="*/ 40 w 83"/>
                    <a:gd name="T61" fmla="*/ 0 h 83"/>
                    <a:gd name="T62" fmla="*/ 40 w 83"/>
                    <a:gd name="T63" fmla="*/ 0 h 83"/>
                    <a:gd name="T64" fmla="*/ 49 w 83"/>
                    <a:gd name="T65" fmla="*/ 0 h 83"/>
                    <a:gd name="T66" fmla="*/ 57 w 83"/>
                    <a:gd name="T67" fmla="*/ 2 h 83"/>
                    <a:gd name="T68" fmla="*/ 64 w 83"/>
                    <a:gd name="T69" fmla="*/ 6 h 83"/>
                    <a:gd name="T70" fmla="*/ 70 w 83"/>
                    <a:gd name="T71" fmla="*/ 11 h 83"/>
                    <a:gd name="T72" fmla="*/ 70 w 83"/>
                    <a:gd name="T73" fmla="*/ 11 h 83"/>
                    <a:gd name="T74" fmla="*/ 75 w 83"/>
                    <a:gd name="T75" fmla="*/ 19 h 83"/>
                    <a:gd name="T76" fmla="*/ 79 w 83"/>
                    <a:gd name="T77" fmla="*/ 24 h 83"/>
                    <a:gd name="T78" fmla="*/ 81 w 83"/>
                    <a:gd name="T79" fmla="*/ 34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1" y="50"/>
                      </a:lnTo>
                      <a:lnTo>
                        <a:pt x="79" y="57"/>
                      </a:lnTo>
                      <a:lnTo>
                        <a:pt x="75" y="65"/>
                      </a:lnTo>
                      <a:lnTo>
                        <a:pt x="70" y="70"/>
                      </a:lnTo>
                      <a:lnTo>
                        <a:pt x="70" y="70"/>
                      </a:lnTo>
                      <a:lnTo>
                        <a:pt x="64" y="76"/>
                      </a:lnTo>
                      <a:lnTo>
                        <a:pt x="57" y="80"/>
                      </a:lnTo>
                      <a:lnTo>
                        <a:pt x="49" y="81"/>
                      </a:lnTo>
                      <a:lnTo>
                        <a:pt x="40" y="83"/>
                      </a:lnTo>
                      <a:lnTo>
                        <a:pt x="40" y="83"/>
                      </a:lnTo>
                      <a:lnTo>
                        <a:pt x="33" y="81"/>
                      </a:lnTo>
                      <a:lnTo>
                        <a:pt x="26" y="80"/>
                      </a:lnTo>
                      <a:lnTo>
                        <a:pt x="18" y="76"/>
                      </a:lnTo>
                      <a:lnTo>
                        <a:pt x="11" y="70"/>
                      </a:lnTo>
                      <a:lnTo>
                        <a:pt x="11" y="70"/>
                      </a:lnTo>
                      <a:lnTo>
                        <a:pt x="7" y="65"/>
                      </a:lnTo>
                      <a:lnTo>
                        <a:pt x="2" y="57"/>
                      </a:lnTo>
                      <a:lnTo>
                        <a:pt x="0" y="50"/>
                      </a:lnTo>
                      <a:lnTo>
                        <a:pt x="0" y="41"/>
                      </a:lnTo>
                      <a:lnTo>
                        <a:pt x="0" y="41"/>
                      </a:lnTo>
                      <a:lnTo>
                        <a:pt x="0" y="34"/>
                      </a:lnTo>
                      <a:lnTo>
                        <a:pt x="2" y="24"/>
                      </a:lnTo>
                      <a:lnTo>
                        <a:pt x="7" y="19"/>
                      </a:lnTo>
                      <a:lnTo>
                        <a:pt x="11" y="11"/>
                      </a:lnTo>
                      <a:lnTo>
                        <a:pt x="11" y="11"/>
                      </a:lnTo>
                      <a:lnTo>
                        <a:pt x="18" y="6"/>
                      </a:lnTo>
                      <a:lnTo>
                        <a:pt x="26" y="2"/>
                      </a:lnTo>
                      <a:lnTo>
                        <a:pt x="33" y="0"/>
                      </a:lnTo>
                      <a:lnTo>
                        <a:pt x="40" y="0"/>
                      </a:lnTo>
                      <a:lnTo>
                        <a:pt x="40" y="0"/>
                      </a:lnTo>
                      <a:lnTo>
                        <a:pt x="49" y="0"/>
                      </a:lnTo>
                      <a:lnTo>
                        <a:pt x="57" y="2"/>
                      </a:lnTo>
                      <a:lnTo>
                        <a:pt x="64" y="6"/>
                      </a:lnTo>
                      <a:lnTo>
                        <a:pt x="70" y="11"/>
                      </a:lnTo>
                      <a:lnTo>
                        <a:pt x="70" y="11"/>
                      </a:lnTo>
                      <a:lnTo>
                        <a:pt x="75" y="19"/>
                      </a:lnTo>
                      <a:lnTo>
                        <a:pt x="79" y="24"/>
                      </a:lnTo>
                      <a:lnTo>
                        <a:pt x="81" y="34"/>
                      </a:lnTo>
                      <a:lnTo>
                        <a:pt x="83" y="41"/>
                      </a:lnTo>
                      <a:lnTo>
                        <a:pt x="83" y="41"/>
                      </a:lnTo>
                      <a:close/>
                    </a:path>
                  </a:pathLst>
                </a:custGeom>
                <a:noFill/>
                <a:ln w="17463">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3" name="Freeform 1730">
                  <a:extLst>
                    <a:ext uri="{FF2B5EF4-FFF2-40B4-BE49-F238E27FC236}">
                      <a16:creationId xmlns:a16="http://schemas.microsoft.com/office/drawing/2014/main" id="{3E4E31D0-5D69-4DCD-A513-8D3EEEC6254C}"/>
                    </a:ext>
                  </a:extLst>
                </p:cNvPr>
                <p:cNvSpPr>
                  <a:spLocks/>
                </p:cNvSpPr>
                <p:nvPr/>
              </p:nvSpPr>
              <p:spPr bwMode="auto">
                <a:xfrm>
                  <a:off x="3776404" y="4683656"/>
                  <a:ext cx="192468" cy="176997"/>
                </a:xfrm>
                <a:custGeom>
                  <a:avLst/>
                  <a:gdLst>
                    <a:gd name="T0" fmla="*/ 13 w 83"/>
                    <a:gd name="T1" fmla="*/ 11 h 83"/>
                    <a:gd name="T2" fmla="*/ 13 w 83"/>
                    <a:gd name="T3" fmla="*/ 11 h 83"/>
                    <a:gd name="T4" fmla="*/ 8 w 83"/>
                    <a:gd name="T5" fmla="*/ 19 h 83"/>
                    <a:gd name="T6" fmla="*/ 4 w 83"/>
                    <a:gd name="T7" fmla="*/ 24 h 83"/>
                    <a:gd name="T8" fmla="*/ 2 w 83"/>
                    <a:gd name="T9" fmla="*/ 34 h 83"/>
                    <a:gd name="T10" fmla="*/ 0 w 83"/>
                    <a:gd name="T11" fmla="*/ 41 h 83"/>
                    <a:gd name="T12" fmla="*/ 0 w 83"/>
                    <a:gd name="T13" fmla="*/ 41 h 83"/>
                    <a:gd name="T14" fmla="*/ 2 w 83"/>
                    <a:gd name="T15" fmla="*/ 50 h 83"/>
                    <a:gd name="T16" fmla="*/ 4 w 83"/>
                    <a:gd name="T17" fmla="*/ 57 h 83"/>
                    <a:gd name="T18" fmla="*/ 8 w 83"/>
                    <a:gd name="T19" fmla="*/ 65 h 83"/>
                    <a:gd name="T20" fmla="*/ 13 w 83"/>
                    <a:gd name="T21" fmla="*/ 70 h 83"/>
                    <a:gd name="T22" fmla="*/ 13 w 83"/>
                    <a:gd name="T23" fmla="*/ 70 h 83"/>
                    <a:gd name="T24" fmla="*/ 19 w 83"/>
                    <a:gd name="T25" fmla="*/ 76 h 83"/>
                    <a:gd name="T26" fmla="*/ 26 w 83"/>
                    <a:gd name="T27" fmla="*/ 80 h 83"/>
                    <a:gd name="T28" fmla="*/ 33 w 83"/>
                    <a:gd name="T29" fmla="*/ 81 h 83"/>
                    <a:gd name="T30" fmla="*/ 43 w 83"/>
                    <a:gd name="T31" fmla="*/ 83 h 83"/>
                    <a:gd name="T32" fmla="*/ 43 w 83"/>
                    <a:gd name="T33" fmla="*/ 83 h 83"/>
                    <a:gd name="T34" fmla="*/ 50 w 83"/>
                    <a:gd name="T35" fmla="*/ 81 h 83"/>
                    <a:gd name="T36" fmla="*/ 57 w 83"/>
                    <a:gd name="T37" fmla="*/ 80 h 83"/>
                    <a:gd name="T38" fmla="*/ 65 w 83"/>
                    <a:gd name="T39" fmla="*/ 76 h 83"/>
                    <a:gd name="T40" fmla="*/ 72 w 83"/>
                    <a:gd name="T41" fmla="*/ 70 h 83"/>
                    <a:gd name="T42" fmla="*/ 72 w 83"/>
                    <a:gd name="T43" fmla="*/ 70 h 83"/>
                    <a:gd name="T44" fmla="*/ 76 w 83"/>
                    <a:gd name="T45" fmla="*/ 65 h 83"/>
                    <a:gd name="T46" fmla="*/ 81 w 83"/>
                    <a:gd name="T47" fmla="*/ 57 h 83"/>
                    <a:gd name="T48" fmla="*/ 83 w 83"/>
                    <a:gd name="T49" fmla="*/ 50 h 83"/>
                    <a:gd name="T50" fmla="*/ 83 w 83"/>
                    <a:gd name="T51" fmla="*/ 41 h 83"/>
                    <a:gd name="T52" fmla="*/ 83 w 83"/>
                    <a:gd name="T53" fmla="*/ 41 h 83"/>
                    <a:gd name="T54" fmla="*/ 83 w 83"/>
                    <a:gd name="T55" fmla="*/ 34 h 83"/>
                    <a:gd name="T56" fmla="*/ 81 w 83"/>
                    <a:gd name="T57" fmla="*/ 26 h 83"/>
                    <a:gd name="T58" fmla="*/ 76 w 83"/>
                    <a:gd name="T59" fmla="*/ 19 h 83"/>
                    <a:gd name="T60" fmla="*/ 72 w 83"/>
                    <a:gd name="T61" fmla="*/ 11 h 83"/>
                    <a:gd name="T62" fmla="*/ 72 w 83"/>
                    <a:gd name="T63" fmla="*/ 11 h 83"/>
                    <a:gd name="T64" fmla="*/ 65 w 83"/>
                    <a:gd name="T65" fmla="*/ 6 h 83"/>
                    <a:gd name="T66" fmla="*/ 57 w 83"/>
                    <a:gd name="T67" fmla="*/ 2 h 83"/>
                    <a:gd name="T68" fmla="*/ 50 w 83"/>
                    <a:gd name="T69" fmla="*/ 0 h 83"/>
                    <a:gd name="T70" fmla="*/ 43 w 83"/>
                    <a:gd name="T71" fmla="*/ 0 h 83"/>
                    <a:gd name="T72" fmla="*/ 43 w 83"/>
                    <a:gd name="T73" fmla="*/ 0 h 83"/>
                    <a:gd name="T74" fmla="*/ 33 w 83"/>
                    <a:gd name="T75" fmla="*/ 0 h 83"/>
                    <a:gd name="T76" fmla="*/ 26 w 83"/>
                    <a:gd name="T77" fmla="*/ 2 h 83"/>
                    <a:gd name="T78" fmla="*/ 19 w 83"/>
                    <a:gd name="T79" fmla="*/ 6 h 83"/>
                    <a:gd name="T80" fmla="*/ 13 w 83"/>
                    <a:gd name="T81" fmla="*/ 11 h 83"/>
                    <a:gd name="T82" fmla="*/ 13 w 83"/>
                    <a:gd name="T83" fmla="*/ 1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13" y="11"/>
                      </a:moveTo>
                      <a:lnTo>
                        <a:pt x="13" y="11"/>
                      </a:lnTo>
                      <a:lnTo>
                        <a:pt x="8" y="19"/>
                      </a:lnTo>
                      <a:lnTo>
                        <a:pt x="4" y="24"/>
                      </a:lnTo>
                      <a:lnTo>
                        <a:pt x="2" y="34"/>
                      </a:lnTo>
                      <a:lnTo>
                        <a:pt x="0" y="41"/>
                      </a:lnTo>
                      <a:lnTo>
                        <a:pt x="0" y="41"/>
                      </a:lnTo>
                      <a:lnTo>
                        <a:pt x="2" y="50"/>
                      </a:lnTo>
                      <a:lnTo>
                        <a:pt x="4" y="57"/>
                      </a:lnTo>
                      <a:lnTo>
                        <a:pt x="8" y="65"/>
                      </a:lnTo>
                      <a:lnTo>
                        <a:pt x="13" y="70"/>
                      </a:lnTo>
                      <a:lnTo>
                        <a:pt x="13" y="70"/>
                      </a:lnTo>
                      <a:lnTo>
                        <a:pt x="19" y="76"/>
                      </a:lnTo>
                      <a:lnTo>
                        <a:pt x="26" y="80"/>
                      </a:lnTo>
                      <a:lnTo>
                        <a:pt x="33" y="81"/>
                      </a:lnTo>
                      <a:lnTo>
                        <a:pt x="43" y="83"/>
                      </a:lnTo>
                      <a:lnTo>
                        <a:pt x="43" y="83"/>
                      </a:lnTo>
                      <a:lnTo>
                        <a:pt x="50" y="81"/>
                      </a:lnTo>
                      <a:lnTo>
                        <a:pt x="57" y="80"/>
                      </a:lnTo>
                      <a:lnTo>
                        <a:pt x="65" y="76"/>
                      </a:lnTo>
                      <a:lnTo>
                        <a:pt x="72" y="70"/>
                      </a:lnTo>
                      <a:lnTo>
                        <a:pt x="72" y="70"/>
                      </a:lnTo>
                      <a:lnTo>
                        <a:pt x="76" y="65"/>
                      </a:lnTo>
                      <a:lnTo>
                        <a:pt x="81" y="57"/>
                      </a:lnTo>
                      <a:lnTo>
                        <a:pt x="83" y="50"/>
                      </a:lnTo>
                      <a:lnTo>
                        <a:pt x="83" y="41"/>
                      </a:lnTo>
                      <a:lnTo>
                        <a:pt x="83" y="41"/>
                      </a:lnTo>
                      <a:lnTo>
                        <a:pt x="83" y="34"/>
                      </a:lnTo>
                      <a:lnTo>
                        <a:pt x="81" y="26"/>
                      </a:lnTo>
                      <a:lnTo>
                        <a:pt x="76" y="19"/>
                      </a:lnTo>
                      <a:lnTo>
                        <a:pt x="72" y="11"/>
                      </a:lnTo>
                      <a:lnTo>
                        <a:pt x="72" y="11"/>
                      </a:lnTo>
                      <a:lnTo>
                        <a:pt x="65" y="6"/>
                      </a:lnTo>
                      <a:lnTo>
                        <a:pt x="57" y="2"/>
                      </a:lnTo>
                      <a:lnTo>
                        <a:pt x="50" y="0"/>
                      </a:lnTo>
                      <a:lnTo>
                        <a:pt x="43" y="0"/>
                      </a:lnTo>
                      <a:lnTo>
                        <a:pt x="43" y="0"/>
                      </a:lnTo>
                      <a:lnTo>
                        <a:pt x="33" y="0"/>
                      </a:lnTo>
                      <a:lnTo>
                        <a:pt x="26" y="2"/>
                      </a:lnTo>
                      <a:lnTo>
                        <a:pt x="19" y="6"/>
                      </a:lnTo>
                      <a:lnTo>
                        <a:pt x="13" y="11"/>
                      </a:lnTo>
                      <a:lnTo>
                        <a:pt x="13"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4" name="Freeform 1731">
                  <a:extLst>
                    <a:ext uri="{FF2B5EF4-FFF2-40B4-BE49-F238E27FC236}">
                      <a16:creationId xmlns:a16="http://schemas.microsoft.com/office/drawing/2014/main" id="{1A995B89-3D7F-42C2-B1B1-C6486E9B2294}"/>
                    </a:ext>
                  </a:extLst>
                </p:cNvPr>
                <p:cNvSpPr>
                  <a:spLocks/>
                </p:cNvSpPr>
                <p:nvPr/>
              </p:nvSpPr>
              <p:spPr bwMode="auto">
                <a:xfrm>
                  <a:off x="3776404" y="4683656"/>
                  <a:ext cx="192468" cy="176997"/>
                </a:xfrm>
                <a:custGeom>
                  <a:avLst/>
                  <a:gdLst>
                    <a:gd name="T0" fmla="*/ 83 w 83"/>
                    <a:gd name="T1" fmla="*/ 41 h 83"/>
                    <a:gd name="T2" fmla="*/ 83 w 83"/>
                    <a:gd name="T3" fmla="*/ 41 h 83"/>
                    <a:gd name="T4" fmla="*/ 83 w 83"/>
                    <a:gd name="T5" fmla="*/ 50 h 83"/>
                    <a:gd name="T6" fmla="*/ 81 w 83"/>
                    <a:gd name="T7" fmla="*/ 57 h 83"/>
                    <a:gd name="T8" fmla="*/ 76 w 83"/>
                    <a:gd name="T9" fmla="*/ 65 h 83"/>
                    <a:gd name="T10" fmla="*/ 72 w 83"/>
                    <a:gd name="T11" fmla="*/ 70 h 83"/>
                    <a:gd name="T12" fmla="*/ 72 w 83"/>
                    <a:gd name="T13" fmla="*/ 70 h 83"/>
                    <a:gd name="T14" fmla="*/ 65 w 83"/>
                    <a:gd name="T15" fmla="*/ 76 h 83"/>
                    <a:gd name="T16" fmla="*/ 57 w 83"/>
                    <a:gd name="T17" fmla="*/ 80 h 83"/>
                    <a:gd name="T18" fmla="*/ 50 w 83"/>
                    <a:gd name="T19" fmla="*/ 81 h 83"/>
                    <a:gd name="T20" fmla="*/ 43 w 83"/>
                    <a:gd name="T21" fmla="*/ 83 h 83"/>
                    <a:gd name="T22" fmla="*/ 43 w 83"/>
                    <a:gd name="T23" fmla="*/ 83 h 83"/>
                    <a:gd name="T24" fmla="*/ 33 w 83"/>
                    <a:gd name="T25" fmla="*/ 81 h 83"/>
                    <a:gd name="T26" fmla="*/ 26 w 83"/>
                    <a:gd name="T27" fmla="*/ 80 h 83"/>
                    <a:gd name="T28" fmla="*/ 19 w 83"/>
                    <a:gd name="T29" fmla="*/ 76 h 83"/>
                    <a:gd name="T30" fmla="*/ 13 w 83"/>
                    <a:gd name="T31" fmla="*/ 70 h 83"/>
                    <a:gd name="T32" fmla="*/ 13 w 83"/>
                    <a:gd name="T33" fmla="*/ 70 h 83"/>
                    <a:gd name="T34" fmla="*/ 8 w 83"/>
                    <a:gd name="T35" fmla="*/ 65 h 83"/>
                    <a:gd name="T36" fmla="*/ 4 w 83"/>
                    <a:gd name="T37" fmla="*/ 57 h 83"/>
                    <a:gd name="T38" fmla="*/ 2 w 83"/>
                    <a:gd name="T39" fmla="*/ 50 h 83"/>
                    <a:gd name="T40" fmla="*/ 0 w 83"/>
                    <a:gd name="T41" fmla="*/ 41 h 83"/>
                    <a:gd name="T42" fmla="*/ 0 w 83"/>
                    <a:gd name="T43" fmla="*/ 41 h 83"/>
                    <a:gd name="T44" fmla="*/ 2 w 83"/>
                    <a:gd name="T45" fmla="*/ 34 h 83"/>
                    <a:gd name="T46" fmla="*/ 4 w 83"/>
                    <a:gd name="T47" fmla="*/ 24 h 83"/>
                    <a:gd name="T48" fmla="*/ 8 w 83"/>
                    <a:gd name="T49" fmla="*/ 19 h 83"/>
                    <a:gd name="T50" fmla="*/ 13 w 83"/>
                    <a:gd name="T51" fmla="*/ 11 h 83"/>
                    <a:gd name="T52" fmla="*/ 13 w 83"/>
                    <a:gd name="T53" fmla="*/ 11 h 83"/>
                    <a:gd name="T54" fmla="*/ 19 w 83"/>
                    <a:gd name="T55" fmla="*/ 6 h 83"/>
                    <a:gd name="T56" fmla="*/ 26 w 83"/>
                    <a:gd name="T57" fmla="*/ 2 h 83"/>
                    <a:gd name="T58" fmla="*/ 33 w 83"/>
                    <a:gd name="T59" fmla="*/ 0 h 83"/>
                    <a:gd name="T60" fmla="*/ 43 w 83"/>
                    <a:gd name="T61" fmla="*/ 0 h 83"/>
                    <a:gd name="T62" fmla="*/ 43 w 83"/>
                    <a:gd name="T63" fmla="*/ 0 h 83"/>
                    <a:gd name="T64" fmla="*/ 50 w 83"/>
                    <a:gd name="T65" fmla="*/ 0 h 83"/>
                    <a:gd name="T66" fmla="*/ 57 w 83"/>
                    <a:gd name="T67" fmla="*/ 2 h 83"/>
                    <a:gd name="T68" fmla="*/ 65 w 83"/>
                    <a:gd name="T69" fmla="*/ 6 h 83"/>
                    <a:gd name="T70" fmla="*/ 72 w 83"/>
                    <a:gd name="T71" fmla="*/ 11 h 83"/>
                    <a:gd name="T72" fmla="*/ 72 w 83"/>
                    <a:gd name="T73" fmla="*/ 11 h 83"/>
                    <a:gd name="T74" fmla="*/ 76 w 83"/>
                    <a:gd name="T75" fmla="*/ 19 h 83"/>
                    <a:gd name="T76" fmla="*/ 81 w 83"/>
                    <a:gd name="T77" fmla="*/ 26 h 83"/>
                    <a:gd name="T78" fmla="*/ 83 w 83"/>
                    <a:gd name="T79" fmla="*/ 34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3" y="50"/>
                      </a:lnTo>
                      <a:lnTo>
                        <a:pt x="81" y="57"/>
                      </a:lnTo>
                      <a:lnTo>
                        <a:pt x="76" y="65"/>
                      </a:lnTo>
                      <a:lnTo>
                        <a:pt x="72" y="70"/>
                      </a:lnTo>
                      <a:lnTo>
                        <a:pt x="72" y="70"/>
                      </a:lnTo>
                      <a:lnTo>
                        <a:pt x="65" y="76"/>
                      </a:lnTo>
                      <a:lnTo>
                        <a:pt x="57" y="80"/>
                      </a:lnTo>
                      <a:lnTo>
                        <a:pt x="50" y="81"/>
                      </a:lnTo>
                      <a:lnTo>
                        <a:pt x="43" y="83"/>
                      </a:lnTo>
                      <a:lnTo>
                        <a:pt x="43" y="83"/>
                      </a:lnTo>
                      <a:lnTo>
                        <a:pt x="33" y="81"/>
                      </a:lnTo>
                      <a:lnTo>
                        <a:pt x="26" y="80"/>
                      </a:lnTo>
                      <a:lnTo>
                        <a:pt x="19" y="76"/>
                      </a:lnTo>
                      <a:lnTo>
                        <a:pt x="13" y="70"/>
                      </a:lnTo>
                      <a:lnTo>
                        <a:pt x="13" y="70"/>
                      </a:lnTo>
                      <a:lnTo>
                        <a:pt x="8" y="65"/>
                      </a:lnTo>
                      <a:lnTo>
                        <a:pt x="4" y="57"/>
                      </a:lnTo>
                      <a:lnTo>
                        <a:pt x="2" y="50"/>
                      </a:lnTo>
                      <a:lnTo>
                        <a:pt x="0" y="41"/>
                      </a:lnTo>
                      <a:lnTo>
                        <a:pt x="0" y="41"/>
                      </a:lnTo>
                      <a:lnTo>
                        <a:pt x="2" y="34"/>
                      </a:lnTo>
                      <a:lnTo>
                        <a:pt x="4" y="24"/>
                      </a:lnTo>
                      <a:lnTo>
                        <a:pt x="8" y="19"/>
                      </a:lnTo>
                      <a:lnTo>
                        <a:pt x="13" y="11"/>
                      </a:lnTo>
                      <a:lnTo>
                        <a:pt x="13" y="11"/>
                      </a:lnTo>
                      <a:lnTo>
                        <a:pt x="19" y="6"/>
                      </a:lnTo>
                      <a:lnTo>
                        <a:pt x="26" y="2"/>
                      </a:lnTo>
                      <a:lnTo>
                        <a:pt x="33" y="0"/>
                      </a:lnTo>
                      <a:lnTo>
                        <a:pt x="43" y="0"/>
                      </a:lnTo>
                      <a:lnTo>
                        <a:pt x="43" y="0"/>
                      </a:lnTo>
                      <a:lnTo>
                        <a:pt x="50" y="0"/>
                      </a:lnTo>
                      <a:lnTo>
                        <a:pt x="57" y="2"/>
                      </a:lnTo>
                      <a:lnTo>
                        <a:pt x="65" y="6"/>
                      </a:lnTo>
                      <a:lnTo>
                        <a:pt x="72" y="11"/>
                      </a:lnTo>
                      <a:lnTo>
                        <a:pt x="72" y="11"/>
                      </a:lnTo>
                      <a:lnTo>
                        <a:pt x="76" y="19"/>
                      </a:lnTo>
                      <a:lnTo>
                        <a:pt x="81" y="26"/>
                      </a:lnTo>
                      <a:lnTo>
                        <a:pt x="83" y="34"/>
                      </a:lnTo>
                      <a:lnTo>
                        <a:pt x="83" y="41"/>
                      </a:lnTo>
                      <a:lnTo>
                        <a:pt x="83" y="41"/>
                      </a:lnTo>
                      <a:close/>
                    </a:path>
                  </a:pathLst>
                </a:custGeom>
                <a:solidFill>
                  <a:srgbClr val="CDD5D7"/>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5" name="Freeform 1706">
                  <a:extLst>
                    <a:ext uri="{FF2B5EF4-FFF2-40B4-BE49-F238E27FC236}">
                      <a16:creationId xmlns:a16="http://schemas.microsoft.com/office/drawing/2014/main" id="{0C1A59F0-37A8-4EA2-84E2-79BB98475BC9}"/>
                    </a:ext>
                  </a:extLst>
                </p:cNvPr>
                <p:cNvSpPr>
                  <a:spLocks/>
                </p:cNvSpPr>
                <p:nvPr/>
              </p:nvSpPr>
              <p:spPr bwMode="auto">
                <a:xfrm>
                  <a:off x="4220914" y="5050602"/>
                  <a:ext cx="352857" cy="401481"/>
                </a:xfrm>
                <a:custGeom>
                  <a:avLst/>
                  <a:gdLst>
                    <a:gd name="T0" fmla="*/ 26 w 155"/>
                    <a:gd name="T1" fmla="*/ 185 h 185"/>
                    <a:gd name="T2" fmla="*/ 129 w 155"/>
                    <a:gd name="T3" fmla="*/ 185 h 185"/>
                    <a:gd name="T4" fmla="*/ 129 w 155"/>
                    <a:gd name="T5" fmla="*/ 185 h 185"/>
                    <a:gd name="T6" fmla="*/ 138 w 155"/>
                    <a:gd name="T7" fmla="*/ 183 h 185"/>
                    <a:gd name="T8" fmla="*/ 146 w 155"/>
                    <a:gd name="T9" fmla="*/ 180 h 185"/>
                    <a:gd name="T10" fmla="*/ 146 w 155"/>
                    <a:gd name="T11" fmla="*/ 180 h 185"/>
                    <a:gd name="T12" fmla="*/ 153 w 155"/>
                    <a:gd name="T13" fmla="*/ 172 h 185"/>
                    <a:gd name="T14" fmla="*/ 155 w 155"/>
                    <a:gd name="T15" fmla="*/ 169 h 185"/>
                    <a:gd name="T16" fmla="*/ 155 w 155"/>
                    <a:gd name="T17" fmla="*/ 165 h 185"/>
                    <a:gd name="T18" fmla="*/ 155 w 155"/>
                    <a:gd name="T19" fmla="*/ 36 h 185"/>
                    <a:gd name="T20" fmla="*/ 155 w 155"/>
                    <a:gd name="T21" fmla="*/ 36 h 185"/>
                    <a:gd name="T22" fmla="*/ 155 w 155"/>
                    <a:gd name="T23" fmla="*/ 27 h 185"/>
                    <a:gd name="T24" fmla="*/ 149 w 155"/>
                    <a:gd name="T25" fmla="*/ 20 h 185"/>
                    <a:gd name="T26" fmla="*/ 149 w 155"/>
                    <a:gd name="T27" fmla="*/ 20 h 185"/>
                    <a:gd name="T28" fmla="*/ 144 w 155"/>
                    <a:gd name="T29" fmla="*/ 12 h 185"/>
                    <a:gd name="T30" fmla="*/ 137 w 155"/>
                    <a:gd name="T31" fmla="*/ 9 h 185"/>
                    <a:gd name="T32" fmla="*/ 137 w 155"/>
                    <a:gd name="T33" fmla="*/ 9 h 185"/>
                    <a:gd name="T34" fmla="*/ 122 w 155"/>
                    <a:gd name="T35" fmla="*/ 5 h 185"/>
                    <a:gd name="T36" fmla="*/ 107 w 155"/>
                    <a:gd name="T37" fmla="*/ 1 h 185"/>
                    <a:gd name="T38" fmla="*/ 92 w 155"/>
                    <a:gd name="T39" fmla="*/ 0 h 185"/>
                    <a:gd name="T40" fmla="*/ 78 w 155"/>
                    <a:gd name="T41" fmla="*/ 0 h 185"/>
                    <a:gd name="T42" fmla="*/ 63 w 155"/>
                    <a:gd name="T43" fmla="*/ 0 h 185"/>
                    <a:gd name="T44" fmla="*/ 48 w 155"/>
                    <a:gd name="T45" fmla="*/ 1 h 185"/>
                    <a:gd name="T46" fmla="*/ 34 w 155"/>
                    <a:gd name="T47" fmla="*/ 5 h 185"/>
                    <a:gd name="T48" fmla="*/ 21 w 155"/>
                    <a:gd name="T49" fmla="*/ 9 h 185"/>
                    <a:gd name="T50" fmla="*/ 21 w 155"/>
                    <a:gd name="T51" fmla="*/ 9 h 185"/>
                    <a:gd name="T52" fmla="*/ 13 w 155"/>
                    <a:gd name="T53" fmla="*/ 12 h 185"/>
                    <a:gd name="T54" fmla="*/ 6 w 155"/>
                    <a:gd name="T55" fmla="*/ 20 h 185"/>
                    <a:gd name="T56" fmla="*/ 6 w 155"/>
                    <a:gd name="T57" fmla="*/ 20 h 185"/>
                    <a:gd name="T58" fmla="*/ 2 w 155"/>
                    <a:gd name="T59" fmla="*/ 27 h 185"/>
                    <a:gd name="T60" fmla="*/ 0 w 155"/>
                    <a:gd name="T61" fmla="*/ 36 h 185"/>
                    <a:gd name="T62" fmla="*/ 0 w 155"/>
                    <a:gd name="T63" fmla="*/ 165 h 185"/>
                    <a:gd name="T64" fmla="*/ 0 w 155"/>
                    <a:gd name="T65" fmla="*/ 165 h 185"/>
                    <a:gd name="T66" fmla="*/ 0 w 155"/>
                    <a:gd name="T67" fmla="*/ 169 h 185"/>
                    <a:gd name="T68" fmla="*/ 2 w 155"/>
                    <a:gd name="T69" fmla="*/ 172 h 185"/>
                    <a:gd name="T70" fmla="*/ 10 w 155"/>
                    <a:gd name="T71" fmla="*/ 180 h 185"/>
                    <a:gd name="T72" fmla="*/ 10 w 155"/>
                    <a:gd name="T73" fmla="*/ 180 h 185"/>
                    <a:gd name="T74" fmla="*/ 19 w 155"/>
                    <a:gd name="T75" fmla="*/ 183 h 185"/>
                    <a:gd name="T76" fmla="*/ 26 w 155"/>
                    <a:gd name="T77" fmla="*/ 185 h 185"/>
                    <a:gd name="T78" fmla="*/ 26 w 155"/>
                    <a:gd name="T7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85">
                      <a:moveTo>
                        <a:pt x="26" y="185"/>
                      </a:moveTo>
                      <a:lnTo>
                        <a:pt x="129" y="185"/>
                      </a:lnTo>
                      <a:lnTo>
                        <a:pt x="129" y="185"/>
                      </a:lnTo>
                      <a:lnTo>
                        <a:pt x="138" y="183"/>
                      </a:lnTo>
                      <a:lnTo>
                        <a:pt x="146" y="180"/>
                      </a:lnTo>
                      <a:lnTo>
                        <a:pt x="146" y="180"/>
                      </a:lnTo>
                      <a:lnTo>
                        <a:pt x="153" y="172"/>
                      </a:lnTo>
                      <a:lnTo>
                        <a:pt x="155" y="169"/>
                      </a:lnTo>
                      <a:lnTo>
                        <a:pt x="155" y="165"/>
                      </a:lnTo>
                      <a:lnTo>
                        <a:pt x="155" y="36"/>
                      </a:lnTo>
                      <a:lnTo>
                        <a:pt x="155" y="36"/>
                      </a:lnTo>
                      <a:lnTo>
                        <a:pt x="155" y="27"/>
                      </a:lnTo>
                      <a:lnTo>
                        <a:pt x="149" y="20"/>
                      </a:lnTo>
                      <a:lnTo>
                        <a:pt x="149" y="20"/>
                      </a:lnTo>
                      <a:lnTo>
                        <a:pt x="144" y="12"/>
                      </a:lnTo>
                      <a:lnTo>
                        <a:pt x="137" y="9"/>
                      </a:lnTo>
                      <a:lnTo>
                        <a:pt x="137" y="9"/>
                      </a:lnTo>
                      <a:lnTo>
                        <a:pt x="122" y="5"/>
                      </a:lnTo>
                      <a:lnTo>
                        <a:pt x="107" y="1"/>
                      </a:lnTo>
                      <a:lnTo>
                        <a:pt x="92" y="0"/>
                      </a:lnTo>
                      <a:lnTo>
                        <a:pt x="78" y="0"/>
                      </a:lnTo>
                      <a:lnTo>
                        <a:pt x="63" y="0"/>
                      </a:lnTo>
                      <a:lnTo>
                        <a:pt x="48" y="1"/>
                      </a:lnTo>
                      <a:lnTo>
                        <a:pt x="34" y="5"/>
                      </a:lnTo>
                      <a:lnTo>
                        <a:pt x="21" y="9"/>
                      </a:lnTo>
                      <a:lnTo>
                        <a:pt x="21" y="9"/>
                      </a:lnTo>
                      <a:lnTo>
                        <a:pt x="13" y="12"/>
                      </a:lnTo>
                      <a:lnTo>
                        <a:pt x="6" y="20"/>
                      </a:lnTo>
                      <a:lnTo>
                        <a:pt x="6" y="20"/>
                      </a:lnTo>
                      <a:lnTo>
                        <a:pt x="2" y="27"/>
                      </a:lnTo>
                      <a:lnTo>
                        <a:pt x="0" y="36"/>
                      </a:lnTo>
                      <a:lnTo>
                        <a:pt x="0" y="165"/>
                      </a:lnTo>
                      <a:lnTo>
                        <a:pt x="0" y="165"/>
                      </a:lnTo>
                      <a:lnTo>
                        <a:pt x="0" y="169"/>
                      </a:lnTo>
                      <a:lnTo>
                        <a:pt x="2" y="172"/>
                      </a:lnTo>
                      <a:lnTo>
                        <a:pt x="10" y="180"/>
                      </a:lnTo>
                      <a:lnTo>
                        <a:pt x="10" y="180"/>
                      </a:lnTo>
                      <a:lnTo>
                        <a:pt x="19" y="183"/>
                      </a:lnTo>
                      <a:lnTo>
                        <a:pt x="26" y="185"/>
                      </a:lnTo>
                      <a:lnTo>
                        <a:pt x="26" y="185"/>
                      </a:lnTo>
                      <a:close/>
                    </a:path>
                  </a:pathLst>
                </a:custGeom>
                <a:solidFill>
                  <a:srgbClr val="86BC25"/>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6" name="Freeform 1708">
                  <a:extLst>
                    <a:ext uri="{FF2B5EF4-FFF2-40B4-BE49-F238E27FC236}">
                      <a16:creationId xmlns:a16="http://schemas.microsoft.com/office/drawing/2014/main" id="{3744E0EB-447B-4489-99FD-90E98949D9C2}"/>
                    </a:ext>
                  </a:extLst>
                </p:cNvPr>
                <p:cNvSpPr>
                  <a:spLocks/>
                </p:cNvSpPr>
                <p:nvPr/>
              </p:nvSpPr>
              <p:spPr bwMode="auto">
                <a:xfrm>
                  <a:off x="4303400" y="4873607"/>
                  <a:ext cx="187886" cy="176997"/>
                </a:xfrm>
                <a:custGeom>
                  <a:avLst/>
                  <a:gdLst>
                    <a:gd name="T0" fmla="*/ 70 w 83"/>
                    <a:gd name="T1" fmla="*/ 13 h 83"/>
                    <a:gd name="T2" fmla="*/ 70 w 83"/>
                    <a:gd name="T3" fmla="*/ 13 h 83"/>
                    <a:gd name="T4" fmla="*/ 65 w 83"/>
                    <a:gd name="T5" fmla="*/ 7 h 83"/>
                    <a:gd name="T6" fmla="*/ 57 w 83"/>
                    <a:gd name="T7" fmla="*/ 3 h 83"/>
                    <a:gd name="T8" fmla="*/ 50 w 83"/>
                    <a:gd name="T9" fmla="*/ 2 h 83"/>
                    <a:gd name="T10" fmla="*/ 41 w 83"/>
                    <a:gd name="T11" fmla="*/ 0 h 83"/>
                    <a:gd name="T12" fmla="*/ 41 w 83"/>
                    <a:gd name="T13" fmla="*/ 0 h 83"/>
                    <a:gd name="T14" fmla="*/ 33 w 83"/>
                    <a:gd name="T15" fmla="*/ 2 h 83"/>
                    <a:gd name="T16" fmla="*/ 26 w 83"/>
                    <a:gd name="T17" fmla="*/ 3 h 83"/>
                    <a:gd name="T18" fmla="*/ 19 w 83"/>
                    <a:gd name="T19" fmla="*/ 7 h 83"/>
                    <a:gd name="T20" fmla="*/ 11 w 83"/>
                    <a:gd name="T21" fmla="*/ 13 h 83"/>
                    <a:gd name="T22" fmla="*/ 11 w 83"/>
                    <a:gd name="T23" fmla="*/ 13 h 83"/>
                    <a:gd name="T24" fmla="*/ 6 w 83"/>
                    <a:gd name="T25" fmla="*/ 18 h 83"/>
                    <a:gd name="T26" fmla="*/ 2 w 83"/>
                    <a:gd name="T27" fmla="*/ 25 h 83"/>
                    <a:gd name="T28" fmla="*/ 0 w 83"/>
                    <a:gd name="T29" fmla="*/ 33 h 83"/>
                    <a:gd name="T30" fmla="*/ 0 w 83"/>
                    <a:gd name="T31" fmla="*/ 42 h 83"/>
                    <a:gd name="T32" fmla="*/ 0 w 83"/>
                    <a:gd name="T33" fmla="*/ 42 h 83"/>
                    <a:gd name="T34" fmla="*/ 0 w 83"/>
                    <a:gd name="T35" fmla="*/ 49 h 83"/>
                    <a:gd name="T36" fmla="*/ 2 w 83"/>
                    <a:gd name="T37" fmla="*/ 57 h 83"/>
                    <a:gd name="T38" fmla="*/ 6 w 83"/>
                    <a:gd name="T39" fmla="*/ 64 h 83"/>
                    <a:gd name="T40" fmla="*/ 11 w 83"/>
                    <a:gd name="T41" fmla="*/ 70 h 83"/>
                    <a:gd name="T42" fmla="*/ 11 w 83"/>
                    <a:gd name="T43" fmla="*/ 70 h 83"/>
                    <a:gd name="T44" fmla="*/ 19 w 83"/>
                    <a:gd name="T45" fmla="*/ 75 h 83"/>
                    <a:gd name="T46" fmla="*/ 26 w 83"/>
                    <a:gd name="T47" fmla="*/ 79 h 83"/>
                    <a:gd name="T48" fmla="*/ 33 w 83"/>
                    <a:gd name="T49" fmla="*/ 83 h 83"/>
                    <a:gd name="T50" fmla="*/ 41 w 83"/>
                    <a:gd name="T51" fmla="*/ 83 h 83"/>
                    <a:gd name="T52" fmla="*/ 41 w 83"/>
                    <a:gd name="T53" fmla="*/ 83 h 83"/>
                    <a:gd name="T54" fmla="*/ 50 w 83"/>
                    <a:gd name="T55" fmla="*/ 83 h 83"/>
                    <a:gd name="T56" fmla="*/ 57 w 83"/>
                    <a:gd name="T57" fmla="*/ 79 h 83"/>
                    <a:gd name="T58" fmla="*/ 65 w 83"/>
                    <a:gd name="T59" fmla="*/ 75 h 83"/>
                    <a:gd name="T60" fmla="*/ 70 w 83"/>
                    <a:gd name="T61" fmla="*/ 70 h 83"/>
                    <a:gd name="T62" fmla="*/ 70 w 83"/>
                    <a:gd name="T63" fmla="*/ 70 h 83"/>
                    <a:gd name="T64" fmla="*/ 76 w 83"/>
                    <a:gd name="T65" fmla="*/ 64 h 83"/>
                    <a:gd name="T66" fmla="*/ 79 w 83"/>
                    <a:gd name="T67" fmla="*/ 57 h 83"/>
                    <a:gd name="T68" fmla="*/ 81 w 83"/>
                    <a:gd name="T69" fmla="*/ 49 h 83"/>
                    <a:gd name="T70" fmla="*/ 83 w 83"/>
                    <a:gd name="T71" fmla="*/ 42 h 83"/>
                    <a:gd name="T72" fmla="*/ 83 w 83"/>
                    <a:gd name="T73" fmla="*/ 42 h 83"/>
                    <a:gd name="T74" fmla="*/ 81 w 83"/>
                    <a:gd name="T75" fmla="*/ 33 h 83"/>
                    <a:gd name="T76" fmla="*/ 79 w 83"/>
                    <a:gd name="T77" fmla="*/ 25 h 83"/>
                    <a:gd name="T78" fmla="*/ 76 w 83"/>
                    <a:gd name="T79" fmla="*/ 18 h 83"/>
                    <a:gd name="T80" fmla="*/ 70 w 83"/>
                    <a:gd name="T81" fmla="*/ 13 h 83"/>
                    <a:gd name="T82" fmla="*/ 70 w 83"/>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70" y="13"/>
                      </a:moveTo>
                      <a:lnTo>
                        <a:pt x="70" y="13"/>
                      </a:lnTo>
                      <a:lnTo>
                        <a:pt x="65" y="7"/>
                      </a:lnTo>
                      <a:lnTo>
                        <a:pt x="57" y="3"/>
                      </a:lnTo>
                      <a:lnTo>
                        <a:pt x="50" y="2"/>
                      </a:lnTo>
                      <a:lnTo>
                        <a:pt x="41" y="0"/>
                      </a:lnTo>
                      <a:lnTo>
                        <a:pt x="41" y="0"/>
                      </a:lnTo>
                      <a:lnTo>
                        <a:pt x="33" y="2"/>
                      </a:lnTo>
                      <a:lnTo>
                        <a:pt x="26" y="3"/>
                      </a:lnTo>
                      <a:lnTo>
                        <a:pt x="19" y="7"/>
                      </a:lnTo>
                      <a:lnTo>
                        <a:pt x="11" y="13"/>
                      </a:lnTo>
                      <a:lnTo>
                        <a:pt x="11" y="13"/>
                      </a:lnTo>
                      <a:lnTo>
                        <a:pt x="6" y="18"/>
                      </a:lnTo>
                      <a:lnTo>
                        <a:pt x="2" y="25"/>
                      </a:lnTo>
                      <a:lnTo>
                        <a:pt x="0" y="33"/>
                      </a:lnTo>
                      <a:lnTo>
                        <a:pt x="0" y="42"/>
                      </a:lnTo>
                      <a:lnTo>
                        <a:pt x="0" y="42"/>
                      </a:lnTo>
                      <a:lnTo>
                        <a:pt x="0" y="49"/>
                      </a:lnTo>
                      <a:lnTo>
                        <a:pt x="2" y="57"/>
                      </a:lnTo>
                      <a:lnTo>
                        <a:pt x="6" y="64"/>
                      </a:lnTo>
                      <a:lnTo>
                        <a:pt x="11" y="70"/>
                      </a:lnTo>
                      <a:lnTo>
                        <a:pt x="11" y="70"/>
                      </a:lnTo>
                      <a:lnTo>
                        <a:pt x="19" y="75"/>
                      </a:lnTo>
                      <a:lnTo>
                        <a:pt x="26" y="79"/>
                      </a:lnTo>
                      <a:lnTo>
                        <a:pt x="33" y="83"/>
                      </a:lnTo>
                      <a:lnTo>
                        <a:pt x="41" y="83"/>
                      </a:lnTo>
                      <a:lnTo>
                        <a:pt x="41" y="83"/>
                      </a:lnTo>
                      <a:lnTo>
                        <a:pt x="50" y="83"/>
                      </a:lnTo>
                      <a:lnTo>
                        <a:pt x="57" y="79"/>
                      </a:lnTo>
                      <a:lnTo>
                        <a:pt x="65" y="75"/>
                      </a:lnTo>
                      <a:lnTo>
                        <a:pt x="70" y="70"/>
                      </a:lnTo>
                      <a:lnTo>
                        <a:pt x="70" y="70"/>
                      </a:lnTo>
                      <a:lnTo>
                        <a:pt x="76" y="64"/>
                      </a:lnTo>
                      <a:lnTo>
                        <a:pt x="79" y="57"/>
                      </a:lnTo>
                      <a:lnTo>
                        <a:pt x="81" y="49"/>
                      </a:lnTo>
                      <a:lnTo>
                        <a:pt x="83" y="42"/>
                      </a:lnTo>
                      <a:lnTo>
                        <a:pt x="83" y="42"/>
                      </a:lnTo>
                      <a:lnTo>
                        <a:pt x="81" y="33"/>
                      </a:lnTo>
                      <a:lnTo>
                        <a:pt x="79" y="25"/>
                      </a:lnTo>
                      <a:lnTo>
                        <a:pt x="76" y="18"/>
                      </a:lnTo>
                      <a:lnTo>
                        <a:pt x="70" y="13"/>
                      </a:lnTo>
                      <a:lnTo>
                        <a:pt x="70" y="13"/>
                      </a:lnTo>
                      <a:close/>
                    </a:path>
                  </a:pathLst>
                </a:custGeom>
                <a:solidFill>
                  <a:srgbClr val="C4D600"/>
                </a:solidFill>
                <a:ln>
                  <a:noFill/>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7" name="Rectangle 1710">
                  <a:extLst>
                    <a:ext uri="{FF2B5EF4-FFF2-40B4-BE49-F238E27FC236}">
                      <a16:creationId xmlns:a16="http://schemas.microsoft.com/office/drawing/2014/main" id="{00667F59-2BC8-4E5E-B7F5-AAFE3B91657B}"/>
                    </a:ext>
                  </a:extLst>
                </p:cNvPr>
                <p:cNvSpPr>
                  <a:spLocks noChangeArrowheads="1"/>
                </p:cNvSpPr>
                <p:nvPr/>
              </p:nvSpPr>
              <p:spPr bwMode="auto">
                <a:xfrm>
                  <a:off x="4294234" y="5145576"/>
                  <a:ext cx="201632" cy="587110"/>
                </a:xfrm>
                <a:prstGeom prst="rect">
                  <a:avLst/>
                </a:prstGeom>
                <a:grpFill/>
                <a:ln w="17463">
                  <a:solidFill>
                    <a:srgbClr val="C4D600"/>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8" name="Freeform 1707">
                  <a:extLst>
                    <a:ext uri="{FF2B5EF4-FFF2-40B4-BE49-F238E27FC236}">
                      <a16:creationId xmlns:a16="http://schemas.microsoft.com/office/drawing/2014/main" id="{E85C266F-476E-4290-AF14-D4DDDBE12BE5}"/>
                    </a:ext>
                  </a:extLst>
                </p:cNvPr>
                <p:cNvSpPr>
                  <a:spLocks/>
                </p:cNvSpPr>
                <p:nvPr/>
              </p:nvSpPr>
              <p:spPr bwMode="auto">
                <a:xfrm>
                  <a:off x="4220914" y="5050602"/>
                  <a:ext cx="352857" cy="401481"/>
                </a:xfrm>
                <a:custGeom>
                  <a:avLst/>
                  <a:gdLst>
                    <a:gd name="T0" fmla="*/ 129 w 155"/>
                    <a:gd name="T1" fmla="*/ 185 h 185"/>
                    <a:gd name="T2" fmla="*/ 129 w 155"/>
                    <a:gd name="T3" fmla="*/ 185 h 185"/>
                    <a:gd name="T4" fmla="*/ 138 w 155"/>
                    <a:gd name="T5" fmla="*/ 183 h 185"/>
                    <a:gd name="T6" fmla="*/ 146 w 155"/>
                    <a:gd name="T7" fmla="*/ 180 h 185"/>
                    <a:gd name="T8" fmla="*/ 146 w 155"/>
                    <a:gd name="T9" fmla="*/ 180 h 185"/>
                    <a:gd name="T10" fmla="*/ 153 w 155"/>
                    <a:gd name="T11" fmla="*/ 172 h 185"/>
                    <a:gd name="T12" fmla="*/ 155 w 155"/>
                    <a:gd name="T13" fmla="*/ 169 h 185"/>
                    <a:gd name="T14" fmla="*/ 155 w 155"/>
                    <a:gd name="T15" fmla="*/ 165 h 185"/>
                    <a:gd name="T16" fmla="*/ 155 w 155"/>
                    <a:gd name="T17" fmla="*/ 36 h 185"/>
                    <a:gd name="T18" fmla="*/ 155 w 155"/>
                    <a:gd name="T19" fmla="*/ 36 h 185"/>
                    <a:gd name="T20" fmla="*/ 155 w 155"/>
                    <a:gd name="T21" fmla="*/ 27 h 185"/>
                    <a:gd name="T22" fmla="*/ 149 w 155"/>
                    <a:gd name="T23" fmla="*/ 20 h 185"/>
                    <a:gd name="T24" fmla="*/ 149 w 155"/>
                    <a:gd name="T25" fmla="*/ 20 h 185"/>
                    <a:gd name="T26" fmla="*/ 144 w 155"/>
                    <a:gd name="T27" fmla="*/ 12 h 185"/>
                    <a:gd name="T28" fmla="*/ 137 w 155"/>
                    <a:gd name="T29" fmla="*/ 9 h 185"/>
                    <a:gd name="T30" fmla="*/ 137 w 155"/>
                    <a:gd name="T31" fmla="*/ 9 h 185"/>
                    <a:gd name="T32" fmla="*/ 122 w 155"/>
                    <a:gd name="T33" fmla="*/ 5 h 185"/>
                    <a:gd name="T34" fmla="*/ 107 w 155"/>
                    <a:gd name="T35" fmla="*/ 1 h 185"/>
                    <a:gd name="T36" fmla="*/ 92 w 155"/>
                    <a:gd name="T37" fmla="*/ 0 h 185"/>
                    <a:gd name="T38" fmla="*/ 78 w 155"/>
                    <a:gd name="T39" fmla="*/ 0 h 185"/>
                    <a:gd name="T40" fmla="*/ 63 w 155"/>
                    <a:gd name="T41" fmla="*/ 0 h 185"/>
                    <a:gd name="T42" fmla="*/ 48 w 155"/>
                    <a:gd name="T43" fmla="*/ 1 h 185"/>
                    <a:gd name="T44" fmla="*/ 34 w 155"/>
                    <a:gd name="T45" fmla="*/ 5 h 185"/>
                    <a:gd name="T46" fmla="*/ 21 w 155"/>
                    <a:gd name="T47" fmla="*/ 9 h 185"/>
                    <a:gd name="T48" fmla="*/ 21 w 155"/>
                    <a:gd name="T49" fmla="*/ 9 h 185"/>
                    <a:gd name="T50" fmla="*/ 13 w 155"/>
                    <a:gd name="T51" fmla="*/ 12 h 185"/>
                    <a:gd name="T52" fmla="*/ 6 w 155"/>
                    <a:gd name="T53" fmla="*/ 20 h 185"/>
                    <a:gd name="T54" fmla="*/ 6 w 155"/>
                    <a:gd name="T55" fmla="*/ 20 h 185"/>
                    <a:gd name="T56" fmla="*/ 2 w 155"/>
                    <a:gd name="T57" fmla="*/ 27 h 185"/>
                    <a:gd name="T58" fmla="*/ 0 w 155"/>
                    <a:gd name="T59" fmla="*/ 36 h 185"/>
                    <a:gd name="T60" fmla="*/ 0 w 155"/>
                    <a:gd name="T61" fmla="*/ 165 h 185"/>
                    <a:gd name="T62" fmla="*/ 0 w 155"/>
                    <a:gd name="T63" fmla="*/ 165 h 185"/>
                    <a:gd name="T64" fmla="*/ 0 w 155"/>
                    <a:gd name="T65" fmla="*/ 169 h 185"/>
                    <a:gd name="T66" fmla="*/ 2 w 155"/>
                    <a:gd name="T67" fmla="*/ 172 h 185"/>
                    <a:gd name="T68" fmla="*/ 10 w 155"/>
                    <a:gd name="T69" fmla="*/ 180 h 185"/>
                    <a:gd name="T70" fmla="*/ 10 w 155"/>
                    <a:gd name="T71" fmla="*/ 180 h 185"/>
                    <a:gd name="T72" fmla="*/ 19 w 155"/>
                    <a:gd name="T73" fmla="*/ 183 h 185"/>
                    <a:gd name="T74" fmla="*/ 26 w 155"/>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5" h="185">
                      <a:moveTo>
                        <a:pt x="129" y="185"/>
                      </a:moveTo>
                      <a:lnTo>
                        <a:pt x="129" y="185"/>
                      </a:lnTo>
                      <a:lnTo>
                        <a:pt x="138" y="183"/>
                      </a:lnTo>
                      <a:lnTo>
                        <a:pt x="146" y="180"/>
                      </a:lnTo>
                      <a:lnTo>
                        <a:pt x="146" y="180"/>
                      </a:lnTo>
                      <a:lnTo>
                        <a:pt x="153" y="172"/>
                      </a:lnTo>
                      <a:lnTo>
                        <a:pt x="155" y="169"/>
                      </a:lnTo>
                      <a:lnTo>
                        <a:pt x="155" y="165"/>
                      </a:lnTo>
                      <a:lnTo>
                        <a:pt x="155" y="36"/>
                      </a:lnTo>
                      <a:lnTo>
                        <a:pt x="155" y="36"/>
                      </a:lnTo>
                      <a:lnTo>
                        <a:pt x="155" y="27"/>
                      </a:lnTo>
                      <a:lnTo>
                        <a:pt x="149" y="20"/>
                      </a:lnTo>
                      <a:lnTo>
                        <a:pt x="149" y="20"/>
                      </a:lnTo>
                      <a:lnTo>
                        <a:pt x="144" y="12"/>
                      </a:lnTo>
                      <a:lnTo>
                        <a:pt x="137" y="9"/>
                      </a:lnTo>
                      <a:lnTo>
                        <a:pt x="137" y="9"/>
                      </a:lnTo>
                      <a:lnTo>
                        <a:pt x="122" y="5"/>
                      </a:lnTo>
                      <a:lnTo>
                        <a:pt x="107" y="1"/>
                      </a:lnTo>
                      <a:lnTo>
                        <a:pt x="92" y="0"/>
                      </a:lnTo>
                      <a:lnTo>
                        <a:pt x="78" y="0"/>
                      </a:lnTo>
                      <a:lnTo>
                        <a:pt x="63" y="0"/>
                      </a:lnTo>
                      <a:lnTo>
                        <a:pt x="48" y="1"/>
                      </a:lnTo>
                      <a:lnTo>
                        <a:pt x="34" y="5"/>
                      </a:lnTo>
                      <a:lnTo>
                        <a:pt x="21" y="9"/>
                      </a:lnTo>
                      <a:lnTo>
                        <a:pt x="21" y="9"/>
                      </a:lnTo>
                      <a:lnTo>
                        <a:pt x="13" y="12"/>
                      </a:lnTo>
                      <a:lnTo>
                        <a:pt x="6" y="20"/>
                      </a:lnTo>
                      <a:lnTo>
                        <a:pt x="6" y="20"/>
                      </a:lnTo>
                      <a:lnTo>
                        <a:pt x="2" y="27"/>
                      </a:lnTo>
                      <a:lnTo>
                        <a:pt x="0" y="36"/>
                      </a:lnTo>
                      <a:lnTo>
                        <a:pt x="0" y="165"/>
                      </a:lnTo>
                      <a:lnTo>
                        <a:pt x="0" y="165"/>
                      </a:lnTo>
                      <a:lnTo>
                        <a:pt x="0" y="169"/>
                      </a:lnTo>
                      <a:lnTo>
                        <a:pt x="2" y="172"/>
                      </a:lnTo>
                      <a:lnTo>
                        <a:pt x="10" y="180"/>
                      </a:lnTo>
                      <a:lnTo>
                        <a:pt x="10" y="180"/>
                      </a:lnTo>
                      <a:lnTo>
                        <a:pt x="19" y="183"/>
                      </a:lnTo>
                      <a:lnTo>
                        <a:pt x="26" y="185"/>
                      </a:lnTo>
                    </a:path>
                  </a:pathLst>
                </a:custGeom>
                <a:solidFill>
                  <a:srgbClr val="C4D600"/>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79" name="Freeform 1709">
                  <a:extLst>
                    <a:ext uri="{FF2B5EF4-FFF2-40B4-BE49-F238E27FC236}">
                      <a16:creationId xmlns:a16="http://schemas.microsoft.com/office/drawing/2014/main" id="{782B6D7B-F907-4280-9C44-BF075AED6DA7}"/>
                    </a:ext>
                  </a:extLst>
                </p:cNvPr>
                <p:cNvSpPr>
                  <a:spLocks/>
                </p:cNvSpPr>
                <p:nvPr/>
              </p:nvSpPr>
              <p:spPr bwMode="auto">
                <a:xfrm>
                  <a:off x="4303400" y="4873607"/>
                  <a:ext cx="187886" cy="176997"/>
                </a:xfrm>
                <a:custGeom>
                  <a:avLst/>
                  <a:gdLst>
                    <a:gd name="T0" fmla="*/ 83 w 83"/>
                    <a:gd name="T1" fmla="*/ 42 h 83"/>
                    <a:gd name="T2" fmla="*/ 83 w 83"/>
                    <a:gd name="T3" fmla="*/ 42 h 83"/>
                    <a:gd name="T4" fmla="*/ 81 w 83"/>
                    <a:gd name="T5" fmla="*/ 49 h 83"/>
                    <a:gd name="T6" fmla="*/ 79 w 83"/>
                    <a:gd name="T7" fmla="*/ 57 h 83"/>
                    <a:gd name="T8" fmla="*/ 76 w 83"/>
                    <a:gd name="T9" fmla="*/ 64 h 83"/>
                    <a:gd name="T10" fmla="*/ 70 w 83"/>
                    <a:gd name="T11" fmla="*/ 70 h 83"/>
                    <a:gd name="T12" fmla="*/ 70 w 83"/>
                    <a:gd name="T13" fmla="*/ 70 h 83"/>
                    <a:gd name="T14" fmla="*/ 65 w 83"/>
                    <a:gd name="T15" fmla="*/ 75 h 83"/>
                    <a:gd name="T16" fmla="*/ 57 w 83"/>
                    <a:gd name="T17" fmla="*/ 79 h 83"/>
                    <a:gd name="T18" fmla="*/ 50 w 83"/>
                    <a:gd name="T19" fmla="*/ 83 h 83"/>
                    <a:gd name="T20" fmla="*/ 41 w 83"/>
                    <a:gd name="T21" fmla="*/ 83 h 83"/>
                    <a:gd name="T22" fmla="*/ 41 w 83"/>
                    <a:gd name="T23" fmla="*/ 83 h 83"/>
                    <a:gd name="T24" fmla="*/ 33 w 83"/>
                    <a:gd name="T25" fmla="*/ 83 h 83"/>
                    <a:gd name="T26" fmla="*/ 26 w 83"/>
                    <a:gd name="T27" fmla="*/ 79 h 83"/>
                    <a:gd name="T28" fmla="*/ 19 w 83"/>
                    <a:gd name="T29" fmla="*/ 75 h 83"/>
                    <a:gd name="T30" fmla="*/ 11 w 83"/>
                    <a:gd name="T31" fmla="*/ 70 h 83"/>
                    <a:gd name="T32" fmla="*/ 11 w 83"/>
                    <a:gd name="T33" fmla="*/ 70 h 83"/>
                    <a:gd name="T34" fmla="*/ 6 w 83"/>
                    <a:gd name="T35" fmla="*/ 64 h 83"/>
                    <a:gd name="T36" fmla="*/ 2 w 83"/>
                    <a:gd name="T37" fmla="*/ 57 h 83"/>
                    <a:gd name="T38" fmla="*/ 0 w 83"/>
                    <a:gd name="T39" fmla="*/ 49 h 83"/>
                    <a:gd name="T40" fmla="*/ 0 w 83"/>
                    <a:gd name="T41" fmla="*/ 42 h 83"/>
                    <a:gd name="T42" fmla="*/ 0 w 83"/>
                    <a:gd name="T43" fmla="*/ 42 h 83"/>
                    <a:gd name="T44" fmla="*/ 0 w 83"/>
                    <a:gd name="T45" fmla="*/ 33 h 83"/>
                    <a:gd name="T46" fmla="*/ 2 w 83"/>
                    <a:gd name="T47" fmla="*/ 25 h 83"/>
                    <a:gd name="T48" fmla="*/ 6 w 83"/>
                    <a:gd name="T49" fmla="*/ 18 h 83"/>
                    <a:gd name="T50" fmla="*/ 11 w 83"/>
                    <a:gd name="T51" fmla="*/ 13 h 83"/>
                    <a:gd name="T52" fmla="*/ 11 w 83"/>
                    <a:gd name="T53" fmla="*/ 13 h 83"/>
                    <a:gd name="T54" fmla="*/ 19 w 83"/>
                    <a:gd name="T55" fmla="*/ 7 h 83"/>
                    <a:gd name="T56" fmla="*/ 26 w 83"/>
                    <a:gd name="T57" fmla="*/ 3 h 83"/>
                    <a:gd name="T58" fmla="*/ 33 w 83"/>
                    <a:gd name="T59" fmla="*/ 2 h 83"/>
                    <a:gd name="T60" fmla="*/ 41 w 83"/>
                    <a:gd name="T61" fmla="*/ 0 h 83"/>
                    <a:gd name="T62" fmla="*/ 41 w 83"/>
                    <a:gd name="T63" fmla="*/ 0 h 83"/>
                    <a:gd name="T64" fmla="*/ 50 w 83"/>
                    <a:gd name="T65" fmla="*/ 2 h 83"/>
                    <a:gd name="T66" fmla="*/ 57 w 83"/>
                    <a:gd name="T67" fmla="*/ 3 h 83"/>
                    <a:gd name="T68" fmla="*/ 65 w 83"/>
                    <a:gd name="T69" fmla="*/ 7 h 83"/>
                    <a:gd name="T70" fmla="*/ 70 w 83"/>
                    <a:gd name="T71" fmla="*/ 13 h 83"/>
                    <a:gd name="T72" fmla="*/ 70 w 83"/>
                    <a:gd name="T73" fmla="*/ 13 h 83"/>
                    <a:gd name="T74" fmla="*/ 76 w 83"/>
                    <a:gd name="T75" fmla="*/ 18 h 83"/>
                    <a:gd name="T76" fmla="*/ 79 w 83"/>
                    <a:gd name="T77" fmla="*/ 25 h 83"/>
                    <a:gd name="T78" fmla="*/ 81 w 83"/>
                    <a:gd name="T79" fmla="*/ 33 h 83"/>
                    <a:gd name="T80" fmla="*/ 83 w 83"/>
                    <a:gd name="T81" fmla="*/ 42 h 83"/>
                    <a:gd name="T82" fmla="*/ 83 w 83"/>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2"/>
                      </a:moveTo>
                      <a:lnTo>
                        <a:pt x="83" y="42"/>
                      </a:lnTo>
                      <a:lnTo>
                        <a:pt x="81" y="49"/>
                      </a:lnTo>
                      <a:lnTo>
                        <a:pt x="79" y="57"/>
                      </a:lnTo>
                      <a:lnTo>
                        <a:pt x="76" y="64"/>
                      </a:lnTo>
                      <a:lnTo>
                        <a:pt x="70" y="70"/>
                      </a:lnTo>
                      <a:lnTo>
                        <a:pt x="70" y="70"/>
                      </a:lnTo>
                      <a:lnTo>
                        <a:pt x="65" y="75"/>
                      </a:lnTo>
                      <a:lnTo>
                        <a:pt x="57" y="79"/>
                      </a:lnTo>
                      <a:lnTo>
                        <a:pt x="50" y="83"/>
                      </a:lnTo>
                      <a:lnTo>
                        <a:pt x="41" y="83"/>
                      </a:lnTo>
                      <a:lnTo>
                        <a:pt x="41" y="83"/>
                      </a:lnTo>
                      <a:lnTo>
                        <a:pt x="33" y="83"/>
                      </a:lnTo>
                      <a:lnTo>
                        <a:pt x="26" y="79"/>
                      </a:lnTo>
                      <a:lnTo>
                        <a:pt x="19" y="75"/>
                      </a:lnTo>
                      <a:lnTo>
                        <a:pt x="11" y="70"/>
                      </a:lnTo>
                      <a:lnTo>
                        <a:pt x="11" y="70"/>
                      </a:lnTo>
                      <a:lnTo>
                        <a:pt x="6" y="64"/>
                      </a:lnTo>
                      <a:lnTo>
                        <a:pt x="2" y="57"/>
                      </a:lnTo>
                      <a:lnTo>
                        <a:pt x="0" y="49"/>
                      </a:lnTo>
                      <a:lnTo>
                        <a:pt x="0" y="42"/>
                      </a:lnTo>
                      <a:lnTo>
                        <a:pt x="0" y="42"/>
                      </a:lnTo>
                      <a:lnTo>
                        <a:pt x="0" y="33"/>
                      </a:lnTo>
                      <a:lnTo>
                        <a:pt x="2" y="25"/>
                      </a:lnTo>
                      <a:lnTo>
                        <a:pt x="6" y="18"/>
                      </a:lnTo>
                      <a:lnTo>
                        <a:pt x="11" y="13"/>
                      </a:lnTo>
                      <a:lnTo>
                        <a:pt x="11" y="13"/>
                      </a:lnTo>
                      <a:lnTo>
                        <a:pt x="19" y="7"/>
                      </a:lnTo>
                      <a:lnTo>
                        <a:pt x="26" y="3"/>
                      </a:lnTo>
                      <a:lnTo>
                        <a:pt x="33" y="2"/>
                      </a:lnTo>
                      <a:lnTo>
                        <a:pt x="41" y="0"/>
                      </a:lnTo>
                      <a:lnTo>
                        <a:pt x="41" y="0"/>
                      </a:lnTo>
                      <a:lnTo>
                        <a:pt x="50" y="2"/>
                      </a:lnTo>
                      <a:lnTo>
                        <a:pt x="57" y="3"/>
                      </a:lnTo>
                      <a:lnTo>
                        <a:pt x="65" y="7"/>
                      </a:lnTo>
                      <a:lnTo>
                        <a:pt x="70" y="13"/>
                      </a:lnTo>
                      <a:lnTo>
                        <a:pt x="70" y="13"/>
                      </a:lnTo>
                      <a:lnTo>
                        <a:pt x="76" y="18"/>
                      </a:lnTo>
                      <a:lnTo>
                        <a:pt x="79" y="25"/>
                      </a:lnTo>
                      <a:lnTo>
                        <a:pt x="81" y="33"/>
                      </a:lnTo>
                      <a:lnTo>
                        <a:pt x="83" y="42"/>
                      </a:lnTo>
                      <a:lnTo>
                        <a:pt x="83"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0" name="Freeform 1711">
                  <a:extLst>
                    <a:ext uri="{FF2B5EF4-FFF2-40B4-BE49-F238E27FC236}">
                      <a16:creationId xmlns:a16="http://schemas.microsoft.com/office/drawing/2014/main" id="{E595CBE5-693A-45A0-BBFD-D1616EFBCBDE}"/>
                    </a:ext>
                  </a:extLst>
                </p:cNvPr>
                <p:cNvSpPr>
                  <a:spLocks/>
                </p:cNvSpPr>
                <p:nvPr/>
              </p:nvSpPr>
              <p:spPr bwMode="auto">
                <a:xfrm>
                  <a:off x="4294234" y="5145576"/>
                  <a:ext cx="201632" cy="587110"/>
                </a:xfrm>
                <a:custGeom>
                  <a:avLst/>
                  <a:gdLst>
                    <a:gd name="T0" fmla="*/ 0 w 88"/>
                    <a:gd name="T1" fmla="*/ 0 h 272"/>
                    <a:gd name="T2" fmla="*/ 0 w 88"/>
                    <a:gd name="T3" fmla="*/ 272 h 272"/>
                    <a:gd name="T4" fmla="*/ 88 w 88"/>
                    <a:gd name="T5" fmla="*/ 272 h 272"/>
                    <a:gd name="T6" fmla="*/ 88 w 88"/>
                    <a:gd name="T7" fmla="*/ 0 h 272"/>
                  </a:gdLst>
                  <a:ahLst/>
                  <a:cxnLst>
                    <a:cxn ang="0">
                      <a:pos x="T0" y="T1"/>
                    </a:cxn>
                    <a:cxn ang="0">
                      <a:pos x="T2" y="T3"/>
                    </a:cxn>
                    <a:cxn ang="0">
                      <a:pos x="T4" y="T5"/>
                    </a:cxn>
                    <a:cxn ang="0">
                      <a:pos x="T6" y="T7"/>
                    </a:cxn>
                  </a:cxnLst>
                  <a:rect l="0" t="0" r="r" b="b"/>
                  <a:pathLst>
                    <a:path w="88" h="272">
                      <a:moveTo>
                        <a:pt x="0" y="0"/>
                      </a:moveTo>
                      <a:lnTo>
                        <a:pt x="0" y="272"/>
                      </a:lnTo>
                      <a:lnTo>
                        <a:pt x="88" y="272"/>
                      </a:lnTo>
                      <a:lnTo>
                        <a:pt x="88" y="0"/>
                      </a:lnTo>
                    </a:path>
                  </a:pathLst>
                </a:custGeom>
                <a:solidFill>
                  <a:srgbClr val="C4D600"/>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1" name="Line 1712">
                  <a:extLst>
                    <a:ext uri="{FF2B5EF4-FFF2-40B4-BE49-F238E27FC236}">
                      <a16:creationId xmlns:a16="http://schemas.microsoft.com/office/drawing/2014/main" id="{91F57A81-9068-42FD-B7BF-DEB9971D8F29}"/>
                    </a:ext>
                  </a:extLst>
                </p:cNvPr>
                <p:cNvSpPr>
                  <a:spLocks noChangeShapeType="1"/>
                </p:cNvSpPr>
                <p:nvPr/>
              </p:nvSpPr>
              <p:spPr bwMode="auto">
                <a:xfrm>
                  <a:off x="4395051" y="5439131"/>
                  <a:ext cx="0" cy="293555"/>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sp>
        <p:nvSpPr>
          <p:cNvPr id="200" name="Rectangle 199">
            <a:extLst>
              <a:ext uri="{FF2B5EF4-FFF2-40B4-BE49-F238E27FC236}">
                <a16:creationId xmlns:a16="http://schemas.microsoft.com/office/drawing/2014/main" id="{99B7DE69-58E4-4CC1-B6F6-9EED6F4FD737}"/>
              </a:ext>
            </a:extLst>
          </p:cNvPr>
          <p:cNvSpPr/>
          <p:nvPr/>
        </p:nvSpPr>
        <p:spPr bwMode="gray">
          <a:xfrm>
            <a:off x="1700710" y="4085584"/>
            <a:ext cx="1886288" cy="1264135"/>
          </a:xfrm>
          <a:prstGeom prst="rect">
            <a:avLst/>
          </a:prstGeom>
          <a:solidFill>
            <a:sysClr val="window" lastClr="FFFFFF"/>
          </a:solidFill>
          <a:ln w="19050" algn="ctr">
            <a:solidFill>
              <a:schemeClr val="accent6"/>
            </a:solidFill>
            <a:prstDash val="sysDot"/>
            <a:miter lim="800000"/>
            <a:headEnd/>
            <a:tailEnd/>
          </a:ln>
        </p:spPr>
        <p:txBody>
          <a:bodyPr wrap="square" lIns="150817" tIns="66649" rIns="34277" bIns="66649" rtlCol="0" anchor="ctr"/>
          <a:lstStyle/>
          <a:p>
            <a:pPr algn="ctr">
              <a:lnSpc>
                <a:spcPct val="106000"/>
              </a:lnSpc>
            </a:pPr>
            <a:r>
              <a:rPr lang="en-US" sz="1400" kern="0" dirty="0">
                <a:solidFill>
                  <a:srgbClr val="313131"/>
                </a:solidFill>
                <a:ea typeface="Open Sans" panose="020B0606030504020204" pitchFamily="34" charset="0"/>
                <a:cs typeface="Open Sans" panose="020B0606030504020204" pitchFamily="34" charset="0"/>
              </a:rPr>
              <a:t>Must be experienced, empowered, influential, committed, and trained</a:t>
            </a:r>
          </a:p>
        </p:txBody>
      </p:sp>
      <p:sp>
        <p:nvSpPr>
          <p:cNvPr id="201" name="Oval 65">
            <a:extLst>
              <a:ext uri="{FF2B5EF4-FFF2-40B4-BE49-F238E27FC236}">
                <a16:creationId xmlns:a16="http://schemas.microsoft.com/office/drawing/2014/main" id="{F6CBCDD1-3E4C-4F45-AC8B-3B8143CC8ADC}"/>
              </a:ext>
            </a:extLst>
          </p:cNvPr>
          <p:cNvSpPr>
            <a:spLocks noChangeArrowheads="1"/>
          </p:cNvSpPr>
          <p:nvPr/>
        </p:nvSpPr>
        <p:spPr bwMode="auto">
          <a:xfrm rot="8100000">
            <a:off x="1130838" y="4340149"/>
            <a:ext cx="739699" cy="755005"/>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200" kern="0" dirty="0">
              <a:solidFill>
                <a:prstClr val="black"/>
              </a:solidFill>
            </a:endParaRPr>
          </a:p>
        </p:txBody>
      </p:sp>
      <p:sp>
        <p:nvSpPr>
          <p:cNvPr id="202" name="Freeform 867">
            <a:extLst>
              <a:ext uri="{FF2B5EF4-FFF2-40B4-BE49-F238E27FC236}">
                <a16:creationId xmlns:a16="http://schemas.microsoft.com/office/drawing/2014/main" id="{18CB3EF6-05A8-46C9-9A58-BC2C2C6BC443}"/>
              </a:ext>
            </a:extLst>
          </p:cNvPr>
          <p:cNvSpPr>
            <a:spLocks noChangeAspect="1" noEditPoints="1"/>
          </p:cNvSpPr>
          <p:nvPr/>
        </p:nvSpPr>
        <p:spPr bwMode="auto">
          <a:xfrm>
            <a:off x="1330756" y="4500762"/>
            <a:ext cx="521601" cy="532392"/>
          </a:xfrm>
          <a:custGeom>
            <a:avLst/>
            <a:gdLst>
              <a:gd name="T0" fmla="*/ 138 w 512"/>
              <a:gd name="T1" fmla="*/ 138 h 512"/>
              <a:gd name="T2" fmla="*/ 373 w 512"/>
              <a:gd name="T3" fmla="*/ 138 h 512"/>
              <a:gd name="T4" fmla="*/ 373 w 512"/>
              <a:gd name="T5" fmla="*/ 309 h 512"/>
              <a:gd name="T6" fmla="*/ 138 w 512"/>
              <a:gd name="T7" fmla="*/ 309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266 w 512"/>
              <a:gd name="T25" fmla="*/ 117 h 512"/>
              <a:gd name="T26" fmla="*/ 256 w 512"/>
              <a:gd name="T27" fmla="*/ 106 h 512"/>
              <a:gd name="T28" fmla="*/ 245 w 512"/>
              <a:gd name="T29" fmla="*/ 117 h 512"/>
              <a:gd name="T30" fmla="*/ 128 w 512"/>
              <a:gd name="T31" fmla="*/ 117 h 512"/>
              <a:gd name="T32" fmla="*/ 117 w 512"/>
              <a:gd name="T33" fmla="*/ 128 h 512"/>
              <a:gd name="T34" fmla="*/ 117 w 512"/>
              <a:gd name="T35" fmla="*/ 320 h 512"/>
              <a:gd name="T36" fmla="*/ 128 w 512"/>
              <a:gd name="T37" fmla="*/ 330 h 512"/>
              <a:gd name="T38" fmla="*/ 198 w 512"/>
              <a:gd name="T39" fmla="*/ 330 h 512"/>
              <a:gd name="T40" fmla="*/ 171 w 512"/>
              <a:gd name="T41" fmla="*/ 401 h 512"/>
              <a:gd name="T42" fmla="*/ 177 w 512"/>
              <a:gd name="T43" fmla="*/ 415 h 512"/>
              <a:gd name="T44" fmla="*/ 181 w 512"/>
              <a:gd name="T45" fmla="*/ 416 h 512"/>
              <a:gd name="T46" fmla="*/ 191 w 512"/>
              <a:gd name="T47" fmla="*/ 409 h 512"/>
              <a:gd name="T48" fmla="*/ 220 w 512"/>
              <a:gd name="T49" fmla="*/ 330 h 512"/>
              <a:gd name="T50" fmla="*/ 245 w 512"/>
              <a:gd name="T51" fmla="*/ 330 h 512"/>
              <a:gd name="T52" fmla="*/ 245 w 512"/>
              <a:gd name="T53" fmla="*/ 373 h 512"/>
              <a:gd name="T54" fmla="*/ 256 w 512"/>
              <a:gd name="T55" fmla="*/ 384 h 512"/>
              <a:gd name="T56" fmla="*/ 266 w 512"/>
              <a:gd name="T57" fmla="*/ 373 h 512"/>
              <a:gd name="T58" fmla="*/ 266 w 512"/>
              <a:gd name="T59" fmla="*/ 330 h 512"/>
              <a:gd name="T60" fmla="*/ 291 w 512"/>
              <a:gd name="T61" fmla="*/ 330 h 512"/>
              <a:gd name="T62" fmla="*/ 320 w 512"/>
              <a:gd name="T63" fmla="*/ 409 h 512"/>
              <a:gd name="T64" fmla="*/ 330 w 512"/>
              <a:gd name="T65" fmla="*/ 416 h 512"/>
              <a:gd name="T66" fmla="*/ 334 w 512"/>
              <a:gd name="T67" fmla="*/ 415 h 512"/>
              <a:gd name="T68" fmla="*/ 340 w 512"/>
              <a:gd name="T69" fmla="*/ 401 h 512"/>
              <a:gd name="T70" fmla="*/ 314 w 512"/>
              <a:gd name="T71" fmla="*/ 330 h 512"/>
              <a:gd name="T72" fmla="*/ 384 w 512"/>
              <a:gd name="T73" fmla="*/ 330 h 512"/>
              <a:gd name="T74" fmla="*/ 394 w 512"/>
              <a:gd name="T75" fmla="*/ 320 h 512"/>
              <a:gd name="T76" fmla="*/ 394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138" y="138"/>
                </a:moveTo>
                <a:cubicBezTo>
                  <a:pt x="373" y="138"/>
                  <a:pt x="373" y="138"/>
                  <a:pt x="373" y="138"/>
                </a:cubicBezTo>
                <a:cubicBezTo>
                  <a:pt x="373" y="309"/>
                  <a:pt x="373" y="309"/>
                  <a:pt x="373" y="309"/>
                </a:cubicBezTo>
                <a:cubicBezTo>
                  <a:pt x="138" y="309"/>
                  <a:pt x="138" y="309"/>
                  <a:pt x="138" y="309"/>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266" y="117"/>
                  <a:pt x="266" y="117"/>
                  <a:pt x="266" y="117"/>
                </a:cubicBezTo>
                <a:cubicBezTo>
                  <a:pt x="266" y="111"/>
                  <a:pt x="262" y="106"/>
                  <a:pt x="256" y="106"/>
                </a:cubicBezTo>
                <a:cubicBezTo>
                  <a:pt x="250" y="106"/>
                  <a:pt x="245" y="111"/>
                  <a:pt x="245" y="117"/>
                </a:cubicBezTo>
                <a:cubicBezTo>
                  <a:pt x="128" y="117"/>
                  <a:pt x="128" y="117"/>
                  <a:pt x="128" y="117"/>
                </a:cubicBezTo>
                <a:cubicBezTo>
                  <a:pt x="122" y="117"/>
                  <a:pt x="117" y="122"/>
                  <a:pt x="117" y="128"/>
                </a:cubicBezTo>
                <a:cubicBezTo>
                  <a:pt x="117" y="320"/>
                  <a:pt x="117" y="320"/>
                  <a:pt x="117" y="320"/>
                </a:cubicBezTo>
                <a:cubicBezTo>
                  <a:pt x="117" y="326"/>
                  <a:pt x="122" y="330"/>
                  <a:pt x="128" y="330"/>
                </a:cubicBezTo>
                <a:cubicBezTo>
                  <a:pt x="198" y="330"/>
                  <a:pt x="198" y="330"/>
                  <a:pt x="198" y="330"/>
                </a:cubicBezTo>
                <a:cubicBezTo>
                  <a:pt x="171" y="401"/>
                  <a:pt x="171" y="401"/>
                  <a:pt x="171" y="401"/>
                </a:cubicBezTo>
                <a:cubicBezTo>
                  <a:pt x="169" y="407"/>
                  <a:pt x="172" y="413"/>
                  <a:pt x="177" y="415"/>
                </a:cubicBezTo>
                <a:cubicBezTo>
                  <a:pt x="178" y="415"/>
                  <a:pt x="180" y="416"/>
                  <a:pt x="181" y="416"/>
                </a:cubicBezTo>
                <a:cubicBezTo>
                  <a:pt x="185" y="416"/>
                  <a:pt x="189" y="413"/>
                  <a:pt x="191" y="409"/>
                </a:cubicBezTo>
                <a:cubicBezTo>
                  <a:pt x="220" y="330"/>
                  <a:pt x="220" y="330"/>
                  <a:pt x="220" y="330"/>
                </a:cubicBezTo>
                <a:cubicBezTo>
                  <a:pt x="245" y="330"/>
                  <a:pt x="245" y="330"/>
                  <a:pt x="245" y="330"/>
                </a:cubicBezTo>
                <a:cubicBezTo>
                  <a:pt x="245" y="373"/>
                  <a:pt x="245" y="373"/>
                  <a:pt x="245" y="373"/>
                </a:cubicBezTo>
                <a:cubicBezTo>
                  <a:pt x="245" y="379"/>
                  <a:pt x="250" y="384"/>
                  <a:pt x="256" y="384"/>
                </a:cubicBezTo>
                <a:cubicBezTo>
                  <a:pt x="262" y="384"/>
                  <a:pt x="266" y="379"/>
                  <a:pt x="266" y="373"/>
                </a:cubicBezTo>
                <a:cubicBezTo>
                  <a:pt x="266" y="330"/>
                  <a:pt x="266" y="330"/>
                  <a:pt x="266" y="330"/>
                </a:cubicBezTo>
                <a:cubicBezTo>
                  <a:pt x="291" y="330"/>
                  <a:pt x="291" y="330"/>
                  <a:pt x="291" y="330"/>
                </a:cubicBezTo>
                <a:cubicBezTo>
                  <a:pt x="320" y="409"/>
                  <a:pt x="320" y="409"/>
                  <a:pt x="320" y="409"/>
                </a:cubicBezTo>
                <a:cubicBezTo>
                  <a:pt x="322" y="413"/>
                  <a:pt x="326" y="416"/>
                  <a:pt x="330" y="416"/>
                </a:cubicBezTo>
                <a:cubicBezTo>
                  <a:pt x="332" y="416"/>
                  <a:pt x="333" y="415"/>
                  <a:pt x="334" y="415"/>
                </a:cubicBezTo>
                <a:cubicBezTo>
                  <a:pt x="340" y="413"/>
                  <a:pt x="342" y="407"/>
                  <a:pt x="340" y="401"/>
                </a:cubicBezTo>
                <a:cubicBezTo>
                  <a:pt x="314" y="330"/>
                  <a:pt x="314" y="330"/>
                  <a:pt x="314" y="330"/>
                </a:cubicBezTo>
                <a:cubicBezTo>
                  <a:pt x="384" y="330"/>
                  <a:pt x="384" y="330"/>
                  <a:pt x="384" y="330"/>
                </a:cubicBezTo>
                <a:cubicBezTo>
                  <a:pt x="390" y="330"/>
                  <a:pt x="394" y="326"/>
                  <a:pt x="394" y="320"/>
                </a:cubicBezTo>
                <a:lnTo>
                  <a:pt x="394" y="128"/>
                </a:lnTo>
                <a:close/>
              </a:path>
            </a:pathLst>
          </a:custGeom>
          <a:solidFill>
            <a:schemeClr val="accent6"/>
          </a:solidFill>
          <a:ln>
            <a:noFill/>
          </a:ln>
        </p:spPr>
        <p:txBody>
          <a:bodyPr vert="horz" wrap="square" lIns="68553" tIns="34277" rIns="68553" bIns="34277" numCol="1" anchor="t" anchorCtr="0" compatLnSpc="1">
            <a:prstTxWarp prst="textNoShape">
              <a:avLst/>
            </a:prstTxWarp>
          </a:bodyPr>
          <a:lstStyle/>
          <a:p>
            <a:pPr defTabSz="914126">
              <a:defRPr/>
            </a:pPr>
            <a:endParaRPr lang="en-US" sz="1400" kern="0" dirty="0">
              <a:solidFill>
                <a:prstClr val="black"/>
              </a:solidFill>
            </a:endParaRPr>
          </a:p>
        </p:txBody>
      </p:sp>
      <p:sp>
        <p:nvSpPr>
          <p:cNvPr id="203" name="Rectangle 202">
            <a:extLst>
              <a:ext uri="{FF2B5EF4-FFF2-40B4-BE49-F238E27FC236}">
                <a16:creationId xmlns:a16="http://schemas.microsoft.com/office/drawing/2014/main" id="{C589DE51-80DD-4147-A673-5F361E33B969}"/>
              </a:ext>
            </a:extLst>
          </p:cNvPr>
          <p:cNvSpPr/>
          <p:nvPr/>
        </p:nvSpPr>
        <p:spPr bwMode="gray">
          <a:xfrm>
            <a:off x="1709692" y="2649970"/>
            <a:ext cx="1886288" cy="1264363"/>
          </a:xfrm>
          <a:prstGeom prst="rect">
            <a:avLst/>
          </a:prstGeom>
          <a:solidFill>
            <a:sysClr val="window" lastClr="FFFFFF"/>
          </a:solidFill>
          <a:ln w="19050" algn="ctr">
            <a:solidFill>
              <a:schemeClr val="accent6"/>
            </a:solidFill>
            <a:prstDash val="sysDot"/>
            <a:miter lim="800000"/>
            <a:headEnd/>
            <a:tailEnd/>
          </a:ln>
        </p:spPr>
        <p:txBody>
          <a:bodyPr wrap="square" lIns="137106" tIns="66649" rIns="66649" bIns="66649" rtlCol="0" anchor="ctr"/>
          <a:lstStyle/>
          <a:p>
            <a:pPr algn="ctr">
              <a:lnSpc>
                <a:spcPct val="106000"/>
              </a:lnSpc>
            </a:pPr>
            <a:r>
              <a:rPr lang="en-US" sz="1400" kern="0" dirty="0">
                <a:solidFill>
                  <a:srgbClr val="313131"/>
                </a:solidFill>
                <a:ea typeface="Open Sans" panose="020B0606030504020204" pitchFamily="34" charset="0"/>
                <a:cs typeface="Open Sans" panose="020B0606030504020204" pitchFamily="34" charset="0"/>
              </a:rPr>
              <a:t>Organization; </a:t>
            </a:r>
            <a:br>
              <a:rPr lang="en-US" sz="1400" kern="0" dirty="0">
                <a:solidFill>
                  <a:srgbClr val="313131"/>
                </a:solidFill>
                <a:ea typeface="Open Sans" panose="020B0606030504020204" pitchFamily="34" charset="0"/>
                <a:cs typeface="Open Sans" panose="020B0606030504020204" pitchFamily="34" charset="0"/>
              </a:rPr>
            </a:br>
            <a:r>
              <a:rPr lang="en-US" sz="1400" kern="0" dirty="0">
                <a:solidFill>
                  <a:srgbClr val="313131"/>
                </a:solidFill>
                <a:ea typeface="Open Sans" panose="020B0606030504020204" pitchFamily="34" charset="0"/>
                <a:cs typeface="Open Sans" panose="020B0606030504020204" pitchFamily="34" charset="0"/>
              </a:rPr>
              <a:t>represents </a:t>
            </a:r>
            <a:br>
              <a:rPr lang="en-US" sz="1400" kern="0" dirty="0">
                <a:solidFill>
                  <a:srgbClr val="313131"/>
                </a:solidFill>
                <a:ea typeface="Open Sans" panose="020B0606030504020204" pitchFamily="34" charset="0"/>
                <a:cs typeface="Open Sans" panose="020B0606030504020204" pitchFamily="34" charset="0"/>
              </a:rPr>
            </a:br>
            <a:r>
              <a:rPr lang="en-US" sz="1400" kern="0" dirty="0">
                <a:solidFill>
                  <a:srgbClr val="313131"/>
                </a:solidFill>
                <a:ea typeface="Open Sans" panose="020B0606030504020204" pitchFamily="34" charset="0"/>
                <a:cs typeface="Open Sans" panose="020B0606030504020204" pitchFamily="34" charset="0"/>
              </a:rPr>
              <a:t>the stakeholders </a:t>
            </a:r>
          </a:p>
        </p:txBody>
      </p:sp>
      <p:sp>
        <p:nvSpPr>
          <p:cNvPr id="204" name="Oval 65">
            <a:extLst>
              <a:ext uri="{FF2B5EF4-FFF2-40B4-BE49-F238E27FC236}">
                <a16:creationId xmlns:a16="http://schemas.microsoft.com/office/drawing/2014/main" id="{FDD486DA-78A3-4590-A339-F31DB885ECB8}"/>
              </a:ext>
            </a:extLst>
          </p:cNvPr>
          <p:cNvSpPr>
            <a:spLocks noChangeArrowheads="1"/>
          </p:cNvSpPr>
          <p:nvPr/>
        </p:nvSpPr>
        <p:spPr bwMode="auto">
          <a:xfrm rot="8100000">
            <a:off x="1218065" y="2904648"/>
            <a:ext cx="739699" cy="755005"/>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600" kern="0" dirty="0">
              <a:solidFill>
                <a:prstClr val="black"/>
              </a:solidFill>
            </a:endParaRPr>
          </a:p>
        </p:txBody>
      </p:sp>
      <p:grpSp>
        <p:nvGrpSpPr>
          <p:cNvPr id="205" name="Group 204">
            <a:extLst>
              <a:ext uri="{FF2B5EF4-FFF2-40B4-BE49-F238E27FC236}">
                <a16:creationId xmlns:a16="http://schemas.microsoft.com/office/drawing/2014/main" id="{EB5025A0-9139-4B08-82F4-03CDE18BE00E}"/>
              </a:ext>
            </a:extLst>
          </p:cNvPr>
          <p:cNvGrpSpPr>
            <a:grpSpLocks noChangeAspect="1"/>
          </p:cNvGrpSpPr>
          <p:nvPr/>
        </p:nvGrpSpPr>
        <p:grpSpPr>
          <a:xfrm>
            <a:off x="1325703" y="2963577"/>
            <a:ext cx="524403" cy="532567"/>
            <a:chOff x="5672133" y="4513272"/>
            <a:chExt cx="1579564" cy="1571627"/>
          </a:xfrm>
          <a:solidFill>
            <a:schemeClr val="accent6"/>
          </a:solidFill>
        </p:grpSpPr>
        <p:sp>
          <p:nvSpPr>
            <p:cNvPr id="206" name="Rectangle 5">
              <a:extLst>
                <a:ext uri="{FF2B5EF4-FFF2-40B4-BE49-F238E27FC236}">
                  <a16:creationId xmlns:a16="http://schemas.microsoft.com/office/drawing/2014/main" id="{9FC33DF8-2C01-4412-95C1-986912554ECF}"/>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07" name="Oval 6">
              <a:extLst>
                <a:ext uri="{FF2B5EF4-FFF2-40B4-BE49-F238E27FC236}">
                  <a16:creationId xmlns:a16="http://schemas.microsoft.com/office/drawing/2014/main" id="{A4531C08-C453-4D06-8D2E-EFC66E75C0CB}"/>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08" name="Rectangle 7">
              <a:extLst>
                <a:ext uri="{FF2B5EF4-FFF2-40B4-BE49-F238E27FC236}">
                  <a16:creationId xmlns:a16="http://schemas.microsoft.com/office/drawing/2014/main" id="{2AD3BB2A-21F3-47C8-8339-122C91C7F265}"/>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09" name="Oval 8">
              <a:extLst>
                <a:ext uri="{FF2B5EF4-FFF2-40B4-BE49-F238E27FC236}">
                  <a16:creationId xmlns:a16="http://schemas.microsoft.com/office/drawing/2014/main" id="{70EAD8E4-14CB-4DE1-BCA7-71813C47DBC4}"/>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10" name="Oval 9">
              <a:extLst>
                <a:ext uri="{FF2B5EF4-FFF2-40B4-BE49-F238E27FC236}">
                  <a16:creationId xmlns:a16="http://schemas.microsoft.com/office/drawing/2014/main" id="{163D0C7A-19F9-435D-8B3E-065EE9539331}"/>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11" name="Freeform 10">
              <a:extLst>
                <a:ext uri="{FF2B5EF4-FFF2-40B4-BE49-F238E27FC236}">
                  <a16:creationId xmlns:a16="http://schemas.microsoft.com/office/drawing/2014/main" id="{481D4E10-302D-4109-A20D-4D176608653A}"/>
                </a:ext>
              </a:extLst>
            </p:cNvPr>
            <p:cNvSpPr>
              <a:spLocks noEditPoints="1"/>
            </p:cNvSpPr>
            <p:nvPr/>
          </p:nvSpPr>
          <p:spPr bwMode="auto">
            <a:xfrm>
              <a:off x="5672133" y="4513272"/>
              <a:ext cx="1579564" cy="1571627"/>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799" kern="0" dirty="0">
                <a:solidFill>
                  <a:prstClr val="black"/>
                </a:solidFill>
              </a:endParaRPr>
            </a:p>
          </p:txBody>
        </p:sp>
        <p:sp>
          <p:nvSpPr>
            <p:cNvPr id="212" name="Freeform 11">
              <a:extLst>
                <a:ext uri="{FF2B5EF4-FFF2-40B4-BE49-F238E27FC236}">
                  <a16:creationId xmlns:a16="http://schemas.microsoft.com/office/drawing/2014/main" id="{E842E985-AD41-4084-9058-0E819857BDFD}"/>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grpSp>
      <p:grpSp>
        <p:nvGrpSpPr>
          <p:cNvPr id="255" name="Group 254">
            <a:extLst>
              <a:ext uri="{FF2B5EF4-FFF2-40B4-BE49-F238E27FC236}">
                <a16:creationId xmlns:a16="http://schemas.microsoft.com/office/drawing/2014/main" id="{3EBCB87E-9181-4139-8C91-BA19F180B652}"/>
              </a:ext>
            </a:extLst>
          </p:cNvPr>
          <p:cNvGrpSpPr/>
          <p:nvPr/>
        </p:nvGrpSpPr>
        <p:grpSpPr>
          <a:xfrm>
            <a:off x="1354761" y="1029452"/>
            <a:ext cx="2421732" cy="1438759"/>
            <a:chOff x="92136" y="1632338"/>
            <a:chExt cx="4292183" cy="2498308"/>
          </a:xfrm>
        </p:grpSpPr>
        <p:sp>
          <p:nvSpPr>
            <p:cNvPr id="256" name="Rectangle 255">
              <a:extLst>
                <a:ext uri="{FF2B5EF4-FFF2-40B4-BE49-F238E27FC236}">
                  <a16:creationId xmlns:a16="http://schemas.microsoft.com/office/drawing/2014/main" id="{B715911C-5DAD-4B3C-B3AA-82E86616A41D}"/>
                </a:ext>
              </a:extLst>
            </p:cNvPr>
            <p:cNvSpPr/>
            <p:nvPr/>
          </p:nvSpPr>
          <p:spPr bwMode="gray">
            <a:xfrm>
              <a:off x="92136" y="2335695"/>
              <a:ext cx="4292183" cy="1794951"/>
            </a:xfrm>
            <a:prstGeom prst="rect">
              <a:avLst/>
            </a:prstGeom>
            <a:solidFill>
              <a:sysClr val="window" lastClr="FFFFFF"/>
            </a:solidFill>
            <a:ln w="19050" algn="ctr">
              <a:solidFill>
                <a:schemeClr val="accent6"/>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solidFill>
                  <a:prstClr val="white"/>
                </a:solidFill>
              </a:endParaRPr>
            </a:p>
          </p:txBody>
        </p:sp>
        <p:grpSp>
          <p:nvGrpSpPr>
            <p:cNvPr id="257" name="Group 64">
              <a:extLst>
                <a:ext uri="{FF2B5EF4-FFF2-40B4-BE49-F238E27FC236}">
                  <a16:creationId xmlns:a16="http://schemas.microsoft.com/office/drawing/2014/main" id="{27971D4C-BB12-40D5-B94C-56B00987C573}"/>
                </a:ext>
              </a:extLst>
            </p:cNvPr>
            <p:cNvGrpSpPr>
              <a:grpSpLocks noChangeAspect="1"/>
            </p:cNvGrpSpPr>
            <p:nvPr/>
          </p:nvGrpSpPr>
          <p:grpSpPr bwMode="auto">
            <a:xfrm rot="8100000">
              <a:off x="1523208" y="1632338"/>
              <a:ext cx="1311014" cy="1311017"/>
              <a:chOff x="701" y="2170"/>
              <a:chExt cx="587" cy="587"/>
            </a:xfrm>
          </p:grpSpPr>
          <p:sp>
            <p:nvSpPr>
              <p:cNvPr id="269" name="Oval 65">
                <a:extLst>
                  <a:ext uri="{FF2B5EF4-FFF2-40B4-BE49-F238E27FC236}">
                    <a16:creationId xmlns:a16="http://schemas.microsoft.com/office/drawing/2014/main" id="{99D606A5-8E2A-4375-A66C-987F483DA595}"/>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0" name="Line 66">
                <a:extLst>
                  <a:ext uri="{FF2B5EF4-FFF2-40B4-BE49-F238E27FC236}">
                    <a16:creationId xmlns:a16="http://schemas.microsoft.com/office/drawing/2014/main" id="{5ACFEB30-119E-4270-BD20-E16B2177569F}"/>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1" name="Line 67">
                <a:extLst>
                  <a:ext uri="{FF2B5EF4-FFF2-40B4-BE49-F238E27FC236}">
                    <a16:creationId xmlns:a16="http://schemas.microsoft.com/office/drawing/2014/main" id="{267C4AF1-11EA-4695-95FF-733CEE40371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2" name="Line 69">
                <a:extLst>
                  <a:ext uri="{FF2B5EF4-FFF2-40B4-BE49-F238E27FC236}">
                    <a16:creationId xmlns:a16="http://schemas.microsoft.com/office/drawing/2014/main" id="{30D46982-82E7-4695-93A8-F8F0176543D3}"/>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3" name="Line 74">
                <a:extLst>
                  <a:ext uri="{FF2B5EF4-FFF2-40B4-BE49-F238E27FC236}">
                    <a16:creationId xmlns:a16="http://schemas.microsoft.com/office/drawing/2014/main" id="{35F5D815-CA96-4474-A748-4E3A0145355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4" name="Freeform 78">
                <a:extLst>
                  <a:ext uri="{FF2B5EF4-FFF2-40B4-BE49-F238E27FC236}">
                    <a16:creationId xmlns:a16="http://schemas.microsoft.com/office/drawing/2014/main" id="{2361E4E9-0820-4521-9052-341D246B613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solidFill>
                <a:srgbClr val="FFFFFF"/>
              </a:solidFill>
              <a:ln w="19050" cap="flat">
                <a:solidFill>
                  <a:srgbClr val="00A3E0"/>
                </a:solidFill>
                <a:prstDash val="sysDot"/>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5" name="Freeform 80">
                <a:extLst>
                  <a:ext uri="{FF2B5EF4-FFF2-40B4-BE49-F238E27FC236}">
                    <a16:creationId xmlns:a16="http://schemas.microsoft.com/office/drawing/2014/main" id="{D5879897-2DD5-424D-A052-A9BA0A61105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258" name="Rectangle 257">
              <a:extLst>
                <a:ext uri="{FF2B5EF4-FFF2-40B4-BE49-F238E27FC236}">
                  <a16:creationId xmlns:a16="http://schemas.microsoft.com/office/drawing/2014/main" id="{7784754A-8120-4D64-B13B-0383C8B71960}"/>
                </a:ext>
              </a:extLst>
            </p:cNvPr>
            <p:cNvSpPr/>
            <p:nvPr/>
          </p:nvSpPr>
          <p:spPr>
            <a:xfrm>
              <a:off x="322974" y="2746886"/>
              <a:ext cx="3741411" cy="1059684"/>
            </a:xfrm>
            <a:prstGeom prst="rect">
              <a:avLst/>
            </a:prstGeom>
          </p:spPr>
          <p:txBody>
            <a:bodyPr wrap="square">
              <a:spAutoFit/>
            </a:bodyPr>
            <a:lstStyle/>
            <a:p>
              <a:pPr algn="ctr" defTabSz="914126">
                <a:spcAft>
                  <a:spcPts val="225"/>
                </a:spcAft>
                <a:buClr>
                  <a:srgbClr val="62B5E5"/>
                </a:buClr>
                <a:defRPr/>
              </a:pPr>
              <a:r>
                <a:rPr lang="en-US" sz="1799" b="1" kern="0" dirty="0">
                  <a:solidFill>
                    <a:schemeClr val="accent6"/>
                  </a:solidFill>
                  <a:ea typeface="Open Sans" panose="020B0606030504020204" pitchFamily="34" charset="0"/>
                  <a:cs typeface="Open Sans" panose="020B0606030504020204" pitchFamily="34" charset="0"/>
                </a:rPr>
                <a:t>Product Owner</a:t>
              </a:r>
            </a:p>
            <a:p>
              <a:pPr algn="ctr" defTabSz="914126">
                <a:spcAft>
                  <a:spcPts val="450"/>
                </a:spcAft>
                <a:buClr>
                  <a:srgbClr val="62B5E5"/>
                </a:buClr>
                <a:defRPr/>
              </a:pPr>
              <a:r>
                <a:rPr lang="en-US" sz="1400" kern="0" dirty="0">
                  <a:solidFill>
                    <a:schemeClr val="accent6"/>
                  </a:solidFill>
                  <a:ea typeface="Open Sans" panose="020B0606030504020204" pitchFamily="34" charset="0"/>
                  <a:cs typeface="Open Sans" panose="020B0606030504020204" pitchFamily="34" charset="0"/>
                </a:rPr>
                <a:t>“Voice of the customer”</a:t>
              </a:r>
            </a:p>
          </p:txBody>
        </p:sp>
        <p:grpSp>
          <p:nvGrpSpPr>
            <p:cNvPr id="259" name="Group 258">
              <a:extLst>
                <a:ext uri="{FF2B5EF4-FFF2-40B4-BE49-F238E27FC236}">
                  <a16:creationId xmlns:a16="http://schemas.microsoft.com/office/drawing/2014/main" id="{8A9CF765-4AB3-4D11-A893-012FAD56C0EA}"/>
                </a:ext>
              </a:extLst>
            </p:cNvPr>
            <p:cNvGrpSpPr/>
            <p:nvPr/>
          </p:nvGrpSpPr>
          <p:grpSpPr>
            <a:xfrm>
              <a:off x="1847886" y="1796936"/>
              <a:ext cx="486350" cy="990752"/>
              <a:chOff x="2806707" y="2803319"/>
              <a:chExt cx="433388" cy="882861"/>
            </a:xfrm>
          </p:grpSpPr>
          <p:grpSp>
            <p:nvGrpSpPr>
              <p:cNvPr id="260" name="Group 51">
                <a:extLst>
                  <a:ext uri="{FF2B5EF4-FFF2-40B4-BE49-F238E27FC236}">
                    <a16:creationId xmlns:a16="http://schemas.microsoft.com/office/drawing/2014/main" id="{076D54D3-BEDC-482F-915D-D39115F77421}"/>
                  </a:ext>
                </a:extLst>
              </p:cNvPr>
              <p:cNvGrpSpPr>
                <a:grpSpLocks noChangeAspect="1"/>
              </p:cNvGrpSpPr>
              <p:nvPr/>
            </p:nvGrpSpPr>
            <p:grpSpPr bwMode="auto">
              <a:xfrm>
                <a:off x="2806707" y="3043242"/>
                <a:ext cx="433388" cy="642938"/>
                <a:chOff x="1768" y="1917"/>
                <a:chExt cx="273" cy="405"/>
              </a:xfrm>
            </p:grpSpPr>
            <p:sp>
              <p:nvSpPr>
                <p:cNvPr id="262" name="Freeform 52">
                  <a:extLst>
                    <a:ext uri="{FF2B5EF4-FFF2-40B4-BE49-F238E27FC236}">
                      <a16:creationId xmlns:a16="http://schemas.microsoft.com/office/drawing/2014/main" id="{2922FC7F-29C9-43A0-82A1-B6C116F25F0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3" name="Line 54">
                  <a:extLst>
                    <a:ext uri="{FF2B5EF4-FFF2-40B4-BE49-F238E27FC236}">
                      <a16:creationId xmlns:a16="http://schemas.microsoft.com/office/drawing/2014/main" id="{36858391-5A34-43D7-886F-BDA785A571C9}"/>
                    </a:ext>
                  </a:extLst>
                </p:cNvPr>
                <p:cNvSpPr>
                  <a:spLocks noChangeShapeType="1"/>
                </p:cNvSpPr>
                <p:nvPr/>
              </p:nvSpPr>
              <p:spPr bwMode="auto">
                <a:xfrm flipV="1">
                  <a:off x="1877" y="1995"/>
                  <a:ext cx="0" cy="327"/>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4" name="Line 55">
                  <a:extLst>
                    <a:ext uri="{FF2B5EF4-FFF2-40B4-BE49-F238E27FC236}">
                      <a16:creationId xmlns:a16="http://schemas.microsoft.com/office/drawing/2014/main" id="{06F9CCDE-CEC4-44E9-AC0E-B8C033F48E43}"/>
                    </a:ext>
                  </a:extLst>
                </p:cNvPr>
                <p:cNvSpPr>
                  <a:spLocks noChangeShapeType="1"/>
                </p:cNvSpPr>
                <p:nvPr/>
              </p:nvSpPr>
              <p:spPr bwMode="auto">
                <a:xfrm flipV="1">
                  <a:off x="2009" y="1995"/>
                  <a:ext cx="0" cy="153"/>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5" name="Freeform 56">
                  <a:extLst>
                    <a:ext uri="{FF2B5EF4-FFF2-40B4-BE49-F238E27FC236}">
                      <a16:creationId xmlns:a16="http://schemas.microsoft.com/office/drawing/2014/main" id="{9526BCF1-0F4B-40EF-9354-2AD76B1847F2}"/>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6" name="Line 57">
                  <a:extLst>
                    <a:ext uri="{FF2B5EF4-FFF2-40B4-BE49-F238E27FC236}">
                      <a16:creationId xmlns:a16="http://schemas.microsoft.com/office/drawing/2014/main" id="{391AD2CD-F2E2-47B8-8D17-749B5F152675}"/>
                    </a:ext>
                  </a:extLst>
                </p:cNvPr>
                <p:cNvSpPr>
                  <a:spLocks noChangeShapeType="1"/>
                </p:cNvSpPr>
                <p:nvPr/>
              </p:nvSpPr>
              <p:spPr bwMode="auto">
                <a:xfrm>
                  <a:off x="1943" y="2135"/>
                  <a:ext cx="0" cy="186"/>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7" name="Freeform 58">
                  <a:extLst>
                    <a:ext uri="{FF2B5EF4-FFF2-40B4-BE49-F238E27FC236}">
                      <a16:creationId xmlns:a16="http://schemas.microsoft.com/office/drawing/2014/main" id="{0697718D-5E8F-40BC-BE8E-86477F627D1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8" name="Rectangle 59">
                  <a:extLst>
                    <a:ext uri="{FF2B5EF4-FFF2-40B4-BE49-F238E27FC236}">
                      <a16:creationId xmlns:a16="http://schemas.microsoft.com/office/drawing/2014/main" id="{73DB667E-E68F-4B34-A2CA-C20A6FA539F5}"/>
                    </a:ext>
                  </a:extLst>
                </p:cNvPr>
                <p:cNvSpPr>
                  <a:spLocks noChangeArrowheads="1"/>
                </p:cNvSpPr>
                <p:nvPr/>
              </p:nvSpPr>
              <p:spPr bwMode="auto">
                <a:xfrm>
                  <a:off x="1768" y="2102"/>
                  <a:ext cx="132" cy="109"/>
                </a:xfrm>
                <a:prstGeom prst="rect">
                  <a:avLst/>
                </a:prstGeom>
                <a:solidFill>
                  <a:sysClr val="windowText" lastClr="000000">
                    <a:lumMod val="50000"/>
                    <a:lumOff val="50000"/>
                  </a:sysClr>
                </a:solidFill>
                <a:ln w="14288">
                  <a:solidFill>
                    <a:sysClr val="windowText" lastClr="000000">
                      <a:lumMod val="65000"/>
                      <a:lumOff val="35000"/>
                    </a:sysClr>
                  </a:solidFill>
                  <a:prstDash val="solid"/>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261" name="Oval 260">
                <a:extLst>
                  <a:ext uri="{FF2B5EF4-FFF2-40B4-BE49-F238E27FC236}">
                    <a16:creationId xmlns:a16="http://schemas.microsoft.com/office/drawing/2014/main" id="{AF777F1A-97E9-4939-A6F5-87289625BDE7}"/>
                  </a:ext>
                </a:extLst>
              </p:cNvPr>
              <p:cNvSpPr/>
              <p:nvPr/>
            </p:nvSpPr>
            <p:spPr bwMode="gray">
              <a:xfrm>
                <a:off x="2981633" y="2803319"/>
                <a:ext cx="193842" cy="193842"/>
              </a:xfrm>
              <a:prstGeom prst="ellipse">
                <a:avLst/>
              </a:prstGeom>
              <a:solidFill>
                <a:srgbClr val="00A3E0"/>
              </a:solidFill>
              <a:ln w="15875">
                <a:solidFill>
                  <a:sysClr val="windowText" lastClr="000000">
                    <a:lumMod val="65000"/>
                    <a:lumOff val="35000"/>
                  </a:sysClr>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nvGrpSpPr>
          <p:cNvPr id="154" name="Group 153">
            <a:extLst>
              <a:ext uri="{FF2B5EF4-FFF2-40B4-BE49-F238E27FC236}">
                <a16:creationId xmlns:a16="http://schemas.microsoft.com/office/drawing/2014/main" id="{F162F911-0091-4055-8BD3-5F981312C960}"/>
              </a:ext>
            </a:extLst>
          </p:cNvPr>
          <p:cNvGrpSpPr/>
          <p:nvPr/>
        </p:nvGrpSpPr>
        <p:grpSpPr>
          <a:xfrm>
            <a:off x="4864347" y="1029452"/>
            <a:ext cx="2421732" cy="1438759"/>
            <a:chOff x="4223310" y="1139995"/>
            <a:chExt cx="3824772" cy="2226247"/>
          </a:xfrm>
        </p:grpSpPr>
        <p:sp>
          <p:nvSpPr>
            <p:cNvPr id="155" name="Rectangle 154">
              <a:extLst>
                <a:ext uri="{FF2B5EF4-FFF2-40B4-BE49-F238E27FC236}">
                  <a16:creationId xmlns:a16="http://schemas.microsoft.com/office/drawing/2014/main" id="{2536D792-8FF3-4FD2-8FA4-CD2B167BF79C}"/>
                </a:ext>
              </a:extLst>
            </p:cNvPr>
            <p:cNvSpPr/>
            <p:nvPr/>
          </p:nvSpPr>
          <p:spPr bwMode="gray">
            <a:xfrm>
              <a:off x="4223310" y="1766755"/>
              <a:ext cx="3824772" cy="1599487"/>
            </a:xfrm>
            <a:prstGeom prst="rect">
              <a:avLst/>
            </a:prstGeom>
            <a:solidFill>
              <a:sysClr val="window" lastClr="FFFFFF"/>
            </a:solidFill>
            <a:ln w="19050" algn="ctr">
              <a:solidFill>
                <a:schemeClr val="accent4">
                  <a:lumMod val="75000"/>
                </a:schemeClr>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solidFill>
                  <a:schemeClr val="accent4"/>
                </a:solidFill>
              </a:endParaRPr>
            </a:p>
          </p:txBody>
        </p:sp>
        <p:grpSp>
          <p:nvGrpSpPr>
            <p:cNvPr id="156" name="Group 64">
              <a:extLst>
                <a:ext uri="{FF2B5EF4-FFF2-40B4-BE49-F238E27FC236}">
                  <a16:creationId xmlns:a16="http://schemas.microsoft.com/office/drawing/2014/main" id="{C3FBF6CD-811C-4A38-A9AA-F7F02DE81CDF}"/>
                </a:ext>
              </a:extLst>
            </p:cNvPr>
            <p:cNvGrpSpPr>
              <a:grpSpLocks noChangeAspect="1"/>
            </p:cNvGrpSpPr>
            <p:nvPr/>
          </p:nvGrpSpPr>
          <p:grpSpPr bwMode="auto">
            <a:xfrm rot="8100000">
              <a:off x="5498539" y="1139995"/>
              <a:ext cx="1168247" cy="1168250"/>
              <a:chOff x="701" y="2170"/>
              <a:chExt cx="587" cy="587"/>
            </a:xfrm>
          </p:grpSpPr>
          <p:sp>
            <p:nvSpPr>
              <p:cNvPr id="331" name="Oval 65">
                <a:extLst>
                  <a:ext uri="{FF2B5EF4-FFF2-40B4-BE49-F238E27FC236}">
                    <a16:creationId xmlns:a16="http://schemas.microsoft.com/office/drawing/2014/main" id="{F97023F5-FFA1-4DF9-A6DF-5AE0C1A45A86}"/>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2" name="Line 66">
                <a:extLst>
                  <a:ext uri="{FF2B5EF4-FFF2-40B4-BE49-F238E27FC236}">
                    <a16:creationId xmlns:a16="http://schemas.microsoft.com/office/drawing/2014/main" id="{2431594C-DAD9-4C6C-B432-A959359F2A1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3" name="Line 67">
                <a:extLst>
                  <a:ext uri="{FF2B5EF4-FFF2-40B4-BE49-F238E27FC236}">
                    <a16:creationId xmlns:a16="http://schemas.microsoft.com/office/drawing/2014/main" id="{5B4979FD-5503-42C5-BC0A-F7558A0D8AE6}"/>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4" name="Line 69">
                <a:extLst>
                  <a:ext uri="{FF2B5EF4-FFF2-40B4-BE49-F238E27FC236}">
                    <a16:creationId xmlns:a16="http://schemas.microsoft.com/office/drawing/2014/main" id="{3179A17F-844B-427B-AA72-AB9A819EE54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5" name="Line 74">
                <a:extLst>
                  <a:ext uri="{FF2B5EF4-FFF2-40B4-BE49-F238E27FC236}">
                    <a16:creationId xmlns:a16="http://schemas.microsoft.com/office/drawing/2014/main" id="{FE0BDE32-5495-4E4D-94CD-7C3034B0900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6" name="Freeform 78">
                <a:extLst>
                  <a:ext uri="{FF2B5EF4-FFF2-40B4-BE49-F238E27FC236}">
                    <a16:creationId xmlns:a16="http://schemas.microsoft.com/office/drawing/2014/main" id="{122E09D5-972B-4D91-AC78-3D7C9C3B8170}"/>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accent4">
                    <a:lumMod val="7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7" name="Freeform 80">
                <a:extLst>
                  <a:ext uri="{FF2B5EF4-FFF2-40B4-BE49-F238E27FC236}">
                    <a16:creationId xmlns:a16="http://schemas.microsoft.com/office/drawing/2014/main" id="{A5E5AC69-5486-4374-8CD9-2043BE6F84B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4">
                    <a:lumMod val="7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157" name="Rectangle 156">
              <a:extLst>
                <a:ext uri="{FF2B5EF4-FFF2-40B4-BE49-F238E27FC236}">
                  <a16:creationId xmlns:a16="http://schemas.microsoft.com/office/drawing/2014/main" id="{8E984A69-1D4E-4001-91DC-D4AB8A4CD48F}"/>
                </a:ext>
              </a:extLst>
            </p:cNvPr>
            <p:cNvSpPr/>
            <p:nvPr/>
          </p:nvSpPr>
          <p:spPr>
            <a:xfrm>
              <a:off x="4503017" y="2133171"/>
              <a:ext cx="3203841" cy="944287"/>
            </a:xfrm>
            <a:prstGeom prst="rect">
              <a:avLst/>
            </a:prstGeom>
          </p:spPr>
          <p:txBody>
            <a:bodyPr wrap="square">
              <a:spAutoFit/>
            </a:bodyPr>
            <a:lstStyle/>
            <a:p>
              <a:pPr algn="ctr" defTabSz="914126">
                <a:spcAft>
                  <a:spcPts val="225"/>
                </a:spcAft>
                <a:buClr>
                  <a:srgbClr val="62B5E5"/>
                </a:buClr>
                <a:defRPr/>
              </a:pPr>
              <a:r>
                <a:rPr lang="en-US" sz="1799" b="1" kern="0" dirty="0">
                  <a:solidFill>
                    <a:schemeClr val="accent4">
                      <a:lumMod val="75000"/>
                    </a:schemeClr>
                  </a:solidFill>
                  <a:ea typeface="Open Sans" panose="020B0606030504020204" pitchFamily="34" charset="0"/>
                  <a:cs typeface="Open Sans" panose="020B0606030504020204" pitchFamily="34" charset="0"/>
                </a:rPr>
                <a:t>Scrum Master</a:t>
              </a:r>
            </a:p>
            <a:p>
              <a:pPr algn="ctr" defTabSz="914126">
                <a:spcAft>
                  <a:spcPts val="225"/>
                </a:spcAft>
                <a:buClr>
                  <a:srgbClr val="62B5E5"/>
                </a:buClr>
                <a:defRPr/>
              </a:pPr>
              <a:r>
                <a:rPr lang="en-US" sz="1400" kern="0" dirty="0">
                  <a:solidFill>
                    <a:schemeClr val="accent4">
                      <a:lumMod val="75000"/>
                    </a:schemeClr>
                  </a:solidFill>
                  <a:ea typeface="Open Sans" panose="020B0606030504020204" pitchFamily="34" charset="0"/>
                  <a:cs typeface="Open Sans" panose="020B0606030504020204" pitchFamily="34" charset="0"/>
                </a:rPr>
                <a:t>“Servant leader”</a:t>
              </a:r>
            </a:p>
          </p:txBody>
        </p:sp>
        <p:grpSp>
          <p:nvGrpSpPr>
            <p:cNvPr id="161" name="Group 160">
              <a:extLst>
                <a:ext uri="{FF2B5EF4-FFF2-40B4-BE49-F238E27FC236}">
                  <a16:creationId xmlns:a16="http://schemas.microsoft.com/office/drawing/2014/main" id="{68A7F99C-52BC-426A-8BC0-7A13F2D0D860}"/>
                </a:ext>
              </a:extLst>
            </p:cNvPr>
            <p:cNvGrpSpPr/>
            <p:nvPr/>
          </p:nvGrpSpPr>
          <p:grpSpPr>
            <a:xfrm>
              <a:off x="5637344" y="1307197"/>
              <a:ext cx="879367" cy="863025"/>
              <a:chOff x="468738" y="2241878"/>
              <a:chExt cx="1655483" cy="1624719"/>
            </a:xfrm>
          </p:grpSpPr>
          <p:sp>
            <p:nvSpPr>
              <p:cNvPr id="162" name="Freeform 5">
                <a:extLst>
                  <a:ext uri="{FF2B5EF4-FFF2-40B4-BE49-F238E27FC236}">
                    <a16:creationId xmlns:a16="http://schemas.microsoft.com/office/drawing/2014/main" id="{C55463E0-CA6B-4F11-A0A5-8204EC2687A5}"/>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63" name="Freeform 6">
                <a:extLst>
                  <a:ext uri="{FF2B5EF4-FFF2-40B4-BE49-F238E27FC236}">
                    <a16:creationId xmlns:a16="http://schemas.microsoft.com/office/drawing/2014/main" id="{9BDFBD71-C8E8-4ECF-B871-B958B9EFEE1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3" name="Line 7">
                <a:extLst>
                  <a:ext uri="{FF2B5EF4-FFF2-40B4-BE49-F238E27FC236}">
                    <a16:creationId xmlns:a16="http://schemas.microsoft.com/office/drawing/2014/main" id="{56DE047C-870E-4364-A5F2-CF33328E7443}"/>
                  </a:ext>
                </a:extLst>
              </p:cNvPr>
              <p:cNvSpPr>
                <a:spLocks noChangeShapeType="1"/>
              </p:cNvSpPr>
              <p:nvPr/>
            </p:nvSpPr>
            <p:spPr bwMode="auto">
              <a:xfrm flipH="1">
                <a:off x="1772614" y="3068155"/>
                <a:ext cx="325237" cy="0"/>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4" name="Freeform 8">
                <a:extLst>
                  <a:ext uri="{FF2B5EF4-FFF2-40B4-BE49-F238E27FC236}">
                    <a16:creationId xmlns:a16="http://schemas.microsoft.com/office/drawing/2014/main" id="{93FF46B6-243B-4F41-9488-75C05C834898}"/>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5" name="Line 9">
                <a:extLst>
                  <a:ext uri="{FF2B5EF4-FFF2-40B4-BE49-F238E27FC236}">
                    <a16:creationId xmlns:a16="http://schemas.microsoft.com/office/drawing/2014/main" id="{25836751-4B06-4399-B3DE-D60B004DD3F2}"/>
                  </a:ext>
                </a:extLst>
              </p:cNvPr>
              <p:cNvSpPr>
                <a:spLocks noChangeShapeType="1"/>
              </p:cNvSpPr>
              <p:nvPr/>
            </p:nvSpPr>
            <p:spPr bwMode="auto">
              <a:xfrm>
                <a:off x="492178" y="3068155"/>
                <a:ext cx="328167" cy="0"/>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nvGrpSpPr>
              <p:cNvPr id="306" name="Group 305">
                <a:extLst>
                  <a:ext uri="{FF2B5EF4-FFF2-40B4-BE49-F238E27FC236}">
                    <a16:creationId xmlns:a16="http://schemas.microsoft.com/office/drawing/2014/main" id="{FD21067C-FECD-4804-B824-2C297A51849D}"/>
                  </a:ext>
                </a:extLst>
              </p:cNvPr>
              <p:cNvGrpSpPr/>
              <p:nvPr/>
            </p:nvGrpSpPr>
            <p:grpSpPr>
              <a:xfrm>
                <a:off x="1207113" y="2241878"/>
                <a:ext cx="178734" cy="348678"/>
                <a:chOff x="1207113" y="2241878"/>
                <a:chExt cx="178734" cy="348678"/>
              </a:xfrm>
            </p:grpSpPr>
            <p:sp>
              <p:nvSpPr>
                <p:cNvPr id="329" name="Freeform 10">
                  <a:extLst>
                    <a:ext uri="{FF2B5EF4-FFF2-40B4-BE49-F238E27FC236}">
                      <a16:creationId xmlns:a16="http://schemas.microsoft.com/office/drawing/2014/main" id="{543E3E7D-B724-4CD9-B2A1-B15277ABAC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0" name="Line 11">
                  <a:extLst>
                    <a:ext uri="{FF2B5EF4-FFF2-40B4-BE49-F238E27FC236}">
                      <a16:creationId xmlns:a16="http://schemas.microsoft.com/office/drawing/2014/main" id="{86C1E195-A3A4-4BE0-BFDC-EBB2C26257B7}"/>
                    </a:ext>
                  </a:extLst>
                </p:cNvPr>
                <p:cNvSpPr>
                  <a:spLocks noChangeShapeType="1"/>
                </p:cNvSpPr>
                <p:nvPr/>
              </p:nvSpPr>
              <p:spPr bwMode="auto">
                <a:xfrm>
                  <a:off x="1295014" y="2265319"/>
                  <a:ext cx="0" cy="325237"/>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307" name="Freeform 12">
                <a:extLst>
                  <a:ext uri="{FF2B5EF4-FFF2-40B4-BE49-F238E27FC236}">
                    <a16:creationId xmlns:a16="http://schemas.microsoft.com/office/drawing/2014/main" id="{51ADFBDE-06DB-4747-8751-CFF8C267A55D}"/>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8" name="Line 13">
                <a:extLst>
                  <a:ext uri="{FF2B5EF4-FFF2-40B4-BE49-F238E27FC236}">
                    <a16:creationId xmlns:a16="http://schemas.microsoft.com/office/drawing/2014/main" id="{6139FF33-BB88-4FEA-A175-C0F80A67F885}"/>
                  </a:ext>
                </a:extLst>
              </p:cNvPr>
              <p:cNvSpPr>
                <a:spLocks noChangeShapeType="1"/>
              </p:cNvSpPr>
              <p:nvPr/>
            </p:nvSpPr>
            <p:spPr bwMode="auto">
              <a:xfrm flipH="1">
                <a:off x="1634901" y="2499724"/>
                <a:ext cx="231475" cy="23147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09" name="Freeform 14">
                <a:extLst>
                  <a:ext uri="{FF2B5EF4-FFF2-40B4-BE49-F238E27FC236}">
                    <a16:creationId xmlns:a16="http://schemas.microsoft.com/office/drawing/2014/main" id="{E840792C-5C64-4CDB-B065-89C836F1AA1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0" name="Line 15">
                <a:extLst>
                  <a:ext uri="{FF2B5EF4-FFF2-40B4-BE49-F238E27FC236}">
                    <a16:creationId xmlns:a16="http://schemas.microsoft.com/office/drawing/2014/main" id="{6A7299F2-D1D8-404F-BF8F-D79C358A16F4}"/>
                  </a:ext>
                </a:extLst>
              </p:cNvPr>
              <p:cNvSpPr>
                <a:spLocks noChangeShapeType="1"/>
              </p:cNvSpPr>
              <p:nvPr/>
            </p:nvSpPr>
            <p:spPr bwMode="auto">
              <a:xfrm flipV="1">
                <a:off x="726583" y="3408042"/>
                <a:ext cx="231475" cy="22854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1" name="Freeform 16">
                <a:extLst>
                  <a:ext uri="{FF2B5EF4-FFF2-40B4-BE49-F238E27FC236}">
                    <a16:creationId xmlns:a16="http://schemas.microsoft.com/office/drawing/2014/main" id="{3EF07788-2A11-4E5F-A25C-026F7A53C10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2" name="Line 17">
                <a:extLst>
                  <a:ext uri="{FF2B5EF4-FFF2-40B4-BE49-F238E27FC236}">
                    <a16:creationId xmlns:a16="http://schemas.microsoft.com/office/drawing/2014/main" id="{BB365920-3A90-4D27-B850-202267E3AC5A}"/>
                  </a:ext>
                </a:extLst>
              </p:cNvPr>
              <p:cNvSpPr>
                <a:spLocks noChangeShapeType="1"/>
              </p:cNvSpPr>
              <p:nvPr/>
            </p:nvSpPr>
            <p:spPr bwMode="auto">
              <a:xfrm flipH="1" flipV="1">
                <a:off x="1634901" y="3408042"/>
                <a:ext cx="231475" cy="22854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3" name="Freeform 18">
                <a:extLst>
                  <a:ext uri="{FF2B5EF4-FFF2-40B4-BE49-F238E27FC236}">
                    <a16:creationId xmlns:a16="http://schemas.microsoft.com/office/drawing/2014/main" id="{F20D1980-3536-485C-B741-1B5C571BD8DE}"/>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4" name="Line 19">
                <a:extLst>
                  <a:ext uri="{FF2B5EF4-FFF2-40B4-BE49-F238E27FC236}">
                    <a16:creationId xmlns:a16="http://schemas.microsoft.com/office/drawing/2014/main" id="{57F1FCF5-EBE1-4FB4-ACA9-021EDF4DFEFB}"/>
                  </a:ext>
                </a:extLst>
              </p:cNvPr>
              <p:cNvSpPr>
                <a:spLocks noChangeShapeType="1"/>
              </p:cNvSpPr>
              <p:nvPr/>
            </p:nvSpPr>
            <p:spPr bwMode="auto">
              <a:xfrm>
                <a:off x="726583" y="2499724"/>
                <a:ext cx="231475" cy="23147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5" name="Freeform 35">
                <a:extLst>
                  <a:ext uri="{FF2B5EF4-FFF2-40B4-BE49-F238E27FC236}">
                    <a16:creationId xmlns:a16="http://schemas.microsoft.com/office/drawing/2014/main" id="{E9DBC486-5359-4671-9C4D-2AC74CF1355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6" name="Freeform 36">
                <a:extLst>
                  <a:ext uri="{FF2B5EF4-FFF2-40B4-BE49-F238E27FC236}">
                    <a16:creationId xmlns:a16="http://schemas.microsoft.com/office/drawing/2014/main" id="{CF0AA127-7B4C-4508-9D5B-474E0E041AA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7" name="Freeform 37">
                <a:extLst>
                  <a:ext uri="{FF2B5EF4-FFF2-40B4-BE49-F238E27FC236}">
                    <a16:creationId xmlns:a16="http://schemas.microsoft.com/office/drawing/2014/main" id="{45AAC5B8-D310-4FC0-96DF-A987662F7A4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8" name="Freeform 38">
                <a:extLst>
                  <a:ext uri="{FF2B5EF4-FFF2-40B4-BE49-F238E27FC236}">
                    <a16:creationId xmlns:a16="http://schemas.microsoft.com/office/drawing/2014/main" id="{E0BAFA65-406D-4B10-A611-66691FECDA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19" name="Freeform 39">
                <a:extLst>
                  <a:ext uri="{FF2B5EF4-FFF2-40B4-BE49-F238E27FC236}">
                    <a16:creationId xmlns:a16="http://schemas.microsoft.com/office/drawing/2014/main" id="{4092AAE2-167F-4E1C-A2B0-003EA582161F}"/>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0" name="Freeform 40">
                <a:extLst>
                  <a:ext uri="{FF2B5EF4-FFF2-40B4-BE49-F238E27FC236}">
                    <a16:creationId xmlns:a16="http://schemas.microsoft.com/office/drawing/2014/main" id="{D07B8049-72B9-4E4C-B8D2-08219B825E15}"/>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1" name="Freeform 41">
                <a:extLst>
                  <a:ext uri="{FF2B5EF4-FFF2-40B4-BE49-F238E27FC236}">
                    <a16:creationId xmlns:a16="http://schemas.microsoft.com/office/drawing/2014/main" id="{CD60B004-EE90-4F9D-B919-5F2BF504C532}"/>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2" name="Line 42">
                <a:extLst>
                  <a:ext uri="{FF2B5EF4-FFF2-40B4-BE49-F238E27FC236}">
                    <a16:creationId xmlns:a16="http://schemas.microsoft.com/office/drawing/2014/main" id="{5BCA43AF-BB4A-46C8-BE3E-591C1B3F6F5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3" name="Freeform 43">
                <a:extLst>
                  <a:ext uri="{FF2B5EF4-FFF2-40B4-BE49-F238E27FC236}">
                    <a16:creationId xmlns:a16="http://schemas.microsoft.com/office/drawing/2014/main" id="{B1BF87C4-F874-4934-A8D9-F641DA39779F}"/>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4" name="Freeform 44">
                <a:extLst>
                  <a:ext uri="{FF2B5EF4-FFF2-40B4-BE49-F238E27FC236}">
                    <a16:creationId xmlns:a16="http://schemas.microsoft.com/office/drawing/2014/main" id="{31056ED4-F2E0-4EFD-A757-BB68220003D3}"/>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5" name="Freeform 45">
                <a:extLst>
                  <a:ext uri="{FF2B5EF4-FFF2-40B4-BE49-F238E27FC236}">
                    <a16:creationId xmlns:a16="http://schemas.microsoft.com/office/drawing/2014/main" id="{BE91718D-3A1C-42FC-BE2A-BB86E3326678}"/>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nvGrpSpPr>
              <p:cNvPr id="326" name="Group 325">
                <a:extLst>
                  <a:ext uri="{FF2B5EF4-FFF2-40B4-BE49-F238E27FC236}">
                    <a16:creationId xmlns:a16="http://schemas.microsoft.com/office/drawing/2014/main" id="{BFC58364-5AE2-414A-9B91-E96BA15F0854}"/>
                  </a:ext>
                </a:extLst>
              </p:cNvPr>
              <p:cNvGrpSpPr/>
              <p:nvPr/>
            </p:nvGrpSpPr>
            <p:grpSpPr>
              <a:xfrm flipV="1">
                <a:off x="1202047" y="3517919"/>
                <a:ext cx="178734" cy="348678"/>
                <a:chOff x="1207113" y="2241878"/>
                <a:chExt cx="178734" cy="348678"/>
              </a:xfrm>
            </p:grpSpPr>
            <p:sp>
              <p:nvSpPr>
                <p:cNvPr id="327" name="Freeform 10">
                  <a:extLst>
                    <a:ext uri="{FF2B5EF4-FFF2-40B4-BE49-F238E27FC236}">
                      <a16:creationId xmlns:a16="http://schemas.microsoft.com/office/drawing/2014/main" id="{1337C151-5A75-4824-8D4B-4279412BA442}"/>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8" name="Line 11">
                  <a:extLst>
                    <a:ext uri="{FF2B5EF4-FFF2-40B4-BE49-F238E27FC236}">
                      <a16:creationId xmlns:a16="http://schemas.microsoft.com/office/drawing/2014/main" id="{DC234E9E-35D3-452A-9EDF-0862FCC31EAD}"/>
                    </a:ext>
                  </a:extLst>
                </p:cNvPr>
                <p:cNvSpPr>
                  <a:spLocks noChangeShapeType="1"/>
                </p:cNvSpPr>
                <p:nvPr/>
              </p:nvSpPr>
              <p:spPr bwMode="auto">
                <a:xfrm>
                  <a:off x="1295014" y="2265319"/>
                  <a:ext cx="0" cy="325237"/>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grpSp>
        <p:nvGrpSpPr>
          <p:cNvPr id="213" name="Group 212">
            <a:extLst>
              <a:ext uri="{FF2B5EF4-FFF2-40B4-BE49-F238E27FC236}">
                <a16:creationId xmlns:a16="http://schemas.microsoft.com/office/drawing/2014/main" id="{F22A9363-BBB5-4688-B631-2B878E45ABAF}"/>
              </a:ext>
            </a:extLst>
          </p:cNvPr>
          <p:cNvGrpSpPr/>
          <p:nvPr/>
        </p:nvGrpSpPr>
        <p:grpSpPr>
          <a:xfrm>
            <a:off x="8373934" y="1029450"/>
            <a:ext cx="2584172" cy="1467514"/>
            <a:chOff x="7819869" y="524668"/>
            <a:chExt cx="4053905" cy="2255489"/>
          </a:xfrm>
        </p:grpSpPr>
        <p:grpSp>
          <p:nvGrpSpPr>
            <p:cNvPr id="214" name="Group 213">
              <a:extLst>
                <a:ext uri="{FF2B5EF4-FFF2-40B4-BE49-F238E27FC236}">
                  <a16:creationId xmlns:a16="http://schemas.microsoft.com/office/drawing/2014/main" id="{B1633C6C-680F-45C9-907E-A0306C117C81}"/>
                </a:ext>
              </a:extLst>
            </p:cNvPr>
            <p:cNvGrpSpPr/>
            <p:nvPr/>
          </p:nvGrpSpPr>
          <p:grpSpPr>
            <a:xfrm>
              <a:off x="8047967" y="524668"/>
              <a:ext cx="3599766" cy="2211295"/>
              <a:chOff x="7993550" y="2734469"/>
              <a:chExt cx="3624114" cy="2226250"/>
            </a:xfrm>
          </p:grpSpPr>
          <p:grpSp>
            <p:nvGrpSpPr>
              <p:cNvPr id="216" name="Group 215">
                <a:extLst>
                  <a:ext uri="{FF2B5EF4-FFF2-40B4-BE49-F238E27FC236}">
                    <a16:creationId xmlns:a16="http://schemas.microsoft.com/office/drawing/2014/main" id="{AF8E69B8-C3C2-4FE1-B29E-B18BEF9BBAA2}"/>
                  </a:ext>
                </a:extLst>
              </p:cNvPr>
              <p:cNvGrpSpPr/>
              <p:nvPr/>
            </p:nvGrpSpPr>
            <p:grpSpPr>
              <a:xfrm>
                <a:off x="7993550" y="2734469"/>
                <a:ext cx="3624114" cy="2226250"/>
                <a:chOff x="7993550" y="1139995"/>
                <a:chExt cx="3624114" cy="2226250"/>
              </a:xfrm>
            </p:grpSpPr>
            <p:sp>
              <p:nvSpPr>
                <p:cNvPr id="231" name="Rectangle 230">
                  <a:extLst>
                    <a:ext uri="{FF2B5EF4-FFF2-40B4-BE49-F238E27FC236}">
                      <a16:creationId xmlns:a16="http://schemas.microsoft.com/office/drawing/2014/main" id="{2E4F4B2E-793A-4D42-AD15-9F2B1CF905BD}"/>
                    </a:ext>
                  </a:extLst>
                </p:cNvPr>
                <p:cNvSpPr/>
                <p:nvPr/>
              </p:nvSpPr>
              <p:spPr bwMode="gray">
                <a:xfrm>
                  <a:off x="7993550" y="1779913"/>
                  <a:ext cx="3624114" cy="1586332"/>
                </a:xfrm>
                <a:prstGeom prst="rect">
                  <a:avLst/>
                </a:prstGeom>
                <a:solidFill>
                  <a:sysClr val="window" lastClr="FFFFFF"/>
                </a:solidFill>
                <a:ln w="19050" algn="ctr">
                  <a:solidFill>
                    <a:schemeClr val="accent1"/>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ln>
                      <a:solidFill>
                        <a:srgbClr val="43B02A"/>
                      </a:solidFill>
                    </a:ln>
                    <a:solidFill>
                      <a:srgbClr val="86BC25"/>
                    </a:solidFill>
                  </a:endParaRPr>
                </a:p>
              </p:txBody>
            </p:sp>
            <p:grpSp>
              <p:nvGrpSpPr>
                <p:cNvPr id="232" name="Group 64">
                  <a:extLst>
                    <a:ext uri="{FF2B5EF4-FFF2-40B4-BE49-F238E27FC236}">
                      <a16:creationId xmlns:a16="http://schemas.microsoft.com/office/drawing/2014/main" id="{D4901116-2609-44B8-8C85-F59DB1B02E70}"/>
                    </a:ext>
                  </a:extLst>
                </p:cNvPr>
                <p:cNvGrpSpPr>
                  <a:grpSpLocks noChangeAspect="1"/>
                </p:cNvGrpSpPr>
                <p:nvPr/>
              </p:nvGrpSpPr>
              <p:grpSpPr bwMode="auto">
                <a:xfrm rot="8100000">
                  <a:off x="9254103" y="1139995"/>
                  <a:ext cx="1168247" cy="1168250"/>
                  <a:chOff x="701" y="2170"/>
                  <a:chExt cx="587" cy="587"/>
                </a:xfrm>
              </p:grpSpPr>
              <p:sp>
                <p:nvSpPr>
                  <p:cNvPr id="233" name="Oval 65">
                    <a:extLst>
                      <a:ext uri="{FF2B5EF4-FFF2-40B4-BE49-F238E27FC236}">
                        <a16:creationId xmlns:a16="http://schemas.microsoft.com/office/drawing/2014/main" id="{E51E5997-B366-45DF-BF69-47AF005000EF}"/>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34" name="Line 66">
                    <a:extLst>
                      <a:ext uri="{FF2B5EF4-FFF2-40B4-BE49-F238E27FC236}">
                        <a16:creationId xmlns:a16="http://schemas.microsoft.com/office/drawing/2014/main" id="{90785530-9757-4778-94C8-73CA93116CD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35" name="Line 67">
                    <a:extLst>
                      <a:ext uri="{FF2B5EF4-FFF2-40B4-BE49-F238E27FC236}">
                        <a16:creationId xmlns:a16="http://schemas.microsoft.com/office/drawing/2014/main" id="{640426E3-D928-49B2-8B47-FC2E5084734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36" name="Line 69">
                    <a:extLst>
                      <a:ext uri="{FF2B5EF4-FFF2-40B4-BE49-F238E27FC236}">
                        <a16:creationId xmlns:a16="http://schemas.microsoft.com/office/drawing/2014/main" id="{BCCABDE1-3A3E-41B2-AB45-9A1FEDA3354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37" name="Line 74">
                    <a:extLst>
                      <a:ext uri="{FF2B5EF4-FFF2-40B4-BE49-F238E27FC236}">
                        <a16:creationId xmlns:a16="http://schemas.microsoft.com/office/drawing/2014/main" id="{4661C41F-5F58-4479-BB23-E010B7F40F03}"/>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38" name="Freeform 78">
                    <a:extLst>
                      <a:ext uri="{FF2B5EF4-FFF2-40B4-BE49-F238E27FC236}">
                        <a16:creationId xmlns:a16="http://schemas.microsoft.com/office/drawing/2014/main" id="{43F8EE0A-FE19-4247-ADED-95B4D293816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39" name="Freeform 80">
                    <a:extLst>
                      <a:ext uri="{FF2B5EF4-FFF2-40B4-BE49-F238E27FC236}">
                        <a16:creationId xmlns:a16="http://schemas.microsoft.com/office/drawing/2014/main" id="{F0C668FC-81EA-4DB1-911F-FA63E2C2AAA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nvGrpSpPr>
              <p:cNvPr id="217" name="Group 216">
                <a:extLst>
                  <a:ext uri="{FF2B5EF4-FFF2-40B4-BE49-F238E27FC236}">
                    <a16:creationId xmlns:a16="http://schemas.microsoft.com/office/drawing/2014/main" id="{9280D50D-DE91-4570-913A-6ECDB6C3AB17}"/>
                  </a:ext>
                </a:extLst>
              </p:cNvPr>
              <p:cNvGrpSpPr/>
              <p:nvPr/>
            </p:nvGrpSpPr>
            <p:grpSpPr>
              <a:xfrm>
                <a:off x="9392771" y="3033655"/>
                <a:ext cx="882489" cy="655154"/>
                <a:chOff x="5299997" y="2907109"/>
                <a:chExt cx="1542922" cy="1145462"/>
              </a:xfrm>
            </p:grpSpPr>
            <p:sp>
              <p:nvSpPr>
                <p:cNvPr id="218" name="Freeform 33">
                  <a:extLst>
                    <a:ext uri="{FF2B5EF4-FFF2-40B4-BE49-F238E27FC236}">
                      <a16:creationId xmlns:a16="http://schemas.microsoft.com/office/drawing/2014/main" id="{49E8DDFC-BB7A-4419-B73E-DB61BF3743D3}"/>
                    </a:ext>
                  </a:extLst>
                </p:cNvPr>
                <p:cNvSpPr>
                  <a:spLocks/>
                </p:cNvSpPr>
                <p:nvPr/>
              </p:nvSpPr>
              <p:spPr bwMode="auto">
                <a:xfrm>
                  <a:off x="6555189" y="2907109"/>
                  <a:ext cx="274319" cy="273255"/>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9" name="Freeform 34">
                  <a:extLst>
                    <a:ext uri="{FF2B5EF4-FFF2-40B4-BE49-F238E27FC236}">
                      <a16:creationId xmlns:a16="http://schemas.microsoft.com/office/drawing/2014/main" id="{83E5E100-3B2E-464E-96BC-F7EFEA5ABE26}"/>
                    </a:ext>
                  </a:extLst>
                </p:cNvPr>
                <p:cNvSpPr>
                  <a:spLocks/>
                </p:cNvSpPr>
                <p:nvPr/>
              </p:nvSpPr>
              <p:spPr bwMode="auto">
                <a:xfrm rot="16200000">
                  <a:off x="6569665" y="3254888"/>
                  <a:ext cx="273254" cy="273255"/>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0" name="Freeform 37">
                  <a:extLst>
                    <a:ext uri="{FF2B5EF4-FFF2-40B4-BE49-F238E27FC236}">
                      <a16:creationId xmlns:a16="http://schemas.microsoft.com/office/drawing/2014/main" id="{1704EA89-BCCE-410B-82A0-6211FEBFACF2}"/>
                    </a:ext>
                  </a:extLst>
                </p:cNvPr>
                <p:cNvSpPr>
                  <a:spLocks/>
                </p:cNvSpPr>
                <p:nvPr/>
              </p:nvSpPr>
              <p:spPr bwMode="auto">
                <a:xfrm>
                  <a:off x="5324835" y="2907109"/>
                  <a:ext cx="274319" cy="273255"/>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1" name="Freeform 38">
                  <a:extLst>
                    <a:ext uri="{FF2B5EF4-FFF2-40B4-BE49-F238E27FC236}">
                      <a16:creationId xmlns:a16="http://schemas.microsoft.com/office/drawing/2014/main" id="{2C600753-AA10-408A-82DF-E22BFA1C5E45}"/>
                    </a:ext>
                  </a:extLst>
                </p:cNvPr>
                <p:cNvSpPr>
                  <a:spLocks/>
                </p:cNvSpPr>
                <p:nvPr/>
              </p:nvSpPr>
              <p:spPr bwMode="auto">
                <a:xfrm rot="16200000">
                  <a:off x="5299998" y="3254888"/>
                  <a:ext cx="273254" cy="273255"/>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2" name="Freeform 32">
                  <a:extLst>
                    <a:ext uri="{FF2B5EF4-FFF2-40B4-BE49-F238E27FC236}">
                      <a16:creationId xmlns:a16="http://schemas.microsoft.com/office/drawing/2014/main" id="{F5D44A74-5E48-4BAD-86FF-DE02FC959F2A}"/>
                    </a:ext>
                  </a:extLst>
                </p:cNvPr>
                <p:cNvSpPr>
                  <a:spLocks/>
                </p:cNvSpPr>
                <p:nvPr/>
              </p:nvSpPr>
              <p:spPr bwMode="auto">
                <a:xfrm>
                  <a:off x="6229914" y="2913260"/>
                  <a:ext cx="347473" cy="347779"/>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3" name="Freeform 35">
                  <a:extLst>
                    <a:ext uri="{FF2B5EF4-FFF2-40B4-BE49-F238E27FC236}">
                      <a16:creationId xmlns:a16="http://schemas.microsoft.com/office/drawing/2014/main" id="{0393AD7E-3F34-4A4B-8743-3DFB5BCDF104}"/>
                    </a:ext>
                  </a:extLst>
                </p:cNvPr>
                <p:cNvSpPr>
                  <a:spLocks/>
                </p:cNvSpPr>
                <p:nvPr/>
              </p:nvSpPr>
              <p:spPr bwMode="auto">
                <a:xfrm rot="16200000">
                  <a:off x="6246727" y="3329412"/>
                  <a:ext cx="322936" cy="375380"/>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4" name="Freeform 36">
                  <a:extLst>
                    <a:ext uri="{FF2B5EF4-FFF2-40B4-BE49-F238E27FC236}">
                      <a16:creationId xmlns:a16="http://schemas.microsoft.com/office/drawing/2014/main" id="{74056792-62F0-47A9-AD0F-BAC964382DAF}"/>
                    </a:ext>
                  </a:extLst>
                </p:cNvPr>
                <p:cNvSpPr>
                  <a:spLocks/>
                </p:cNvSpPr>
                <p:nvPr/>
              </p:nvSpPr>
              <p:spPr bwMode="auto">
                <a:xfrm>
                  <a:off x="5573250" y="2907109"/>
                  <a:ext cx="347473" cy="347779"/>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5" name="Freeform 25">
                  <a:extLst>
                    <a:ext uri="{FF2B5EF4-FFF2-40B4-BE49-F238E27FC236}">
                      <a16:creationId xmlns:a16="http://schemas.microsoft.com/office/drawing/2014/main" id="{75FEC31C-894D-4C60-96A7-7B78E9BAB049}"/>
                    </a:ext>
                  </a:extLst>
                </p:cNvPr>
                <p:cNvSpPr>
                  <a:spLocks/>
                </p:cNvSpPr>
                <p:nvPr/>
              </p:nvSpPr>
              <p:spPr bwMode="auto">
                <a:xfrm>
                  <a:off x="5846505" y="2907109"/>
                  <a:ext cx="452664" cy="447144"/>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6" name="Freeform 39">
                  <a:extLst>
                    <a:ext uri="{FF2B5EF4-FFF2-40B4-BE49-F238E27FC236}">
                      <a16:creationId xmlns:a16="http://schemas.microsoft.com/office/drawing/2014/main" id="{E5A4C99A-755B-45D1-908B-5C9493DB72F4}"/>
                    </a:ext>
                  </a:extLst>
                </p:cNvPr>
                <p:cNvSpPr>
                  <a:spLocks/>
                </p:cNvSpPr>
                <p:nvPr/>
              </p:nvSpPr>
              <p:spPr bwMode="auto">
                <a:xfrm rot="16200000">
                  <a:off x="5573250" y="3329412"/>
                  <a:ext cx="322936" cy="375380"/>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7" name="Freeform 26">
                  <a:extLst>
                    <a:ext uri="{FF2B5EF4-FFF2-40B4-BE49-F238E27FC236}">
                      <a16:creationId xmlns:a16="http://schemas.microsoft.com/office/drawing/2014/main" id="{C2EDC44E-0435-4D4E-BA00-1B597D84F0D8}"/>
                    </a:ext>
                  </a:extLst>
                </p:cNvPr>
                <p:cNvSpPr>
                  <a:spLocks/>
                </p:cNvSpPr>
                <p:nvPr/>
              </p:nvSpPr>
              <p:spPr bwMode="auto">
                <a:xfrm>
                  <a:off x="5796824" y="3431537"/>
                  <a:ext cx="549268" cy="422303"/>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8" name="Rectangle 27">
                  <a:extLst>
                    <a:ext uri="{FF2B5EF4-FFF2-40B4-BE49-F238E27FC236}">
                      <a16:creationId xmlns:a16="http://schemas.microsoft.com/office/drawing/2014/main" id="{3A3B61E0-ECFE-4F1A-B547-2842B8F71C5F}"/>
                    </a:ext>
                  </a:extLst>
                </p:cNvPr>
                <p:cNvSpPr>
                  <a:spLocks noChangeArrowheads="1"/>
                </p:cNvSpPr>
                <p:nvPr/>
              </p:nvSpPr>
              <p:spPr bwMode="auto">
                <a:xfrm>
                  <a:off x="5923789" y="3605427"/>
                  <a:ext cx="295335" cy="447144"/>
                </a:xfrm>
                <a:prstGeom prst="rect">
                  <a:avLst/>
                </a:prstGeom>
                <a:solidFill>
                  <a:srgbClr val="C4D600"/>
                </a:solidFill>
                <a:ln w="25400">
                  <a:noFill/>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29" name="Line 29">
                  <a:extLst>
                    <a:ext uri="{FF2B5EF4-FFF2-40B4-BE49-F238E27FC236}">
                      <a16:creationId xmlns:a16="http://schemas.microsoft.com/office/drawing/2014/main" id="{705D0A8F-6AE9-4EB7-9D70-0258EE97EE6F}"/>
                    </a:ext>
                  </a:extLst>
                </p:cNvPr>
                <p:cNvSpPr>
                  <a:spLocks noChangeShapeType="1"/>
                </p:cNvSpPr>
                <p:nvPr/>
              </p:nvSpPr>
              <p:spPr bwMode="auto">
                <a:xfrm flipV="1">
                  <a:off x="6219124" y="3605427"/>
                  <a:ext cx="0" cy="447144"/>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30" name="Line 31">
                  <a:extLst>
                    <a:ext uri="{FF2B5EF4-FFF2-40B4-BE49-F238E27FC236}">
                      <a16:creationId xmlns:a16="http://schemas.microsoft.com/office/drawing/2014/main" id="{D0174B02-BBA8-4284-8461-02A8A1A5FD1C}"/>
                    </a:ext>
                  </a:extLst>
                </p:cNvPr>
                <p:cNvSpPr>
                  <a:spLocks noChangeShapeType="1"/>
                </p:cNvSpPr>
                <p:nvPr/>
              </p:nvSpPr>
              <p:spPr bwMode="auto">
                <a:xfrm>
                  <a:off x="5923789" y="3605427"/>
                  <a:ext cx="0" cy="447144"/>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sp>
          <p:nvSpPr>
            <p:cNvPr id="215" name="Rectangle 214">
              <a:extLst>
                <a:ext uri="{FF2B5EF4-FFF2-40B4-BE49-F238E27FC236}">
                  <a16:creationId xmlns:a16="http://schemas.microsoft.com/office/drawing/2014/main" id="{5A2B5AF7-491F-4BD3-BBA4-9A2761E85481}"/>
                </a:ext>
              </a:extLst>
            </p:cNvPr>
            <p:cNvSpPr/>
            <p:nvPr/>
          </p:nvSpPr>
          <p:spPr>
            <a:xfrm>
              <a:off x="7819869" y="1511175"/>
              <a:ext cx="4053905" cy="1268982"/>
            </a:xfrm>
            <a:prstGeom prst="rect">
              <a:avLst/>
            </a:prstGeom>
            <a:noFill/>
          </p:spPr>
          <p:txBody>
            <a:bodyPr wrap="square">
              <a:spAutoFit/>
            </a:bodyPr>
            <a:lstStyle/>
            <a:p>
              <a:pPr algn="ctr" defTabSz="914126">
                <a:spcAft>
                  <a:spcPts val="225"/>
                </a:spcAft>
                <a:buClr>
                  <a:srgbClr val="62B5E5"/>
                </a:buClr>
                <a:defRPr/>
              </a:pPr>
              <a:r>
                <a:rPr lang="en-US" sz="1799" b="1" kern="0" dirty="0">
                  <a:solidFill>
                    <a:schemeClr val="accent1"/>
                  </a:solidFill>
                  <a:ea typeface="Open Sans" panose="020B0606030504020204" pitchFamily="34" charset="0"/>
                  <a:cs typeface="Open Sans" panose="020B0606030504020204" pitchFamily="34" charset="0"/>
                </a:rPr>
                <a:t>Development team</a:t>
              </a:r>
            </a:p>
            <a:p>
              <a:pPr algn="ctr" defTabSz="914126">
                <a:buClr>
                  <a:srgbClr val="62B5E5"/>
                </a:buClr>
                <a:defRPr/>
              </a:pPr>
              <a:r>
                <a:rPr lang="en-US" sz="1400" kern="0" dirty="0">
                  <a:solidFill>
                    <a:schemeClr val="accent1"/>
                  </a:solidFill>
                  <a:ea typeface="Open Sans" panose="020B0606030504020204" pitchFamily="34" charset="0"/>
                  <a:cs typeface="Open Sans" panose="020B0606030504020204" pitchFamily="34" charset="0"/>
                </a:rPr>
                <a:t>“Multi-talented group of </a:t>
              </a:r>
            </a:p>
            <a:p>
              <a:pPr algn="ctr" defTabSz="914126">
                <a:buClr>
                  <a:srgbClr val="62B5E5"/>
                </a:buClr>
                <a:defRPr/>
              </a:pPr>
              <a:r>
                <a:rPr lang="en-US" sz="1400" kern="0" dirty="0">
                  <a:solidFill>
                    <a:schemeClr val="accent1"/>
                  </a:solidFill>
                  <a:ea typeface="Open Sans" panose="020B0606030504020204" pitchFamily="34" charset="0"/>
                  <a:cs typeface="Open Sans" panose="020B0606030504020204" pitchFamily="34" charset="0"/>
                </a:rPr>
                <a:t>people”</a:t>
              </a:r>
            </a:p>
          </p:txBody>
        </p:sp>
      </p:grpSp>
    </p:spTree>
    <p:custDataLst>
      <p:tags r:id="rId1"/>
    </p:custDataLst>
    <p:extLst>
      <p:ext uri="{BB962C8B-B14F-4D97-AF65-F5344CB8AC3E}">
        <p14:creationId xmlns:p14="http://schemas.microsoft.com/office/powerpoint/2010/main" val="1318722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005E5A67-1FB7-463C-AD93-7274A40DA11C}"/>
              </a:ext>
            </a:extLst>
          </p:cNvPr>
          <p:cNvSpPr>
            <a:spLocks noGrp="1"/>
          </p:cNvSpPr>
          <p:nvPr>
            <p:ph type="title"/>
          </p:nvPr>
        </p:nvSpPr>
        <p:spPr/>
        <p:txBody>
          <a:bodyPr/>
          <a:lstStyle/>
          <a:p>
            <a:r>
              <a:rPr lang="en-US" dirty="0">
                <a:solidFill>
                  <a:schemeClr val="tx1"/>
                </a:solidFill>
              </a:rPr>
              <a:t>Roles: Development team </a:t>
            </a:r>
          </a:p>
        </p:txBody>
      </p:sp>
      <p:sp>
        <p:nvSpPr>
          <p:cNvPr id="494" name="Text Placeholder 3">
            <a:extLst>
              <a:ext uri="{FF2B5EF4-FFF2-40B4-BE49-F238E27FC236}">
                <a16:creationId xmlns:a16="http://schemas.microsoft.com/office/drawing/2014/main" id="{8F40FD91-87EE-43E8-B000-F1994F333662}"/>
              </a:ext>
            </a:extLst>
          </p:cNvPr>
          <p:cNvSpPr txBox="1">
            <a:spLocks/>
          </p:cNvSpPr>
          <p:nvPr/>
        </p:nvSpPr>
        <p:spPr>
          <a:xfrm>
            <a:off x="1432377" y="1263638"/>
            <a:ext cx="8827152" cy="765834"/>
          </a:xfrm>
          <a:prstGeom prst="rect">
            <a:avLst/>
          </a:prstGeom>
        </p:spPr>
        <p:txBody>
          <a:bodyPr vert="horz" lIns="0" tIns="0" rIns="0" bIns="0" rtlCol="0">
            <a:noAutofit/>
          </a:bodyPr>
          <a:lstStyle>
            <a:lvl1pPr marL="0" indent="0" algn="l" defTabSz="911970" rtl="0" eaLnBrk="1" latinLnBrk="0" hangingPunct="1">
              <a:spcBef>
                <a:spcPts val="0"/>
              </a:spcBef>
              <a:spcAft>
                <a:spcPts val="997"/>
              </a:spcAft>
              <a:buSzPct val="100000"/>
              <a:buFontTx/>
              <a:buNone/>
              <a:defRPr sz="2000" b="0" kern="1200">
                <a:solidFill>
                  <a:srgbClr val="575757"/>
                </a:solidFill>
                <a:latin typeface="+mn-lt"/>
                <a:ea typeface="+mn-ea"/>
                <a:cs typeface="+mn-cs"/>
              </a:defRPr>
            </a:lvl1pPr>
            <a:lvl2pPr marL="95000" indent="-95000" algn="l" defTabSz="911970" rtl="0" eaLnBrk="1" latinLnBrk="0" hangingPunct="1">
              <a:spcBef>
                <a:spcPts val="0"/>
              </a:spcBef>
              <a:spcAft>
                <a:spcPts val="997"/>
              </a:spcAft>
              <a:buClrTx/>
              <a:buSzPct val="100000"/>
              <a:buFont typeface="Arial" panose="020B0604020202020204" pitchFamily="34" charset="0"/>
              <a:buChar char="•"/>
              <a:defRPr lang="en-US" sz="898" b="0" kern="1200" dirty="0" smtClean="0">
                <a:solidFill>
                  <a:schemeClr val="tx1"/>
                </a:solidFill>
                <a:latin typeface="+mn-lt"/>
                <a:ea typeface="+mn-ea"/>
                <a:cs typeface="+mn-cs"/>
              </a:defRPr>
            </a:lvl2pPr>
            <a:lvl3pPr marL="208999" indent="-95000" algn="l" defTabSz="911970" rtl="0" eaLnBrk="1" latinLnBrk="0" hangingPunct="1">
              <a:spcBef>
                <a:spcPts val="0"/>
              </a:spcBef>
              <a:spcAft>
                <a:spcPts val="997"/>
              </a:spcAft>
              <a:buClrTx/>
              <a:buSzPct val="100000"/>
              <a:buFont typeface="Arial" panose="020B0604020202020204" pitchFamily="34" charset="0"/>
              <a:buChar char="−"/>
              <a:defRPr lang="en-US" sz="898" kern="1200" dirty="0" smtClean="0">
                <a:solidFill>
                  <a:schemeClr val="tx1"/>
                </a:solidFill>
                <a:latin typeface="+mn-lt"/>
                <a:ea typeface="+mn-ea"/>
                <a:cs typeface="+mn-cs"/>
              </a:defRPr>
            </a:lvl3pPr>
            <a:lvl4pPr marL="322998" indent="-95000" algn="l" defTabSz="911970" rtl="0" eaLnBrk="1" latinLnBrk="0" hangingPunct="1">
              <a:spcBef>
                <a:spcPts val="0"/>
              </a:spcBef>
              <a:spcAft>
                <a:spcPts val="997"/>
              </a:spcAft>
              <a:buClrTx/>
              <a:buSzPct val="100000"/>
              <a:buFont typeface="Arial" panose="020B0604020202020204" pitchFamily="34" charset="0"/>
              <a:buChar char="◦"/>
              <a:defRPr lang="en-US" sz="898" kern="1200" baseline="0" dirty="0" smtClean="0">
                <a:solidFill>
                  <a:schemeClr val="tx1"/>
                </a:solidFill>
                <a:latin typeface="+mn-lt"/>
                <a:ea typeface="+mn-ea"/>
                <a:cs typeface="+mn-cs"/>
              </a:defRPr>
            </a:lvl4pPr>
            <a:lvl5pPr marL="436997" indent="-95000" algn="l" defTabSz="796390" rtl="0" eaLnBrk="1" latinLnBrk="0" hangingPunct="1">
              <a:spcBef>
                <a:spcPts val="0"/>
              </a:spcBef>
              <a:spcAft>
                <a:spcPts val="997"/>
              </a:spcAft>
              <a:buClrTx/>
              <a:buSzPct val="100000"/>
              <a:buFont typeface="Arial" panose="020B0604020202020204" pitchFamily="34" charset="0"/>
              <a:buChar char="−"/>
              <a:tabLst/>
              <a:defRPr lang="en-US" sz="898" kern="1200" baseline="0" dirty="0" smtClean="0">
                <a:solidFill>
                  <a:schemeClr val="tx1"/>
                </a:solidFill>
                <a:latin typeface="+mn-lt"/>
                <a:ea typeface="+mn-ea"/>
                <a:cs typeface="+mn-cs"/>
              </a:defRPr>
            </a:lvl5pPr>
            <a:lvl6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6pPr>
            <a:lvl7pPr marL="531384" indent="-175931" algn="l" defTabSz="911970" rtl="0" eaLnBrk="1" latinLnBrk="0" hangingPunct="1">
              <a:spcBef>
                <a:spcPts val="0"/>
              </a:spcBef>
              <a:spcAft>
                <a:spcPts val="997"/>
              </a:spcAft>
              <a:buFont typeface="Verdana" panose="020B0604030504040204" pitchFamily="34" charset="0"/>
              <a:buChar char="−"/>
              <a:defRPr sz="1197" kern="1200">
                <a:solidFill>
                  <a:schemeClr val="tx1"/>
                </a:solidFill>
                <a:latin typeface="+mn-lt"/>
                <a:ea typeface="+mn-ea"/>
                <a:cs typeface="+mn-cs"/>
              </a:defRPr>
            </a:lvl7pPr>
            <a:lvl8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8pPr>
            <a:lvl9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9pPr>
          </a:lstStyle>
          <a:p>
            <a:pPr defTabSz="911696">
              <a:defRPr/>
            </a:pPr>
            <a:r>
              <a:rPr lang="en-US" sz="2399" dirty="0"/>
              <a:t> </a:t>
            </a:r>
          </a:p>
        </p:txBody>
      </p:sp>
      <p:sp>
        <p:nvSpPr>
          <p:cNvPr id="647" name="Rectangle 646">
            <a:extLst>
              <a:ext uri="{FF2B5EF4-FFF2-40B4-BE49-F238E27FC236}">
                <a16:creationId xmlns:a16="http://schemas.microsoft.com/office/drawing/2014/main" id="{B5CE1A4C-3F1D-445A-9D8A-09D260B5A57D}"/>
              </a:ext>
            </a:extLst>
          </p:cNvPr>
          <p:cNvSpPr/>
          <p:nvPr/>
        </p:nvSpPr>
        <p:spPr bwMode="gray">
          <a:xfrm>
            <a:off x="8929817" y="2632170"/>
            <a:ext cx="1883664" cy="1270152"/>
          </a:xfrm>
          <a:prstGeom prst="rect">
            <a:avLst/>
          </a:prstGeom>
          <a:solidFill>
            <a:sysClr val="window" lastClr="FFFFFF"/>
          </a:solidFill>
          <a:ln w="19050" algn="ctr">
            <a:solidFill>
              <a:schemeClr val="accent1"/>
            </a:solidFill>
            <a:prstDash val="sysDot"/>
            <a:miter lim="800000"/>
            <a:headEnd/>
            <a:tailEnd/>
          </a:ln>
        </p:spPr>
        <p:txBody>
          <a:bodyPr wrap="square" lIns="137106" tIns="66649" rIns="66649" bIns="66649" rtlCol="0" anchor="ctr"/>
          <a:lstStyle/>
          <a:p>
            <a:pPr algn="ctr">
              <a:lnSpc>
                <a:spcPct val="106000"/>
              </a:lnSpc>
            </a:pPr>
            <a:r>
              <a:rPr lang="en-US" sz="1400" kern="0" dirty="0">
                <a:solidFill>
                  <a:srgbClr val="313131"/>
                </a:solidFill>
                <a:ea typeface="Open Sans" panose="020B0606030504020204" pitchFamily="34" charset="0"/>
                <a:cs typeface="Open Sans" panose="020B0606030504020204" pitchFamily="34" charset="0"/>
              </a:rPr>
              <a:t>Self-organizing           and </a:t>
            </a:r>
            <a:br>
              <a:rPr lang="en-US" sz="1400" kern="0" dirty="0">
                <a:solidFill>
                  <a:srgbClr val="313131"/>
                </a:solidFill>
                <a:ea typeface="Open Sans" panose="020B0606030504020204" pitchFamily="34" charset="0"/>
                <a:cs typeface="Open Sans" panose="020B0606030504020204" pitchFamily="34" charset="0"/>
              </a:rPr>
            </a:br>
            <a:r>
              <a:rPr lang="en-US" sz="1400" kern="0" dirty="0">
                <a:solidFill>
                  <a:srgbClr val="313131"/>
                </a:solidFill>
                <a:ea typeface="Open Sans" panose="020B0606030504020204" pitchFamily="34" charset="0"/>
                <a:cs typeface="Open Sans" panose="020B0606030504020204" pitchFamily="34" charset="0"/>
              </a:rPr>
              <a:t>self-managing </a:t>
            </a:r>
            <a:br>
              <a:rPr lang="en-US" sz="1400" kern="0" dirty="0">
                <a:solidFill>
                  <a:srgbClr val="313131"/>
                </a:solidFill>
                <a:ea typeface="Open Sans" panose="020B0606030504020204" pitchFamily="34" charset="0"/>
                <a:cs typeface="Open Sans" panose="020B0606030504020204" pitchFamily="34" charset="0"/>
              </a:rPr>
            </a:br>
            <a:r>
              <a:rPr lang="en-US" sz="1400" kern="0" dirty="0">
                <a:solidFill>
                  <a:srgbClr val="313131"/>
                </a:solidFill>
                <a:ea typeface="Open Sans" panose="020B0606030504020204" pitchFamily="34" charset="0"/>
                <a:cs typeface="Open Sans" panose="020B0606030504020204" pitchFamily="34" charset="0"/>
              </a:rPr>
              <a:t>team</a:t>
            </a:r>
          </a:p>
        </p:txBody>
      </p:sp>
      <p:sp>
        <p:nvSpPr>
          <p:cNvPr id="648" name="Rectangle 647">
            <a:extLst>
              <a:ext uri="{FF2B5EF4-FFF2-40B4-BE49-F238E27FC236}">
                <a16:creationId xmlns:a16="http://schemas.microsoft.com/office/drawing/2014/main" id="{09575D0D-51C1-42F2-962A-CF1439481DF8}"/>
              </a:ext>
            </a:extLst>
          </p:cNvPr>
          <p:cNvSpPr/>
          <p:nvPr/>
        </p:nvSpPr>
        <p:spPr bwMode="gray">
          <a:xfrm>
            <a:off x="8921334" y="4055321"/>
            <a:ext cx="1883664" cy="1270152"/>
          </a:xfrm>
          <a:prstGeom prst="rect">
            <a:avLst/>
          </a:prstGeom>
          <a:solidFill>
            <a:sysClr val="window" lastClr="FFFFFF"/>
          </a:solidFill>
          <a:ln w="19050" algn="ctr">
            <a:solidFill>
              <a:schemeClr val="accent1"/>
            </a:solidFill>
            <a:prstDash val="sysDot"/>
            <a:miter lim="800000"/>
            <a:headEnd/>
            <a:tailEnd/>
          </a:ln>
        </p:spPr>
        <p:txBody>
          <a:bodyPr wrap="square" lIns="137106" tIns="66649" rIns="66649" bIns="66649" rtlCol="0" anchor="ctr"/>
          <a:lstStyle/>
          <a:p>
            <a:pPr algn="ctr" defTabSz="914126">
              <a:lnSpc>
                <a:spcPct val="106000"/>
              </a:lnSpc>
              <a:defRPr/>
            </a:pPr>
            <a:r>
              <a:rPr lang="en-US" sz="1400" kern="0" dirty="0">
                <a:solidFill>
                  <a:srgbClr val="313131"/>
                </a:solidFill>
                <a:ea typeface="Open Sans" panose="020B0606030504020204" pitchFamily="34" charset="0"/>
                <a:cs typeface="Open Sans" panose="020B0606030504020204" pitchFamily="34" charset="0"/>
              </a:rPr>
              <a:t> Delivers high quality Product Increments </a:t>
            </a:r>
          </a:p>
        </p:txBody>
      </p:sp>
      <p:grpSp>
        <p:nvGrpSpPr>
          <p:cNvPr id="649" name="Group 648">
            <a:extLst>
              <a:ext uri="{FF2B5EF4-FFF2-40B4-BE49-F238E27FC236}">
                <a16:creationId xmlns:a16="http://schemas.microsoft.com/office/drawing/2014/main" id="{7625FDC8-1B91-4CD3-BF55-B7A0F24B8EA9}"/>
              </a:ext>
            </a:extLst>
          </p:cNvPr>
          <p:cNvGrpSpPr/>
          <p:nvPr/>
        </p:nvGrpSpPr>
        <p:grpSpPr>
          <a:xfrm>
            <a:off x="8423979" y="4310280"/>
            <a:ext cx="738383" cy="760237"/>
            <a:chOff x="8398777" y="3799073"/>
            <a:chExt cx="888318" cy="888321"/>
          </a:xfrm>
        </p:grpSpPr>
        <p:sp>
          <p:nvSpPr>
            <p:cNvPr id="650" name="Oval 65">
              <a:extLst>
                <a:ext uri="{FF2B5EF4-FFF2-40B4-BE49-F238E27FC236}">
                  <a16:creationId xmlns:a16="http://schemas.microsoft.com/office/drawing/2014/main" id="{9E46DF4D-1C9A-4806-A5C9-B4F12B39399D}"/>
                </a:ext>
              </a:extLst>
            </p:cNvPr>
            <p:cNvSpPr>
              <a:spLocks noChangeArrowheads="1"/>
            </p:cNvSpPr>
            <p:nvPr/>
          </p:nvSpPr>
          <p:spPr bwMode="auto">
            <a:xfrm rot="8100000">
              <a:off x="8398777" y="3799073"/>
              <a:ext cx="888318" cy="888321"/>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200" kern="0" dirty="0">
                <a:solidFill>
                  <a:prstClr val="black"/>
                </a:solidFill>
              </a:endParaRPr>
            </a:p>
          </p:txBody>
        </p:sp>
        <p:sp>
          <p:nvSpPr>
            <p:cNvPr id="651" name="Freeform 153">
              <a:extLst>
                <a:ext uri="{FF2B5EF4-FFF2-40B4-BE49-F238E27FC236}">
                  <a16:creationId xmlns:a16="http://schemas.microsoft.com/office/drawing/2014/main" id="{33023B37-404C-4B18-BDD2-B62794B08564}"/>
                </a:ext>
              </a:extLst>
            </p:cNvPr>
            <p:cNvSpPr>
              <a:spLocks noChangeAspect="1" noEditPoints="1"/>
            </p:cNvSpPr>
            <p:nvPr/>
          </p:nvSpPr>
          <p:spPr bwMode="auto">
            <a:xfrm>
              <a:off x="8529737" y="3930034"/>
              <a:ext cx="626400" cy="62640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1"/>
            </a:solidFill>
            <a:ln>
              <a:noFill/>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nvGrpSpPr>
          <p:cNvPr id="652" name="Group 651">
            <a:extLst>
              <a:ext uri="{FF2B5EF4-FFF2-40B4-BE49-F238E27FC236}">
                <a16:creationId xmlns:a16="http://schemas.microsoft.com/office/drawing/2014/main" id="{DDCD4D53-F7B0-46AA-9C4D-43440744273D}"/>
              </a:ext>
            </a:extLst>
          </p:cNvPr>
          <p:cNvGrpSpPr/>
          <p:nvPr/>
        </p:nvGrpSpPr>
        <p:grpSpPr>
          <a:xfrm>
            <a:off x="8423979" y="2887129"/>
            <a:ext cx="738383" cy="760237"/>
            <a:chOff x="8427743" y="2533830"/>
            <a:chExt cx="888318" cy="888321"/>
          </a:xfrm>
        </p:grpSpPr>
        <p:sp>
          <p:nvSpPr>
            <p:cNvPr id="653" name="Oval 65">
              <a:extLst>
                <a:ext uri="{FF2B5EF4-FFF2-40B4-BE49-F238E27FC236}">
                  <a16:creationId xmlns:a16="http://schemas.microsoft.com/office/drawing/2014/main" id="{C7A8FF2E-15B5-48FD-A0A3-E5436AD7323B}"/>
                </a:ext>
              </a:extLst>
            </p:cNvPr>
            <p:cNvSpPr>
              <a:spLocks noChangeArrowheads="1"/>
            </p:cNvSpPr>
            <p:nvPr/>
          </p:nvSpPr>
          <p:spPr bwMode="auto">
            <a:xfrm rot="8100000">
              <a:off x="8427743" y="2533830"/>
              <a:ext cx="888318" cy="888321"/>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200" kern="0" dirty="0">
                <a:solidFill>
                  <a:prstClr val="black"/>
                </a:solidFill>
              </a:endParaRPr>
            </a:p>
          </p:txBody>
        </p:sp>
        <p:sp>
          <p:nvSpPr>
            <p:cNvPr id="654" name="Freeform 899">
              <a:extLst>
                <a:ext uri="{FF2B5EF4-FFF2-40B4-BE49-F238E27FC236}">
                  <a16:creationId xmlns:a16="http://schemas.microsoft.com/office/drawing/2014/main" id="{8946CCE4-D721-46CA-9DC9-85B6F635B5C7}"/>
                </a:ext>
              </a:extLst>
            </p:cNvPr>
            <p:cNvSpPr>
              <a:spLocks noChangeAspect="1" noEditPoints="1"/>
            </p:cNvSpPr>
            <p:nvPr/>
          </p:nvSpPr>
          <p:spPr bwMode="auto">
            <a:xfrm>
              <a:off x="8558703" y="2664791"/>
              <a:ext cx="626400" cy="626400"/>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accent1"/>
            </a:solidFill>
            <a:ln>
              <a:noFill/>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165" name="Text Placeholder 3">
            <a:extLst>
              <a:ext uri="{FF2B5EF4-FFF2-40B4-BE49-F238E27FC236}">
                <a16:creationId xmlns:a16="http://schemas.microsoft.com/office/drawing/2014/main" id="{6AD415B3-C3BF-43FA-AFBE-0A04B887B69F}"/>
              </a:ext>
            </a:extLst>
          </p:cNvPr>
          <p:cNvSpPr txBox="1">
            <a:spLocks/>
          </p:cNvSpPr>
          <p:nvPr/>
        </p:nvSpPr>
        <p:spPr>
          <a:xfrm>
            <a:off x="1363512" y="1247555"/>
            <a:ext cx="8893256" cy="767574"/>
          </a:xfrm>
          <a:prstGeom prst="rect">
            <a:avLst/>
          </a:prstGeom>
        </p:spPr>
        <p:txBody>
          <a:bodyPr vert="horz" lIns="0" tIns="0" rIns="0" bIns="0" rtlCol="0">
            <a:noAutofit/>
          </a:bodyPr>
          <a:lstStyle>
            <a:lvl1pPr marL="0" indent="0" algn="l" defTabSz="911970" rtl="0" eaLnBrk="1" latinLnBrk="0" hangingPunct="1">
              <a:spcBef>
                <a:spcPts val="0"/>
              </a:spcBef>
              <a:spcAft>
                <a:spcPts val="997"/>
              </a:spcAft>
              <a:buSzPct val="100000"/>
              <a:buFontTx/>
              <a:buNone/>
              <a:defRPr sz="2000" b="0" kern="1200">
                <a:solidFill>
                  <a:srgbClr val="575757"/>
                </a:solidFill>
                <a:latin typeface="+mn-lt"/>
                <a:ea typeface="+mn-ea"/>
                <a:cs typeface="+mn-cs"/>
              </a:defRPr>
            </a:lvl1pPr>
            <a:lvl2pPr marL="95000" indent="-95000" algn="l" defTabSz="911970" rtl="0" eaLnBrk="1" latinLnBrk="0" hangingPunct="1">
              <a:spcBef>
                <a:spcPts val="0"/>
              </a:spcBef>
              <a:spcAft>
                <a:spcPts val="997"/>
              </a:spcAft>
              <a:buClrTx/>
              <a:buSzPct val="100000"/>
              <a:buFont typeface="Arial" panose="020B0604020202020204" pitchFamily="34" charset="0"/>
              <a:buChar char="•"/>
              <a:defRPr lang="en-US" sz="898" b="0" kern="1200" dirty="0" smtClean="0">
                <a:solidFill>
                  <a:schemeClr val="tx1"/>
                </a:solidFill>
                <a:latin typeface="+mn-lt"/>
                <a:ea typeface="+mn-ea"/>
                <a:cs typeface="+mn-cs"/>
              </a:defRPr>
            </a:lvl2pPr>
            <a:lvl3pPr marL="208999" indent="-95000" algn="l" defTabSz="911970" rtl="0" eaLnBrk="1" latinLnBrk="0" hangingPunct="1">
              <a:spcBef>
                <a:spcPts val="0"/>
              </a:spcBef>
              <a:spcAft>
                <a:spcPts val="997"/>
              </a:spcAft>
              <a:buClrTx/>
              <a:buSzPct val="100000"/>
              <a:buFont typeface="Arial" panose="020B0604020202020204" pitchFamily="34" charset="0"/>
              <a:buChar char="−"/>
              <a:defRPr lang="en-US" sz="898" kern="1200" dirty="0" smtClean="0">
                <a:solidFill>
                  <a:schemeClr val="tx1"/>
                </a:solidFill>
                <a:latin typeface="+mn-lt"/>
                <a:ea typeface="+mn-ea"/>
                <a:cs typeface="+mn-cs"/>
              </a:defRPr>
            </a:lvl3pPr>
            <a:lvl4pPr marL="322998" indent="-95000" algn="l" defTabSz="911970" rtl="0" eaLnBrk="1" latinLnBrk="0" hangingPunct="1">
              <a:spcBef>
                <a:spcPts val="0"/>
              </a:spcBef>
              <a:spcAft>
                <a:spcPts val="997"/>
              </a:spcAft>
              <a:buClrTx/>
              <a:buSzPct val="100000"/>
              <a:buFont typeface="Arial" panose="020B0604020202020204" pitchFamily="34" charset="0"/>
              <a:buChar char="◦"/>
              <a:defRPr lang="en-US" sz="898" kern="1200" baseline="0" dirty="0" smtClean="0">
                <a:solidFill>
                  <a:schemeClr val="tx1"/>
                </a:solidFill>
                <a:latin typeface="+mn-lt"/>
                <a:ea typeface="+mn-ea"/>
                <a:cs typeface="+mn-cs"/>
              </a:defRPr>
            </a:lvl4pPr>
            <a:lvl5pPr marL="436997" indent="-95000" algn="l" defTabSz="796390" rtl="0" eaLnBrk="1" latinLnBrk="0" hangingPunct="1">
              <a:spcBef>
                <a:spcPts val="0"/>
              </a:spcBef>
              <a:spcAft>
                <a:spcPts val="997"/>
              </a:spcAft>
              <a:buClrTx/>
              <a:buSzPct val="100000"/>
              <a:buFont typeface="Arial" panose="020B0604020202020204" pitchFamily="34" charset="0"/>
              <a:buChar char="−"/>
              <a:tabLst/>
              <a:defRPr lang="en-US" sz="898" kern="1200" baseline="0" dirty="0" smtClean="0">
                <a:solidFill>
                  <a:schemeClr val="tx1"/>
                </a:solidFill>
                <a:latin typeface="+mn-lt"/>
                <a:ea typeface="+mn-ea"/>
                <a:cs typeface="+mn-cs"/>
              </a:defRPr>
            </a:lvl5pPr>
            <a:lvl6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6pPr>
            <a:lvl7pPr marL="531384" indent="-175931" algn="l" defTabSz="911970" rtl="0" eaLnBrk="1" latinLnBrk="0" hangingPunct="1">
              <a:spcBef>
                <a:spcPts val="0"/>
              </a:spcBef>
              <a:spcAft>
                <a:spcPts val="997"/>
              </a:spcAft>
              <a:buFont typeface="Verdana" panose="020B0604030504040204" pitchFamily="34" charset="0"/>
              <a:buChar char="−"/>
              <a:defRPr sz="1197" kern="1200">
                <a:solidFill>
                  <a:schemeClr val="tx1"/>
                </a:solidFill>
                <a:latin typeface="+mn-lt"/>
                <a:ea typeface="+mn-ea"/>
                <a:cs typeface="+mn-cs"/>
              </a:defRPr>
            </a:lvl7pPr>
            <a:lvl8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8pPr>
            <a:lvl9pPr marL="531384" indent="-175931" algn="l" defTabSz="911970" rtl="0" eaLnBrk="1" latinLnBrk="0" hangingPunct="1">
              <a:spcBef>
                <a:spcPts val="0"/>
              </a:spcBef>
              <a:spcAft>
                <a:spcPts val="997"/>
              </a:spcAft>
              <a:buFont typeface="Verdana" panose="020B0604030504040204" pitchFamily="34" charset="0"/>
              <a:buChar char="−"/>
              <a:defRPr sz="1197" kern="1200" baseline="0">
                <a:solidFill>
                  <a:schemeClr val="tx1"/>
                </a:solidFill>
                <a:latin typeface="+mn-lt"/>
                <a:ea typeface="+mn-ea"/>
                <a:cs typeface="+mn-cs"/>
              </a:defRPr>
            </a:lvl9pPr>
          </a:lstStyle>
          <a:p>
            <a:pPr defTabSz="911696">
              <a:defRPr/>
            </a:pPr>
            <a:r>
              <a:rPr lang="en-US" sz="1999" dirty="0">
                <a:latin typeface="Verdana"/>
              </a:rPr>
              <a:t> </a:t>
            </a:r>
          </a:p>
        </p:txBody>
      </p:sp>
      <p:sp>
        <p:nvSpPr>
          <p:cNvPr id="177" name="Rectangle 176">
            <a:extLst>
              <a:ext uri="{FF2B5EF4-FFF2-40B4-BE49-F238E27FC236}">
                <a16:creationId xmlns:a16="http://schemas.microsoft.com/office/drawing/2014/main" id="{73D44619-0088-45B0-9C25-F143AFE95149}"/>
              </a:ext>
            </a:extLst>
          </p:cNvPr>
          <p:cNvSpPr/>
          <p:nvPr/>
        </p:nvSpPr>
        <p:spPr bwMode="gray">
          <a:xfrm>
            <a:off x="584551" y="1871404"/>
            <a:ext cx="10964258" cy="4231174"/>
          </a:xfrm>
          <a:prstGeom prst="rect">
            <a:avLst/>
          </a:prstGeom>
          <a:noFill/>
          <a:ln w="19050" algn="ctr">
            <a:solidFill>
              <a:schemeClr val="tx1"/>
            </a:solidFill>
            <a:prstDash val="sysDot"/>
            <a:miter lim="800000"/>
            <a:headEnd/>
            <a:tailEnd/>
          </a:ln>
        </p:spPr>
        <p:txBody>
          <a:bodyPr wrap="square" lIns="66649" tIns="66649" rIns="66649" bIns="66649" rtlCol="0" anchor="ctr"/>
          <a:lstStyle/>
          <a:p>
            <a:pPr algn="ctr" defTabSz="914126">
              <a:lnSpc>
                <a:spcPct val="106000"/>
              </a:lnSpc>
              <a:defRPr/>
            </a:pPr>
            <a:endParaRPr lang="en-US" sz="1799" b="1" kern="0" dirty="0">
              <a:solidFill>
                <a:prstClr val="white"/>
              </a:solidFill>
            </a:endParaRPr>
          </a:p>
        </p:txBody>
      </p:sp>
      <p:grpSp>
        <p:nvGrpSpPr>
          <p:cNvPr id="178" name="Group 177">
            <a:extLst>
              <a:ext uri="{FF2B5EF4-FFF2-40B4-BE49-F238E27FC236}">
                <a16:creationId xmlns:a16="http://schemas.microsoft.com/office/drawing/2014/main" id="{434EAD97-1151-447F-ADC1-724EF7F9F522}"/>
              </a:ext>
            </a:extLst>
          </p:cNvPr>
          <p:cNvGrpSpPr/>
          <p:nvPr/>
        </p:nvGrpSpPr>
        <p:grpSpPr>
          <a:xfrm>
            <a:off x="8421377" y="5256737"/>
            <a:ext cx="1785239" cy="1258964"/>
            <a:chOff x="8969343" y="4993105"/>
            <a:chExt cx="2143925" cy="1481265"/>
          </a:xfrm>
        </p:grpSpPr>
        <p:sp>
          <p:nvSpPr>
            <p:cNvPr id="179" name="Oval 178">
              <a:extLst>
                <a:ext uri="{FF2B5EF4-FFF2-40B4-BE49-F238E27FC236}">
                  <a16:creationId xmlns:a16="http://schemas.microsoft.com/office/drawing/2014/main" id="{F91F8B59-0466-44D3-ADBD-EF44987AE728}"/>
                </a:ext>
              </a:extLst>
            </p:cNvPr>
            <p:cNvSpPr/>
            <p:nvPr/>
          </p:nvSpPr>
          <p:spPr bwMode="gray">
            <a:xfrm>
              <a:off x="9301769" y="4993105"/>
              <a:ext cx="1378514" cy="1378514"/>
            </a:xfrm>
            <a:prstGeom prst="ellipse">
              <a:avLst/>
            </a:prstGeom>
            <a:solidFill>
              <a:sysClr val="window" lastClr="FFFFFF"/>
            </a:solidFill>
            <a:ln w="19050" algn="ctr">
              <a:noFill/>
              <a:miter lim="800000"/>
              <a:headEnd/>
              <a:tailEnd/>
            </a:ln>
          </p:spPr>
          <p:txBody>
            <a:bodyPr wrap="square" lIns="66649" tIns="66649" rIns="66649" bIns="66649" rtlCol="0" anchor="ctr"/>
            <a:lstStyle/>
            <a:p>
              <a:pPr algn="ctr" defTabSz="914126">
                <a:lnSpc>
                  <a:spcPct val="106000"/>
                </a:lnSpc>
                <a:defRPr/>
              </a:pPr>
              <a:endParaRPr lang="en-US" sz="1799" b="1" kern="0" dirty="0">
                <a:solidFill>
                  <a:prstClr val="white"/>
                </a:solidFill>
              </a:endParaRPr>
            </a:p>
          </p:txBody>
        </p:sp>
        <p:grpSp>
          <p:nvGrpSpPr>
            <p:cNvPr id="180" name="Group 179">
              <a:extLst>
                <a:ext uri="{FF2B5EF4-FFF2-40B4-BE49-F238E27FC236}">
                  <a16:creationId xmlns:a16="http://schemas.microsoft.com/office/drawing/2014/main" id="{B01EC933-E001-4816-BE74-4241EEEF819C}"/>
                </a:ext>
              </a:extLst>
            </p:cNvPr>
            <p:cNvGrpSpPr/>
            <p:nvPr/>
          </p:nvGrpSpPr>
          <p:grpSpPr>
            <a:xfrm>
              <a:off x="8969343" y="5325267"/>
              <a:ext cx="2143925" cy="1149103"/>
              <a:chOff x="2316671" y="4683656"/>
              <a:chExt cx="3593472" cy="1926034"/>
            </a:xfrm>
          </p:grpSpPr>
          <p:sp>
            <p:nvSpPr>
              <p:cNvPr id="181" name="Freeform 78">
                <a:extLst>
                  <a:ext uri="{FF2B5EF4-FFF2-40B4-BE49-F238E27FC236}">
                    <a16:creationId xmlns:a16="http://schemas.microsoft.com/office/drawing/2014/main" id="{63EED97E-E297-49C8-B989-338BECE4E341}"/>
                  </a:ext>
                </a:extLst>
              </p:cNvPr>
              <p:cNvSpPr>
                <a:spLocks/>
              </p:cNvSpPr>
              <p:nvPr/>
            </p:nvSpPr>
            <p:spPr bwMode="auto">
              <a:xfrm rot="8100000">
                <a:off x="4204663" y="4919560"/>
                <a:ext cx="744453" cy="74445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tx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2" name="Freeform 80">
                <a:extLst>
                  <a:ext uri="{FF2B5EF4-FFF2-40B4-BE49-F238E27FC236}">
                    <a16:creationId xmlns:a16="http://schemas.microsoft.com/office/drawing/2014/main" id="{8C40C379-D94A-48AF-A12D-E70824BDF041}"/>
                  </a:ext>
                </a:extLst>
              </p:cNvPr>
              <p:cNvSpPr>
                <a:spLocks/>
              </p:cNvSpPr>
              <p:nvPr/>
            </p:nvSpPr>
            <p:spPr bwMode="auto">
              <a:xfrm rot="8100000">
                <a:off x="3160984" y="4923346"/>
                <a:ext cx="736882" cy="736884"/>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tx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3" name="Rectangle 182">
                <a:extLst>
                  <a:ext uri="{FF2B5EF4-FFF2-40B4-BE49-F238E27FC236}">
                    <a16:creationId xmlns:a16="http://schemas.microsoft.com/office/drawing/2014/main" id="{206DDAD0-0746-43A5-8C52-21831785F6DB}"/>
                  </a:ext>
                </a:extLst>
              </p:cNvPr>
              <p:cNvSpPr/>
              <p:nvPr/>
            </p:nvSpPr>
            <p:spPr>
              <a:xfrm>
                <a:off x="2316671" y="5881527"/>
                <a:ext cx="3593472" cy="728163"/>
              </a:xfrm>
              <a:prstGeom prst="rect">
                <a:avLst/>
              </a:prstGeom>
            </p:spPr>
            <p:txBody>
              <a:bodyPr wrap="square">
                <a:spAutoFit/>
              </a:bodyPr>
              <a:lstStyle/>
              <a:p>
                <a:pPr algn="ctr" defTabSz="914126">
                  <a:buClr>
                    <a:srgbClr val="62B5E5"/>
                  </a:buClr>
                  <a:defRPr/>
                </a:pPr>
                <a:r>
                  <a:rPr lang="en-US" sz="1799" b="1" kern="0" dirty="0">
                    <a:ea typeface="Open Sans" panose="020B0606030504020204" pitchFamily="34" charset="0"/>
                    <a:cs typeface="Open Sans" panose="020B0606030504020204" pitchFamily="34" charset="0"/>
                  </a:rPr>
                  <a:t>Scrum Team </a:t>
                </a:r>
              </a:p>
            </p:txBody>
          </p:sp>
          <p:grpSp>
            <p:nvGrpSpPr>
              <p:cNvPr id="184" name="Group 183">
                <a:extLst>
                  <a:ext uri="{FF2B5EF4-FFF2-40B4-BE49-F238E27FC236}">
                    <a16:creationId xmlns:a16="http://schemas.microsoft.com/office/drawing/2014/main" id="{4827D3EA-643F-485E-BD27-0A58508B353E}"/>
                  </a:ext>
                </a:extLst>
              </p:cNvPr>
              <p:cNvGrpSpPr/>
              <p:nvPr/>
            </p:nvGrpSpPr>
            <p:grpSpPr>
              <a:xfrm>
                <a:off x="3510616" y="4683656"/>
                <a:ext cx="1063155" cy="1049049"/>
                <a:chOff x="3510616" y="4683656"/>
                <a:chExt cx="1063155" cy="1049049"/>
              </a:xfrm>
            </p:grpSpPr>
            <p:grpSp>
              <p:nvGrpSpPr>
                <p:cNvPr id="185" name="Group 184">
                  <a:extLst>
                    <a:ext uri="{FF2B5EF4-FFF2-40B4-BE49-F238E27FC236}">
                      <a16:creationId xmlns:a16="http://schemas.microsoft.com/office/drawing/2014/main" id="{C126770B-E9AF-47D5-8508-89A0B26062DE}"/>
                    </a:ext>
                  </a:extLst>
                </p:cNvPr>
                <p:cNvGrpSpPr/>
                <p:nvPr/>
              </p:nvGrpSpPr>
              <p:grpSpPr>
                <a:xfrm>
                  <a:off x="3684749" y="4856451"/>
                  <a:ext cx="708195" cy="876254"/>
                  <a:chOff x="865613" y="3717809"/>
                  <a:chExt cx="367399" cy="454584"/>
                </a:xfrm>
                <a:solidFill>
                  <a:srgbClr val="009A44"/>
                </a:solidFill>
              </p:grpSpPr>
              <p:sp>
                <p:nvSpPr>
                  <p:cNvPr id="205" name="Freeform 1715">
                    <a:extLst>
                      <a:ext uri="{FF2B5EF4-FFF2-40B4-BE49-F238E27FC236}">
                        <a16:creationId xmlns:a16="http://schemas.microsoft.com/office/drawing/2014/main" id="{B56951F3-EA13-4F6A-B08D-7515C97EDB2E}"/>
                      </a:ext>
                    </a:extLst>
                  </p:cNvPr>
                  <p:cNvSpPr>
                    <a:spLocks/>
                  </p:cNvSpPr>
                  <p:nvPr/>
                </p:nvSpPr>
                <p:spPr bwMode="auto">
                  <a:xfrm>
                    <a:off x="1045201" y="3717837"/>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6" name="Freeform 1719">
                    <a:extLst>
                      <a:ext uri="{FF2B5EF4-FFF2-40B4-BE49-F238E27FC236}">
                        <a16:creationId xmlns:a16="http://schemas.microsoft.com/office/drawing/2014/main" id="{32117CEA-B3DC-4C89-95BE-29D2CA3696B1}"/>
                      </a:ext>
                    </a:extLst>
                  </p:cNvPr>
                  <p:cNvSpPr>
                    <a:spLocks/>
                  </p:cNvSpPr>
                  <p:nvPr/>
                </p:nvSpPr>
                <p:spPr bwMode="auto">
                  <a:xfrm>
                    <a:off x="1087994" y="3767107"/>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7" name="Freeform 1715">
                    <a:extLst>
                      <a:ext uri="{FF2B5EF4-FFF2-40B4-BE49-F238E27FC236}">
                        <a16:creationId xmlns:a16="http://schemas.microsoft.com/office/drawing/2014/main" id="{1D9579E7-559F-45CE-84A9-3F5FE7909F35}"/>
                      </a:ext>
                    </a:extLst>
                  </p:cNvPr>
                  <p:cNvSpPr>
                    <a:spLocks/>
                  </p:cNvSpPr>
                  <p:nvPr/>
                </p:nvSpPr>
                <p:spPr bwMode="auto">
                  <a:xfrm>
                    <a:off x="865613" y="3717809"/>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8" name="Freeform 1719">
                    <a:extLst>
                      <a:ext uri="{FF2B5EF4-FFF2-40B4-BE49-F238E27FC236}">
                        <a16:creationId xmlns:a16="http://schemas.microsoft.com/office/drawing/2014/main" id="{FBFBAE56-A1FC-4308-81A8-D89C6F9933BB}"/>
                      </a:ext>
                    </a:extLst>
                  </p:cNvPr>
                  <p:cNvSpPr>
                    <a:spLocks/>
                  </p:cNvSpPr>
                  <p:nvPr/>
                </p:nvSpPr>
                <p:spPr bwMode="auto">
                  <a:xfrm>
                    <a:off x="908406" y="3767079"/>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solidFill>
                    <a:srgbClr val="D0D0CE"/>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9" name="Freeform 1713">
                    <a:extLst>
                      <a:ext uri="{FF2B5EF4-FFF2-40B4-BE49-F238E27FC236}">
                        <a16:creationId xmlns:a16="http://schemas.microsoft.com/office/drawing/2014/main" id="{EE58A597-FD94-43F0-B28B-8D84C87EC0AE}"/>
                      </a:ext>
                    </a:extLst>
                  </p:cNvPr>
                  <p:cNvSpPr>
                    <a:spLocks/>
                  </p:cNvSpPr>
                  <p:nvPr/>
                </p:nvSpPr>
                <p:spPr bwMode="auto">
                  <a:xfrm>
                    <a:off x="958332" y="3818540"/>
                    <a:ext cx="168857" cy="208281"/>
                  </a:xfrm>
                  <a:custGeom>
                    <a:avLst/>
                    <a:gdLst>
                      <a:gd name="T0" fmla="*/ 156 w 156"/>
                      <a:gd name="T1" fmla="*/ 36 h 185"/>
                      <a:gd name="T2" fmla="*/ 156 w 156"/>
                      <a:gd name="T3" fmla="*/ 36 h 185"/>
                      <a:gd name="T4" fmla="*/ 154 w 156"/>
                      <a:gd name="T5" fmla="*/ 27 h 185"/>
                      <a:gd name="T6" fmla="*/ 149 w 156"/>
                      <a:gd name="T7" fmla="*/ 20 h 185"/>
                      <a:gd name="T8" fmla="*/ 149 w 156"/>
                      <a:gd name="T9" fmla="*/ 20 h 185"/>
                      <a:gd name="T10" fmla="*/ 143 w 156"/>
                      <a:gd name="T11" fmla="*/ 12 h 185"/>
                      <a:gd name="T12" fmla="*/ 136 w 156"/>
                      <a:gd name="T13" fmla="*/ 9 h 185"/>
                      <a:gd name="T14" fmla="*/ 136 w 156"/>
                      <a:gd name="T15" fmla="*/ 9 h 185"/>
                      <a:gd name="T16" fmla="*/ 121 w 156"/>
                      <a:gd name="T17" fmla="*/ 5 h 185"/>
                      <a:gd name="T18" fmla="*/ 107 w 156"/>
                      <a:gd name="T19" fmla="*/ 1 h 185"/>
                      <a:gd name="T20" fmla="*/ 92 w 156"/>
                      <a:gd name="T21" fmla="*/ 0 h 185"/>
                      <a:gd name="T22" fmla="*/ 77 w 156"/>
                      <a:gd name="T23" fmla="*/ 0 h 185"/>
                      <a:gd name="T24" fmla="*/ 64 w 156"/>
                      <a:gd name="T25" fmla="*/ 0 h 185"/>
                      <a:gd name="T26" fmla="*/ 50 w 156"/>
                      <a:gd name="T27" fmla="*/ 1 h 185"/>
                      <a:gd name="T28" fmla="*/ 35 w 156"/>
                      <a:gd name="T29" fmla="*/ 5 h 185"/>
                      <a:gd name="T30" fmla="*/ 20 w 156"/>
                      <a:gd name="T31" fmla="*/ 9 h 185"/>
                      <a:gd name="T32" fmla="*/ 20 w 156"/>
                      <a:gd name="T33" fmla="*/ 9 h 185"/>
                      <a:gd name="T34" fmla="*/ 13 w 156"/>
                      <a:gd name="T35" fmla="*/ 12 h 185"/>
                      <a:gd name="T36" fmla="*/ 5 w 156"/>
                      <a:gd name="T37" fmla="*/ 20 h 185"/>
                      <a:gd name="T38" fmla="*/ 5 w 156"/>
                      <a:gd name="T39" fmla="*/ 20 h 185"/>
                      <a:gd name="T40" fmla="*/ 2 w 156"/>
                      <a:gd name="T41" fmla="*/ 27 h 185"/>
                      <a:gd name="T42" fmla="*/ 0 w 156"/>
                      <a:gd name="T43" fmla="*/ 36 h 185"/>
                      <a:gd name="T44" fmla="*/ 0 w 156"/>
                      <a:gd name="T45" fmla="*/ 165 h 185"/>
                      <a:gd name="T46" fmla="*/ 0 w 156"/>
                      <a:gd name="T47" fmla="*/ 165 h 185"/>
                      <a:gd name="T48" fmla="*/ 2 w 156"/>
                      <a:gd name="T49" fmla="*/ 169 h 185"/>
                      <a:gd name="T50" fmla="*/ 2 w 156"/>
                      <a:gd name="T51" fmla="*/ 172 h 185"/>
                      <a:gd name="T52" fmla="*/ 9 w 156"/>
                      <a:gd name="T53" fmla="*/ 180 h 185"/>
                      <a:gd name="T54" fmla="*/ 9 w 156"/>
                      <a:gd name="T55" fmla="*/ 180 h 185"/>
                      <a:gd name="T56" fmla="*/ 18 w 156"/>
                      <a:gd name="T57" fmla="*/ 183 h 185"/>
                      <a:gd name="T58" fmla="*/ 27 w 156"/>
                      <a:gd name="T59" fmla="*/ 185 h 185"/>
                      <a:gd name="T60" fmla="*/ 129 w 156"/>
                      <a:gd name="T61" fmla="*/ 185 h 185"/>
                      <a:gd name="T62" fmla="*/ 129 w 156"/>
                      <a:gd name="T63" fmla="*/ 185 h 185"/>
                      <a:gd name="T64" fmla="*/ 138 w 156"/>
                      <a:gd name="T65" fmla="*/ 183 h 185"/>
                      <a:gd name="T66" fmla="*/ 147 w 156"/>
                      <a:gd name="T67" fmla="*/ 180 h 185"/>
                      <a:gd name="T68" fmla="*/ 147 w 156"/>
                      <a:gd name="T69" fmla="*/ 180 h 185"/>
                      <a:gd name="T70" fmla="*/ 153 w 156"/>
                      <a:gd name="T71" fmla="*/ 172 h 185"/>
                      <a:gd name="T72" fmla="*/ 154 w 156"/>
                      <a:gd name="T73" fmla="*/ 169 h 185"/>
                      <a:gd name="T74" fmla="*/ 156 w 156"/>
                      <a:gd name="T75" fmla="*/ 165 h 185"/>
                      <a:gd name="T76" fmla="*/ 156 w 156"/>
                      <a:gd name="T77" fmla="*/ 3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 h="185">
                        <a:moveTo>
                          <a:pt x="156" y="36"/>
                        </a:move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lnTo>
                          <a:pt x="129" y="185"/>
                        </a:lnTo>
                        <a:lnTo>
                          <a:pt x="129" y="185"/>
                        </a:lnTo>
                        <a:lnTo>
                          <a:pt x="138" y="183"/>
                        </a:lnTo>
                        <a:lnTo>
                          <a:pt x="147" y="180"/>
                        </a:lnTo>
                        <a:lnTo>
                          <a:pt x="147" y="180"/>
                        </a:lnTo>
                        <a:lnTo>
                          <a:pt x="153" y="172"/>
                        </a:lnTo>
                        <a:lnTo>
                          <a:pt x="154" y="169"/>
                        </a:lnTo>
                        <a:lnTo>
                          <a:pt x="156" y="165"/>
                        </a:lnTo>
                        <a:lnTo>
                          <a:pt x="156" y="36"/>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0" name="Freeform 1715">
                    <a:extLst>
                      <a:ext uri="{FF2B5EF4-FFF2-40B4-BE49-F238E27FC236}">
                        <a16:creationId xmlns:a16="http://schemas.microsoft.com/office/drawing/2014/main" id="{EB42D7D6-3266-4429-8F14-574FCD0CB600}"/>
                      </a:ext>
                    </a:extLst>
                  </p:cNvPr>
                  <p:cNvSpPr>
                    <a:spLocks/>
                  </p:cNvSpPr>
                  <p:nvPr/>
                </p:nvSpPr>
                <p:spPr bwMode="auto">
                  <a:xfrm>
                    <a:off x="958332" y="3818540"/>
                    <a:ext cx="187811" cy="208281"/>
                  </a:xfrm>
                  <a:custGeom>
                    <a:avLst/>
                    <a:gdLst>
                      <a:gd name="T0" fmla="*/ 129 w 156"/>
                      <a:gd name="T1" fmla="*/ 185 h 185"/>
                      <a:gd name="T2" fmla="*/ 129 w 156"/>
                      <a:gd name="T3" fmla="*/ 185 h 185"/>
                      <a:gd name="T4" fmla="*/ 138 w 156"/>
                      <a:gd name="T5" fmla="*/ 183 h 185"/>
                      <a:gd name="T6" fmla="*/ 147 w 156"/>
                      <a:gd name="T7" fmla="*/ 180 h 185"/>
                      <a:gd name="T8" fmla="*/ 147 w 156"/>
                      <a:gd name="T9" fmla="*/ 180 h 185"/>
                      <a:gd name="T10" fmla="*/ 153 w 156"/>
                      <a:gd name="T11" fmla="*/ 172 h 185"/>
                      <a:gd name="T12" fmla="*/ 154 w 156"/>
                      <a:gd name="T13" fmla="*/ 169 h 185"/>
                      <a:gd name="T14" fmla="*/ 156 w 156"/>
                      <a:gd name="T15" fmla="*/ 165 h 185"/>
                      <a:gd name="T16" fmla="*/ 156 w 156"/>
                      <a:gd name="T17" fmla="*/ 36 h 185"/>
                      <a:gd name="T18" fmla="*/ 156 w 156"/>
                      <a:gd name="T19" fmla="*/ 36 h 185"/>
                      <a:gd name="T20" fmla="*/ 154 w 156"/>
                      <a:gd name="T21" fmla="*/ 27 h 185"/>
                      <a:gd name="T22" fmla="*/ 149 w 156"/>
                      <a:gd name="T23" fmla="*/ 20 h 185"/>
                      <a:gd name="T24" fmla="*/ 149 w 156"/>
                      <a:gd name="T25" fmla="*/ 20 h 185"/>
                      <a:gd name="T26" fmla="*/ 143 w 156"/>
                      <a:gd name="T27" fmla="*/ 12 h 185"/>
                      <a:gd name="T28" fmla="*/ 136 w 156"/>
                      <a:gd name="T29" fmla="*/ 9 h 185"/>
                      <a:gd name="T30" fmla="*/ 136 w 156"/>
                      <a:gd name="T31" fmla="*/ 9 h 185"/>
                      <a:gd name="T32" fmla="*/ 121 w 156"/>
                      <a:gd name="T33" fmla="*/ 5 h 185"/>
                      <a:gd name="T34" fmla="*/ 107 w 156"/>
                      <a:gd name="T35" fmla="*/ 1 h 185"/>
                      <a:gd name="T36" fmla="*/ 92 w 156"/>
                      <a:gd name="T37" fmla="*/ 0 h 185"/>
                      <a:gd name="T38" fmla="*/ 77 w 156"/>
                      <a:gd name="T39" fmla="*/ 0 h 185"/>
                      <a:gd name="T40" fmla="*/ 64 w 156"/>
                      <a:gd name="T41" fmla="*/ 0 h 185"/>
                      <a:gd name="T42" fmla="*/ 50 w 156"/>
                      <a:gd name="T43" fmla="*/ 1 h 185"/>
                      <a:gd name="T44" fmla="*/ 35 w 156"/>
                      <a:gd name="T45" fmla="*/ 5 h 185"/>
                      <a:gd name="T46" fmla="*/ 20 w 156"/>
                      <a:gd name="T47" fmla="*/ 9 h 185"/>
                      <a:gd name="T48" fmla="*/ 20 w 156"/>
                      <a:gd name="T49" fmla="*/ 9 h 185"/>
                      <a:gd name="T50" fmla="*/ 13 w 156"/>
                      <a:gd name="T51" fmla="*/ 12 h 185"/>
                      <a:gd name="T52" fmla="*/ 5 w 156"/>
                      <a:gd name="T53" fmla="*/ 20 h 185"/>
                      <a:gd name="T54" fmla="*/ 5 w 156"/>
                      <a:gd name="T55" fmla="*/ 20 h 185"/>
                      <a:gd name="T56" fmla="*/ 2 w 156"/>
                      <a:gd name="T57" fmla="*/ 27 h 185"/>
                      <a:gd name="T58" fmla="*/ 0 w 156"/>
                      <a:gd name="T59" fmla="*/ 36 h 185"/>
                      <a:gd name="T60" fmla="*/ 0 w 156"/>
                      <a:gd name="T61" fmla="*/ 165 h 185"/>
                      <a:gd name="T62" fmla="*/ 0 w 156"/>
                      <a:gd name="T63" fmla="*/ 165 h 185"/>
                      <a:gd name="T64" fmla="*/ 2 w 156"/>
                      <a:gd name="T65" fmla="*/ 169 h 185"/>
                      <a:gd name="T66" fmla="*/ 2 w 156"/>
                      <a:gd name="T67" fmla="*/ 172 h 185"/>
                      <a:gd name="T68" fmla="*/ 9 w 156"/>
                      <a:gd name="T69" fmla="*/ 180 h 185"/>
                      <a:gd name="T70" fmla="*/ 9 w 156"/>
                      <a:gd name="T71" fmla="*/ 180 h 185"/>
                      <a:gd name="T72" fmla="*/ 18 w 156"/>
                      <a:gd name="T73" fmla="*/ 183 h 185"/>
                      <a:gd name="T74" fmla="*/ 27 w 156"/>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85">
                        <a:moveTo>
                          <a:pt x="129" y="185"/>
                        </a:moveTo>
                        <a:lnTo>
                          <a:pt x="129" y="185"/>
                        </a:lnTo>
                        <a:lnTo>
                          <a:pt x="138" y="183"/>
                        </a:lnTo>
                        <a:lnTo>
                          <a:pt x="147" y="180"/>
                        </a:lnTo>
                        <a:lnTo>
                          <a:pt x="147" y="180"/>
                        </a:lnTo>
                        <a:lnTo>
                          <a:pt x="153" y="172"/>
                        </a:lnTo>
                        <a:lnTo>
                          <a:pt x="154" y="169"/>
                        </a:lnTo>
                        <a:lnTo>
                          <a:pt x="156" y="165"/>
                        </a:lnTo>
                        <a:lnTo>
                          <a:pt x="156" y="36"/>
                        </a:lnTo>
                        <a:lnTo>
                          <a:pt x="156" y="36"/>
                        </a:lnTo>
                        <a:lnTo>
                          <a:pt x="154" y="27"/>
                        </a:lnTo>
                        <a:lnTo>
                          <a:pt x="149" y="20"/>
                        </a:lnTo>
                        <a:lnTo>
                          <a:pt x="149" y="20"/>
                        </a:lnTo>
                        <a:lnTo>
                          <a:pt x="143" y="12"/>
                        </a:lnTo>
                        <a:lnTo>
                          <a:pt x="136" y="9"/>
                        </a:lnTo>
                        <a:lnTo>
                          <a:pt x="136" y="9"/>
                        </a:lnTo>
                        <a:lnTo>
                          <a:pt x="121" y="5"/>
                        </a:lnTo>
                        <a:lnTo>
                          <a:pt x="107" y="1"/>
                        </a:lnTo>
                        <a:lnTo>
                          <a:pt x="92" y="0"/>
                        </a:lnTo>
                        <a:lnTo>
                          <a:pt x="77" y="0"/>
                        </a:lnTo>
                        <a:lnTo>
                          <a:pt x="64" y="0"/>
                        </a:lnTo>
                        <a:lnTo>
                          <a:pt x="50" y="1"/>
                        </a:lnTo>
                        <a:lnTo>
                          <a:pt x="35" y="5"/>
                        </a:lnTo>
                        <a:lnTo>
                          <a:pt x="20" y="9"/>
                        </a:lnTo>
                        <a:lnTo>
                          <a:pt x="20" y="9"/>
                        </a:lnTo>
                        <a:lnTo>
                          <a:pt x="13" y="12"/>
                        </a:lnTo>
                        <a:lnTo>
                          <a:pt x="5" y="20"/>
                        </a:lnTo>
                        <a:lnTo>
                          <a:pt x="5" y="20"/>
                        </a:lnTo>
                        <a:lnTo>
                          <a:pt x="2" y="27"/>
                        </a:lnTo>
                        <a:lnTo>
                          <a:pt x="0" y="36"/>
                        </a:lnTo>
                        <a:lnTo>
                          <a:pt x="0" y="165"/>
                        </a:lnTo>
                        <a:lnTo>
                          <a:pt x="0" y="165"/>
                        </a:lnTo>
                        <a:lnTo>
                          <a:pt x="2" y="169"/>
                        </a:lnTo>
                        <a:lnTo>
                          <a:pt x="2" y="172"/>
                        </a:lnTo>
                        <a:lnTo>
                          <a:pt x="9" y="180"/>
                        </a:lnTo>
                        <a:lnTo>
                          <a:pt x="9" y="180"/>
                        </a:lnTo>
                        <a:lnTo>
                          <a:pt x="18" y="183"/>
                        </a:lnTo>
                        <a:lnTo>
                          <a:pt x="27" y="185"/>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1" name="Freeform 1716">
                    <a:extLst>
                      <a:ext uri="{FF2B5EF4-FFF2-40B4-BE49-F238E27FC236}">
                        <a16:creationId xmlns:a16="http://schemas.microsoft.com/office/drawing/2014/main" id="{A9AC06FA-7C60-4B0A-A498-FD5A2863D623}"/>
                      </a:ext>
                    </a:extLst>
                  </p:cNvPr>
                  <p:cNvSpPr>
                    <a:spLocks/>
                  </p:cNvSpPr>
                  <p:nvPr/>
                </p:nvSpPr>
                <p:spPr bwMode="auto">
                  <a:xfrm>
                    <a:off x="1003501" y="3726716"/>
                    <a:ext cx="97472" cy="91823"/>
                  </a:xfrm>
                  <a:custGeom>
                    <a:avLst/>
                    <a:gdLst>
                      <a:gd name="T0" fmla="*/ 70 w 82"/>
                      <a:gd name="T1" fmla="*/ 13 h 83"/>
                      <a:gd name="T2" fmla="*/ 70 w 82"/>
                      <a:gd name="T3" fmla="*/ 13 h 83"/>
                      <a:gd name="T4" fmla="*/ 64 w 82"/>
                      <a:gd name="T5" fmla="*/ 7 h 83"/>
                      <a:gd name="T6" fmla="*/ 57 w 82"/>
                      <a:gd name="T7" fmla="*/ 3 h 83"/>
                      <a:gd name="T8" fmla="*/ 49 w 82"/>
                      <a:gd name="T9" fmla="*/ 2 h 83"/>
                      <a:gd name="T10" fmla="*/ 40 w 82"/>
                      <a:gd name="T11" fmla="*/ 0 h 83"/>
                      <a:gd name="T12" fmla="*/ 40 w 82"/>
                      <a:gd name="T13" fmla="*/ 0 h 83"/>
                      <a:gd name="T14" fmla="*/ 33 w 82"/>
                      <a:gd name="T15" fmla="*/ 2 h 83"/>
                      <a:gd name="T16" fmla="*/ 25 w 82"/>
                      <a:gd name="T17" fmla="*/ 3 h 83"/>
                      <a:gd name="T18" fmla="*/ 18 w 82"/>
                      <a:gd name="T19" fmla="*/ 7 h 83"/>
                      <a:gd name="T20" fmla="*/ 13 w 82"/>
                      <a:gd name="T21" fmla="*/ 13 h 83"/>
                      <a:gd name="T22" fmla="*/ 13 w 82"/>
                      <a:gd name="T23" fmla="*/ 13 h 83"/>
                      <a:gd name="T24" fmla="*/ 7 w 82"/>
                      <a:gd name="T25" fmla="*/ 18 h 83"/>
                      <a:gd name="T26" fmla="*/ 3 w 82"/>
                      <a:gd name="T27" fmla="*/ 25 h 83"/>
                      <a:gd name="T28" fmla="*/ 0 w 82"/>
                      <a:gd name="T29" fmla="*/ 33 h 83"/>
                      <a:gd name="T30" fmla="*/ 0 w 82"/>
                      <a:gd name="T31" fmla="*/ 42 h 83"/>
                      <a:gd name="T32" fmla="*/ 0 w 82"/>
                      <a:gd name="T33" fmla="*/ 42 h 83"/>
                      <a:gd name="T34" fmla="*/ 0 w 82"/>
                      <a:gd name="T35" fmla="*/ 49 h 83"/>
                      <a:gd name="T36" fmla="*/ 3 w 82"/>
                      <a:gd name="T37" fmla="*/ 57 h 83"/>
                      <a:gd name="T38" fmla="*/ 7 w 82"/>
                      <a:gd name="T39" fmla="*/ 64 h 83"/>
                      <a:gd name="T40" fmla="*/ 13 w 82"/>
                      <a:gd name="T41" fmla="*/ 70 h 83"/>
                      <a:gd name="T42" fmla="*/ 13 w 82"/>
                      <a:gd name="T43" fmla="*/ 70 h 83"/>
                      <a:gd name="T44" fmla="*/ 18 w 82"/>
                      <a:gd name="T45" fmla="*/ 75 h 83"/>
                      <a:gd name="T46" fmla="*/ 25 w 82"/>
                      <a:gd name="T47" fmla="*/ 79 h 83"/>
                      <a:gd name="T48" fmla="*/ 33 w 82"/>
                      <a:gd name="T49" fmla="*/ 83 h 83"/>
                      <a:gd name="T50" fmla="*/ 40 w 82"/>
                      <a:gd name="T51" fmla="*/ 83 h 83"/>
                      <a:gd name="T52" fmla="*/ 40 w 82"/>
                      <a:gd name="T53" fmla="*/ 83 h 83"/>
                      <a:gd name="T54" fmla="*/ 49 w 82"/>
                      <a:gd name="T55" fmla="*/ 83 h 83"/>
                      <a:gd name="T56" fmla="*/ 57 w 82"/>
                      <a:gd name="T57" fmla="*/ 79 h 83"/>
                      <a:gd name="T58" fmla="*/ 64 w 82"/>
                      <a:gd name="T59" fmla="*/ 75 h 83"/>
                      <a:gd name="T60" fmla="*/ 70 w 82"/>
                      <a:gd name="T61" fmla="*/ 70 h 83"/>
                      <a:gd name="T62" fmla="*/ 70 w 82"/>
                      <a:gd name="T63" fmla="*/ 70 h 83"/>
                      <a:gd name="T64" fmla="*/ 75 w 82"/>
                      <a:gd name="T65" fmla="*/ 64 h 83"/>
                      <a:gd name="T66" fmla="*/ 79 w 82"/>
                      <a:gd name="T67" fmla="*/ 57 h 83"/>
                      <a:gd name="T68" fmla="*/ 81 w 82"/>
                      <a:gd name="T69" fmla="*/ 49 h 83"/>
                      <a:gd name="T70" fmla="*/ 82 w 82"/>
                      <a:gd name="T71" fmla="*/ 42 h 83"/>
                      <a:gd name="T72" fmla="*/ 82 w 82"/>
                      <a:gd name="T73" fmla="*/ 42 h 83"/>
                      <a:gd name="T74" fmla="*/ 81 w 82"/>
                      <a:gd name="T75" fmla="*/ 33 h 83"/>
                      <a:gd name="T76" fmla="*/ 79 w 82"/>
                      <a:gd name="T77" fmla="*/ 25 h 83"/>
                      <a:gd name="T78" fmla="*/ 75 w 82"/>
                      <a:gd name="T79" fmla="*/ 18 h 83"/>
                      <a:gd name="T80" fmla="*/ 70 w 82"/>
                      <a:gd name="T81" fmla="*/ 13 h 83"/>
                      <a:gd name="T82" fmla="*/ 70 w 82"/>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83">
                        <a:moveTo>
                          <a:pt x="70" y="13"/>
                        </a:moveTo>
                        <a:lnTo>
                          <a:pt x="70" y="13"/>
                        </a:lnTo>
                        <a:lnTo>
                          <a:pt x="64" y="7"/>
                        </a:lnTo>
                        <a:lnTo>
                          <a:pt x="57" y="3"/>
                        </a:lnTo>
                        <a:lnTo>
                          <a:pt x="49" y="2"/>
                        </a:lnTo>
                        <a:lnTo>
                          <a:pt x="40" y="0"/>
                        </a:lnTo>
                        <a:lnTo>
                          <a:pt x="40" y="0"/>
                        </a:lnTo>
                        <a:lnTo>
                          <a:pt x="33" y="2"/>
                        </a:lnTo>
                        <a:lnTo>
                          <a:pt x="25" y="3"/>
                        </a:lnTo>
                        <a:lnTo>
                          <a:pt x="18" y="7"/>
                        </a:lnTo>
                        <a:lnTo>
                          <a:pt x="13" y="13"/>
                        </a:lnTo>
                        <a:lnTo>
                          <a:pt x="13" y="13"/>
                        </a:lnTo>
                        <a:lnTo>
                          <a:pt x="7" y="18"/>
                        </a:lnTo>
                        <a:lnTo>
                          <a:pt x="3" y="25"/>
                        </a:lnTo>
                        <a:lnTo>
                          <a:pt x="0" y="33"/>
                        </a:lnTo>
                        <a:lnTo>
                          <a:pt x="0" y="42"/>
                        </a:lnTo>
                        <a:lnTo>
                          <a:pt x="0" y="42"/>
                        </a:lnTo>
                        <a:lnTo>
                          <a:pt x="0" y="49"/>
                        </a:lnTo>
                        <a:lnTo>
                          <a:pt x="3" y="57"/>
                        </a:lnTo>
                        <a:lnTo>
                          <a:pt x="7" y="64"/>
                        </a:lnTo>
                        <a:lnTo>
                          <a:pt x="13" y="70"/>
                        </a:lnTo>
                        <a:lnTo>
                          <a:pt x="13" y="70"/>
                        </a:lnTo>
                        <a:lnTo>
                          <a:pt x="18" y="75"/>
                        </a:lnTo>
                        <a:lnTo>
                          <a:pt x="25" y="79"/>
                        </a:lnTo>
                        <a:lnTo>
                          <a:pt x="33" y="83"/>
                        </a:lnTo>
                        <a:lnTo>
                          <a:pt x="40" y="83"/>
                        </a:lnTo>
                        <a:lnTo>
                          <a:pt x="40" y="83"/>
                        </a:lnTo>
                        <a:lnTo>
                          <a:pt x="49" y="83"/>
                        </a:lnTo>
                        <a:lnTo>
                          <a:pt x="57" y="79"/>
                        </a:lnTo>
                        <a:lnTo>
                          <a:pt x="64" y="75"/>
                        </a:lnTo>
                        <a:lnTo>
                          <a:pt x="70" y="70"/>
                        </a:lnTo>
                        <a:lnTo>
                          <a:pt x="70" y="70"/>
                        </a:lnTo>
                        <a:lnTo>
                          <a:pt x="75" y="64"/>
                        </a:lnTo>
                        <a:lnTo>
                          <a:pt x="79" y="57"/>
                        </a:lnTo>
                        <a:lnTo>
                          <a:pt x="81" y="49"/>
                        </a:lnTo>
                        <a:lnTo>
                          <a:pt x="82" y="42"/>
                        </a:lnTo>
                        <a:lnTo>
                          <a:pt x="82" y="42"/>
                        </a:lnTo>
                        <a:lnTo>
                          <a:pt x="81" y="33"/>
                        </a:lnTo>
                        <a:lnTo>
                          <a:pt x="79" y="25"/>
                        </a:lnTo>
                        <a:lnTo>
                          <a:pt x="75" y="18"/>
                        </a:lnTo>
                        <a:lnTo>
                          <a:pt x="70" y="13"/>
                        </a:lnTo>
                        <a:lnTo>
                          <a:pt x="70" y="13"/>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2" name="Freeform 1717">
                    <a:extLst>
                      <a:ext uri="{FF2B5EF4-FFF2-40B4-BE49-F238E27FC236}">
                        <a16:creationId xmlns:a16="http://schemas.microsoft.com/office/drawing/2014/main" id="{85715DC8-233E-4C60-A5B0-439E2B24475C}"/>
                      </a:ext>
                    </a:extLst>
                  </p:cNvPr>
                  <p:cNvSpPr>
                    <a:spLocks/>
                  </p:cNvSpPr>
                  <p:nvPr/>
                </p:nvSpPr>
                <p:spPr bwMode="auto">
                  <a:xfrm>
                    <a:off x="1003501" y="3726716"/>
                    <a:ext cx="97472" cy="91823"/>
                  </a:xfrm>
                  <a:custGeom>
                    <a:avLst/>
                    <a:gdLst>
                      <a:gd name="T0" fmla="*/ 82 w 82"/>
                      <a:gd name="T1" fmla="*/ 42 h 83"/>
                      <a:gd name="T2" fmla="*/ 82 w 82"/>
                      <a:gd name="T3" fmla="*/ 42 h 83"/>
                      <a:gd name="T4" fmla="*/ 81 w 82"/>
                      <a:gd name="T5" fmla="*/ 49 h 83"/>
                      <a:gd name="T6" fmla="*/ 79 w 82"/>
                      <a:gd name="T7" fmla="*/ 57 h 83"/>
                      <a:gd name="T8" fmla="*/ 75 w 82"/>
                      <a:gd name="T9" fmla="*/ 64 h 83"/>
                      <a:gd name="T10" fmla="*/ 70 w 82"/>
                      <a:gd name="T11" fmla="*/ 70 h 83"/>
                      <a:gd name="T12" fmla="*/ 70 w 82"/>
                      <a:gd name="T13" fmla="*/ 70 h 83"/>
                      <a:gd name="T14" fmla="*/ 64 w 82"/>
                      <a:gd name="T15" fmla="*/ 75 h 83"/>
                      <a:gd name="T16" fmla="*/ 57 w 82"/>
                      <a:gd name="T17" fmla="*/ 79 h 83"/>
                      <a:gd name="T18" fmla="*/ 49 w 82"/>
                      <a:gd name="T19" fmla="*/ 83 h 83"/>
                      <a:gd name="T20" fmla="*/ 40 w 82"/>
                      <a:gd name="T21" fmla="*/ 83 h 83"/>
                      <a:gd name="T22" fmla="*/ 40 w 82"/>
                      <a:gd name="T23" fmla="*/ 83 h 83"/>
                      <a:gd name="T24" fmla="*/ 33 w 82"/>
                      <a:gd name="T25" fmla="*/ 83 h 83"/>
                      <a:gd name="T26" fmla="*/ 25 w 82"/>
                      <a:gd name="T27" fmla="*/ 79 h 83"/>
                      <a:gd name="T28" fmla="*/ 18 w 82"/>
                      <a:gd name="T29" fmla="*/ 75 h 83"/>
                      <a:gd name="T30" fmla="*/ 13 w 82"/>
                      <a:gd name="T31" fmla="*/ 70 h 83"/>
                      <a:gd name="T32" fmla="*/ 13 w 82"/>
                      <a:gd name="T33" fmla="*/ 70 h 83"/>
                      <a:gd name="T34" fmla="*/ 7 w 82"/>
                      <a:gd name="T35" fmla="*/ 64 h 83"/>
                      <a:gd name="T36" fmla="*/ 3 w 82"/>
                      <a:gd name="T37" fmla="*/ 57 h 83"/>
                      <a:gd name="T38" fmla="*/ 0 w 82"/>
                      <a:gd name="T39" fmla="*/ 49 h 83"/>
                      <a:gd name="T40" fmla="*/ 0 w 82"/>
                      <a:gd name="T41" fmla="*/ 42 h 83"/>
                      <a:gd name="T42" fmla="*/ 0 w 82"/>
                      <a:gd name="T43" fmla="*/ 42 h 83"/>
                      <a:gd name="T44" fmla="*/ 0 w 82"/>
                      <a:gd name="T45" fmla="*/ 33 h 83"/>
                      <a:gd name="T46" fmla="*/ 3 w 82"/>
                      <a:gd name="T47" fmla="*/ 25 h 83"/>
                      <a:gd name="T48" fmla="*/ 7 w 82"/>
                      <a:gd name="T49" fmla="*/ 18 h 83"/>
                      <a:gd name="T50" fmla="*/ 13 w 82"/>
                      <a:gd name="T51" fmla="*/ 13 h 83"/>
                      <a:gd name="T52" fmla="*/ 13 w 82"/>
                      <a:gd name="T53" fmla="*/ 13 h 83"/>
                      <a:gd name="T54" fmla="*/ 18 w 82"/>
                      <a:gd name="T55" fmla="*/ 7 h 83"/>
                      <a:gd name="T56" fmla="*/ 25 w 82"/>
                      <a:gd name="T57" fmla="*/ 3 h 83"/>
                      <a:gd name="T58" fmla="*/ 33 w 82"/>
                      <a:gd name="T59" fmla="*/ 2 h 83"/>
                      <a:gd name="T60" fmla="*/ 40 w 82"/>
                      <a:gd name="T61" fmla="*/ 0 h 83"/>
                      <a:gd name="T62" fmla="*/ 40 w 82"/>
                      <a:gd name="T63" fmla="*/ 0 h 83"/>
                      <a:gd name="T64" fmla="*/ 49 w 82"/>
                      <a:gd name="T65" fmla="*/ 2 h 83"/>
                      <a:gd name="T66" fmla="*/ 57 w 82"/>
                      <a:gd name="T67" fmla="*/ 3 h 83"/>
                      <a:gd name="T68" fmla="*/ 64 w 82"/>
                      <a:gd name="T69" fmla="*/ 7 h 83"/>
                      <a:gd name="T70" fmla="*/ 70 w 82"/>
                      <a:gd name="T71" fmla="*/ 13 h 83"/>
                      <a:gd name="T72" fmla="*/ 70 w 82"/>
                      <a:gd name="T73" fmla="*/ 13 h 83"/>
                      <a:gd name="T74" fmla="*/ 75 w 82"/>
                      <a:gd name="T75" fmla="*/ 18 h 83"/>
                      <a:gd name="T76" fmla="*/ 79 w 82"/>
                      <a:gd name="T77" fmla="*/ 25 h 83"/>
                      <a:gd name="T78" fmla="*/ 81 w 82"/>
                      <a:gd name="T79" fmla="*/ 33 h 83"/>
                      <a:gd name="T80" fmla="*/ 82 w 82"/>
                      <a:gd name="T81" fmla="*/ 42 h 83"/>
                      <a:gd name="T82" fmla="*/ 82 w 82"/>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83">
                        <a:moveTo>
                          <a:pt x="82" y="42"/>
                        </a:moveTo>
                        <a:lnTo>
                          <a:pt x="82" y="42"/>
                        </a:lnTo>
                        <a:lnTo>
                          <a:pt x="81" y="49"/>
                        </a:lnTo>
                        <a:lnTo>
                          <a:pt x="79" y="57"/>
                        </a:lnTo>
                        <a:lnTo>
                          <a:pt x="75" y="64"/>
                        </a:lnTo>
                        <a:lnTo>
                          <a:pt x="70" y="70"/>
                        </a:lnTo>
                        <a:lnTo>
                          <a:pt x="70" y="70"/>
                        </a:lnTo>
                        <a:lnTo>
                          <a:pt x="64" y="75"/>
                        </a:lnTo>
                        <a:lnTo>
                          <a:pt x="57" y="79"/>
                        </a:lnTo>
                        <a:lnTo>
                          <a:pt x="49" y="83"/>
                        </a:lnTo>
                        <a:lnTo>
                          <a:pt x="40" y="83"/>
                        </a:lnTo>
                        <a:lnTo>
                          <a:pt x="40" y="83"/>
                        </a:lnTo>
                        <a:lnTo>
                          <a:pt x="33" y="83"/>
                        </a:lnTo>
                        <a:lnTo>
                          <a:pt x="25" y="79"/>
                        </a:lnTo>
                        <a:lnTo>
                          <a:pt x="18" y="75"/>
                        </a:lnTo>
                        <a:lnTo>
                          <a:pt x="13" y="70"/>
                        </a:lnTo>
                        <a:lnTo>
                          <a:pt x="13" y="70"/>
                        </a:lnTo>
                        <a:lnTo>
                          <a:pt x="7" y="64"/>
                        </a:lnTo>
                        <a:lnTo>
                          <a:pt x="3" y="57"/>
                        </a:lnTo>
                        <a:lnTo>
                          <a:pt x="0" y="49"/>
                        </a:lnTo>
                        <a:lnTo>
                          <a:pt x="0" y="42"/>
                        </a:lnTo>
                        <a:lnTo>
                          <a:pt x="0" y="42"/>
                        </a:lnTo>
                        <a:lnTo>
                          <a:pt x="0" y="33"/>
                        </a:lnTo>
                        <a:lnTo>
                          <a:pt x="3" y="25"/>
                        </a:lnTo>
                        <a:lnTo>
                          <a:pt x="7" y="18"/>
                        </a:lnTo>
                        <a:lnTo>
                          <a:pt x="13" y="13"/>
                        </a:lnTo>
                        <a:lnTo>
                          <a:pt x="13" y="13"/>
                        </a:lnTo>
                        <a:lnTo>
                          <a:pt x="18" y="7"/>
                        </a:lnTo>
                        <a:lnTo>
                          <a:pt x="25" y="3"/>
                        </a:lnTo>
                        <a:lnTo>
                          <a:pt x="33" y="2"/>
                        </a:lnTo>
                        <a:lnTo>
                          <a:pt x="40" y="0"/>
                        </a:lnTo>
                        <a:lnTo>
                          <a:pt x="40" y="0"/>
                        </a:lnTo>
                        <a:lnTo>
                          <a:pt x="49" y="2"/>
                        </a:lnTo>
                        <a:lnTo>
                          <a:pt x="57" y="3"/>
                        </a:lnTo>
                        <a:lnTo>
                          <a:pt x="64" y="7"/>
                        </a:lnTo>
                        <a:lnTo>
                          <a:pt x="70" y="13"/>
                        </a:lnTo>
                        <a:lnTo>
                          <a:pt x="70" y="13"/>
                        </a:lnTo>
                        <a:lnTo>
                          <a:pt x="75" y="18"/>
                        </a:lnTo>
                        <a:lnTo>
                          <a:pt x="79" y="25"/>
                        </a:lnTo>
                        <a:lnTo>
                          <a:pt x="81" y="33"/>
                        </a:lnTo>
                        <a:lnTo>
                          <a:pt x="82" y="42"/>
                        </a:lnTo>
                        <a:lnTo>
                          <a:pt x="82"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3" name="Rectangle 1718">
                    <a:extLst>
                      <a:ext uri="{FF2B5EF4-FFF2-40B4-BE49-F238E27FC236}">
                        <a16:creationId xmlns:a16="http://schemas.microsoft.com/office/drawing/2014/main" id="{9F25C8B0-C039-4F64-819E-FE9D8D362AE9}"/>
                      </a:ext>
                    </a:extLst>
                  </p:cNvPr>
                  <p:cNvSpPr>
                    <a:spLocks noChangeArrowheads="1"/>
                  </p:cNvSpPr>
                  <p:nvPr/>
                </p:nvSpPr>
                <p:spPr bwMode="auto">
                  <a:xfrm>
                    <a:off x="1001125" y="3984529"/>
                    <a:ext cx="102227" cy="187863"/>
                  </a:xfrm>
                  <a:prstGeom prst="rect">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4" name="Freeform 1719">
                    <a:extLst>
                      <a:ext uri="{FF2B5EF4-FFF2-40B4-BE49-F238E27FC236}">
                        <a16:creationId xmlns:a16="http://schemas.microsoft.com/office/drawing/2014/main" id="{F36CBA51-4BE4-484B-9469-D888DD3A5637}"/>
                      </a:ext>
                    </a:extLst>
                  </p:cNvPr>
                  <p:cNvSpPr>
                    <a:spLocks/>
                  </p:cNvSpPr>
                  <p:nvPr/>
                </p:nvSpPr>
                <p:spPr bwMode="auto">
                  <a:xfrm>
                    <a:off x="1001125" y="3867811"/>
                    <a:ext cx="102227" cy="304582"/>
                  </a:xfrm>
                  <a:custGeom>
                    <a:avLst/>
                    <a:gdLst>
                      <a:gd name="T0" fmla="*/ 0 w 86"/>
                      <a:gd name="T1" fmla="*/ 0 h 272"/>
                      <a:gd name="T2" fmla="*/ 0 w 86"/>
                      <a:gd name="T3" fmla="*/ 272 h 272"/>
                      <a:gd name="T4" fmla="*/ 86 w 86"/>
                      <a:gd name="T5" fmla="*/ 272 h 272"/>
                      <a:gd name="T6" fmla="*/ 86 w 86"/>
                      <a:gd name="T7" fmla="*/ 0 h 272"/>
                    </a:gdLst>
                    <a:ahLst/>
                    <a:cxnLst>
                      <a:cxn ang="0">
                        <a:pos x="T0" y="T1"/>
                      </a:cxn>
                      <a:cxn ang="0">
                        <a:pos x="T2" y="T3"/>
                      </a:cxn>
                      <a:cxn ang="0">
                        <a:pos x="T4" y="T5"/>
                      </a:cxn>
                      <a:cxn ang="0">
                        <a:pos x="T6" y="T7"/>
                      </a:cxn>
                    </a:cxnLst>
                    <a:rect l="0" t="0" r="r" b="b"/>
                    <a:pathLst>
                      <a:path w="86" h="272">
                        <a:moveTo>
                          <a:pt x="0" y="0"/>
                        </a:moveTo>
                        <a:lnTo>
                          <a:pt x="0" y="272"/>
                        </a:lnTo>
                        <a:lnTo>
                          <a:pt x="86" y="272"/>
                        </a:lnTo>
                        <a:lnTo>
                          <a:pt x="86" y="0"/>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15" name="Line 1720">
                    <a:extLst>
                      <a:ext uri="{FF2B5EF4-FFF2-40B4-BE49-F238E27FC236}">
                        <a16:creationId xmlns:a16="http://schemas.microsoft.com/office/drawing/2014/main" id="{8588C121-585A-4D34-91EB-2DD4E473962D}"/>
                      </a:ext>
                    </a:extLst>
                  </p:cNvPr>
                  <p:cNvSpPr>
                    <a:spLocks noChangeShapeType="1"/>
                  </p:cNvSpPr>
                  <p:nvPr/>
                </p:nvSpPr>
                <p:spPr bwMode="auto">
                  <a:xfrm>
                    <a:off x="1051048" y="4020102"/>
                    <a:ext cx="0" cy="152291"/>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nvGrpSpPr>
                <p:cNvPr id="186" name="Group 185">
                  <a:extLst>
                    <a:ext uri="{FF2B5EF4-FFF2-40B4-BE49-F238E27FC236}">
                      <a16:creationId xmlns:a16="http://schemas.microsoft.com/office/drawing/2014/main" id="{C1B26DF4-ECE2-4ADB-B0B0-C39D5D67B607}"/>
                    </a:ext>
                  </a:extLst>
                </p:cNvPr>
                <p:cNvGrpSpPr/>
                <p:nvPr/>
              </p:nvGrpSpPr>
              <p:grpSpPr>
                <a:xfrm>
                  <a:off x="3510616" y="4873603"/>
                  <a:ext cx="357439" cy="859083"/>
                  <a:chOff x="775276" y="3726716"/>
                  <a:chExt cx="185433" cy="445677"/>
                </a:xfrm>
                <a:solidFill>
                  <a:srgbClr val="00A3E0"/>
                </a:solidFill>
              </p:grpSpPr>
              <p:sp>
                <p:nvSpPr>
                  <p:cNvPr id="198" name="Freeform 1721">
                    <a:extLst>
                      <a:ext uri="{FF2B5EF4-FFF2-40B4-BE49-F238E27FC236}">
                        <a16:creationId xmlns:a16="http://schemas.microsoft.com/office/drawing/2014/main" id="{CC29F265-F6FC-4E8E-A2D6-59654F32595A}"/>
                      </a:ext>
                    </a:extLst>
                  </p:cNvPr>
                  <p:cNvSpPr>
                    <a:spLocks/>
                  </p:cNvSpPr>
                  <p:nvPr/>
                </p:nvSpPr>
                <p:spPr bwMode="auto">
                  <a:xfrm>
                    <a:off x="775276" y="3818540"/>
                    <a:ext cx="185433" cy="208281"/>
                  </a:xfrm>
                  <a:custGeom>
                    <a:avLst/>
                    <a:gdLst>
                      <a:gd name="T0" fmla="*/ 157 w 157"/>
                      <a:gd name="T1" fmla="*/ 165 h 185"/>
                      <a:gd name="T2" fmla="*/ 157 w 157"/>
                      <a:gd name="T3" fmla="*/ 36 h 185"/>
                      <a:gd name="T4" fmla="*/ 157 w 157"/>
                      <a:gd name="T5" fmla="*/ 36 h 185"/>
                      <a:gd name="T6" fmla="*/ 155 w 157"/>
                      <a:gd name="T7" fmla="*/ 27 h 185"/>
                      <a:gd name="T8" fmla="*/ 151 w 157"/>
                      <a:gd name="T9" fmla="*/ 20 h 185"/>
                      <a:gd name="T10" fmla="*/ 151 w 157"/>
                      <a:gd name="T11" fmla="*/ 20 h 185"/>
                      <a:gd name="T12" fmla="*/ 144 w 157"/>
                      <a:gd name="T13" fmla="*/ 12 h 185"/>
                      <a:gd name="T14" fmla="*/ 137 w 157"/>
                      <a:gd name="T15" fmla="*/ 9 h 185"/>
                      <a:gd name="T16" fmla="*/ 137 w 157"/>
                      <a:gd name="T17" fmla="*/ 9 h 185"/>
                      <a:gd name="T18" fmla="*/ 122 w 157"/>
                      <a:gd name="T19" fmla="*/ 5 h 185"/>
                      <a:gd name="T20" fmla="*/ 107 w 157"/>
                      <a:gd name="T21" fmla="*/ 1 h 185"/>
                      <a:gd name="T22" fmla="*/ 94 w 157"/>
                      <a:gd name="T23" fmla="*/ 0 h 185"/>
                      <a:gd name="T24" fmla="*/ 79 w 157"/>
                      <a:gd name="T25" fmla="*/ 0 h 185"/>
                      <a:gd name="T26" fmla="*/ 65 w 157"/>
                      <a:gd name="T27" fmla="*/ 0 h 185"/>
                      <a:gd name="T28" fmla="*/ 50 w 157"/>
                      <a:gd name="T29" fmla="*/ 1 h 185"/>
                      <a:gd name="T30" fmla="*/ 35 w 157"/>
                      <a:gd name="T31" fmla="*/ 5 h 185"/>
                      <a:gd name="T32" fmla="*/ 21 w 157"/>
                      <a:gd name="T33" fmla="*/ 9 h 185"/>
                      <a:gd name="T34" fmla="*/ 21 w 157"/>
                      <a:gd name="T35" fmla="*/ 9 h 185"/>
                      <a:gd name="T36" fmla="*/ 13 w 157"/>
                      <a:gd name="T37" fmla="*/ 12 h 185"/>
                      <a:gd name="T38" fmla="*/ 8 w 157"/>
                      <a:gd name="T39" fmla="*/ 20 h 185"/>
                      <a:gd name="T40" fmla="*/ 8 w 157"/>
                      <a:gd name="T41" fmla="*/ 20 h 185"/>
                      <a:gd name="T42" fmla="*/ 2 w 157"/>
                      <a:gd name="T43" fmla="*/ 27 h 185"/>
                      <a:gd name="T44" fmla="*/ 0 w 157"/>
                      <a:gd name="T45" fmla="*/ 36 h 185"/>
                      <a:gd name="T46" fmla="*/ 0 w 157"/>
                      <a:gd name="T47" fmla="*/ 165 h 185"/>
                      <a:gd name="T48" fmla="*/ 0 w 157"/>
                      <a:gd name="T49" fmla="*/ 165 h 185"/>
                      <a:gd name="T50" fmla="*/ 2 w 157"/>
                      <a:gd name="T51" fmla="*/ 169 h 185"/>
                      <a:gd name="T52" fmla="*/ 4 w 157"/>
                      <a:gd name="T53" fmla="*/ 172 h 185"/>
                      <a:gd name="T54" fmla="*/ 10 w 157"/>
                      <a:gd name="T55" fmla="*/ 180 h 185"/>
                      <a:gd name="T56" fmla="*/ 10 w 157"/>
                      <a:gd name="T57" fmla="*/ 180 h 185"/>
                      <a:gd name="T58" fmla="*/ 19 w 157"/>
                      <a:gd name="T59" fmla="*/ 183 h 185"/>
                      <a:gd name="T60" fmla="*/ 28 w 157"/>
                      <a:gd name="T61" fmla="*/ 185 h 185"/>
                      <a:gd name="T62" fmla="*/ 129 w 157"/>
                      <a:gd name="T63" fmla="*/ 185 h 185"/>
                      <a:gd name="T64" fmla="*/ 129 w 157"/>
                      <a:gd name="T65" fmla="*/ 185 h 185"/>
                      <a:gd name="T66" fmla="*/ 138 w 157"/>
                      <a:gd name="T67" fmla="*/ 183 h 185"/>
                      <a:gd name="T68" fmla="*/ 148 w 157"/>
                      <a:gd name="T69" fmla="*/ 180 h 185"/>
                      <a:gd name="T70" fmla="*/ 148 w 157"/>
                      <a:gd name="T71" fmla="*/ 180 h 185"/>
                      <a:gd name="T72" fmla="*/ 155 w 157"/>
                      <a:gd name="T73" fmla="*/ 172 h 185"/>
                      <a:gd name="T74" fmla="*/ 155 w 157"/>
                      <a:gd name="T75" fmla="*/ 169 h 185"/>
                      <a:gd name="T76" fmla="*/ 157 w 157"/>
                      <a:gd name="T77" fmla="*/ 165 h 185"/>
                      <a:gd name="T78" fmla="*/ 157 w 157"/>
                      <a:gd name="T79" fmla="*/ 16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7" h="185">
                        <a:moveTo>
                          <a:pt x="157" y="165"/>
                        </a:moveTo>
                        <a:lnTo>
                          <a:pt x="157" y="36"/>
                        </a:lnTo>
                        <a:lnTo>
                          <a:pt x="157" y="36"/>
                        </a:lnTo>
                        <a:lnTo>
                          <a:pt x="155" y="27"/>
                        </a:lnTo>
                        <a:lnTo>
                          <a:pt x="151" y="20"/>
                        </a:lnTo>
                        <a:lnTo>
                          <a:pt x="151" y="20"/>
                        </a:lnTo>
                        <a:lnTo>
                          <a:pt x="144" y="12"/>
                        </a:lnTo>
                        <a:lnTo>
                          <a:pt x="137" y="9"/>
                        </a:lnTo>
                        <a:lnTo>
                          <a:pt x="137" y="9"/>
                        </a:lnTo>
                        <a:lnTo>
                          <a:pt x="122" y="5"/>
                        </a:lnTo>
                        <a:lnTo>
                          <a:pt x="107" y="1"/>
                        </a:lnTo>
                        <a:lnTo>
                          <a:pt x="94" y="0"/>
                        </a:lnTo>
                        <a:lnTo>
                          <a:pt x="79" y="0"/>
                        </a:lnTo>
                        <a:lnTo>
                          <a:pt x="65" y="0"/>
                        </a:lnTo>
                        <a:lnTo>
                          <a:pt x="50" y="1"/>
                        </a:lnTo>
                        <a:lnTo>
                          <a:pt x="35" y="5"/>
                        </a:lnTo>
                        <a:lnTo>
                          <a:pt x="21" y="9"/>
                        </a:lnTo>
                        <a:lnTo>
                          <a:pt x="21" y="9"/>
                        </a:lnTo>
                        <a:lnTo>
                          <a:pt x="13" y="12"/>
                        </a:lnTo>
                        <a:lnTo>
                          <a:pt x="8" y="20"/>
                        </a:lnTo>
                        <a:lnTo>
                          <a:pt x="8" y="20"/>
                        </a:lnTo>
                        <a:lnTo>
                          <a:pt x="2" y="27"/>
                        </a:lnTo>
                        <a:lnTo>
                          <a:pt x="0" y="36"/>
                        </a:lnTo>
                        <a:lnTo>
                          <a:pt x="0" y="165"/>
                        </a:lnTo>
                        <a:lnTo>
                          <a:pt x="0" y="165"/>
                        </a:lnTo>
                        <a:lnTo>
                          <a:pt x="2" y="169"/>
                        </a:lnTo>
                        <a:lnTo>
                          <a:pt x="4" y="172"/>
                        </a:lnTo>
                        <a:lnTo>
                          <a:pt x="10" y="180"/>
                        </a:lnTo>
                        <a:lnTo>
                          <a:pt x="10" y="180"/>
                        </a:lnTo>
                        <a:lnTo>
                          <a:pt x="19" y="183"/>
                        </a:lnTo>
                        <a:lnTo>
                          <a:pt x="28" y="185"/>
                        </a:lnTo>
                        <a:lnTo>
                          <a:pt x="129" y="185"/>
                        </a:lnTo>
                        <a:lnTo>
                          <a:pt x="129" y="185"/>
                        </a:lnTo>
                        <a:lnTo>
                          <a:pt x="138" y="183"/>
                        </a:lnTo>
                        <a:lnTo>
                          <a:pt x="148" y="180"/>
                        </a:lnTo>
                        <a:lnTo>
                          <a:pt x="148" y="180"/>
                        </a:lnTo>
                        <a:lnTo>
                          <a:pt x="155" y="172"/>
                        </a:lnTo>
                        <a:lnTo>
                          <a:pt x="155" y="169"/>
                        </a:lnTo>
                        <a:lnTo>
                          <a:pt x="157" y="165"/>
                        </a:lnTo>
                        <a:lnTo>
                          <a:pt x="157" y="165"/>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9" name="Freeform 1722">
                    <a:extLst>
                      <a:ext uri="{FF2B5EF4-FFF2-40B4-BE49-F238E27FC236}">
                        <a16:creationId xmlns:a16="http://schemas.microsoft.com/office/drawing/2014/main" id="{4B11FCF9-7B72-4B5F-9CFC-E896CACC02FD}"/>
                      </a:ext>
                    </a:extLst>
                  </p:cNvPr>
                  <p:cNvSpPr>
                    <a:spLocks/>
                  </p:cNvSpPr>
                  <p:nvPr/>
                </p:nvSpPr>
                <p:spPr bwMode="auto">
                  <a:xfrm>
                    <a:off x="775276" y="3818540"/>
                    <a:ext cx="185433" cy="208281"/>
                  </a:xfrm>
                  <a:custGeom>
                    <a:avLst/>
                    <a:gdLst>
                      <a:gd name="T0" fmla="*/ 129 w 157"/>
                      <a:gd name="T1" fmla="*/ 185 h 185"/>
                      <a:gd name="T2" fmla="*/ 129 w 157"/>
                      <a:gd name="T3" fmla="*/ 185 h 185"/>
                      <a:gd name="T4" fmla="*/ 138 w 157"/>
                      <a:gd name="T5" fmla="*/ 183 h 185"/>
                      <a:gd name="T6" fmla="*/ 148 w 157"/>
                      <a:gd name="T7" fmla="*/ 180 h 185"/>
                      <a:gd name="T8" fmla="*/ 148 w 157"/>
                      <a:gd name="T9" fmla="*/ 180 h 185"/>
                      <a:gd name="T10" fmla="*/ 155 w 157"/>
                      <a:gd name="T11" fmla="*/ 172 h 185"/>
                      <a:gd name="T12" fmla="*/ 155 w 157"/>
                      <a:gd name="T13" fmla="*/ 169 h 185"/>
                      <a:gd name="T14" fmla="*/ 157 w 157"/>
                      <a:gd name="T15" fmla="*/ 165 h 185"/>
                      <a:gd name="T16" fmla="*/ 157 w 157"/>
                      <a:gd name="T17" fmla="*/ 36 h 185"/>
                      <a:gd name="T18" fmla="*/ 157 w 157"/>
                      <a:gd name="T19" fmla="*/ 36 h 185"/>
                      <a:gd name="T20" fmla="*/ 155 w 157"/>
                      <a:gd name="T21" fmla="*/ 27 h 185"/>
                      <a:gd name="T22" fmla="*/ 151 w 157"/>
                      <a:gd name="T23" fmla="*/ 20 h 185"/>
                      <a:gd name="T24" fmla="*/ 151 w 157"/>
                      <a:gd name="T25" fmla="*/ 20 h 185"/>
                      <a:gd name="T26" fmla="*/ 144 w 157"/>
                      <a:gd name="T27" fmla="*/ 12 h 185"/>
                      <a:gd name="T28" fmla="*/ 137 w 157"/>
                      <a:gd name="T29" fmla="*/ 9 h 185"/>
                      <a:gd name="T30" fmla="*/ 137 w 157"/>
                      <a:gd name="T31" fmla="*/ 9 h 185"/>
                      <a:gd name="T32" fmla="*/ 122 w 157"/>
                      <a:gd name="T33" fmla="*/ 5 h 185"/>
                      <a:gd name="T34" fmla="*/ 107 w 157"/>
                      <a:gd name="T35" fmla="*/ 1 h 185"/>
                      <a:gd name="T36" fmla="*/ 94 w 157"/>
                      <a:gd name="T37" fmla="*/ 0 h 185"/>
                      <a:gd name="T38" fmla="*/ 79 w 157"/>
                      <a:gd name="T39" fmla="*/ 0 h 185"/>
                      <a:gd name="T40" fmla="*/ 65 w 157"/>
                      <a:gd name="T41" fmla="*/ 0 h 185"/>
                      <a:gd name="T42" fmla="*/ 50 w 157"/>
                      <a:gd name="T43" fmla="*/ 1 h 185"/>
                      <a:gd name="T44" fmla="*/ 35 w 157"/>
                      <a:gd name="T45" fmla="*/ 5 h 185"/>
                      <a:gd name="T46" fmla="*/ 21 w 157"/>
                      <a:gd name="T47" fmla="*/ 9 h 185"/>
                      <a:gd name="T48" fmla="*/ 21 w 157"/>
                      <a:gd name="T49" fmla="*/ 9 h 185"/>
                      <a:gd name="T50" fmla="*/ 13 w 157"/>
                      <a:gd name="T51" fmla="*/ 12 h 185"/>
                      <a:gd name="T52" fmla="*/ 8 w 157"/>
                      <a:gd name="T53" fmla="*/ 20 h 185"/>
                      <a:gd name="T54" fmla="*/ 8 w 157"/>
                      <a:gd name="T55" fmla="*/ 20 h 185"/>
                      <a:gd name="T56" fmla="*/ 2 w 157"/>
                      <a:gd name="T57" fmla="*/ 27 h 185"/>
                      <a:gd name="T58" fmla="*/ 0 w 157"/>
                      <a:gd name="T59" fmla="*/ 36 h 185"/>
                      <a:gd name="T60" fmla="*/ 0 w 157"/>
                      <a:gd name="T61" fmla="*/ 165 h 185"/>
                      <a:gd name="T62" fmla="*/ 0 w 157"/>
                      <a:gd name="T63" fmla="*/ 165 h 185"/>
                      <a:gd name="T64" fmla="*/ 2 w 157"/>
                      <a:gd name="T65" fmla="*/ 169 h 185"/>
                      <a:gd name="T66" fmla="*/ 4 w 157"/>
                      <a:gd name="T67" fmla="*/ 172 h 185"/>
                      <a:gd name="T68" fmla="*/ 10 w 157"/>
                      <a:gd name="T69" fmla="*/ 180 h 185"/>
                      <a:gd name="T70" fmla="*/ 10 w 157"/>
                      <a:gd name="T71" fmla="*/ 180 h 185"/>
                      <a:gd name="T72" fmla="*/ 19 w 157"/>
                      <a:gd name="T73" fmla="*/ 183 h 185"/>
                      <a:gd name="T74" fmla="*/ 28 w 157"/>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85">
                        <a:moveTo>
                          <a:pt x="129" y="185"/>
                        </a:moveTo>
                        <a:lnTo>
                          <a:pt x="129" y="185"/>
                        </a:lnTo>
                        <a:lnTo>
                          <a:pt x="138" y="183"/>
                        </a:lnTo>
                        <a:lnTo>
                          <a:pt x="148" y="180"/>
                        </a:lnTo>
                        <a:lnTo>
                          <a:pt x="148" y="180"/>
                        </a:lnTo>
                        <a:lnTo>
                          <a:pt x="155" y="172"/>
                        </a:lnTo>
                        <a:lnTo>
                          <a:pt x="155" y="169"/>
                        </a:lnTo>
                        <a:lnTo>
                          <a:pt x="157" y="165"/>
                        </a:lnTo>
                        <a:lnTo>
                          <a:pt x="157" y="36"/>
                        </a:lnTo>
                        <a:lnTo>
                          <a:pt x="157" y="36"/>
                        </a:lnTo>
                        <a:lnTo>
                          <a:pt x="155" y="27"/>
                        </a:lnTo>
                        <a:lnTo>
                          <a:pt x="151" y="20"/>
                        </a:lnTo>
                        <a:lnTo>
                          <a:pt x="151" y="20"/>
                        </a:lnTo>
                        <a:lnTo>
                          <a:pt x="144" y="12"/>
                        </a:lnTo>
                        <a:lnTo>
                          <a:pt x="137" y="9"/>
                        </a:lnTo>
                        <a:lnTo>
                          <a:pt x="137" y="9"/>
                        </a:lnTo>
                        <a:lnTo>
                          <a:pt x="122" y="5"/>
                        </a:lnTo>
                        <a:lnTo>
                          <a:pt x="107" y="1"/>
                        </a:lnTo>
                        <a:lnTo>
                          <a:pt x="94" y="0"/>
                        </a:lnTo>
                        <a:lnTo>
                          <a:pt x="79" y="0"/>
                        </a:lnTo>
                        <a:lnTo>
                          <a:pt x="65" y="0"/>
                        </a:lnTo>
                        <a:lnTo>
                          <a:pt x="50" y="1"/>
                        </a:lnTo>
                        <a:lnTo>
                          <a:pt x="35" y="5"/>
                        </a:lnTo>
                        <a:lnTo>
                          <a:pt x="21" y="9"/>
                        </a:lnTo>
                        <a:lnTo>
                          <a:pt x="21" y="9"/>
                        </a:lnTo>
                        <a:lnTo>
                          <a:pt x="13" y="12"/>
                        </a:lnTo>
                        <a:lnTo>
                          <a:pt x="8" y="20"/>
                        </a:lnTo>
                        <a:lnTo>
                          <a:pt x="8" y="20"/>
                        </a:lnTo>
                        <a:lnTo>
                          <a:pt x="2" y="27"/>
                        </a:lnTo>
                        <a:lnTo>
                          <a:pt x="0" y="36"/>
                        </a:lnTo>
                        <a:lnTo>
                          <a:pt x="0" y="165"/>
                        </a:lnTo>
                        <a:lnTo>
                          <a:pt x="0" y="165"/>
                        </a:lnTo>
                        <a:lnTo>
                          <a:pt x="2" y="169"/>
                        </a:lnTo>
                        <a:lnTo>
                          <a:pt x="4" y="172"/>
                        </a:lnTo>
                        <a:lnTo>
                          <a:pt x="10" y="180"/>
                        </a:lnTo>
                        <a:lnTo>
                          <a:pt x="10" y="180"/>
                        </a:lnTo>
                        <a:lnTo>
                          <a:pt x="19" y="183"/>
                        </a:lnTo>
                        <a:lnTo>
                          <a:pt x="28" y="185"/>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0" name="Freeform 1723">
                    <a:extLst>
                      <a:ext uri="{FF2B5EF4-FFF2-40B4-BE49-F238E27FC236}">
                        <a16:creationId xmlns:a16="http://schemas.microsoft.com/office/drawing/2014/main" id="{973F9555-88E9-4512-9497-F3CDE44A6B94}"/>
                      </a:ext>
                    </a:extLst>
                  </p:cNvPr>
                  <p:cNvSpPr>
                    <a:spLocks/>
                  </p:cNvSpPr>
                  <p:nvPr/>
                </p:nvSpPr>
                <p:spPr bwMode="auto">
                  <a:xfrm>
                    <a:off x="820446" y="3726716"/>
                    <a:ext cx="97472" cy="91823"/>
                  </a:xfrm>
                  <a:custGeom>
                    <a:avLst/>
                    <a:gdLst>
                      <a:gd name="T0" fmla="*/ 70 w 83"/>
                      <a:gd name="T1" fmla="*/ 13 h 83"/>
                      <a:gd name="T2" fmla="*/ 70 w 83"/>
                      <a:gd name="T3" fmla="*/ 13 h 83"/>
                      <a:gd name="T4" fmla="*/ 65 w 83"/>
                      <a:gd name="T5" fmla="*/ 7 h 83"/>
                      <a:gd name="T6" fmla="*/ 57 w 83"/>
                      <a:gd name="T7" fmla="*/ 3 h 83"/>
                      <a:gd name="T8" fmla="*/ 50 w 83"/>
                      <a:gd name="T9" fmla="*/ 2 h 83"/>
                      <a:gd name="T10" fmla="*/ 42 w 83"/>
                      <a:gd name="T11" fmla="*/ 0 h 83"/>
                      <a:gd name="T12" fmla="*/ 42 w 83"/>
                      <a:gd name="T13" fmla="*/ 0 h 83"/>
                      <a:gd name="T14" fmla="*/ 33 w 83"/>
                      <a:gd name="T15" fmla="*/ 2 h 83"/>
                      <a:gd name="T16" fmla="*/ 26 w 83"/>
                      <a:gd name="T17" fmla="*/ 3 h 83"/>
                      <a:gd name="T18" fmla="*/ 19 w 83"/>
                      <a:gd name="T19" fmla="*/ 7 h 83"/>
                      <a:gd name="T20" fmla="*/ 13 w 83"/>
                      <a:gd name="T21" fmla="*/ 13 h 83"/>
                      <a:gd name="T22" fmla="*/ 13 w 83"/>
                      <a:gd name="T23" fmla="*/ 13 h 83"/>
                      <a:gd name="T24" fmla="*/ 8 w 83"/>
                      <a:gd name="T25" fmla="*/ 18 h 83"/>
                      <a:gd name="T26" fmla="*/ 4 w 83"/>
                      <a:gd name="T27" fmla="*/ 25 h 83"/>
                      <a:gd name="T28" fmla="*/ 2 w 83"/>
                      <a:gd name="T29" fmla="*/ 33 h 83"/>
                      <a:gd name="T30" fmla="*/ 0 w 83"/>
                      <a:gd name="T31" fmla="*/ 42 h 83"/>
                      <a:gd name="T32" fmla="*/ 0 w 83"/>
                      <a:gd name="T33" fmla="*/ 42 h 83"/>
                      <a:gd name="T34" fmla="*/ 2 w 83"/>
                      <a:gd name="T35" fmla="*/ 49 h 83"/>
                      <a:gd name="T36" fmla="*/ 4 w 83"/>
                      <a:gd name="T37" fmla="*/ 57 h 83"/>
                      <a:gd name="T38" fmla="*/ 8 w 83"/>
                      <a:gd name="T39" fmla="*/ 64 h 83"/>
                      <a:gd name="T40" fmla="*/ 13 w 83"/>
                      <a:gd name="T41" fmla="*/ 70 h 83"/>
                      <a:gd name="T42" fmla="*/ 13 w 83"/>
                      <a:gd name="T43" fmla="*/ 70 h 83"/>
                      <a:gd name="T44" fmla="*/ 19 w 83"/>
                      <a:gd name="T45" fmla="*/ 75 h 83"/>
                      <a:gd name="T46" fmla="*/ 26 w 83"/>
                      <a:gd name="T47" fmla="*/ 79 h 83"/>
                      <a:gd name="T48" fmla="*/ 33 w 83"/>
                      <a:gd name="T49" fmla="*/ 83 h 83"/>
                      <a:gd name="T50" fmla="*/ 42 w 83"/>
                      <a:gd name="T51" fmla="*/ 83 h 83"/>
                      <a:gd name="T52" fmla="*/ 42 w 83"/>
                      <a:gd name="T53" fmla="*/ 83 h 83"/>
                      <a:gd name="T54" fmla="*/ 50 w 83"/>
                      <a:gd name="T55" fmla="*/ 83 h 83"/>
                      <a:gd name="T56" fmla="*/ 57 w 83"/>
                      <a:gd name="T57" fmla="*/ 79 h 83"/>
                      <a:gd name="T58" fmla="*/ 65 w 83"/>
                      <a:gd name="T59" fmla="*/ 75 h 83"/>
                      <a:gd name="T60" fmla="*/ 70 w 83"/>
                      <a:gd name="T61" fmla="*/ 70 h 83"/>
                      <a:gd name="T62" fmla="*/ 70 w 83"/>
                      <a:gd name="T63" fmla="*/ 70 h 83"/>
                      <a:gd name="T64" fmla="*/ 76 w 83"/>
                      <a:gd name="T65" fmla="*/ 64 h 83"/>
                      <a:gd name="T66" fmla="*/ 79 w 83"/>
                      <a:gd name="T67" fmla="*/ 57 h 83"/>
                      <a:gd name="T68" fmla="*/ 83 w 83"/>
                      <a:gd name="T69" fmla="*/ 49 h 83"/>
                      <a:gd name="T70" fmla="*/ 83 w 83"/>
                      <a:gd name="T71" fmla="*/ 42 h 83"/>
                      <a:gd name="T72" fmla="*/ 83 w 83"/>
                      <a:gd name="T73" fmla="*/ 42 h 83"/>
                      <a:gd name="T74" fmla="*/ 83 w 83"/>
                      <a:gd name="T75" fmla="*/ 33 h 83"/>
                      <a:gd name="T76" fmla="*/ 79 w 83"/>
                      <a:gd name="T77" fmla="*/ 25 h 83"/>
                      <a:gd name="T78" fmla="*/ 76 w 83"/>
                      <a:gd name="T79" fmla="*/ 18 h 83"/>
                      <a:gd name="T80" fmla="*/ 70 w 83"/>
                      <a:gd name="T81" fmla="*/ 13 h 83"/>
                      <a:gd name="T82" fmla="*/ 70 w 83"/>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70" y="13"/>
                        </a:moveTo>
                        <a:lnTo>
                          <a:pt x="70" y="13"/>
                        </a:lnTo>
                        <a:lnTo>
                          <a:pt x="65" y="7"/>
                        </a:lnTo>
                        <a:lnTo>
                          <a:pt x="57" y="3"/>
                        </a:lnTo>
                        <a:lnTo>
                          <a:pt x="50" y="2"/>
                        </a:lnTo>
                        <a:lnTo>
                          <a:pt x="42" y="0"/>
                        </a:lnTo>
                        <a:lnTo>
                          <a:pt x="42" y="0"/>
                        </a:lnTo>
                        <a:lnTo>
                          <a:pt x="33" y="2"/>
                        </a:lnTo>
                        <a:lnTo>
                          <a:pt x="26" y="3"/>
                        </a:lnTo>
                        <a:lnTo>
                          <a:pt x="19" y="7"/>
                        </a:lnTo>
                        <a:lnTo>
                          <a:pt x="13" y="13"/>
                        </a:lnTo>
                        <a:lnTo>
                          <a:pt x="13" y="13"/>
                        </a:lnTo>
                        <a:lnTo>
                          <a:pt x="8" y="18"/>
                        </a:lnTo>
                        <a:lnTo>
                          <a:pt x="4" y="25"/>
                        </a:lnTo>
                        <a:lnTo>
                          <a:pt x="2" y="33"/>
                        </a:lnTo>
                        <a:lnTo>
                          <a:pt x="0" y="42"/>
                        </a:lnTo>
                        <a:lnTo>
                          <a:pt x="0" y="42"/>
                        </a:lnTo>
                        <a:lnTo>
                          <a:pt x="2" y="49"/>
                        </a:lnTo>
                        <a:lnTo>
                          <a:pt x="4" y="57"/>
                        </a:lnTo>
                        <a:lnTo>
                          <a:pt x="8" y="64"/>
                        </a:lnTo>
                        <a:lnTo>
                          <a:pt x="13" y="70"/>
                        </a:lnTo>
                        <a:lnTo>
                          <a:pt x="13" y="70"/>
                        </a:lnTo>
                        <a:lnTo>
                          <a:pt x="19" y="75"/>
                        </a:lnTo>
                        <a:lnTo>
                          <a:pt x="26" y="79"/>
                        </a:lnTo>
                        <a:lnTo>
                          <a:pt x="33" y="83"/>
                        </a:lnTo>
                        <a:lnTo>
                          <a:pt x="42" y="83"/>
                        </a:lnTo>
                        <a:lnTo>
                          <a:pt x="42" y="83"/>
                        </a:lnTo>
                        <a:lnTo>
                          <a:pt x="50" y="83"/>
                        </a:lnTo>
                        <a:lnTo>
                          <a:pt x="57" y="79"/>
                        </a:lnTo>
                        <a:lnTo>
                          <a:pt x="65" y="75"/>
                        </a:lnTo>
                        <a:lnTo>
                          <a:pt x="70" y="70"/>
                        </a:lnTo>
                        <a:lnTo>
                          <a:pt x="70" y="70"/>
                        </a:lnTo>
                        <a:lnTo>
                          <a:pt x="76" y="64"/>
                        </a:lnTo>
                        <a:lnTo>
                          <a:pt x="79" y="57"/>
                        </a:lnTo>
                        <a:lnTo>
                          <a:pt x="83" y="49"/>
                        </a:lnTo>
                        <a:lnTo>
                          <a:pt x="83" y="42"/>
                        </a:lnTo>
                        <a:lnTo>
                          <a:pt x="83" y="42"/>
                        </a:lnTo>
                        <a:lnTo>
                          <a:pt x="83" y="33"/>
                        </a:lnTo>
                        <a:lnTo>
                          <a:pt x="79" y="25"/>
                        </a:lnTo>
                        <a:lnTo>
                          <a:pt x="76" y="18"/>
                        </a:lnTo>
                        <a:lnTo>
                          <a:pt x="70" y="13"/>
                        </a:lnTo>
                        <a:lnTo>
                          <a:pt x="70" y="13"/>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1" name="Freeform 1724">
                    <a:extLst>
                      <a:ext uri="{FF2B5EF4-FFF2-40B4-BE49-F238E27FC236}">
                        <a16:creationId xmlns:a16="http://schemas.microsoft.com/office/drawing/2014/main" id="{69D5B4D1-5D68-4920-8177-366F2D029CFB}"/>
                      </a:ext>
                    </a:extLst>
                  </p:cNvPr>
                  <p:cNvSpPr>
                    <a:spLocks/>
                  </p:cNvSpPr>
                  <p:nvPr/>
                </p:nvSpPr>
                <p:spPr bwMode="auto">
                  <a:xfrm>
                    <a:off x="820446" y="3726716"/>
                    <a:ext cx="97472" cy="91823"/>
                  </a:xfrm>
                  <a:custGeom>
                    <a:avLst/>
                    <a:gdLst>
                      <a:gd name="T0" fmla="*/ 83 w 83"/>
                      <a:gd name="T1" fmla="*/ 42 h 83"/>
                      <a:gd name="T2" fmla="*/ 83 w 83"/>
                      <a:gd name="T3" fmla="*/ 42 h 83"/>
                      <a:gd name="T4" fmla="*/ 83 w 83"/>
                      <a:gd name="T5" fmla="*/ 49 h 83"/>
                      <a:gd name="T6" fmla="*/ 79 w 83"/>
                      <a:gd name="T7" fmla="*/ 57 h 83"/>
                      <a:gd name="T8" fmla="*/ 76 w 83"/>
                      <a:gd name="T9" fmla="*/ 64 h 83"/>
                      <a:gd name="T10" fmla="*/ 70 w 83"/>
                      <a:gd name="T11" fmla="*/ 70 h 83"/>
                      <a:gd name="T12" fmla="*/ 70 w 83"/>
                      <a:gd name="T13" fmla="*/ 70 h 83"/>
                      <a:gd name="T14" fmla="*/ 65 w 83"/>
                      <a:gd name="T15" fmla="*/ 75 h 83"/>
                      <a:gd name="T16" fmla="*/ 57 w 83"/>
                      <a:gd name="T17" fmla="*/ 79 h 83"/>
                      <a:gd name="T18" fmla="*/ 50 w 83"/>
                      <a:gd name="T19" fmla="*/ 83 h 83"/>
                      <a:gd name="T20" fmla="*/ 42 w 83"/>
                      <a:gd name="T21" fmla="*/ 83 h 83"/>
                      <a:gd name="T22" fmla="*/ 42 w 83"/>
                      <a:gd name="T23" fmla="*/ 83 h 83"/>
                      <a:gd name="T24" fmla="*/ 33 w 83"/>
                      <a:gd name="T25" fmla="*/ 83 h 83"/>
                      <a:gd name="T26" fmla="*/ 26 w 83"/>
                      <a:gd name="T27" fmla="*/ 79 h 83"/>
                      <a:gd name="T28" fmla="*/ 19 w 83"/>
                      <a:gd name="T29" fmla="*/ 75 h 83"/>
                      <a:gd name="T30" fmla="*/ 13 w 83"/>
                      <a:gd name="T31" fmla="*/ 70 h 83"/>
                      <a:gd name="T32" fmla="*/ 13 w 83"/>
                      <a:gd name="T33" fmla="*/ 70 h 83"/>
                      <a:gd name="T34" fmla="*/ 8 w 83"/>
                      <a:gd name="T35" fmla="*/ 64 h 83"/>
                      <a:gd name="T36" fmla="*/ 4 w 83"/>
                      <a:gd name="T37" fmla="*/ 57 h 83"/>
                      <a:gd name="T38" fmla="*/ 2 w 83"/>
                      <a:gd name="T39" fmla="*/ 49 h 83"/>
                      <a:gd name="T40" fmla="*/ 0 w 83"/>
                      <a:gd name="T41" fmla="*/ 42 h 83"/>
                      <a:gd name="T42" fmla="*/ 0 w 83"/>
                      <a:gd name="T43" fmla="*/ 42 h 83"/>
                      <a:gd name="T44" fmla="*/ 2 w 83"/>
                      <a:gd name="T45" fmla="*/ 33 h 83"/>
                      <a:gd name="T46" fmla="*/ 4 w 83"/>
                      <a:gd name="T47" fmla="*/ 25 h 83"/>
                      <a:gd name="T48" fmla="*/ 8 w 83"/>
                      <a:gd name="T49" fmla="*/ 18 h 83"/>
                      <a:gd name="T50" fmla="*/ 13 w 83"/>
                      <a:gd name="T51" fmla="*/ 13 h 83"/>
                      <a:gd name="T52" fmla="*/ 13 w 83"/>
                      <a:gd name="T53" fmla="*/ 13 h 83"/>
                      <a:gd name="T54" fmla="*/ 19 w 83"/>
                      <a:gd name="T55" fmla="*/ 7 h 83"/>
                      <a:gd name="T56" fmla="*/ 26 w 83"/>
                      <a:gd name="T57" fmla="*/ 3 h 83"/>
                      <a:gd name="T58" fmla="*/ 33 w 83"/>
                      <a:gd name="T59" fmla="*/ 2 h 83"/>
                      <a:gd name="T60" fmla="*/ 42 w 83"/>
                      <a:gd name="T61" fmla="*/ 0 h 83"/>
                      <a:gd name="T62" fmla="*/ 42 w 83"/>
                      <a:gd name="T63" fmla="*/ 0 h 83"/>
                      <a:gd name="T64" fmla="*/ 50 w 83"/>
                      <a:gd name="T65" fmla="*/ 2 h 83"/>
                      <a:gd name="T66" fmla="*/ 57 w 83"/>
                      <a:gd name="T67" fmla="*/ 3 h 83"/>
                      <a:gd name="T68" fmla="*/ 65 w 83"/>
                      <a:gd name="T69" fmla="*/ 7 h 83"/>
                      <a:gd name="T70" fmla="*/ 70 w 83"/>
                      <a:gd name="T71" fmla="*/ 13 h 83"/>
                      <a:gd name="T72" fmla="*/ 70 w 83"/>
                      <a:gd name="T73" fmla="*/ 13 h 83"/>
                      <a:gd name="T74" fmla="*/ 76 w 83"/>
                      <a:gd name="T75" fmla="*/ 18 h 83"/>
                      <a:gd name="T76" fmla="*/ 79 w 83"/>
                      <a:gd name="T77" fmla="*/ 25 h 83"/>
                      <a:gd name="T78" fmla="*/ 83 w 83"/>
                      <a:gd name="T79" fmla="*/ 33 h 83"/>
                      <a:gd name="T80" fmla="*/ 83 w 83"/>
                      <a:gd name="T81" fmla="*/ 42 h 83"/>
                      <a:gd name="T82" fmla="*/ 83 w 83"/>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2"/>
                        </a:moveTo>
                        <a:lnTo>
                          <a:pt x="83" y="42"/>
                        </a:lnTo>
                        <a:lnTo>
                          <a:pt x="83" y="49"/>
                        </a:lnTo>
                        <a:lnTo>
                          <a:pt x="79" y="57"/>
                        </a:lnTo>
                        <a:lnTo>
                          <a:pt x="76" y="64"/>
                        </a:lnTo>
                        <a:lnTo>
                          <a:pt x="70" y="70"/>
                        </a:lnTo>
                        <a:lnTo>
                          <a:pt x="70" y="70"/>
                        </a:lnTo>
                        <a:lnTo>
                          <a:pt x="65" y="75"/>
                        </a:lnTo>
                        <a:lnTo>
                          <a:pt x="57" y="79"/>
                        </a:lnTo>
                        <a:lnTo>
                          <a:pt x="50" y="83"/>
                        </a:lnTo>
                        <a:lnTo>
                          <a:pt x="42" y="83"/>
                        </a:lnTo>
                        <a:lnTo>
                          <a:pt x="42" y="83"/>
                        </a:lnTo>
                        <a:lnTo>
                          <a:pt x="33" y="83"/>
                        </a:lnTo>
                        <a:lnTo>
                          <a:pt x="26" y="79"/>
                        </a:lnTo>
                        <a:lnTo>
                          <a:pt x="19" y="75"/>
                        </a:lnTo>
                        <a:lnTo>
                          <a:pt x="13" y="70"/>
                        </a:lnTo>
                        <a:lnTo>
                          <a:pt x="13" y="70"/>
                        </a:lnTo>
                        <a:lnTo>
                          <a:pt x="8" y="64"/>
                        </a:lnTo>
                        <a:lnTo>
                          <a:pt x="4" y="57"/>
                        </a:lnTo>
                        <a:lnTo>
                          <a:pt x="2" y="49"/>
                        </a:lnTo>
                        <a:lnTo>
                          <a:pt x="0" y="42"/>
                        </a:lnTo>
                        <a:lnTo>
                          <a:pt x="0" y="42"/>
                        </a:lnTo>
                        <a:lnTo>
                          <a:pt x="2" y="33"/>
                        </a:lnTo>
                        <a:lnTo>
                          <a:pt x="4" y="25"/>
                        </a:lnTo>
                        <a:lnTo>
                          <a:pt x="8" y="18"/>
                        </a:lnTo>
                        <a:lnTo>
                          <a:pt x="13" y="13"/>
                        </a:lnTo>
                        <a:lnTo>
                          <a:pt x="13" y="13"/>
                        </a:lnTo>
                        <a:lnTo>
                          <a:pt x="19" y="7"/>
                        </a:lnTo>
                        <a:lnTo>
                          <a:pt x="26" y="3"/>
                        </a:lnTo>
                        <a:lnTo>
                          <a:pt x="33" y="2"/>
                        </a:lnTo>
                        <a:lnTo>
                          <a:pt x="42" y="0"/>
                        </a:lnTo>
                        <a:lnTo>
                          <a:pt x="42" y="0"/>
                        </a:lnTo>
                        <a:lnTo>
                          <a:pt x="50" y="2"/>
                        </a:lnTo>
                        <a:lnTo>
                          <a:pt x="57" y="3"/>
                        </a:lnTo>
                        <a:lnTo>
                          <a:pt x="65" y="7"/>
                        </a:lnTo>
                        <a:lnTo>
                          <a:pt x="70" y="13"/>
                        </a:lnTo>
                        <a:lnTo>
                          <a:pt x="70" y="13"/>
                        </a:lnTo>
                        <a:lnTo>
                          <a:pt x="76" y="18"/>
                        </a:lnTo>
                        <a:lnTo>
                          <a:pt x="79" y="25"/>
                        </a:lnTo>
                        <a:lnTo>
                          <a:pt x="83" y="33"/>
                        </a:lnTo>
                        <a:lnTo>
                          <a:pt x="83" y="42"/>
                        </a:lnTo>
                        <a:lnTo>
                          <a:pt x="83"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2" name="Rectangle 1725">
                    <a:extLst>
                      <a:ext uri="{FF2B5EF4-FFF2-40B4-BE49-F238E27FC236}">
                        <a16:creationId xmlns:a16="http://schemas.microsoft.com/office/drawing/2014/main" id="{15DAD9DF-5E1C-4265-BD9E-F4B601B073C9}"/>
                      </a:ext>
                    </a:extLst>
                  </p:cNvPr>
                  <p:cNvSpPr>
                    <a:spLocks noChangeArrowheads="1"/>
                  </p:cNvSpPr>
                  <p:nvPr/>
                </p:nvSpPr>
                <p:spPr bwMode="auto">
                  <a:xfrm>
                    <a:off x="818068" y="3960809"/>
                    <a:ext cx="104603" cy="211584"/>
                  </a:xfrm>
                  <a:prstGeom prst="rect">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3" name="Freeform 1726">
                    <a:extLst>
                      <a:ext uri="{FF2B5EF4-FFF2-40B4-BE49-F238E27FC236}">
                        <a16:creationId xmlns:a16="http://schemas.microsoft.com/office/drawing/2014/main" id="{495C8DD9-EC64-4034-BD83-13375587FE5B}"/>
                      </a:ext>
                    </a:extLst>
                  </p:cNvPr>
                  <p:cNvSpPr>
                    <a:spLocks/>
                  </p:cNvSpPr>
                  <p:nvPr/>
                </p:nvSpPr>
                <p:spPr bwMode="auto">
                  <a:xfrm>
                    <a:off x="818068" y="3906629"/>
                    <a:ext cx="104603" cy="265764"/>
                  </a:xfrm>
                  <a:custGeom>
                    <a:avLst/>
                    <a:gdLst>
                      <a:gd name="T0" fmla="*/ 0 w 89"/>
                      <a:gd name="T1" fmla="*/ 0 h 272"/>
                      <a:gd name="T2" fmla="*/ 0 w 89"/>
                      <a:gd name="T3" fmla="*/ 272 h 272"/>
                      <a:gd name="T4" fmla="*/ 89 w 89"/>
                      <a:gd name="T5" fmla="*/ 272 h 272"/>
                      <a:gd name="T6" fmla="*/ 89 w 89"/>
                      <a:gd name="T7" fmla="*/ 0 h 272"/>
                    </a:gdLst>
                    <a:ahLst/>
                    <a:cxnLst>
                      <a:cxn ang="0">
                        <a:pos x="T0" y="T1"/>
                      </a:cxn>
                      <a:cxn ang="0">
                        <a:pos x="T2" y="T3"/>
                      </a:cxn>
                      <a:cxn ang="0">
                        <a:pos x="T4" y="T5"/>
                      </a:cxn>
                      <a:cxn ang="0">
                        <a:pos x="T6" y="T7"/>
                      </a:cxn>
                    </a:cxnLst>
                    <a:rect l="0" t="0" r="r" b="b"/>
                    <a:pathLst>
                      <a:path w="89" h="272">
                        <a:moveTo>
                          <a:pt x="0" y="0"/>
                        </a:moveTo>
                        <a:lnTo>
                          <a:pt x="0" y="272"/>
                        </a:lnTo>
                        <a:lnTo>
                          <a:pt x="89" y="272"/>
                        </a:lnTo>
                        <a:lnTo>
                          <a:pt x="89" y="0"/>
                        </a:lnTo>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04" name="Line 1727">
                    <a:extLst>
                      <a:ext uri="{FF2B5EF4-FFF2-40B4-BE49-F238E27FC236}">
                        <a16:creationId xmlns:a16="http://schemas.microsoft.com/office/drawing/2014/main" id="{03DEE293-77E1-441F-A725-FF652550D23C}"/>
                      </a:ext>
                    </a:extLst>
                  </p:cNvPr>
                  <p:cNvSpPr>
                    <a:spLocks noChangeShapeType="1"/>
                  </p:cNvSpPr>
                  <p:nvPr/>
                </p:nvSpPr>
                <p:spPr bwMode="auto">
                  <a:xfrm>
                    <a:off x="870370" y="4020102"/>
                    <a:ext cx="0" cy="152291"/>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187" name="Freeform 1728">
                  <a:extLst>
                    <a:ext uri="{FF2B5EF4-FFF2-40B4-BE49-F238E27FC236}">
                      <a16:creationId xmlns:a16="http://schemas.microsoft.com/office/drawing/2014/main" id="{7D649B65-8843-4E0A-A0A5-25D721601CD9}"/>
                    </a:ext>
                  </a:extLst>
                </p:cNvPr>
                <p:cNvSpPr>
                  <a:spLocks/>
                </p:cNvSpPr>
                <p:nvPr/>
              </p:nvSpPr>
              <p:spPr bwMode="auto">
                <a:xfrm>
                  <a:off x="4129261" y="4683656"/>
                  <a:ext cx="192468" cy="176997"/>
                </a:xfrm>
                <a:custGeom>
                  <a:avLst/>
                  <a:gdLst>
                    <a:gd name="T0" fmla="*/ 83 w 83"/>
                    <a:gd name="T1" fmla="*/ 41 h 83"/>
                    <a:gd name="T2" fmla="*/ 83 w 83"/>
                    <a:gd name="T3" fmla="*/ 41 h 83"/>
                    <a:gd name="T4" fmla="*/ 81 w 83"/>
                    <a:gd name="T5" fmla="*/ 34 h 83"/>
                    <a:gd name="T6" fmla="*/ 79 w 83"/>
                    <a:gd name="T7" fmla="*/ 24 h 83"/>
                    <a:gd name="T8" fmla="*/ 75 w 83"/>
                    <a:gd name="T9" fmla="*/ 19 h 83"/>
                    <a:gd name="T10" fmla="*/ 70 w 83"/>
                    <a:gd name="T11" fmla="*/ 11 h 83"/>
                    <a:gd name="T12" fmla="*/ 70 w 83"/>
                    <a:gd name="T13" fmla="*/ 11 h 83"/>
                    <a:gd name="T14" fmla="*/ 64 w 83"/>
                    <a:gd name="T15" fmla="*/ 6 h 83"/>
                    <a:gd name="T16" fmla="*/ 57 w 83"/>
                    <a:gd name="T17" fmla="*/ 2 h 83"/>
                    <a:gd name="T18" fmla="*/ 49 w 83"/>
                    <a:gd name="T19" fmla="*/ 0 h 83"/>
                    <a:gd name="T20" fmla="*/ 40 w 83"/>
                    <a:gd name="T21" fmla="*/ 0 h 83"/>
                    <a:gd name="T22" fmla="*/ 40 w 83"/>
                    <a:gd name="T23" fmla="*/ 0 h 83"/>
                    <a:gd name="T24" fmla="*/ 33 w 83"/>
                    <a:gd name="T25" fmla="*/ 0 h 83"/>
                    <a:gd name="T26" fmla="*/ 26 w 83"/>
                    <a:gd name="T27" fmla="*/ 2 h 83"/>
                    <a:gd name="T28" fmla="*/ 18 w 83"/>
                    <a:gd name="T29" fmla="*/ 6 h 83"/>
                    <a:gd name="T30" fmla="*/ 11 w 83"/>
                    <a:gd name="T31" fmla="*/ 11 h 83"/>
                    <a:gd name="T32" fmla="*/ 11 w 83"/>
                    <a:gd name="T33" fmla="*/ 11 h 83"/>
                    <a:gd name="T34" fmla="*/ 7 w 83"/>
                    <a:gd name="T35" fmla="*/ 19 h 83"/>
                    <a:gd name="T36" fmla="*/ 2 w 83"/>
                    <a:gd name="T37" fmla="*/ 24 h 83"/>
                    <a:gd name="T38" fmla="*/ 0 w 83"/>
                    <a:gd name="T39" fmla="*/ 34 h 83"/>
                    <a:gd name="T40" fmla="*/ 0 w 83"/>
                    <a:gd name="T41" fmla="*/ 41 h 83"/>
                    <a:gd name="T42" fmla="*/ 0 w 83"/>
                    <a:gd name="T43" fmla="*/ 41 h 83"/>
                    <a:gd name="T44" fmla="*/ 0 w 83"/>
                    <a:gd name="T45" fmla="*/ 50 h 83"/>
                    <a:gd name="T46" fmla="*/ 2 w 83"/>
                    <a:gd name="T47" fmla="*/ 57 h 83"/>
                    <a:gd name="T48" fmla="*/ 7 w 83"/>
                    <a:gd name="T49" fmla="*/ 65 h 83"/>
                    <a:gd name="T50" fmla="*/ 11 w 83"/>
                    <a:gd name="T51" fmla="*/ 70 h 83"/>
                    <a:gd name="T52" fmla="*/ 11 w 83"/>
                    <a:gd name="T53" fmla="*/ 70 h 83"/>
                    <a:gd name="T54" fmla="*/ 18 w 83"/>
                    <a:gd name="T55" fmla="*/ 76 h 83"/>
                    <a:gd name="T56" fmla="*/ 26 w 83"/>
                    <a:gd name="T57" fmla="*/ 80 h 83"/>
                    <a:gd name="T58" fmla="*/ 33 w 83"/>
                    <a:gd name="T59" fmla="*/ 81 h 83"/>
                    <a:gd name="T60" fmla="*/ 40 w 83"/>
                    <a:gd name="T61" fmla="*/ 83 h 83"/>
                    <a:gd name="T62" fmla="*/ 40 w 83"/>
                    <a:gd name="T63" fmla="*/ 83 h 83"/>
                    <a:gd name="T64" fmla="*/ 49 w 83"/>
                    <a:gd name="T65" fmla="*/ 81 h 83"/>
                    <a:gd name="T66" fmla="*/ 57 w 83"/>
                    <a:gd name="T67" fmla="*/ 80 h 83"/>
                    <a:gd name="T68" fmla="*/ 64 w 83"/>
                    <a:gd name="T69" fmla="*/ 76 h 83"/>
                    <a:gd name="T70" fmla="*/ 70 w 83"/>
                    <a:gd name="T71" fmla="*/ 70 h 83"/>
                    <a:gd name="T72" fmla="*/ 70 w 83"/>
                    <a:gd name="T73" fmla="*/ 70 h 83"/>
                    <a:gd name="T74" fmla="*/ 75 w 83"/>
                    <a:gd name="T75" fmla="*/ 65 h 83"/>
                    <a:gd name="T76" fmla="*/ 79 w 83"/>
                    <a:gd name="T77" fmla="*/ 57 h 83"/>
                    <a:gd name="T78" fmla="*/ 81 w 83"/>
                    <a:gd name="T79" fmla="*/ 50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1" y="34"/>
                      </a:lnTo>
                      <a:lnTo>
                        <a:pt x="79" y="24"/>
                      </a:lnTo>
                      <a:lnTo>
                        <a:pt x="75" y="19"/>
                      </a:lnTo>
                      <a:lnTo>
                        <a:pt x="70" y="11"/>
                      </a:lnTo>
                      <a:lnTo>
                        <a:pt x="70" y="11"/>
                      </a:lnTo>
                      <a:lnTo>
                        <a:pt x="64" y="6"/>
                      </a:lnTo>
                      <a:lnTo>
                        <a:pt x="57" y="2"/>
                      </a:lnTo>
                      <a:lnTo>
                        <a:pt x="49" y="0"/>
                      </a:lnTo>
                      <a:lnTo>
                        <a:pt x="40" y="0"/>
                      </a:lnTo>
                      <a:lnTo>
                        <a:pt x="40" y="0"/>
                      </a:lnTo>
                      <a:lnTo>
                        <a:pt x="33" y="0"/>
                      </a:lnTo>
                      <a:lnTo>
                        <a:pt x="26" y="2"/>
                      </a:lnTo>
                      <a:lnTo>
                        <a:pt x="18" y="6"/>
                      </a:lnTo>
                      <a:lnTo>
                        <a:pt x="11" y="11"/>
                      </a:lnTo>
                      <a:lnTo>
                        <a:pt x="11" y="11"/>
                      </a:lnTo>
                      <a:lnTo>
                        <a:pt x="7" y="19"/>
                      </a:lnTo>
                      <a:lnTo>
                        <a:pt x="2" y="24"/>
                      </a:lnTo>
                      <a:lnTo>
                        <a:pt x="0" y="34"/>
                      </a:lnTo>
                      <a:lnTo>
                        <a:pt x="0" y="41"/>
                      </a:lnTo>
                      <a:lnTo>
                        <a:pt x="0" y="41"/>
                      </a:lnTo>
                      <a:lnTo>
                        <a:pt x="0" y="50"/>
                      </a:lnTo>
                      <a:lnTo>
                        <a:pt x="2" y="57"/>
                      </a:lnTo>
                      <a:lnTo>
                        <a:pt x="7" y="65"/>
                      </a:lnTo>
                      <a:lnTo>
                        <a:pt x="11" y="70"/>
                      </a:lnTo>
                      <a:lnTo>
                        <a:pt x="11" y="70"/>
                      </a:lnTo>
                      <a:lnTo>
                        <a:pt x="18" y="76"/>
                      </a:lnTo>
                      <a:lnTo>
                        <a:pt x="26" y="80"/>
                      </a:lnTo>
                      <a:lnTo>
                        <a:pt x="33" y="81"/>
                      </a:lnTo>
                      <a:lnTo>
                        <a:pt x="40" y="83"/>
                      </a:lnTo>
                      <a:lnTo>
                        <a:pt x="40" y="83"/>
                      </a:lnTo>
                      <a:lnTo>
                        <a:pt x="49" y="81"/>
                      </a:lnTo>
                      <a:lnTo>
                        <a:pt x="57" y="80"/>
                      </a:lnTo>
                      <a:lnTo>
                        <a:pt x="64" y="76"/>
                      </a:lnTo>
                      <a:lnTo>
                        <a:pt x="70" y="70"/>
                      </a:lnTo>
                      <a:lnTo>
                        <a:pt x="70" y="70"/>
                      </a:lnTo>
                      <a:lnTo>
                        <a:pt x="75" y="65"/>
                      </a:lnTo>
                      <a:lnTo>
                        <a:pt x="79" y="57"/>
                      </a:lnTo>
                      <a:lnTo>
                        <a:pt x="81" y="50"/>
                      </a:lnTo>
                      <a:lnTo>
                        <a:pt x="83" y="41"/>
                      </a:lnTo>
                      <a:lnTo>
                        <a:pt x="83" y="41"/>
                      </a:lnTo>
                      <a:close/>
                    </a:path>
                  </a:pathLst>
                </a:custGeom>
                <a:solidFill>
                  <a:srgbClr val="CDD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8" name="Freeform 1729">
                  <a:extLst>
                    <a:ext uri="{FF2B5EF4-FFF2-40B4-BE49-F238E27FC236}">
                      <a16:creationId xmlns:a16="http://schemas.microsoft.com/office/drawing/2014/main" id="{9D3E3D6F-EA64-4921-A113-8210770B4160}"/>
                    </a:ext>
                  </a:extLst>
                </p:cNvPr>
                <p:cNvSpPr>
                  <a:spLocks/>
                </p:cNvSpPr>
                <p:nvPr/>
              </p:nvSpPr>
              <p:spPr bwMode="auto">
                <a:xfrm>
                  <a:off x="4129261" y="4683656"/>
                  <a:ext cx="192468" cy="176997"/>
                </a:xfrm>
                <a:custGeom>
                  <a:avLst/>
                  <a:gdLst>
                    <a:gd name="T0" fmla="*/ 83 w 83"/>
                    <a:gd name="T1" fmla="*/ 41 h 83"/>
                    <a:gd name="T2" fmla="*/ 83 w 83"/>
                    <a:gd name="T3" fmla="*/ 41 h 83"/>
                    <a:gd name="T4" fmla="*/ 81 w 83"/>
                    <a:gd name="T5" fmla="*/ 50 h 83"/>
                    <a:gd name="T6" fmla="*/ 79 w 83"/>
                    <a:gd name="T7" fmla="*/ 57 h 83"/>
                    <a:gd name="T8" fmla="*/ 75 w 83"/>
                    <a:gd name="T9" fmla="*/ 65 h 83"/>
                    <a:gd name="T10" fmla="*/ 70 w 83"/>
                    <a:gd name="T11" fmla="*/ 70 h 83"/>
                    <a:gd name="T12" fmla="*/ 70 w 83"/>
                    <a:gd name="T13" fmla="*/ 70 h 83"/>
                    <a:gd name="T14" fmla="*/ 64 w 83"/>
                    <a:gd name="T15" fmla="*/ 76 h 83"/>
                    <a:gd name="T16" fmla="*/ 57 w 83"/>
                    <a:gd name="T17" fmla="*/ 80 h 83"/>
                    <a:gd name="T18" fmla="*/ 49 w 83"/>
                    <a:gd name="T19" fmla="*/ 81 h 83"/>
                    <a:gd name="T20" fmla="*/ 40 w 83"/>
                    <a:gd name="T21" fmla="*/ 83 h 83"/>
                    <a:gd name="T22" fmla="*/ 40 w 83"/>
                    <a:gd name="T23" fmla="*/ 83 h 83"/>
                    <a:gd name="T24" fmla="*/ 33 w 83"/>
                    <a:gd name="T25" fmla="*/ 81 h 83"/>
                    <a:gd name="T26" fmla="*/ 26 w 83"/>
                    <a:gd name="T27" fmla="*/ 80 h 83"/>
                    <a:gd name="T28" fmla="*/ 18 w 83"/>
                    <a:gd name="T29" fmla="*/ 76 h 83"/>
                    <a:gd name="T30" fmla="*/ 11 w 83"/>
                    <a:gd name="T31" fmla="*/ 70 h 83"/>
                    <a:gd name="T32" fmla="*/ 11 w 83"/>
                    <a:gd name="T33" fmla="*/ 70 h 83"/>
                    <a:gd name="T34" fmla="*/ 7 w 83"/>
                    <a:gd name="T35" fmla="*/ 65 h 83"/>
                    <a:gd name="T36" fmla="*/ 2 w 83"/>
                    <a:gd name="T37" fmla="*/ 57 h 83"/>
                    <a:gd name="T38" fmla="*/ 0 w 83"/>
                    <a:gd name="T39" fmla="*/ 50 h 83"/>
                    <a:gd name="T40" fmla="*/ 0 w 83"/>
                    <a:gd name="T41" fmla="*/ 41 h 83"/>
                    <a:gd name="T42" fmla="*/ 0 w 83"/>
                    <a:gd name="T43" fmla="*/ 41 h 83"/>
                    <a:gd name="T44" fmla="*/ 0 w 83"/>
                    <a:gd name="T45" fmla="*/ 34 h 83"/>
                    <a:gd name="T46" fmla="*/ 2 w 83"/>
                    <a:gd name="T47" fmla="*/ 24 h 83"/>
                    <a:gd name="T48" fmla="*/ 7 w 83"/>
                    <a:gd name="T49" fmla="*/ 19 h 83"/>
                    <a:gd name="T50" fmla="*/ 11 w 83"/>
                    <a:gd name="T51" fmla="*/ 11 h 83"/>
                    <a:gd name="T52" fmla="*/ 11 w 83"/>
                    <a:gd name="T53" fmla="*/ 11 h 83"/>
                    <a:gd name="T54" fmla="*/ 18 w 83"/>
                    <a:gd name="T55" fmla="*/ 6 h 83"/>
                    <a:gd name="T56" fmla="*/ 26 w 83"/>
                    <a:gd name="T57" fmla="*/ 2 h 83"/>
                    <a:gd name="T58" fmla="*/ 33 w 83"/>
                    <a:gd name="T59" fmla="*/ 0 h 83"/>
                    <a:gd name="T60" fmla="*/ 40 w 83"/>
                    <a:gd name="T61" fmla="*/ 0 h 83"/>
                    <a:gd name="T62" fmla="*/ 40 w 83"/>
                    <a:gd name="T63" fmla="*/ 0 h 83"/>
                    <a:gd name="T64" fmla="*/ 49 w 83"/>
                    <a:gd name="T65" fmla="*/ 0 h 83"/>
                    <a:gd name="T66" fmla="*/ 57 w 83"/>
                    <a:gd name="T67" fmla="*/ 2 h 83"/>
                    <a:gd name="T68" fmla="*/ 64 w 83"/>
                    <a:gd name="T69" fmla="*/ 6 h 83"/>
                    <a:gd name="T70" fmla="*/ 70 w 83"/>
                    <a:gd name="T71" fmla="*/ 11 h 83"/>
                    <a:gd name="T72" fmla="*/ 70 w 83"/>
                    <a:gd name="T73" fmla="*/ 11 h 83"/>
                    <a:gd name="T74" fmla="*/ 75 w 83"/>
                    <a:gd name="T75" fmla="*/ 19 h 83"/>
                    <a:gd name="T76" fmla="*/ 79 w 83"/>
                    <a:gd name="T77" fmla="*/ 24 h 83"/>
                    <a:gd name="T78" fmla="*/ 81 w 83"/>
                    <a:gd name="T79" fmla="*/ 34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1" y="50"/>
                      </a:lnTo>
                      <a:lnTo>
                        <a:pt x="79" y="57"/>
                      </a:lnTo>
                      <a:lnTo>
                        <a:pt x="75" y="65"/>
                      </a:lnTo>
                      <a:lnTo>
                        <a:pt x="70" y="70"/>
                      </a:lnTo>
                      <a:lnTo>
                        <a:pt x="70" y="70"/>
                      </a:lnTo>
                      <a:lnTo>
                        <a:pt x="64" y="76"/>
                      </a:lnTo>
                      <a:lnTo>
                        <a:pt x="57" y="80"/>
                      </a:lnTo>
                      <a:lnTo>
                        <a:pt x="49" y="81"/>
                      </a:lnTo>
                      <a:lnTo>
                        <a:pt x="40" y="83"/>
                      </a:lnTo>
                      <a:lnTo>
                        <a:pt x="40" y="83"/>
                      </a:lnTo>
                      <a:lnTo>
                        <a:pt x="33" y="81"/>
                      </a:lnTo>
                      <a:lnTo>
                        <a:pt x="26" y="80"/>
                      </a:lnTo>
                      <a:lnTo>
                        <a:pt x="18" y="76"/>
                      </a:lnTo>
                      <a:lnTo>
                        <a:pt x="11" y="70"/>
                      </a:lnTo>
                      <a:lnTo>
                        <a:pt x="11" y="70"/>
                      </a:lnTo>
                      <a:lnTo>
                        <a:pt x="7" y="65"/>
                      </a:lnTo>
                      <a:lnTo>
                        <a:pt x="2" y="57"/>
                      </a:lnTo>
                      <a:lnTo>
                        <a:pt x="0" y="50"/>
                      </a:lnTo>
                      <a:lnTo>
                        <a:pt x="0" y="41"/>
                      </a:lnTo>
                      <a:lnTo>
                        <a:pt x="0" y="41"/>
                      </a:lnTo>
                      <a:lnTo>
                        <a:pt x="0" y="34"/>
                      </a:lnTo>
                      <a:lnTo>
                        <a:pt x="2" y="24"/>
                      </a:lnTo>
                      <a:lnTo>
                        <a:pt x="7" y="19"/>
                      </a:lnTo>
                      <a:lnTo>
                        <a:pt x="11" y="11"/>
                      </a:lnTo>
                      <a:lnTo>
                        <a:pt x="11" y="11"/>
                      </a:lnTo>
                      <a:lnTo>
                        <a:pt x="18" y="6"/>
                      </a:lnTo>
                      <a:lnTo>
                        <a:pt x="26" y="2"/>
                      </a:lnTo>
                      <a:lnTo>
                        <a:pt x="33" y="0"/>
                      </a:lnTo>
                      <a:lnTo>
                        <a:pt x="40" y="0"/>
                      </a:lnTo>
                      <a:lnTo>
                        <a:pt x="40" y="0"/>
                      </a:lnTo>
                      <a:lnTo>
                        <a:pt x="49" y="0"/>
                      </a:lnTo>
                      <a:lnTo>
                        <a:pt x="57" y="2"/>
                      </a:lnTo>
                      <a:lnTo>
                        <a:pt x="64" y="6"/>
                      </a:lnTo>
                      <a:lnTo>
                        <a:pt x="70" y="11"/>
                      </a:lnTo>
                      <a:lnTo>
                        <a:pt x="70" y="11"/>
                      </a:lnTo>
                      <a:lnTo>
                        <a:pt x="75" y="19"/>
                      </a:lnTo>
                      <a:lnTo>
                        <a:pt x="79" y="24"/>
                      </a:lnTo>
                      <a:lnTo>
                        <a:pt x="81" y="34"/>
                      </a:lnTo>
                      <a:lnTo>
                        <a:pt x="83" y="41"/>
                      </a:lnTo>
                      <a:lnTo>
                        <a:pt x="83" y="41"/>
                      </a:lnTo>
                      <a:close/>
                    </a:path>
                  </a:pathLst>
                </a:custGeom>
                <a:noFill/>
                <a:ln w="17463">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89" name="Freeform 1730">
                  <a:extLst>
                    <a:ext uri="{FF2B5EF4-FFF2-40B4-BE49-F238E27FC236}">
                      <a16:creationId xmlns:a16="http://schemas.microsoft.com/office/drawing/2014/main" id="{85AB8F60-D0AB-43A0-9089-8DF04AA25B1A}"/>
                    </a:ext>
                  </a:extLst>
                </p:cNvPr>
                <p:cNvSpPr>
                  <a:spLocks/>
                </p:cNvSpPr>
                <p:nvPr/>
              </p:nvSpPr>
              <p:spPr bwMode="auto">
                <a:xfrm>
                  <a:off x="3776404" y="4683656"/>
                  <a:ext cx="192468" cy="176997"/>
                </a:xfrm>
                <a:custGeom>
                  <a:avLst/>
                  <a:gdLst>
                    <a:gd name="T0" fmla="*/ 13 w 83"/>
                    <a:gd name="T1" fmla="*/ 11 h 83"/>
                    <a:gd name="T2" fmla="*/ 13 w 83"/>
                    <a:gd name="T3" fmla="*/ 11 h 83"/>
                    <a:gd name="T4" fmla="*/ 8 w 83"/>
                    <a:gd name="T5" fmla="*/ 19 h 83"/>
                    <a:gd name="T6" fmla="*/ 4 w 83"/>
                    <a:gd name="T7" fmla="*/ 24 h 83"/>
                    <a:gd name="T8" fmla="*/ 2 w 83"/>
                    <a:gd name="T9" fmla="*/ 34 h 83"/>
                    <a:gd name="T10" fmla="*/ 0 w 83"/>
                    <a:gd name="T11" fmla="*/ 41 h 83"/>
                    <a:gd name="T12" fmla="*/ 0 w 83"/>
                    <a:gd name="T13" fmla="*/ 41 h 83"/>
                    <a:gd name="T14" fmla="*/ 2 w 83"/>
                    <a:gd name="T15" fmla="*/ 50 h 83"/>
                    <a:gd name="T16" fmla="*/ 4 w 83"/>
                    <a:gd name="T17" fmla="*/ 57 h 83"/>
                    <a:gd name="T18" fmla="*/ 8 w 83"/>
                    <a:gd name="T19" fmla="*/ 65 h 83"/>
                    <a:gd name="T20" fmla="*/ 13 w 83"/>
                    <a:gd name="T21" fmla="*/ 70 h 83"/>
                    <a:gd name="T22" fmla="*/ 13 w 83"/>
                    <a:gd name="T23" fmla="*/ 70 h 83"/>
                    <a:gd name="T24" fmla="*/ 19 w 83"/>
                    <a:gd name="T25" fmla="*/ 76 h 83"/>
                    <a:gd name="T26" fmla="*/ 26 w 83"/>
                    <a:gd name="T27" fmla="*/ 80 h 83"/>
                    <a:gd name="T28" fmla="*/ 33 w 83"/>
                    <a:gd name="T29" fmla="*/ 81 h 83"/>
                    <a:gd name="T30" fmla="*/ 43 w 83"/>
                    <a:gd name="T31" fmla="*/ 83 h 83"/>
                    <a:gd name="T32" fmla="*/ 43 w 83"/>
                    <a:gd name="T33" fmla="*/ 83 h 83"/>
                    <a:gd name="T34" fmla="*/ 50 w 83"/>
                    <a:gd name="T35" fmla="*/ 81 h 83"/>
                    <a:gd name="T36" fmla="*/ 57 w 83"/>
                    <a:gd name="T37" fmla="*/ 80 h 83"/>
                    <a:gd name="T38" fmla="*/ 65 w 83"/>
                    <a:gd name="T39" fmla="*/ 76 h 83"/>
                    <a:gd name="T40" fmla="*/ 72 w 83"/>
                    <a:gd name="T41" fmla="*/ 70 h 83"/>
                    <a:gd name="T42" fmla="*/ 72 w 83"/>
                    <a:gd name="T43" fmla="*/ 70 h 83"/>
                    <a:gd name="T44" fmla="*/ 76 w 83"/>
                    <a:gd name="T45" fmla="*/ 65 h 83"/>
                    <a:gd name="T46" fmla="*/ 81 w 83"/>
                    <a:gd name="T47" fmla="*/ 57 h 83"/>
                    <a:gd name="T48" fmla="*/ 83 w 83"/>
                    <a:gd name="T49" fmla="*/ 50 h 83"/>
                    <a:gd name="T50" fmla="*/ 83 w 83"/>
                    <a:gd name="T51" fmla="*/ 41 h 83"/>
                    <a:gd name="T52" fmla="*/ 83 w 83"/>
                    <a:gd name="T53" fmla="*/ 41 h 83"/>
                    <a:gd name="T54" fmla="*/ 83 w 83"/>
                    <a:gd name="T55" fmla="*/ 34 h 83"/>
                    <a:gd name="T56" fmla="*/ 81 w 83"/>
                    <a:gd name="T57" fmla="*/ 26 h 83"/>
                    <a:gd name="T58" fmla="*/ 76 w 83"/>
                    <a:gd name="T59" fmla="*/ 19 h 83"/>
                    <a:gd name="T60" fmla="*/ 72 w 83"/>
                    <a:gd name="T61" fmla="*/ 11 h 83"/>
                    <a:gd name="T62" fmla="*/ 72 w 83"/>
                    <a:gd name="T63" fmla="*/ 11 h 83"/>
                    <a:gd name="T64" fmla="*/ 65 w 83"/>
                    <a:gd name="T65" fmla="*/ 6 h 83"/>
                    <a:gd name="T66" fmla="*/ 57 w 83"/>
                    <a:gd name="T67" fmla="*/ 2 h 83"/>
                    <a:gd name="T68" fmla="*/ 50 w 83"/>
                    <a:gd name="T69" fmla="*/ 0 h 83"/>
                    <a:gd name="T70" fmla="*/ 43 w 83"/>
                    <a:gd name="T71" fmla="*/ 0 h 83"/>
                    <a:gd name="T72" fmla="*/ 43 w 83"/>
                    <a:gd name="T73" fmla="*/ 0 h 83"/>
                    <a:gd name="T74" fmla="*/ 33 w 83"/>
                    <a:gd name="T75" fmla="*/ 0 h 83"/>
                    <a:gd name="T76" fmla="*/ 26 w 83"/>
                    <a:gd name="T77" fmla="*/ 2 h 83"/>
                    <a:gd name="T78" fmla="*/ 19 w 83"/>
                    <a:gd name="T79" fmla="*/ 6 h 83"/>
                    <a:gd name="T80" fmla="*/ 13 w 83"/>
                    <a:gd name="T81" fmla="*/ 11 h 83"/>
                    <a:gd name="T82" fmla="*/ 13 w 83"/>
                    <a:gd name="T83" fmla="*/ 1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13" y="11"/>
                      </a:moveTo>
                      <a:lnTo>
                        <a:pt x="13" y="11"/>
                      </a:lnTo>
                      <a:lnTo>
                        <a:pt x="8" y="19"/>
                      </a:lnTo>
                      <a:lnTo>
                        <a:pt x="4" y="24"/>
                      </a:lnTo>
                      <a:lnTo>
                        <a:pt x="2" y="34"/>
                      </a:lnTo>
                      <a:lnTo>
                        <a:pt x="0" y="41"/>
                      </a:lnTo>
                      <a:lnTo>
                        <a:pt x="0" y="41"/>
                      </a:lnTo>
                      <a:lnTo>
                        <a:pt x="2" y="50"/>
                      </a:lnTo>
                      <a:lnTo>
                        <a:pt x="4" y="57"/>
                      </a:lnTo>
                      <a:lnTo>
                        <a:pt x="8" y="65"/>
                      </a:lnTo>
                      <a:lnTo>
                        <a:pt x="13" y="70"/>
                      </a:lnTo>
                      <a:lnTo>
                        <a:pt x="13" y="70"/>
                      </a:lnTo>
                      <a:lnTo>
                        <a:pt x="19" y="76"/>
                      </a:lnTo>
                      <a:lnTo>
                        <a:pt x="26" y="80"/>
                      </a:lnTo>
                      <a:lnTo>
                        <a:pt x="33" y="81"/>
                      </a:lnTo>
                      <a:lnTo>
                        <a:pt x="43" y="83"/>
                      </a:lnTo>
                      <a:lnTo>
                        <a:pt x="43" y="83"/>
                      </a:lnTo>
                      <a:lnTo>
                        <a:pt x="50" y="81"/>
                      </a:lnTo>
                      <a:lnTo>
                        <a:pt x="57" y="80"/>
                      </a:lnTo>
                      <a:lnTo>
                        <a:pt x="65" y="76"/>
                      </a:lnTo>
                      <a:lnTo>
                        <a:pt x="72" y="70"/>
                      </a:lnTo>
                      <a:lnTo>
                        <a:pt x="72" y="70"/>
                      </a:lnTo>
                      <a:lnTo>
                        <a:pt x="76" y="65"/>
                      </a:lnTo>
                      <a:lnTo>
                        <a:pt x="81" y="57"/>
                      </a:lnTo>
                      <a:lnTo>
                        <a:pt x="83" y="50"/>
                      </a:lnTo>
                      <a:lnTo>
                        <a:pt x="83" y="41"/>
                      </a:lnTo>
                      <a:lnTo>
                        <a:pt x="83" y="41"/>
                      </a:lnTo>
                      <a:lnTo>
                        <a:pt x="83" y="34"/>
                      </a:lnTo>
                      <a:lnTo>
                        <a:pt x="81" y="26"/>
                      </a:lnTo>
                      <a:lnTo>
                        <a:pt x="76" y="19"/>
                      </a:lnTo>
                      <a:lnTo>
                        <a:pt x="72" y="11"/>
                      </a:lnTo>
                      <a:lnTo>
                        <a:pt x="72" y="11"/>
                      </a:lnTo>
                      <a:lnTo>
                        <a:pt x="65" y="6"/>
                      </a:lnTo>
                      <a:lnTo>
                        <a:pt x="57" y="2"/>
                      </a:lnTo>
                      <a:lnTo>
                        <a:pt x="50" y="0"/>
                      </a:lnTo>
                      <a:lnTo>
                        <a:pt x="43" y="0"/>
                      </a:lnTo>
                      <a:lnTo>
                        <a:pt x="43" y="0"/>
                      </a:lnTo>
                      <a:lnTo>
                        <a:pt x="33" y="0"/>
                      </a:lnTo>
                      <a:lnTo>
                        <a:pt x="26" y="2"/>
                      </a:lnTo>
                      <a:lnTo>
                        <a:pt x="19" y="6"/>
                      </a:lnTo>
                      <a:lnTo>
                        <a:pt x="13" y="11"/>
                      </a:lnTo>
                      <a:lnTo>
                        <a:pt x="13"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0" name="Freeform 1731">
                  <a:extLst>
                    <a:ext uri="{FF2B5EF4-FFF2-40B4-BE49-F238E27FC236}">
                      <a16:creationId xmlns:a16="http://schemas.microsoft.com/office/drawing/2014/main" id="{C1FE135D-2E4B-4604-BABA-EA9E3D8C271D}"/>
                    </a:ext>
                  </a:extLst>
                </p:cNvPr>
                <p:cNvSpPr>
                  <a:spLocks/>
                </p:cNvSpPr>
                <p:nvPr/>
              </p:nvSpPr>
              <p:spPr bwMode="auto">
                <a:xfrm>
                  <a:off x="3776404" y="4683656"/>
                  <a:ext cx="192468" cy="176997"/>
                </a:xfrm>
                <a:custGeom>
                  <a:avLst/>
                  <a:gdLst>
                    <a:gd name="T0" fmla="*/ 83 w 83"/>
                    <a:gd name="T1" fmla="*/ 41 h 83"/>
                    <a:gd name="T2" fmla="*/ 83 w 83"/>
                    <a:gd name="T3" fmla="*/ 41 h 83"/>
                    <a:gd name="T4" fmla="*/ 83 w 83"/>
                    <a:gd name="T5" fmla="*/ 50 h 83"/>
                    <a:gd name="T6" fmla="*/ 81 w 83"/>
                    <a:gd name="T7" fmla="*/ 57 h 83"/>
                    <a:gd name="T8" fmla="*/ 76 w 83"/>
                    <a:gd name="T9" fmla="*/ 65 h 83"/>
                    <a:gd name="T10" fmla="*/ 72 w 83"/>
                    <a:gd name="T11" fmla="*/ 70 h 83"/>
                    <a:gd name="T12" fmla="*/ 72 w 83"/>
                    <a:gd name="T13" fmla="*/ 70 h 83"/>
                    <a:gd name="T14" fmla="*/ 65 w 83"/>
                    <a:gd name="T15" fmla="*/ 76 h 83"/>
                    <a:gd name="T16" fmla="*/ 57 w 83"/>
                    <a:gd name="T17" fmla="*/ 80 h 83"/>
                    <a:gd name="T18" fmla="*/ 50 w 83"/>
                    <a:gd name="T19" fmla="*/ 81 h 83"/>
                    <a:gd name="T20" fmla="*/ 43 w 83"/>
                    <a:gd name="T21" fmla="*/ 83 h 83"/>
                    <a:gd name="T22" fmla="*/ 43 w 83"/>
                    <a:gd name="T23" fmla="*/ 83 h 83"/>
                    <a:gd name="T24" fmla="*/ 33 w 83"/>
                    <a:gd name="T25" fmla="*/ 81 h 83"/>
                    <a:gd name="T26" fmla="*/ 26 w 83"/>
                    <a:gd name="T27" fmla="*/ 80 h 83"/>
                    <a:gd name="T28" fmla="*/ 19 w 83"/>
                    <a:gd name="T29" fmla="*/ 76 h 83"/>
                    <a:gd name="T30" fmla="*/ 13 w 83"/>
                    <a:gd name="T31" fmla="*/ 70 h 83"/>
                    <a:gd name="T32" fmla="*/ 13 w 83"/>
                    <a:gd name="T33" fmla="*/ 70 h 83"/>
                    <a:gd name="T34" fmla="*/ 8 w 83"/>
                    <a:gd name="T35" fmla="*/ 65 h 83"/>
                    <a:gd name="T36" fmla="*/ 4 w 83"/>
                    <a:gd name="T37" fmla="*/ 57 h 83"/>
                    <a:gd name="T38" fmla="*/ 2 w 83"/>
                    <a:gd name="T39" fmla="*/ 50 h 83"/>
                    <a:gd name="T40" fmla="*/ 0 w 83"/>
                    <a:gd name="T41" fmla="*/ 41 h 83"/>
                    <a:gd name="T42" fmla="*/ 0 w 83"/>
                    <a:gd name="T43" fmla="*/ 41 h 83"/>
                    <a:gd name="T44" fmla="*/ 2 w 83"/>
                    <a:gd name="T45" fmla="*/ 34 h 83"/>
                    <a:gd name="T46" fmla="*/ 4 w 83"/>
                    <a:gd name="T47" fmla="*/ 24 h 83"/>
                    <a:gd name="T48" fmla="*/ 8 w 83"/>
                    <a:gd name="T49" fmla="*/ 19 h 83"/>
                    <a:gd name="T50" fmla="*/ 13 w 83"/>
                    <a:gd name="T51" fmla="*/ 11 h 83"/>
                    <a:gd name="T52" fmla="*/ 13 w 83"/>
                    <a:gd name="T53" fmla="*/ 11 h 83"/>
                    <a:gd name="T54" fmla="*/ 19 w 83"/>
                    <a:gd name="T55" fmla="*/ 6 h 83"/>
                    <a:gd name="T56" fmla="*/ 26 w 83"/>
                    <a:gd name="T57" fmla="*/ 2 h 83"/>
                    <a:gd name="T58" fmla="*/ 33 w 83"/>
                    <a:gd name="T59" fmla="*/ 0 h 83"/>
                    <a:gd name="T60" fmla="*/ 43 w 83"/>
                    <a:gd name="T61" fmla="*/ 0 h 83"/>
                    <a:gd name="T62" fmla="*/ 43 w 83"/>
                    <a:gd name="T63" fmla="*/ 0 h 83"/>
                    <a:gd name="T64" fmla="*/ 50 w 83"/>
                    <a:gd name="T65" fmla="*/ 0 h 83"/>
                    <a:gd name="T66" fmla="*/ 57 w 83"/>
                    <a:gd name="T67" fmla="*/ 2 h 83"/>
                    <a:gd name="T68" fmla="*/ 65 w 83"/>
                    <a:gd name="T69" fmla="*/ 6 h 83"/>
                    <a:gd name="T70" fmla="*/ 72 w 83"/>
                    <a:gd name="T71" fmla="*/ 11 h 83"/>
                    <a:gd name="T72" fmla="*/ 72 w 83"/>
                    <a:gd name="T73" fmla="*/ 11 h 83"/>
                    <a:gd name="T74" fmla="*/ 76 w 83"/>
                    <a:gd name="T75" fmla="*/ 19 h 83"/>
                    <a:gd name="T76" fmla="*/ 81 w 83"/>
                    <a:gd name="T77" fmla="*/ 26 h 83"/>
                    <a:gd name="T78" fmla="*/ 83 w 83"/>
                    <a:gd name="T79" fmla="*/ 34 h 83"/>
                    <a:gd name="T80" fmla="*/ 83 w 83"/>
                    <a:gd name="T81" fmla="*/ 41 h 83"/>
                    <a:gd name="T82" fmla="*/ 83 w 83"/>
                    <a:gd name="T8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1"/>
                      </a:moveTo>
                      <a:lnTo>
                        <a:pt x="83" y="41"/>
                      </a:lnTo>
                      <a:lnTo>
                        <a:pt x="83" y="50"/>
                      </a:lnTo>
                      <a:lnTo>
                        <a:pt x="81" y="57"/>
                      </a:lnTo>
                      <a:lnTo>
                        <a:pt x="76" y="65"/>
                      </a:lnTo>
                      <a:lnTo>
                        <a:pt x="72" y="70"/>
                      </a:lnTo>
                      <a:lnTo>
                        <a:pt x="72" y="70"/>
                      </a:lnTo>
                      <a:lnTo>
                        <a:pt x="65" y="76"/>
                      </a:lnTo>
                      <a:lnTo>
                        <a:pt x="57" y="80"/>
                      </a:lnTo>
                      <a:lnTo>
                        <a:pt x="50" y="81"/>
                      </a:lnTo>
                      <a:lnTo>
                        <a:pt x="43" y="83"/>
                      </a:lnTo>
                      <a:lnTo>
                        <a:pt x="43" y="83"/>
                      </a:lnTo>
                      <a:lnTo>
                        <a:pt x="33" y="81"/>
                      </a:lnTo>
                      <a:lnTo>
                        <a:pt x="26" y="80"/>
                      </a:lnTo>
                      <a:lnTo>
                        <a:pt x="19" y="76"/>
                      </a:lnTo>
                      <a:lnTo>
                        <a:pt x="13" y="70"/>
                      </a:lnTo>
                      <a:lnTo>
                        <a:pt x="13" y="70"/>
                      </a:lnTo>
                      <a:lnTo>
                        <a:pt x="8" y="65"/>
                      </a:lnTo>
                      <a:lnTo>
                        <a:pt x="4" y="57"/>
                      </a:lnTo>
                      <a:lnTo>
                        <a:pt x="2" y="50"/>
                      </a:lnTo>
                      <a:lnTo>
                        <a:pt x="0" y="41"/>
                      </a:lnTo>
                      <a:lnTo>
                        <a:pt x="0" y="41"/>
                      </a:lnTo>
                      <a:lnTo>
                        <a:pt x="2" y="34"/>
                      </a:lnTo>
                      <a:lnTo>
                        <a:pt x="4" y="24"/>
                      </a:lnTo>
                      <a:lnTo>
                        <a:pt x="8" y="19"/>
                      </a:lnTo>
                      <a:lnTo>
                        <a:pt x="13" y="11"/>
                      </a:lnTo>
                      <a:lnTo>
                        <a:pt x="13" y="11"/>
                      </a:lnTo>
                      <a:lnTo>
                        <a:pt x="19" y="6"/>
                      </a:lnTo>
                      <a:lnTo>
                        <a:pt x="26" y="2"/>
                      </a:lnTo>
                      <a:lnTo>
                        <a:pt x="33" y="0"/>
                      </a:lnTo>
                      <a:lnTo>
                        <a:pt x="43" y="0"/>
                      </a:lnTo>
                      <a:lnTo>
                        <a:pt x="43" y="0"/>
                      </a:lnTo>
                      <a:lnTo>
                        <a:pt x="50" y="0"/>
                      </a:lnTo>
                      <a:lnTo>
                        <a:pt x="57" y="2"/>
                      </a:lnTo>
                      <a:lnTo>
                        <a:pt x="65" y="6"/>
                      </a:lnTo>
                      <a:lnTo>
                        <a:pt x="72" y="11"/>
                      </a:lnTo>
                      <a:lnTo>
                        <a:pt x="72" y="11"/>
                      </a:lnTo>
                      <a:lnTo>
                        <a:pt x="76" y="19"/>
                      </a:lnTo>
                      <a:lnTo>
                        <a:pt x="81" y="26"/>
                      </a:lnTo>
                      <a:lnTo>
                        <a:pt x="83" y="34"/>
                      </a:lnTo>
                      <a:lnTo>
                        <a:pt x="83" y="41"/>
                      </a:lnTo>
                      <a:lnTo>
                        <a:pt x="83" y="41"/>
                      </a:lnTo>
                      <a:close/>
                    </a:path>
                  </a:pathLst>
                </a:custGeom>
                <a:solidFill>
                  <a:srgbClr val="CDD5D7"/>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1" name="Freeform 1706">
                  <a:extLst>
                    <a:ext uri="{FF2B5EF4-FFF2-40B4-BE49-F238E27FC236}">
                      <a16:creationId xmlns:a16="http://schemas.microsoft.com/office/drawing/2014/main" id="{50C3F752-040C-4D3D-9E84-285075C90104}"/>
                    </a:ext>
                  </a:extLst>
                </p:cNvPr>
                <p:cNvSpPr>
                  <a:spLocks/>
                </p:cNvSpPr>
                <p:nvPr/>
              </p:nvSpPr>
              <p:spPr bwMode="auto">
                <a:xfrm>
                  <a:off x="4220914" y="5050602"/>
                  <a:ext cx="352857" cy="401481"/>
                </a:xfrm>
                <a:custGeom>
                  <a:avLst/>
                  <a:gdLst>
                    <a:gd name="T0" fmla="*/ 26 w 155"/>
                    <a:gd name="T1" fmla="*/ 185 h 185"/>
                    <a:gd name="T2" fmla="*/ 129 w 155"/>
                    <a:gd name="T3" fmla="*/ 185 h 185"/>
                    <a:gd name="T4" fmla="*/ 129 w 155"/>
                    <a:gd name="T5" fmla="*/ 185 h 185"/>
                    <a:gd name="T6" fmla="*/ 138 w 155"/>
                    <a:gd name="T7" fmla="*/ 183 h 185"/>
                    <a:gd name="T8" fmla="*/ 146 w 155"/>
                    <a:gd name="T9" fmla="*/ 180 h 185"/>
                    <a:gd name="T10" fmla="*/ 146 w 155"/>
                    <a:gd name="T11" fmla="*/ 180 h 185"/>
                    <a:gd name="T12" fmla="*/ 153 w 155"/>
                    <a:gd name="T13" fmla="*/ 172 h 185"/>
                    <a:gd name="T14" fmla="*/ 155 w 155"/>
                    <a:gd name="T15" fmla="*/ 169 h 185"/>
                    <a:gd name="T16" fmla="*/ 155 w 155"/>
                    <a:gd name="T17" fmla="*/ 165 h 185"/>
                    <a:gd name="T18" fmla="*/ 155 w 155"/>
                    <a:gd name="T19" fmla="*/ 36 h 185"/>
                    <a:gd name="T20" fmla="*/ 155 w 155"/>
                    <a:gd name="T21" fmla="*/ 36 h 185"/>
                    <a:gd name="T22" fmla="*/ 155 w 155"/>
                    <a:gd name="T23" fmla="*/ 27 h 185"/>
                    <a:gd name="T24" fmla="*/ 149 w 155"/>
                    <a:gd name="T25" fmla="*/ 20 h 185"/>
                    <a:gd name="T26" fmla="*/ 149 w 155"/>
                    <a:gd name="T27" fmla="*/ 20 h 185"/>
                    <a:gd name="T28" fmla="*/ 144 w 155"/>
                    <a:gd name="T29" fmla="*/ 12 h 185"/>
                    <a:gd name="T30" fmla="*/ 137 w 155"/>
                    <a:gd name="T31" fmla="*/ 9 h 185"/>
                    <a:gd name="T32" fmla="*/ 137 w 155"/>
                    <a:gd name="T33" fmla="*/ 9 h 185"/>
                    <a:gd name="T34" fmla="*/ 122 w 155"/>
                    <a:gd name="T35" fmla="*/ 5 h 185"/>
                    <a:gd name="T36" fmla="*/ 107 w 155"/>
                    <a:gd name="T37" fmla="*/ 1 h 185"/>
                    <a:gd name="T38" fmla="*/ 92 w 155"/>
                    <a:gd name="T39" fmla="*/ 0 h 185"/>
                    <a:gd name="T40" fmla="*/ 78 w 155"/>
                    <a:gd name="T41" fmla="*/ 0 h 185"/>
                    <a:gd name="T42" fmla="*/ 63 w 155"/>
                    <a:gd name="T43" fmla="*/ 0 h 185"/>
                    <a:gd name="T44" fmla="*/ 48 w 155"/>
                    <a:gd name="T45" fmla="*/ 1 h 185"/>
                    <a:gd name="T46" fmla="*/ 34 w 155"/>
                    <a:gd name="T47" fmla="*/ 5 h 185"/>
                    <a:gd name="T48" fmla="*/ 21 w 155"/>
                    <a:gd name="T49" fmla="*/ 9 h 185"/>
                    <a:gd name="T50" fmla="*/ 21 w 155"/>
                    <a:gd name="T51" fmla="*/ 9 h 185"/>
                    <a:gd name="T52" fmla="*/ 13 w 155"/>
                    <a:gd name="T53" fmla="*/ 12 h 185"/>
                    <a:gd name="T54" fmla="*/ 6 w 155"/>
                    <a:gd name="T55" fmla="*/ 20 h 185"/>
                    <a:gd name="T56" fmla="*/ 6 w 155"/>
                    <a:gd name="T57" fmla="*/ 20 h 185"/>
                    <a:gd name="T58" fmla="*/ 2 w 155"/>
                    <a:gd name="T59" fmla="*/ 27 h 185"/>
                    <a:gd name="T60" fmla="*/ 0 w 155"/>
                    <a:gd name="T61" fmla="*/ 36 h 185"/>
                    <a:gd name="T62" fmla="*/ 0 w 155"/>
                    <a:gd name="T63" fmla="*/ 165 h 185"/>
                    <a:gd name="T64" fmla="*/ 0 w 155"/>
                    <a:gd name="T65" fmla="*/ 165 h 185"/>
                    <a:gd name="T66" fmla="*/ 0 w 155"/>
                    <a:gd name="T67" fmla="*/ 169 h 185"/>
                    <a:gd name="T68" fmla="*/ 2 w 155"/>
                    <a:gd name="T69" fmla="*/ 172 h 185"/>
                    <a:gd name="T70" fmla="*/ 10 w 155"/>
                    <a:gd name="T71" fmla="*/ 180 h 185"/>
                    <a:gd name="T72" fmla="*/ 10 w 155"/>
                    <a:gd name="T73" fmla="*/ 180 h 185"/>
                    <a:gd name="T74" fmla="*/ 19 w 155"/>
                    <a:gd name="T75" fmla="*/ 183 h 185"/>
                    <a:gd name="T76" fmla="*/ 26 w 155"/>
                    <a:gd name="T77" fmla="*/ 185 h 185"/>
                    <a:gd name="T78" fmla="*/ 26 w 155"/>
                    <a:gd name="T7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85">
                      <a:moveTo>
                        <a:pt x="26" y="185"/>
                      </a:moveTo>
                      <a:lnTo>
                        <a:pt x="129" y="185"/>
                      </a:lnTo>
                      <a:lnTo>
                        <a:pt x="129" y="185"/>
                      </a:lnTo>
                      <a:lnTo>
                        <a:pt x="138" y="183"/>
                      </a:lnTo>
                      <a:lnTo>
                        <a:pt x="146" y="180"/>
                      </a:lnTo>
                      <a:lnTo>
                        <a:pt x="146" y="180"/>
                      </a:lnTo>
                      <a:lnTo>
                        <a:pt x="153" y="172"/>
                      </a:lnTo>
                      <a:lnTo>
                        <a:pt x="155" y="169"/>
                      </a:lnTo>
                      <a:lnTo>
                        <a:pt x="155" y="165"/>
                      </a:lnTo>
                      <a:lnTo>
                        <a:pt x="155" y="36"/>
                      </a:lnTo>
                      <a:lnTo>
                        <a:pt x="155" y="36"/>
                      </a:lnTo>
                      <a:lnTo>
                        <a:pt x="155" y="27"/>
                      </a:lnTo>
                      <a:lnTo>
                        <a:pt x="149" y="20"/>
                      </a:lnTo>
                      <a:lnTo>
                        <a:pt x="149" y="20"/>
                      </a:lnTo>
                      <a:lnTo>
                        <a:pt x="144" y="12"/>
                      </a:lnTo>
                      <a:lnTo>
                        <a:pt x="137" y="9"/>
                      </a:lnTo>
                      <a:lnTo>
                        <a:pt x="137" y="9"/>
                      </a:lnTo>
                      <a:lnTo>
                        <a:pt x="122" y="5"/>
                      </a:lnTo>
                      <a:lnTo>
                        <a:pt x="107" y="1"/>
                      </a:lnTo>
                      <a:lnTo>
                        <a:pt x="92" y="0"/>
                      </a:lnTo>
                      <a:lnTo>
                        <a:pt x="78" y="0"/>
                      </a:lnTo>
                      <a:lnTo>
                        <a:pt x="63" y="0"/>
                      </a:lnTo>
                      <a:lnTo>
                        <a:pt x="48" y="1"/>
                      </a:lnTo>
                      <a:lnTo>
                        <a:pt x="34" y="5"/>
                      </a:lnTo>
                      <a:lnTo>
                        <a:pt x="21" y="9"/>
                      </a:lnTo>
                      <a:lnTo>
                        <a:pt x="21" y="9"/>
                      </a:lnTo>
                      <a:lnTo>
                        <a:pt x="13" y="12"/>
                      </a:lnTo>
                      <a:lnTo>
                        <a:pt x="6" y="20"/>
                      </a:lnTo>
                      <a:lnTo>
                        <a:pt x="6" y="20"/>
                      </a:lnTo>
                      <a:lnTo>
                        <a:pt x="2" y="27"/>
                      </a:lnTo>
                      <a:lnTo>
                        <a:pt x="0" y="36"/>
                      </a:lnTo>
                      <a:lnTo>
                        <a:pt x="0" y="165"/>
                      </a:lnTo>
                      <a:lnTo>
                        <a:pt x="0" y="165"/>
                      </a:lnTo>
                      <a:lnTo>
                        <a:pt x="0" y="169"/>
                      </a:lnTo>
                      <a:lnTo>
                        <a:pt x="2" y="172"/>
                      </a:lnTo>
                      <a:lnTo>
                        <a:pt x="10" y="180"/>
                      </a:lnTo>
                      <a:lnTo>
                        <a:pt x="10" y="180"/>
                      </a:lnTo>
                      <a:lnTo>
                        <a:pt x="19" y="183"/>
                      </a:lnTo>
                      <a:lnTo>
                        <a:pt x="26" y="185"/>
                      </a:lnTo>
                      <a:lnTo>
                        <a:pt x="26" y="185"/>
                      </a:lnTo>
                      <a:close/>
                    </a:path>
                  </a:pathLst>
                </a:custGeom>
                <a:solidFill>
                  <a:srgbClr val="86BC25"/>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2" name="Freeform 1708">
                  <a:extLst>
                    <a:ext uri="{FF2B5EF4-FFF2-40B4-BE49-F238E27FC236}">
                      <a16:creationId xmlns:a16="http://schemas.microsoft.com/office/drawing/2014/main" id="{204793AF-71D3-4EB6-BA98-BC404F5093C4}"/>
                    </a:ext>
                  </a:extLst>
                </p:cNvPr>
                <p:cNvSpPr>
                  <a:spLocks/>
                </p:cNvSpPr>
                <p:nvPr/>
              </p:nvSpPr>
              <p:spPr bwMode="auto">
                <a:xfrm>
                  <a:off x="4303400" y="4873607"/>
                  <a:ext cx="187886" cy="176997"/>
                </a:xfrm>
                <a:custGeom>
                  <a:avLst/>
                  <a:gdLst>
                    <a:gd name="T0" fmla="*/ 70 w 83"/>
                    <a:gd name="T1" fmla="*/ 13 h 83"/>
                    <a:gd name="T2" fmla="*/ 70 w 83"/>
                    <a:gd name="T3" fmla="*/ 13 h 83"/>
                    <a:gd name="T4" fmla="*/ 65 w 83"/>
                    <a:gd name="T5" fmla="*/ 7 h 83"/>
                    <a:gd name="T6" fmla="*/ 57 w 83"/>
                    <a:gd name="T7" fmla="*/ 3 h 83"/>
                    <a:gd name="T8" fmla="*/ 50 w 83"/>
                    <a:gd name="T9" fmla="*/ 2 h 83"/>
                    <a:gd name="T10" fmla="*/ 41 w 83"/>
                    <a:gd name="T11" fmla="*/ 0 h 83"/>
                    <a:gd name="T12" fmla="*/ 41 w 83"/>
                    <a:gd name="T13" fmla="*/ 0 h 83"/>
                    <a:gd name="T14" fmla="*/ 33 w 83"/>
                    <a:gd name="T15" fmla="*/ 2 h 83"/>
                    <a:gd name="T16" fmla="*/ 26 w 83"/>
                    <a:gd name="T17" fmla="*/ 3 h 83"/>
                    <a:gd name="T18" fmla="*/ 19 w 83"/>
                    <a:gd name="T19" fmla="*/ 7 h 83"/>
                    <a:gd name="T20" fmla="*/ 11 w 83"/>
                    <a:gd name="T21" fmla="*/ 13 h 83"/>
                    <a:gd name="T22" fmla="*/ 11 w 83"/>
                    <a:gd name="T23" fmla="*/ 13 h 83"/>
                    <a:gd name="T24" fmla="*/ 6 w 83"/>
                    <a:gd name="T25" fmla="*/ 18 h 83"/>
                    <a:gd name="T26" fmla="*/ 2 w 83"/>
                    <a:gd name="T27" fmla="*/ 25 h 83"/>
                    <a:gd name="T28" fmla="*/ 0 w 83"/>
                    <a:gd name="T29" fmla="*/ 33 h 83"/>
                    <a:gd name="T30" fmla="*/ 0 w 83"/>
                    <a:gd name="T31" fmla="*/ 42 h 83"/>
                    <a:gd name="T32" fmla="*/ 0 w 83"/>
                    <a:gd name="T33" fmla="*/ 42 h 83"/>
                    <a:gd name="T34" fmla="*/ 0 w 83"/>
                    <a:gd name="T35" fmla="*/ 49 h 83"/>
                    <a:gd name="T36" fmla="*/ 2 w 83"/>
                    <a:gd name="T37" fmla="*/ 57 h 83"/>
                    <a:gd name="T38" fmla="*/ 6 w 83"/>
                    <a:gd name="T39" fmla="*/ 64 h 83"/>
                    <a:gd name="T40" fmla="*/ 11 w 83"/>
                    <a:gd name="T41" fmla="*/ 70 h 83"/>
                    <a:gd name="T42" fmla="*/ 11 w 83"/>
                    <a:gd name="T43" fmla="*/ 70 h 83"/>
                    <a:gd name="T44" fmla="*/ 19 w 83"/>
                    <a:gd name="T45" fmla="*/ 75 h 83"/>
                    <a:gd name="T46" fmla="*/ 26 w 83"/>
                    <a:gd name="T47" fmla="*/ 79 h 83"/>
                    <a:gd name="T48" fmla="*/ 33 w 83"/>
                    <a:gd name="T49" fmla="*/ 83 h 83"/>
                    <a:gd name="T50" fmla="*/ 41 w 83"/>
                    <a:gd name="T51" fmla="*/ 83 h 83"/>
                    <a:gd name="T52" fmla="*/ 41 w 83"/>
                    <a:gd name="T53" fmla="*/ 83 h 83"/>
                    <a:gd name="T54" fmla="*/ 50 w 83"/>
                    <a:gd name="T55" fmla="*/ 83 h 83"/>
                    <a:gd name="T56" fmla="*/ 57 w 83"/>
                    <a:gd name="T57" fmla="*/ 79 h 83"/>
                    <a:gd name="T58" fmla="*/ 65 w 83"/>
                    <a:gd name="T59" fmla="*/ 75 h 83"/>
                    <a:gd name="T60" fmla="*/ 70 w 83"/>
                    <a:gd name="T61" fmla="*/ 70 h 83"/>
                    <a:gd name="T62" fmla="*/ 70 w 83"/>
                    <a:gd name="T63" fmla="*/ 70 h 83"/>
                    <a:gd name="T64" fmla="*/ 76 w 83"/>
                    <a:gd name="T65" fmla="*/ 64 h 83"/>
                    <a:gd name="T66" fmla="*/ 79 w 83"/>
                    <a:gd name="T67" fmla="*/ 57 h 83"/>
                    <a:gd name="T68" fmla="*/ 81 w 83"/>
                    <a:gd name="T69" fmla="*/ 49 h 83"/>
                    <a:gd name="T70" fmla="*/ 83 w 83"/>
                    <a:gd name="T71" fmla="*/ 42 h 83"/>
                    <a:gd name="T72" fmla="*/ 83 w 83"/>
                    <a:gd name="T73" fmla="*/ 42 h 83"/>
                    <a:gd name="T74" fmla="*/ 81 w 83"/>
                    <a:gd name="T75" fmla="*/ 33 h 83"/>
                    <a:gd name="T76" fmla="*/ 79 w 83"/>
                    <a:gd name="T77" fmla="*/ 25 h 83"/>
                    <a:gd name="T78" fmla="*/ 76 w 83"/>
                    <a:gd name="T79" fmla="*/ 18 h 83"/>
                    <a:gd name="T80" fmla="*/ 70 w 83"/>
                    <a:gd name="T81" fmla="*/ 13 h 83"/>
                    <a:gd name="T82" fmla="*/ 70 w 83"/>
                    <a:gd name="T83"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70" y="13"/>
                      </a:moveTo>
                      <a:lnTo>
                        <a:pt x="70" y="13"/>
                      </a:lnTo>
                      <a:lnTo>
                        <a:pt x="65" y="7"/>
                      </a:lnTo>
                      <a:lnTo>
                        <a:pt x="57" y="3"/>
                      </a:lnTo>
                      <a:lnTo>
                        <a:pt x="50" y="2"/>
                      </a:lnTo>
                      <a:lnTo>
                        <a:pt x="41" y="0"/>
                      </a:lnTo>
                      <a:lnTo>
                        <a:pt x="41" y="0"/>
                      </a:lnTo>
                      <a:lnTo>
                        <a:pt x="33" y="2"/>
                      </a:lnTo>
                      <a:lnTo>
                        <a:pt x="26" y="3"/>
                      </a:lnTo>
                      <a:lnTo>
                        <a:pt x="19" y="7"/>
                      </a:lnTo>
                      <a:lnTo>
                        <a:pt x="11" y="13"/>
                      </a:lnTo>
                      <a:lnTo>
                        <a:pt x="11" y="13"/>
                      </a:lnTo>
                      <a:lnTo>
                        <a:pt x="6" y="18"/>
                      </a:lnTo>
                      <a:lnTo>
                        <a:pt x="2" y="25"/>
                      </a:lnTo>
                      <a:lnTo>
                        <a:pt x="0" y="33"/>
                      </a:lnTo>
                      <a:lnTo>
                        <a:pt x="0" y="42"/>
                      </a:lnTo>
                      <a:lnTo>
                        <a:pt x="0" y="42"/>
                      </a:lnTo>
                      <a:lnTo>
                        <a:pt x="0" y="49"/>
                      </a:lnTo>
                      <a:lnTo>
                        <a:pt x="2" y="57"/>
                      </a:lnTo>
                      <a:lnTo>
                        <a:pt x="6" y="64"/>
                      </a:lnTo>
                      <a:lnTo>
                        <a:pt x="11" y="70"/>
                      </a:lnTo>
                      <a:lnTo>
                        <a:pt x="11" y="70"/>
                      </a:lnTo>
                      <a:lnTo>
                        <a:pt x="19" y="75"/>
                      </a:lnTo>
                      <a:lnTo>
                        <a:pt x="26" y="79"/>
                      </a:lnTo>
                      <a:lnTo>
                        <a:pt x="33" y="83"/>
                      </a:lnTo>
                      <a:lnTo>
                        <a:pt x="41" y="83"/>
                      </a:lnTo>
                      <a:lnTo>
                        <a:pt x="41" y="83"/>
                      </a:lnTo>
                      <a:lnTo>
                        <a:pt x="50" y="83"/>
                      </a:lnTo>
                      <a:lnTo>
                        <a:pt x="57" y="79"/>
                      </a:lnTo>
                      <a:lnTo>
                        <a:pt x="65" y="75"/>
                      </a:lnTo>
                      <a:lnTo>
                        <a:pt x="70" y="70"/>
                      </a:lnTo>
                      <a:lnTo>
                        <a:pt x="70" y="70"/>
                      </a:lnTo>
                      <a:lnTo>
                        <a:pt x="76" y="64"/>
                      </a:lnTo>
                      <a:lnTo>
                        <a:pt x="79" y="57"/>
                      </a:lnTo>
                      <a:lnTo>
                        <a:pt x="81" y="49"/>
                      </a:lnTo>
                      <a:lnTo>
                        <a:pt x="83" y="42"/>
                      </a:lnTo>
                      <a:lnTo>
                        <a:pt x="83" y="42"/>
                      </a:lnTo>
                      <a:lnTo>
                        <a:pt x="81" y="33"/>
                      </a:lnTo>
                      <a:lnTo>
                        <a:pt x="79" y="25"/>
                      </a:lnTo>
                      <a:lnTo>
                        <a:pt x="76" y="18"/>
                      </a:lnTo>
                      <a:lnTo>
                        <a:pt x="70" y="13"/>
                      </a:lnTo>
                      <a:lnTo>
                        <a:pt x="70" y="13"/>
                      </a:lnTo>
                      <a:close/>
                    </a:path>
                  </a:pathLst>
                </a:custGeom>
                <a:solidFill>
                  <a:srgbClr val="C4D600"/>
                </a:solidFill>
                <a:ln>
                  <a:noFill/>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3" name="Rectangle 1710">
                  <a:extLst>
                    <a:ext uri="{FF2B5EF4-FFF2-40B4-BE49-F238E27FC236}">
                      <a16:creationId xmlns:a16="http://schemas.microsoft.com/office/drawing/2014/main" id="{5A71D1D5-4DB5-4116-907E-AF50CDCAAD1D}"/>
                    </a:ext>
                  </a:extLst>
                </p:cNvPr>
                <p:cNvSpPr>
                  <a:spLocks noChangeArrowheads="1"/>
                </p:cNvSpPr>
                <p:nvPr/>
              </p:nvSpPr>
              <p:spPr bwMode="auto">
                <a:xfrm>
                  <a:off x="4294234" y="5145576"/>
                  <a:ext cx="201632" cy="587110"/>
                </a:xfrm>
                <a:prstGeom prst="rect">
                  <a:avLst/>
                </a:prstGeom>
                <a:grpFill/>
                <a:ln w="17463">
                  <a:solidFill>
                    <a:srgbClr val="C4D600"/>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4" name="Freeform 1707">
                  <a:extLst>
                    <a:ext uri="{FF2B5EF4-FFF2-40B4-BE49-F238E27FC236}">
                      <a16:creationId xmlns:a16="http://schemas.microsoft.com/office/drawing/2014/main" id="{477B41CD-9C8F-48CE-8417-34047D1D5E22}"/>
                    </a:ext>
                  </a:extLst>
                </p:cNvPr>
                <p:cNvSpPr>
                  <a:spLocks/>
                </p:cNvSpPr>
                <p:nvPr/>
              </p:nvSpPr>
              <p:spPr bwMode="auto">
                <a:xfrm>
                  <a:off x="4220914" y="5050602"/>
                  <a:ext cx="352857" cy="401481"/>
                </a:xfrm>
                <a:custGeom>
                  <a:avLst/>
                  <a:gdLst>
                    <a:gd name="T0" fmla="*/ 129 w 155"/>
                    <a:gd name="T1" fmla="*/ 185 h 185"/>
                    <a:gd name="T2" fmla="*/ 129 w 155"/>
                    <a:gd name="T3" fmla="*/ 185 h 185"/>
                    <a:gd name="T4" fmla="*/ 138 w 155"/>
                    <a:gd name="T5" fmla="*/ 183 h 185"/>
                    <a:gd name="T6" fmla="*/ 146 w 155"/>
                    <a:gd name="T7" fmla="*/ 180 h 185"/>
                    <a:gd name="T8" fmla="*/ 146 w 155"/>
                    <a:gd name="T9" fmla="*/ 180 h 185"/>
                    <a:gd name="T10" fmla="*/ 153 w 155"/>
                    <a:gd name="T11" fmla="*/ 172 h 185"/>
                    <a:gd name="T12" fmla="*/ 155 w 155"/>
                    <a:gd name="T13" fmla="*/ 169 h 185"/>
                    <a:gd name="T14" fmla="*/ 155 w 155"/>
                    <a:gd name="T15" fmla="*/ 165 h 185"/>
                    <a:gd name="T16" fmla="*/ 155 w 155"/>
                    <a:gd name="T17" fmla="*/ 36 h 185"/>
                    <a:gd name="T18" fmla="*/ 155 w 155"/>
                    <a:gd name="T19" fmla="*/ 36 h 185"/>
                    <a:gd name="T20" fmla="*/ 155 w 155"/>
                    <a:gd name="T21" fmla="*/ 27 h 185"/>
                    <a:gd name="T22" fmla="*/ 149 w 155"/>
                    <a:gd name="T23" fmla="*/ 20 h 185"/>
                    <a:gd name="T24" fmla="*/ 149 w 155"/>
                    <a:gd name="T25" fmla="*/ 20 h 185"/>
                    <a:gd name="T26" fmla="*/ 144 w 155"/>
                    <a:gd name="T27" fmla="*/ 12 h 185"/>
                    <a:gd name="T28" fmla="*/ 137 w 155"/>
                    <a:gd name="T29" fmla="*/ 9 h 185"/>
                    <a:gd name="T30" fmla="*/ 137 w 155"/>
                    <a:gd name="T31" fmla="*/ 9 h 185"/>
                    <a:gd name="T32" fmla="*/ 122 w 155"/>
                    <a:gd name="T33" fmla="*/ 5 h 185"/>
                    <a:gd name="T34" fmla="*/ 107 w 155"/>
                    <a:gd name="T35" fmla="*/ 1 h 185"/>
                    <a:gd name="T36" fmla="*/ 92 w 155"/>
                    <a:gd name="T37" fmla="*/ 0 h 185"/>
                    <a:gd name="T38" fmla="*/ 78 w 155"/>
                    <a:gd name="T39" fmla="*/ 0 h 185"/>
                    <a:gd name="T40" fmla="*/ 63 w 155"/>
                    <a:gd name="T41" fmla="*/ 0 h 185"/>
                    <a:gd name="T42" fmla="*/ 48 w 155"/>
                    <a:gd name="T43" fmla="*/ 1 h 185"/>
                    <a:gd name="T44" fmla="*/ 34 w 155"/>
                    <a:gd name="T45" fmla="*/ 5 h 185"/>
                    <a:gd name="T46" fmla="*/ 21 w 155"/>
                    <a:gd name="T47" fmla="*/ 9 h 185"/>
                    <a:gd name="T48" fmla="*/ 21 w 155"/>
                    <a:gd name="T49" fmla="*/ 9 h 185"/>
                    <a:gd name="T50" fmla="*/ 13 w 155"/>
                    <a:gd name="T51" fmla="*/ 12 h 185"/>
                    <a:gd name="T52" fmla="*/ 6 w 155"/>
                    <a:gd name="T53" fmla="*/ 20 h 185"/>
                    <a:gd name="T54" fmla="*/ 6 w 155"/>
                    <a:gd name="T55" fmla="*/ 20 h 185"/>
                    <a:gd name="T56" fmla="*/ 2 w 155"/>
                    <a:gd name="T57" fmla="*/ 27 h 185"/>
                    <a:gd name="T58" fmla="*/ 0 w 155"/>
                    <a:gd name="T59" fmla="*/ 36 h 185"/>
                    <a:gd name="T60" fmla="*/ 0 w 155"/>
                    <a:gd name="T61" fmla="*/ 165 h 185"/>
                    <a:gd name="T62" fmla="*/ 0 w 155"/>
                    <a:gd name="T63" fmla="*/ 165 h 185"/>
                    <a:gd name="T64" fmla="*/ 0 w 155"/>
                    <a:gd name="T65" fmla="*/ 169 h 185"/>
                    <a:gd name="T66" fmla="*/ 2 w 155"/>
                    <a:gd name="T67" fmla="*/ 172 h 185"/>
                    <a:gd name="T68" fmla="*/ 10 w 155"/>
                    <a:gd name="T69" fmla="*/ 180 h 185"/>
                    <a:gd name="T70" fmla="*/ 10 w 155"/>
                    <a:gd name="T71" fmla="*/ 180 h 185"/>
                    <a:gd name="T72" fmla="*/ 19 w 155"/>
                    <a:gd name="T73" fmla="*/ 183 h 185"/>
                    <a:gd name="T74" fmla="*/ 26 w 155"/>
                    <a:gd name="T7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5" h="185">
                      <a:moveTo>
                        <a:pt x="129" y="185"/>
                      </a:moveTo>
                      <a:lnTo>
                        <a:pt x="129" y="185"/>
                      </a:lnTo>
                      <a:lnTo>
                        <a:pt x="138" y="183"/>
                      </a:lnTo>
                      <a:lnTo>
                        <a:pt x="146" y="180"/>
                      </a:lnTo>
                      <a:lnTo>
                        <a:pt x="146" y="180"/>
                      </a:lnTo>
                      <a:lnTo>
                        <a:pt x="153" y="172"/>
                      </a:lnTo>
                      <a:lnTo>
                        <a:pt x="155" y="169"/>
                      </a:lnTo>
                      <a:lnTo>
                        <a:pt x="155" y="165"/>
                      </a:lnTo>
                      <a:lnTo>
                        <a:pt x="155" y="36"/>
                      </a:lnTo>
                      <a:lnTo>
                        <a:pt x="155" y="36"/>
                      </a:lnTo>
                      <a:lnTo>
                        <a:pt x="155" y="27"/>
                      </a:lnTo>
                      <a:lnTo>
                        <a:pt x="149" y="20"/>
                      </a:lnTo>
                      <a:lnTo>
                        <a:pt x="149" y="20"/>
                      </a:lnTo>
                      <a:lnTo>
                        <a:pt x="144" y="12"/>
                      </a:lnTo>
                      <a:lnTo>
                        <a:pt x="137" y="9"/>
                      </a:lnTo>
                      <a:lnTo>
                        <a:pt x="137" y="9"/>
                      </a:lnTo>
                      <a:lnTo>
                        <a:pt x="122" y="5"/>
                      </a:lnTo>
                      <a:lnTo>
                        <a:pt x="107" y="1"/>
                      </a:lnTo>
                      <a:lnTo>
                        <a:pt x="92" y="0"/>
                      </a:lnTo>
                      <a:lnTo>
                        <a:pt x="78" y="0"/>
                      </a:lnTo>
                      <a:lnTo>
                        <a:pt x="63" y="0"/>
                      </a:lnTo>
                      <a:lnTo>
                        <a:pt x="48" y="1"/>
                      </a:lnTo>
                      <a:lnTo>
                        <a:pt x="34" y="5"/>
                      </a:lnTo>
                      <a:lnTo>
                        <a:pt x="21" y="9"/>
                      </a:lnTo>
                      <a:lnTo>
                        <a:pt x="21" y="9"/>
                      </a:lnTo>
                      <a:lnTo>
                        <a:pt x="13" y="12"/>
                      </a:lnTo>
                      <a:lnTo>
                        <a:pt x="6" y="20"/>
                      </a:lnTo>
                      <a:lnTo>
                        <a:pt x="6" y="20"/>
                      </a:lnTo>
                      <a:lnTo>
                        <a:pt x="2" y="27"/>
                      </a:lnTo>
                      <a:lnTo>
                        <a:pt x="0" y="36"/>
                      </a:lnTo>
                      <a:lnTo>
                        <a:pt x="0" y="165"/>
                      </a:lnTo>
                      <a:lnTo>
                        <a:pt x="0" y="165"/>
                      </a:lnTo>
                      <a:lnTo>
                        <a:pt x="0" y="169"/>
                      </a:lnTo>
                      <a:lnTo>
                        <a:pt x="2" y="172"/>
                      </a:lnTo>
                      <a:lnTo>
                        <a:pt x="10" y="180"/>
                      </a:lnTo>
                      <a:lnTo>
                        <a:pt x="10" y="180"/>
                      </a:lnTo>
                      <a:lnTo>
                        <a:pt x="19" y="183"/>
                      </a:lnTo>
                      <a:lnTo>
                        <a:pt x="26" y="185"/>
                      </a:lnTo>
                    </a:path>
                  </a:pathLst>
                </a:custGeom>
                <a:solidFill>
                  <a:srgbClr val="C4D600"/>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5" name="Freeform 1709">
                  <a:extLst>
                    <a:ext uri="{FF2B5EF4-FFF2-40B4-BE49-F238E27FC236}">
                      <a16:creationId xmlns:a16="http://schemas.microsoft.com/office/drawing/2014/main" id="{6C1558A4-63EE-450F-8F86-C8B94EA0CE58}"/>
                    </a:ext>
                  </a:extLst>
                </p:cNvPr>
                <p:cNvSpPr>
                  <a:spLocks/>
                </p:cNvSpPr>
                <p:nvPr/>
              </p:nvSpPr>
              <p:spPr bwMode="auto">
                <a:xfrm>
                  <a:off x="4303400" y="4873607"/>
                  <a:ext cx="187886" cy="176997"/>
                </a:xfrm>
                <a:custGeom>
                  <a:avLst/>
                  <a:gdLst>
                    <a:gd name="T0" fmla="*/ 83 w 83"/>
                    <a:gd name="T1" fmla="*/ 42 h 83"/>
                    <a:gd name="T2" fmla="*/ 83 w 83"/>
                    <a:gd name="T3" fmla="*/ 42 h 83"/>
                    <a:gd name="T4" fmla="*/ 81 w 83"/>
                    <a:gd name="T5" fmla="*/ 49 h 83"/>
                    <a:gd name="T6" fmla="*/ 79 w 83"/>
                    <a:gd name="T7" fmla="*/ 57 h 83"/>
                    <a:gd name="T8" fmla="*/ 76 w 83"/>
                    <a:gd name="T9" fmla="*/ 64 h 83"/>
                    <a:gd name="T10" fmla="*/ 70 w 83"/>
                    <a:gd name="T11" fmla="*/ 70 h 83"/>
                    <a:gd name="T12" fmla="*/ 70 w 83"/>
                    <a:gd name="T13" fmla="*/ 70 h 83"/>
                    <a:gd name="T14" fmla="*/ 65 w 83"/>
                    <a:gd name="T15" fmla="*/ 75 h 83"/>
                    <a:gd name="T16" fmla="*/ 57 w 83"/>
                    <a:gd name="T17" fmla="*/ 79 h 83"/>
                    <a:gd name="T18" fmla="*/ 50 w 83"/>
                    <a:gd name="T19" fmla="*/ 83 h 83"/>
                    <a:gd name="T20" fmla="*/ 41 w 83"/>
                    <a:gd name="T21" fmla="*/ 83 h 83"/>
                    <a:gd name="T22" fmla="*/ 41 w 83"/>
                    <a:gd name="T23" fmla="*/ 83 h 83"/>
                    <a:gd name="T24" fmla="*/ 33 w 83"/>
                    <a:gd name="T25" fmla="*/ 83 h 83"/>
                    <a:gd name="T26" fmla="*/ 26 w 83"/>
                    <a:gd name="T27" fmla="*/ 79 h 83"/>
                    <a:gd name="T28" fmla="*/ 19 w 83"/>
                    <a:gd name="T29" fmla="*/ 75 h 83"/>
                    <a:gd name="T30" fmla="*/ 11 w 83"/>
                    <a:gd name="T31" fmla="*/ 70 h 83"/>
                    <a:gd name="T32" fmla="*/ 11 w 83"/>
                    <a:gd name="T33" fmla="*/ 70 h 83"/>
                    <a:gd name="T34" fmla="*/ 6 w 83"/>
                    <a:gd name="T35" fmla="*/ 64 h 83"/>
                    <a:gd name="T36" fmla="*/ 2 w 83"/>
                    <a:gd name="T37" fmla="*/ 57 h 83"/>
                    <a:gd name="T38" fmla="*/ 0 w 83"/>
                    <a:gd name="T39" fmla="*/ 49 h 83"/>
                    <a:gd name="T40" fmla="*/ 0 w 83"/>
                    <a:gd name="T41" fmla="*/ 42 h 83"/>
                    <a:gd name="T42" fmla="*/ 0 w 83"/>
                    <a:gd name="T43" fmla="*/ 42 h 83"/>
                    <a:gd name="T44" fmla="*/ 0 w 83"/>
                    <a:gd name="T45" fmla="*/ 33 h 83"/>
                    <a:gd name="T46" fmla="*/ 2 w 83"/>
                    <a:gd name="T47" fmla="*/ 25 h 83"/>
                    <a:gd name="T48" fmla="*/ 6 w 83"/>
                    <a:gd name="T49" fmla="*/ 18 h 83"/>
                    <a:gd name="T50" fmla="*/ 11 w 83"/>
                    <a:gd name="T51" fmla="*/ 13 h 83"/>
                    <a:gd name="T52" fmla="*/ 11 w 83"/>
                    <a:gd name="T53" fmla="*/ 13 h 83"/>
                    <a:gd name="T54" fmla="*/ 19 w 83"/>
                    <a:gd name="T55" fmla="*/ 7 h 83"/>
                    <a:gd name="T56" fmla="*/ 26 w 83"/>
                    <a:gd name="T57" fmla="*/ 3 h 83"/>
                    <a:gd name="T58" fmla="*/ 33 w 83"/>
                    <a:gd name="T59" fmla="*/ 2 h 83"/>
                    <a:gd name="T60" fmla="*/ 41 w 83"/>
                    <a:gd name="T61" fmla="*/ 0 h 83"/>
                    <a:gd name="T62" fmla="*/ 41 w 83"/>
                    <a:gd name="T63" fmla="*/ 0 h 83"/>
                    <a:gd name="T64" fmla="*/ 50 w 83"/>
                    <a:gd name="T65" fmla="*/ 2 h 83"/>
                    <a:gd name="T66" fmla="*/ 57 w 83"/>
                    <a:gd name="T67" fmla="*/ 3 h 83"/>
                    <a:gd name="T68" fmla="*/ 65 w 83"/>
                    <a:gd name="T69" fmla="*/ 7 h 83"/>
                    <a:gd name="T70" fmla="*/ 70 w 83"/>
                    <a:gd name="T71" fmla="*/ 13 h 83"/>
                    <a:gd name="T72" fmla="*/ 70 w 83"/>
                    <a:gd name="T73" fmla="*/ 13 h 83"/>
                    <a:gd name="T74" fmla="*/ 76 w 83"/>
                    <a:gd name="T75" fmla="*/ 18 h 83"/>
                    <a:gd name="T76" fmla="*/ 79 w 83"/>
                    <a:gd name="T77" fmla="*/ 25 h 83"/>
                    <a:gd name="T78" fmla="*/ 81 w 83"/>
                    <a:gd name="T79" fmla="*/ 33 h 83"/>
                    <a:gd name="T80" fmla="*/ 83 w 83"/>
                    <a:gd name="T81" fmla="*/ 42 h 83"/>
                    <a:gd name="T82" fmla="*/ 83 w 83"/>
                    <a:gd name="T8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83" y="42"/>
                      </a:moveTo>
                      <a:lnTo>
                        <a:pt x="83" y="42"/>
                      </a:lnTo>
                      <a:lnTo>
                        <a:pt x="81" y="49"/>
                      </a:lnTo>
                      <a:lnTo>
                        <a:pt x="79" y="57"/>
                      </a:lnTo>
                      <a:lnTo>
                        <a:pt x="76" y="64"/>
                      </a:lnTo>
                      <a:lnTo>
                        <a:pt x="70" y="70"/>
                      </a:lnTo>
                      <a:lnTo>
                        <a:pt x="70" y="70"/>
                      </a:lnTo>
                      <a:lnTo>
                        <a:pt x="65" y="75"/>
                      </a:lnTo>
                      <a:lnTo>
                        <a:pt x="57" y="79"/>
                      </a:lnTo>
                      <a:lnTo>
                        <a:pt x="50" y="83"/>
                      </a:lnTo>
                      <a:lnTo>
                        <a:pt x="41" y="83"/>
                      </a:lnTo>
                      <a:lnTo>
                        <a:pt x="41" y="83"/>
                      </a:lnTo>
                      <a:lnTo>
                        <a:pt x="33" y="83"/>
                      </a:lnTo>
                      <a:lnTo>
                        <a:pt x="26" y="79"/>
                      </a:lnTo>
                      <a:lnTo>
                        <a:pt x="19" y="75"/>
                      </a:lnTo>
                      <a:lnTo>
                        <a:pt x="11" y="70"/>
                      </a:lnTo>
                      <a:lnTo>
                        <a:pt x="11" y="70"/>
                      </a:lnTo>
                      <a:lnTo>
                        <a:pt x="6" y="64"/>
                      </a:lnTo>
                      <a:lnTo>
                        <a:pt x="2" y="57"/>
                      </a:lnTo>
                      <a:lnTo>
                        <a:pt x="0" y="49"/>
                      </a:lnTo>
                      <a:lnTo>
                        <a:pt x="0" y="42"/>
                      </a:lnTo>
                      <a:lnTo>
                        <a:pt x="0" y="42"/>
                      </a:lnTo>
                      <a:lnTo>
                        <a:pt x="0" y="33"/>
                      </a:lnTo>
                      <a:lnTo>
                        <a:pt x="2" y="25"/>
                      </a:lnTo>
                      <a:lnTo>
                        <a:pt x="6" y="18"/>
                      </a:lnTo>
                      <a:lnTo>
                        <a:pt x="11" y="13"/>
                      </a:lnTo>
                      <a:lnTo>
                        <a:pt x="11" y="13"/>
                      </a:lnTo>
                      <a:lnTo>
                        <a:pt x="19" y="7"/>
                      </a:lnTo>
                      <a:lnTo>
                        <a:pt x="26" y="3"/>
                      </a:lnTo>
                      <a:lnTo>
                        <a:pt x="33" y="2"/>
                      </a:lnTo>
                      <a:lnTo>
                        <a:pt x="41" y="0"/>
                      </a:lnTo>
                      <a:lnTo>
                        <a:pt x="41" y="0"/>
                      </a:lnTo>
                      <a:lnTo>
                        <a:pt x="50" y="2"/>
                      </a:lnTo>
                      <a:lnTo>
                        <a:pt x="57" y="3"/>
                      </a:lnTo>
                      <a:lnTo>
                        <a:pt x="65" y="7"/>
                      </a:lnTo>
                      <a:lnTo>
                        <a:pt x="70" y="13"/>
                      </a:lnTo>
                      <a:lnTo>
                        <a:pt x="70" y="13"/>
                      </a:lnTo>
                      <a:lnTo>
                        <a:pt x="76" y="18"/>
                      </a:lnTo>
                      <a:lnTo>
                        <a:pt x="79" y="25"/>
                      </a:lnTo>
                      <a:lnTo>
                        <a:pt x="81" y="33"/>
                      </a:lnTo>
                      <a:lnTo>
                        <a:pt x="83" y="42"/>
                      </a:lnTo>
                      <a:lnTo>
                        <a:pt x="83" y="42"/>
                      </a:lnTo>
                      <a:close/>
                    </a:path>
                  </a:pathLst>
                </a:cu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6" name="Freeform 1711">
                  <a:extLst>
                    <a:ext uri="{FF2B5EF4-FFF2-40B4-BE49-F238E27FC236}">
                      <a16:creationId xmlns:a16="http://schemas.microsoft.com/office/drawing/2014/main" id="{49CE369E-5C19-4358-B8BA-C9D2F078C998}"/>
                    </a:ext>
                  </a:extLst>
                </p:cNvPr>
                <p:cNvSpPr>
                  <a:spLocks/>
                </p:cNvSpPr>
                <p:nvPr/>
              </p:nvSpPr>
              <p:spPr bwMode="auto">
                <a:xfrm>
                  <a:off x="4294234" y="5145576"/>
                  <a:ext cx="201632" cy="587110"/>
                </a:xfrm>
                <a:custGeom>
                  <a:avLst/>
                  <a:gdLst>
                    <a:gd name="T0" fmla="*/ 0 w 88"/>
                    <a:gd name="T1" fmla="*/ 0 h 272"/>
                    <a:gd name="T2" fmla="*/ 0 w 88"/>
                    <a:gd name="T3" fmla="*/ 272 h 272"/>
                    <a:gd name="T4" fmla="*/ 88 w 88"/>
                    <a:gd name="T5" fmla="*/ 272 h 272"/>
                    <a:gd name="T6" fmla="*/ 88 w 88"/>
                    <a:gd name="T7" fmla="*/ 0 h 272"/>
                  </a:gdLst>
                  <a:ahLst/>
                  <a:cxnLst>
                    <a:cxn ang="0">
                      <a:pos x="T0" y="T1"/>
                    </a:cxn>
                    <a:cxn ang="0">
                      <a:pos x="T2" y="T3"/>
                    </a:cxn>
                    <a:cxn ang="0">
                      <a:pos x="T4" y="T5"/>
                    </a:cxn>
                    <a:cxn ang="0">
                      <a:pos x="T6" y="T7"/>
                    </a:cxn>
                  </a:cxnLst>
                  <a:rect l="0" t="0" r="r" b="b"/>
                  <a:pathLst>
                    <a:path w="88" h="272">
                      <a:moveTo>
                        <a:pt x="0" y="0"/>
                      </a:moveTo>
                      <a:lnTo>
                        <a:pt x="0" y="272"/>
                      </a:lnTo>
                      <a:lnTo>
                        <a:pt x="88" y="272"/>
                      </a:lnTo>
                      <a:lnTo>
                        <a:pt x="88" y="0"/>
                      </a:lnTo>
                    </a:path>
                  </a:pathLst>
                </a:custGeom>
                <a:solidFill>
                  <a:srgbClr val="C4D600"/>
                </a:solid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197" name="Line 1712">
                  <a:extLst>
                    <a:ext uri="{FF2B5EF4-FFF2-40B4-BE49-F238E27FC236}">
                      <a16:creationId xmlns:a16="http://schemas.microsoft.com/office/drawing/2014/main" id="{EABA24F3-AC56-4D2E-A102-BFE7C82A650E}"/>
                    </a:ext>
                  </a:extLst>
                </p:cNvPr>
                <p:cNvSpPr>
                  <a:spLocks noChangeShapeType="1"/>
                </p:cNvSpPr>
                <p:nvPr/>
              </p:nvSpPr>
              <p:spPr bwMode="auto">
                <a:xfrm>
                  <a:off x="4395051" y="5439131"/>
                  <a:ext cx="0" cy="293555"/>
                </a:xfrm>
                <a:prstGeom prst="line">
                  <a:avLst/>
                </a:prstGeom>
                <a:grpFill/>
                <a:ln w="17463">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sp>
        <p:nvSpPr>
          <p:cNvPr id="163" name="Rectangle 162">
            <a:extLst>
              <a:ext uri="{FF2B5EF4-FFF2-40B4-BE49-F238E27FC236}">
                <a16:creationId xmlns:a16="http://schemas.microsoft.com/office/drawing/2014/main" id="{42A642FB-1ABA-4C64-96F1-230CDD713273}"/>
              </a:ext>
            </a:extLst>
          </p:cNvPr>
          <p:cNvSpPr/>
          <p:nvPr/>
        </p:nvSpPr>
        <p:spPr bwMode="gray">
          <a:xfrm>
            <a:off x="5206423" y="2645381"/>
            <a:ext cx="1883664" cy="1273040"/>
          </a:xfrm>
          <a:prstGeom prst="rect">
            <a:avLst/>
          </a:prstGeom>
          <a:solidFill>
            <a:sysClr val="window" lastClr="FFFFFF"/>
          </a:solidFill>
          <a:ln w="19050" algn="ctr">
            <a:solidFill>
              <a:schemeClr val="accent4">
                <a:lumMod val="75000"/>
              </a:schemeClr>
            </a:solidFill>
            <a:prstDash val="sysDot"/>
            <a:miter lim="800000"/>
            <a:headEnd/>
            <a:tailEnd/>
          </a:ln>
        </p:spPr>
        <p:txBody>
          <a:bodyPr wrap="square" lIns="137106" tIns="66649" rIns="66649" bIns="66649" rtlCol="0" anchor="ctr"/>
          <a:lstStyle/>
          <a:p>
            <a:pPr algn="ctr">
              <a:lnSpc>
                <a:spcPct val="106000"/>
              </a:lnSpc>
            </a:pPr>
            <a:r>
              <a:rPr lang="en-US" sz="1400" dirty="0">
                <a:ea typeface="Open Sans" panose="020B0606030504020204" pitchFamily="34" charset="0"/>
                <a:cs typeface="Open Sans" panose="020B0606030504020204" pitchFamily="34" charset="0"/>
              </a:rPr>
              <a:t>Ensures that the team is fully functional and productive</a:t>
            </a:r>
          </a:p>
        </p:txBody>
      </p:sp>
      <p:sp>
        <p:nvSpPr>
          <p:cNvPr id="164" name="Rectangle 163">
            <a:extLst>
              <a:ext uri="{FF2B5EF4-FFF2-40B4-BE49-F238E27FC236}">
                <a16:creationId xmlns:a16="http://schemas.microsoft.com/office/drawing/2014/main" id="{C7F42B01-8638-42C6-BEEB-7E06C0A24296}"/>
              </a:ext>
            </a:extLst>
          </p:cNvPr>
          <p:cNvSpPr/>
          <p:nvPr/>
        </p:nvSpPr>
        <p:spPr bwMode="gray">
          <a:xfrm>
            <a:off x="5206423" y="4055437"/>
            <a:ext cx="1883664" cy="1273040"/>
          </a:xfrm>
          <a:prstGeom prst="rect">
            <a:avLst/>
          </a:prstGeom>
          <a:solidFill>
            <a:sysClr val="window" lastClr="FFFFFF"/>
          </a:solidFill>
          <a:ln w="19050" algn="ctr">
            <a:solidFill>
              <a:schemeClr val="accent4">
                <a:lumMod val="75000"/>
              </a:schemeClr>
            </a:solidFill>
            <a:prstDash val="sysDot"/>
            <a:miter lim="800000"/>
            <a:headEnd/>
            <a:tailEnd/>
          </a:ln>
        </p:spPr>
        <p:txBody>
          <a:bodyPr wrap="square" lIns="137106" tIns="66649" rIns="66649" bIns="66649" rtlCol="0" anchor="ctr"/>
          <a:lstStyle/>
          <a:p>
            <a:pPr algn="ctr">
              <a:spcAft>
                <a:spcPts val="226"/>
              </a:spcAft>
            </a:pPr>
            <a:r>
              <a:rPr lang="en-US" sz="1400" dirty="0">
                <a:ea typeface="Open Sans" panose="020B0606030504020204" pitchFamily="34" charset="0"/>
                <a:cs typeface="Open Sans" panose="020B0606030504020204" pitchFamily="34" charset="0"/>
              </a:rPr>
              <a:t>Facilitates team’s success</a:t>
            </a:r>
          </a:p>
        </p:txBody>
      </p:sp>
      <p:grpSp>
        <p:nvGrpSpPr>
          <p:cNvPr id="168" name="Group 167">
            <a:extLst>
              <a:ext uri="{FF2B5EF4-FFF2-40B4-BE49-F238E27FC236}">
                <a16:creationId xmlns:a16="http://schemas.microsoft.com/office/drawing/2014/main" id="{3E8BA54C-E988-4205-9013-0B894E83FE0B}"/>
              </a:ext>
            </a:extLst>
          </p:cNvPr>
          <p:cNvGrpSpPr/>
          <p:nvPr/>
        </p:nvGrpSpPr>
        <p:grpSpPr>
          <a:xfrm>
            <a:off x="4636564" y="4332276"/>
            <a:ext cx="743912" cy="761965"/>
            <a:chOff x="4475223" y="3871971"/>
            <a:chExt cx="888318" cy="888321"/>
          </a:xfrm>
        </p:grpSpPr>
        <p:sp>
          <p:nvSpPr>
            <p:cNvPr id="169" name="Oval 65">
              <a:extLst>
                <a:ext uri="{FF2B5EF4-FFF2-40B4-BE49-F238E27FC236}">
                  <a16:creationId xmlns:a16="http://schemas.microsoft.com/office/drawing/2014/main" id="{8A8D4989-FA06-467C-B5B4-E74F8CF50BCA}"/>
                </a:ext>
              </a:extLst>
            </p:cNvPr>
            <p:cNvSpPr>
              <a:spLocks noChangeArrowheads="1"/>
            </p:cNvSpPr>
            <p:nvPr/>
          </p:nvSpPr>
          <p:spPr bwMode="auto">
            <a:xfrm rot="8100000">
              <a:off x="4475223" y="3871971"/>
              <a:ext cx="888318" cy="888321"/>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400" kern="0" dirty="0">
                <a:solidFill>
                  <a:prstClr val="black"/>
                </a:solidFill>
              </a:endParaRPr>
            </a:p>
          </p:txBody>
        </p:sp>
        <p:sp>
          <p:nvSpPr>
            <p:cNvPr id="170" name="Freeform 547">
              <a:extLst>
                <a:ext uri="{FF2B5EF4-FFF2-40B4-BE49-F238E27FC236}">
                  <a16:creationId xmlns:a16="http://schemas.microsoft.com/office/drawing/2014/main" id="{2EE7F637-8D28-4B9A-957A-A8D1DC351468}"/>
                </a:ext>
              </a:extLst>
            </p:cNvPr>
            <p:cNvSpPr>
              <a:spLocks noChangeAspect="1" noEditPoints="1"/>
            </p:cNvSpPr>
            <p:nvPr/>
          </p:nvSpPr>
          <p:spPr bwMode="auto">
            <a:xfrm>
              <a:off x="4687023" y="3988046"/>
              <a:ext cx="626400" cy="626400"/>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accent4">
                <a:lumMod val="75000"/>
              </a:schemeClr>
            </a:solidFill>
            <a:ln>
              <a:noFill/>
            </a:ln>
          </p:spPr>
          <p:txBody>
            <a:bodyPr vert="horz" wrap="square" lIns="68553" tIns="34277" rIns="68553" bIns="34277" numCol="1" anchor="t" anchorCtr="0" compatLnSpc="1">
              <a:prstTxWarp prst="textNoShape">
                <a:avLst/>
              </a:prstTxWarp>
            </a:bodyPr>
            <a:lstStyle/>
            <a:p>
              <a:pPr defTabSz="914126">
                <a:defRPr/>
              </a:pPr>
              <a:endParaRPr lang="en-US" sz="1999" kern="0" dirty="0">
                <a:solidFill>
                  <a:prstClr val="black"/>
                </a:solidFill>
              </a:endParaRPr>
            </a:p>
          </p:txBody>
        </p:sp>
      </p:grpSp>
      <p:grpSp>
        <p:nvGrpSpPr>
          <p:cNvPr id="319" name="Group 318">
            <a:extLst>
              <a:ext uri="{FF2B5EF4-FFF2-40B4-BE49-F238E27FC236}">
                <a16:creationId xmlns:a16="http://schemas.microsoft.com/office/drawing/2014/main" id="{59DB411D-D0CD-4D19-A23A-54A0618969DF}"/>
              </a:ext>
            </a:extLst>
          </p:cNvPr>
          <p:cNvGrpSpPr/>
          <p:nvPr/>
        </p:nvGrpSpPr>
        <p:grpSpPr>
          <a:xfrm>
            <a:off x="4636563" y="2901828"/>
            <a:ext cx="743912" cy="761965"/>
            <a:chOff x="4480718" y="2519854"/>
            <a:chExt cx="888318" cy="888321"/>
          </a:xfrm>
        </p:grpSpPr>
        <p:sp>
          <p:nvSpPr>
            <p:cNvPr id="320" name="Oval 65">
              <a:extLst>
                <a:ext uri="{FF2B5EF4-FFF2-40B4-BE49-F238E27FC236}">
                  <a16:creationId xmlns:a16="http://schemas.microsoft.com/office/drawing/2014/main" id="{01BD877D-982C-4229-AEC0-06B4EA599B97}"/>
                </a:ext>
              </a:extLst>
            </p:cNvPr>
            <p:cNvSpPr>
              <a:spLocks noChangeArrowheads="1"/>
            </p:cNvSpPr>
            <p:nvPr/>
          </p:nvSpPr>
          <p:spPr bwMode="auto">
            <a:xfrm rot="8100000">
              <a:off x="4480718" y="2519854"/>
              <a:ext cx="888318" cy="888321"/>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400" kern="0" dirty="0">
                <a:solidFill>
                  <a:prstClr val="black"/>
                </a:solidFill>
              </a:endParaRPr>
            </a:p>
          </p:txBody>
        </p:sp>
        <p:sp>
          <p:nvSpPr>
            <p:cNvPr id="321" name="Freeform 189">
              <a:extLst>
                <a:ext uri="{FF2B5EF4-FFF2-40B4-BE49-F238E27FC236}">
                  <a16:creationId xmlns:a16="http://schemas.microsoft.com/office/drawing/2014/main" id="{6C3724B1-554F-4449-AD13-C91B4CE8EBA4}"/>
                </a:ext>
              </a:extLst>
            </p:cNvPr>
            <p:cNvSpPr>
              <a:spLocks noChangeAspect="1" noEditPoints="1"/>
            </p:cNvSpPr>
            <p:nvPr/>
          </p:nvSpPr>
          <p:spPr bwMode="auto">
            <a:xfrm>
              <a:off x="4678193" y="2636241"/>
              <a:ext cx="626402" cy="6264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4">
                <a:lumMod val="75000"/>
              </a:schemeClr>
            </a:solidFill>
            <a:ln>
              <a:noFill/>
            </a:ln>
          </p:spPr>
          <p:txBody>
            <a:bodyPr vert="horz" wrap="square" lIns="68553" tIns="34277" rIns="68553" bIns="34277" numCol="1" anchor="t" anchorCtr="0" compatLnSpc="1">
              <a:prstTxWarp prst="textNoShape">
                <a:avLst/>
              </a:prstTxWarp>
            </a:bodyPr>
            <a:lstStyle/>
            <a:p>
              <a:pPr defTabSz="914126">
                <a:defRPr/>
              </a:pPr>
              <a:endParaRPr lang="en-US" sz="1999" kern="0" dirty="0">
                <a:solidFill>
                  <a:prstClr val="black"/>
                </a:solidFill>
              </a:endParaRPr>
            </a:p>
          </p:txBody>
        </p:sp>
      </p:grpSp>
      <p:grpSp>
        <p:nvGrpSpPr>
          <p:cNvPr id="322" name="Group 321">
            <a:extLst>
              <a:ext uri="{FF2B5EF4-FFF2-40B4-BE49-F238E27FC236}">
                <a16:creationId xmlns:a16="http://schemas.microsoft.com/office/drawing/2014/main" id="{BE9B43D3-A3C3-4A36-A0E1-F0A87D944F0B}"/>
              </a:ext>
            </a:extLst>
          </p:cNvPr>
          <p:cNvGrpSpPr/>
          <p:nvPr/>
        </p:nvGrpSpPr>
        <p:grpSpPr>
          <a:xfrm>
            <a:off x="4864347" y="1029452"/>
            <a:ext cx="2421732" cy="1438759"/>
            <a:chOff x="4223310" y="1139995"/>
            <a:chExt cx="3824772" cy="2226247"/>
          </a:xfrm>
        </p:grpSpPr>
        <p:sp>
          <p:nvSpPr>
            <p:cNvPr id="323" name="Rectangle 322">
              <a:extLst>
                <a:ext uri="{FF2B5EF4-FFF2-40B4-BE49-F238E27FC236}">
                  <a16:creationId xmlns:a16="http://schemas.microsoft.com/office/drawing/2014/main" id="{4244E1F1-2AC0-49F2-88BD-208017B4AE9C}"/>
                </a:ext>
              </a:extLst>
            </p:cNvPr>
            <p:cNvSpPr/>
            <p:nvPr/>
          </p:nvSpPr>
          <p:spPr bwMode="gray">
            <a:xfrm>
              <a:off x="4223310" y="1766755"/>
              <a:ext cx="3824772" cy="1599487"/>
            </a:xfrm>
            <a:prstGeom prst="rect">
              <a:avLst/>
            </a:prstGeom>
            <a:solidFill>
              <a:sysClr val="window" lastClr="FFFFFF"/>
            </a:solidFill>
            <a:ln w="19050" algn="ctr">
              <a:solidFill>
                <a:schemeClr val="accent4">
                  <a:lumMod val="75000"/>
                </a:schemeClr>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solidFill>
                  <a:schemeClr val="accent4"/>
                </a:solidFill>
              </a:endParaRPr>
            </a:p>
          </p:txBody>
        </p:sp>
        <p:grpSp>
          <p:nvGrpSpPr>
            <p:cNvPr id="324" name="Group 64">
              <a:extLst>
                <a:ext uri="{FF2B5EF4-FFF2-40B4-BE49-F238E27FC236}">
                  <a16:creationId xmlns:a16="http://schemas.microsoft.com/office/drawing/2014/main" id="{11CBA123-5E3D-4026-A0CA-A8509678EAAC}"/>
                </a:ext>
              </a:extLst>
            </p:cNvPr>
            <p:cNvGrpSpPr>
              <a:grpSpLocks noChangeAspect="1"/>
            </p:cNvGrpSpPr>
            <p:nvPr/>
          </p:nvGrpSpPr>
          <p:grpSpPr bwMode="auto">
            <a:xfrm rot="8100000">
              <a:off x="5498539" y="1139995"/>
              <a:ext cx="1168247" cy="1168250"/>
              <a:chOff x="701" y="2170"/>
              <a:chExt cx="587" cy="587"/>
            </a:xfrm>
          </p:grpSpPr>
          <p:sp>
            <p:nvSpPr>
              <p:cNvPr id="357" name="Oval 65">
                <a:extLst>
                  <a:ext uri="{FF2B5EF4-FFF2-40B4-BE49-F238E27FC236}">
                    <a16:creationId xmlns:a16="http://schemas.microsoft.com/office/drawing/2014/main" id="{247392EB-D89E-4CA3-A503-3F0C0B32A2D0}"/>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58" name="Line 66">
                <a:extLst>
                  <a:ext uri="{FF2B5EF4-FFF2-40B4-BE49-F238E27FC236}">
                    <a16:creationId xmlns:a16="http://schemas.microsoft.com/office/drawing/2014/main" id="{002FA15C-C97F-4EA2-BBD3-FC935A2D7C1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59" name="Line 67">
                <a:extLst>
                  <a:ext uri="{FF2B5EF4-FFF2-40B4-BE49-F238E27FC236}">
                    <a16:creationId xmlns:a16="http://schemas.microsoft.com/office/drawing/2014/main" id="{0A2EDF69-E1D7-4542-AB9A-ADA5CE278AA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60" name="Line 69">
                <a:extLst>
                  <a:ext uri="{FF2B5EF4-FFF2-40B4-BE49-F238E27FC236}">
                    <a16:creationId xmlns:a16="http://schemas.microsoft.com/office/drawing/2014/main" id="{BAC8110B-BE7D-4B3A-AD0B-B0EB59F3E5C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61" name="Line 74">
                <a:extLst>
                  <a:ext uri="{FF2B5EF4-FFF2-40B4-BE49-F238E27FC236}">
                    <a16:creationId xmlns:a16="http://schemas.microsoft.com/office/drawing/2014/main" id="{EA38EF8B-EB44-43C2-B522-236278B88E33}"/>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62" name="Freeform 78">
                <a:extLst>
                  <a:ext uri="{FF2B5EF4-FFF2-40B4-BE49-F238E27FC236}">
                    <a16:creationId xmlns:a16="http://schemas.microsoft.com/office/drawing/2014/main" id="{1BB576AE-47AA-4950-AEA3-EA75282F2673}"/>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accent4">
                    <a:lumMod val="7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63" name="Freeform 80">
                <a:extLst>
                  <a:ext uri="{FF2B5EF4-FFF2-40B4-BE49-F238E27FC236}">
                    <a16:creationId xmlns:a16="http://schemas.microsoft.com/office/drawing/2014/main" id="{E3DA818A-3DB0-4443-BA46-708BFAA2327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4">
                    <a:lumMod val="7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325" name="Rectangle 324">
              <a:extLst>
                <a:ext uri="{FF2B5EF4-FFF2-40B4-BE49-F238E27FC236}">
                  <a16:creationId xmlns:a16="http://schemas.microsoft.com/office/drawing/2014/main" id="{BF950B13-D4BB-4BB1-8EEB-0C80165DFA30}"/>
                </a:ext>
              </a:extLst>
            </p:cNvPr>
            <p:cNvSpPr/>
            <p:nvPr/>
          </p:nvSpPr>
          <p:spPr>
            <a:xfrm>
              <a:off x="4503017" y="2133171"/>
              <a:ext cx="3203841" cy="944287"/>
            </a:xfrm>
            <a:prstGeom prst="rect">
              <a:avLst/>
            </a:prstGeom>
          </p:spPr>
          <p:txBody>
            <a:bodyPr wrap="square">
              <a:spAutoFit/>
            </a:bodyPr>
            <a:lstStyle/>
            <a:p>
              <a:pPr algn="ctr" defTabSz="914126">
                <a:spcAft>
                  <a:spcPts val="225"/>
                </a:spcAft>
                <a:buClr>
                  <a:srgbClr val="62B5E5"/>
                </a:buClr>
                <a:defRPr/>
              </a:pPr>
              <a:r>
                <a:rPr lang="en-US" sz="1799" b="1" kern="0" dirty="0">
                  <a:solidFill>
                    <a:schemeClr val="accent4">
                      <a:lumMod val="75000"/>
                    </a:schemeClr>
                  </a:solidFill>
                  <a:ea typeface="Open Sans" panose="020B0606030504020204" pitchFamily="34" charset="0"/>
                  <a:cs typeface="Open Sans" panose="020B0606030504020204" pitchFamily="34" charset="0"/>
                </a:rPr>
                <a:t>Scrum Master</a:t>
              </a:r>
            </a:p>
            <a:p>
              <a:pPr algn="ctr" defTabSz="914126">
                <a:spcAft>
                  <a:spcPts val="225"/>
                </a:spcAft>
                <a:buClr>
                  <a:srgbClr val="62B5E5"/>
                </a:buClr>
                <a:defRPr/>
              </a:pPr>
              <a:r>
                <a:rPr lang="en-US" sz="1400" kern="0" dirty="0">
                  <a:solidFill>
                    <a:schemeClr val="accent4">
                      <a:lumMod val="75000"/>
                    </a:schemeClr>
                  </a:solidFill>
                  <a:ea typeface="Open Sans" panose="020B0606030504020204" pitchFamily="34" charset="0"/>
                  <a:cs typeface="Open Sans" panose="020B0606030504020204" pitchFamily="34" charset="0"/>
                </a:rPr>
                <a:t>“Servant leader”</a:t>
              </a:r>
            </a:p>
          </p:txBody>
        </p:sp>
        <p:grpSp>
          <p:nvGrpSpPr>
            <p:cNvPr id="326" name="Group 325">
              <a:extLst>
                <a:ext uri="{FF2B5EF4-FFF2-40B4-BE49-F238E27FC236}">
                  <a16:creationId xmlns:a16="http://schemas.microsoft.com/office/drawing/2014/main" id="{3A23C196-0F51-4517-AA29-6617ECA65344}"/>
                </a:ext>
              </a:extLst>
            </p:cNvPr>
            <p:cNvGrpSpPr/>
            <p:nvPr/>
          </p:nvGrpSpPr>
          <p:grpSpPr>
            <a:xfrm>
              <a:off x="5637344" y="1307197"/>
              <a:ext cx="879367" cy="863025"/>
              <a:chOff x="468738" y="2241878"/>
              <a:chExt cx="1655483" cy="1624719"/>
            </a:xfrm>
          </p:grpSpPr>
          <p:sp>
            <p:nvSpPr>
              <p:cNvPr id="327" name="Freeform 5">
                <a:extLst>
                  <a:ext uri="{FF2B5EF4-FFF2-40B4-BE49-F238E27FC236}">
                    <a16:creationId xmlns:a16="http://schemas.microsoft.com/office/drawing/2014/main" id="{AFE56764-7BB7-476B-920A-256D48F4D2AE}"/>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8" name="Freeform 6">
                <a:extLst>
                  <a:ext uri="{FF2B5EF4-FFF2-40B4-BE49-F238E27FC236}">
                    <a16:creationId xmlns:a16="http://schemas.microsoft.com/office/drawing/2014/main" id="{7FB4196B-A36C-42E4-9564-F3E86C66B42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29" name="Line 7">
                <a:extLst>
                  <a:ext uri="{FF2B5EF4-FFF2-40B4-BE49-F238E27FC236}">
                    <a16:creationId xmlns:a16="http://schemas.microsoft.com/office/drawing/2014/main" id="{2CA2A39B-73F3-4119-B0EB-DFB629875ACC}"/>
                  </a:ext>
                </a:extLst>
              </p:cNvPr>
              <p:cNvSpPr>
                <a:spLocks noChangeShapeType="1"/>
              </p:cNvSpPr>
              <p:nvPr/>
            </p:nvSpPr>
            <p:spPr bwMode="auto">
              <a:xfrm flipH="1">
                <a:off x="1772614" y="3068155"/>
                <a:ext cx="325237" cy="0"/>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0" name="Freeform 8">
                <a:extLst>
                  <a:ext uri="{FF2B5EF4-FFF2-40B4-BE49-F238E27FC236}">
                    <a16:creationId xmlns:a16="http://schemas.microsoft.com/office/drawing/2014/main" id="{741B1298-A522-4779-9E46-307D73F0ECB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1" name="Line 9">
                <a:extLst>
                  <a:ext uri="{FF2B5EF4-FFF2-40B4-BE49-F238E27FC236}">
                    <a16:creationId xmlns:a16="http://schemas.microsoft.com/office/drawing/2014/main" id="{E03E6D85-526F-4A4F-BCB8-F2A66BF2775D}"/>
                  </a:ext>
                </a:extLst>
              </p:cNvPr>
              <p:cNvSpPr>
                <a:spLocks noChangeShapeType="1"/>
              </p:cNvSpPr>
              <p:nvPr/>
            </p:nvSpPr>
            <p:spPr bwMode="auto">
              <a:xfrm>
                <a:off x="492178" y="3068155"/>
                <a:ext cx="328167" cy="0"/>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nvGrpSpPr>
              <p:cNvPr id="332" name="Group 331">
                <a:extLst>
                  <a:ext uri="{FF2B5EF4-FFF2-40B4-BE49-F238E27FC236}">
                    <a16:creationId xmlns:a16="http://schemas.microsoft.com/office/drawing/2014/main" id="{1B4B4118-8B10-40AB-AA28-88BE284FCF94}"/>
                  </a:ext>
                </a:extLst>
              </p:cNvPr>
              <p:cNvGrpSpPr/>
              <p:nvPr/>
            </p:nvGrpSpPr>
            <p:grpSpPr>
              <a:xfrm>
                <a:off x="1207113" y="2241878"/>
                <a:ext cx="178734" cy="348678"/>
                <a:chOff x="1207113" y="2241878"/>
                <a:chExt cx="178734" cy="348678"/>
              </a:xfrm>
            </p:grpSpPr>
            <p:sp>
              <p:nvSpPr>
                <p:cNvPr id="355" name="Freeform 10">
                  <a:extLst>
                    <a:ext uri="{FF2B5EF4-FFF2-40B4-BE49-F238E27FC236}">
                      <a16:creationId xmlns:a16="http://schemas.microsoft.com/office/drawing/2014/main" id="{C30DC0FB-E769-44AF-BDF2-9294DDDF77D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56" name="Line 11">
                  <a:extLst>
                    <a:ext uri="{FF2B5EF4-FFF2-40B4-BE49-F238E27FC236}">
                      <a16:creationId xmlns:a16="http://schemas.microsoft.com/office/drawing/2014/main" id="{CB93E3FB-1045-4D28-9C3A-6BBFA80FF8FC}"/>
                    </a:ext>
                  </a:extLst>
                </p:cNvPr>
                <p:cNvSpPr>
                  <a:spLocks noChangeShapeType="1"/>
                </p:cNvSpPr>
                <p:nvPr/>
              </p:nvSpPr>
              <p:spPr bwMode="auto">
                <a:xfrm>
                  <a:off x="1295014" y="2265319"/>
                  <a:ext cx="0" cy="325237"/>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333" name="Freeform 12">
                <a:extLst>
                  <a:ext uri="{FF2B5EF4-FFF2-40B4-BE49-F238E27FC236}">
                    <a16:creationId xmlns:a16="http://schemas.microsoft.com/office/drawing/2014/main" id="{9DB6A6ED-9E53-4842-A409-B413A0D15A56}"/>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4" name="Line 13">
                <a:extLst>
                  <a:ext uri="{FF2B5EF4-FFF2-40B4-BE49-F238E27FC236}">
                    <a16:creationId xmlns:a16="http://schemas.microsoft.com/office/drawing/2014/main" id="{D8CCF293-27AA-4257-BBED-CFE46F547CDC}"/>
                  </a:ext>
                </a:extLst>
              </p:cNvPr>
              <p:cNvSpPr>
                <a:spLocks noChangeShapeType="1"/>
              </p:cNvSpPr>
              <p:nvPr/>
            </p:nvSpPr>
            <p:spPr bwMode="auto">
              <a:xfrm flipH="1">
                <a:off x="1634901" y="2499724"/>
                <a:ext cx="231475" cy="23147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5" name="Freeform 14">
                <a:extLst>
                  <a:ext uri="{FF2B5EF4-FFF2-40B4-BE49-F238E27FC236}">
                    <a16:creationId xmlns:a16="http://schemas.microsoft.com/office/drawing/2014/main" id="{B402DE89-2431-44F7-8A25-8B9605833200}"/>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6" name="Line 15">
                <a:extLst>
                  <a:ext uri="{FF2B5EF4-FFF2-40B4-BE49-F238E27FC236}">
                    <a16:creationId xmlns:a16="http://schemas.microsoft.com/office/drawing/2014/main" id="{ED246DC9-20AF-4C74-8136-583F548F2106}"/>
                  </a:ext>
                </a:extLst>
              </p:cNvPr>
              <p:cNvSpPr>
                <a:spLocks noChangeShapeType="1"/>
              </p:cNvSpPr>
              <p:nvPr/>
            </p:nvSpPr>
            <p:spPr bwMode="auto">
              <a:xfrm flipV="1">
                <a:off x="726583" y="3408042"/>
                <a:ext cx="231475" cy="22854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7" name="Freeform 16">
                <a:extLst>
                  <a:ext uri="{FF2B5EF4-FFF2-40B4-BE49-F238E27FC236}">
                    <a16:creationId xmlns:a16="http://schemas.microsoft.com/office/drawing/2014/main" id="{4F079306-4F34-456E-9248-74A56F52A2E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8" name="Line 17">
                <a:extLst>
                  <a:ext uri="{FF2B5EF4-FFF2-40B4-BE49-F238E27FC236}">
                    <a16:creationId xmlns:a16="http://schemas.microsoft.com/office/drawing/2014/main" id="{A42E4BDA-145E-4E91-A301-7E045759CB8F}"/>
                  </a:ext>
                </a:extLst>
              </p:cNvPr>
              <p:cNvSpPr>
                <a:spLocks noChangeShapeType="1"/>
              </p:cNvSpPr>
              <p:nvPr/>
            </p:nvSpPr>
            <p:spPr bwMode="auto">
              <a:xfrm flipH="1" flipV="1">
                <a:off x="1634901" y="3408042"/>
                <a:ext cx="231475" cy="22854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39" name="Freeform 18">
                <a:extLst>
                  <a:ext uri="{FF2B5EF4-FFF2-40B4-BE49-F238E27FC236}">
                    <a16:creationId xmlns:a16="http://schemas.microsoft.com/office/drawing/2014/main" id="{A24540F6-7CB2-468E-A8A9-703F5602D80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0" name="Line 19">
                <a:extLst>
                  <a:ext uri="{FF2B5EF4-FFF2-40B4-BE49-F238E27FC236}">
                    <a16:creationId xmlns:a16="http://schemas.microsoft.com/office/drawing/2014/main" id="{D65DF829-0ECD-4B97-B60A-F08D7E8C9AF8}"/>
                  </a:ext>
                </a:extLst>
              </p:cNvPr>
              <p:cNvSpPr>
                <a:spLocks noChangeShapeType="1"/>
              </p:cNvSpPr>
              <p:nvPr/>
            </p:nvSpPr>
            <p:spPr bwMode="auto">
              <a:xfrm>
                <a:off x="726583" y="2499724"/>
                <a:ext cx="231475" cy="231475"/>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1" name="Freeform 35">
                <a:extLst>
                  <a:ext uri="{FF2B5EF4-FFF2-40B4-BE49-F238E27FC236}">
                    <a16:creationId xmlns:a16="http://schemas.microsoft.com/office/drawing/2014/main" id="{470F7DAD-D6D4-42D4-8D87-6E247CD21C8B}"/>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2" name="Freeform 36">
                <a:extLst>
                  <a:ext uri="{FF2B5EF4-FFF2-40B4-BE49-F238E27FC236}">
                    <a16:creationId xmlns:a16="http://schemas.microsoft.com/office/drawing/2014/main" id="{3D7A45A0-65A4-4F26-93ED-61CD8D5C59C9}"/>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3" name="Freeform 37">
                <a:extLst>
                  <a:ext uri="{FF2B5EF4-FFF2-40B4-BE49-F238E27FC236}">
                    <a16:creationId xmlns:a16="http://schemas.microsoft.com/office/drawing/2014/main" id="{3CDA02EF-13DB-41D9-B1CF-6AECA702D7A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4" name="Freeform 38">
                <a:extLst>
                  <a:ext uri="{FF2B5EF4-FFF2-40B4-BE49-F238E27FC236}">
                    <a16:creationId xmlns:a16="http://schemas.microsoft.com/office/drawing/2014/main" id="{2CABDC25-0CE1-44AF-9A5F-EDD0E09282B1}"/>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5" name="Freeform 39">
                <a:extLst>
                  <a:ext uri="{FF2B5EF4-FFF2-40B4-BE49-F238E27FC236}">
                    <a16:creationId xmlns:a16="http://schemas.microsoft.com/office/drawing/2014/main" id="{A5AF365A-B4A8-472E-9B74-BD0DAB81C915}"/>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6" name="Freeform 40">
                <a:extLst>
                  <a:ext uri="{FF2B5EF4-FFF2-40B4-BE49-F238E27FC236}">
                    <a16:creationId xmlns:a16="http://schemas.microsoft.com/office/drawing/2014/main" id="{81F18826-6420-4247-99A0-ACB94249A544}"/>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7" name="Freeform 41">
                <a:extLst>
                  <a:ext uri="{FF2B5EF4-FFF2-40B4-BE49-F238E27FC236}">
                    <a16:creationId xmlns:a16="http://schemas.microsoft.com/office/drawing/2014/main" id="{B7546010-4B08-47EE-B992-B3736CBE6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8" name="Line 42">
                <a:extLst>
                  <a:ext uri="{FF2B5EF4-FFF2-40B4-BE49-F238E27FC236}">
                    <a16:creationId xmlns:a16="http://schemas.microsoft.com/office/drawing/2014/main" id="{B6D62266-AC1F-43D6-9ACB-B2B52B0E5EA4}"/>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49" name="Freeform 43">
                <a:extLst>
                  <a:ext uri="{FF2B5EF4-FFF2-40B4-BE49-F238E27FC236}">
                    <a16:creationId xmlns:a16="http://schemas.microsoft.com/office/drawing/2014/main" id="{CFEF7218-8E06-4B4B-B10B-4D3DA7C6F9B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50" name="Freeform 44">
                <a:extLst>
                  <a:ext uri="{FF2B5EF4-FFF2-40B4-BE49-F238E27FC236}">
                    <a16:creationId xmlns:a16="http://schemas.microsoft.com/office/drawing/2014/main" id="{8A782131-4FAA-4610-87EC-FC692D5C8EF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51" name="Freeform 45">
                <a:extLst>
                  <a:ext uri="{FF2B5EF4-FFF2-40B4-BE49-F238E27FC236}">
                    <a16:creationId xmlns:a16="http://schemas.microsoft.com/office/drawing/2014/main" id="{B404190F-8C9A-4B08-857F-C25F9D3502D2}"/>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nvGrpSpPr>
              <p:cNvPr id="352" name="Group 351">
                <a:extLst>
                  <a:ext uri="{FF2B5EF4-FFF2-40B4-BE49-F238E27FC236}">
                    <a16:creationId xmlns:a16="http://schemas.microsoft.com/office/drawing/2014/main" id="{71B9F855-6685-4673-A937-B3ED9D9025B5}"/>
                  </a:ext>
                </a:extLst>
              </p:cNvPr>
              <p:cNvGrpSpPr/>
              <p:nvPr/>
            </p:nvGrpSpPr>
            <p:grpSpPr>
              <a:xfrm flipV="1">
                <a:off x="1202047" y="3517919"/>
                <a:ext cx="178734" cy="348678"/>
                <a:chOff x="1207113" y="2241878"/>
                <a:chExt cx="178734" cy="348678"/>
              </a:xfrm>
            </p:grpSpPr>
            <p:sp>
              <p:nvSpPr>
                <p:cNvPr id="353" name="Freeform 10">
                  <a:extLst>
                    <a:ext uri="{FF2B5EF4-FFF2-40B4-BE49-F238E27FC236}">
                      <a16:creationId xmlns:a16="http://schemas.microsoft.com/office/drawing/2014/main" id="{0D2C229D-E371-4F44-B7CA-840523C92080}"/>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54" name="Line 11">
                  <a:extLst>
                    <a:ext uri="{FF2B5EF4-FFF2-40B4-BE49-F238E27FC236}">
                      <a16:creationId xmlns:a16="http://schemas.microsoft.com/office/drawing/2014/main" id="{33F1730F-F298-4328-B4C5-43F1C1FCA433}"/>
                    </a:ext>
                  </a:extLst>
                </p:cNvPr>
                <p:cNvSpPr>
                  <a:spLocks noChangeShapeType="1"/>
                </p:cNvSpPr>
                <p:nvPr/>
              </p:nvSpPr>
              <p:spPr bwMode="auto">
                <a:xfrm>
                  <a:off x="1295014" y="2265319"/>
                  <a:ext cx="0" cy="325237"/>
                </a:xfrm>
                <a:prstGeom prst="line">
                  <a:avLst/>
                </a:prstGeom>
                <a:noFill/>
                <a:ln w="952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sp>
        <p:nvSpPr>
          <p:cNvPr id="166" name="Rectangle 165">
            <a:extLst>
              <a:ext uri="{FF2B5EF4-FFF2-40B4-BE49-F238E27FC236}">
                <a16:creationId xmlns:a16="http://schemas.microsoft.com/office/drawing/2014/main" id="{CA39EA79-3C13-4FF0-8795-2A4F9ED07DD2}"/>
              </a:ext>
            </a:extLst>
          </p:cNvPr>
          <p:cNvSpPr/>
          <p:nvPr/>
        </p:nvSpPr>
        <p:spPr bwMode="gray">
          <a:xfrm>
            <a:off x="1700710" y="4085584"/>
            <a:ext cx="1886288" cy="1264135"/>
          </a:xfrm>
          <a:prstGeom prst="rect">
            <a:avLst/>
          </a:prstGeom>
          <a:solidFill>
            <a:sysClr val="window" lastClr="FFFFFF"/>
          </a:solidFill>
          <a:ln w="19050" algn="ctr">
            <a:solidFill>
              <a:schemeClr val="accent6"/>
            </a:solidFill>
            <a:prstDash val="sysDot"/>
            <a:miter lim="800000"/>
            <a:headEnd/>
            <a:tailEnd/>
          </a:ln>
        </p:spPr>
        <p:txBody>
          <a:bodyPr wrap="square" lIns="150817" tIns="66649" rIns="34277" bIns="66649" rtlCol="0" anchor="ctr"/>
          <a:lstStyle/>
          <a:p>
            <a:pPr algn="ctr">
              <a:lnSpc>
                <a:spcPct val="106000"/>
              </a:lnSpc>
            </a:pPr>
            <a:r>
              <a:rPr lang="en-US" sz="1400" kern="0" dirty="0">
                <a:solidFill>
                  <a:srgbClr val="313131"/>
                </a:solidFill>
                <a:ea typeface="Open Sans" panose="020B0606030504020204" pitchFamily="34" charset="0"/>
                <a:cs typeface="Open Sans" panose="020B0606030504020204" pitchFamily="34" charset="0"/>
              </a:rPr>
              <a:t>Must be experienced, empowered, influential, committed, and trained</a:t>
            </a:r>
          </a:p>
        </p:txBody>
      </p:sp>
      <p:sp>
        <p:nvSpPr>
          <p:cNvPr id="167" name="Oval 65">
            <a:extLst>
              <a:ext uri="{FF2B5EF4-FFF2-40B4-BE49-F238E27FC236}">
                <a16:creationId xmlns:a16="http://schemas.microsoft.com/office/drawing/2014/main" id="{63927679-24C0-42E4-B5B6-AA521DA52746}"/>
              </a:ext>
            </a:extLst>
          </p:cNvPr>
          <p:cNvSpPr>
            <a:spLocks noChangeArrowheads="1"/>
          </p:cNvSpPr>
          <p:nvPr/>
        </p:nvSpPr>
        <p:spPr bwMode="auto">
          <a:xfrm rot="8100000">
            <a:off x="1130838" y="4340149"/>
            <a:ext cx="739699" cy="755005"/>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200" kern="0" dirty="0">
              <a:solidFill>
                <a:prstClr val="black"/>
              </a:solidFill>
            </a:endParaRPr>
          </a:p>
        </p:txBody>
      </p:sp>
      <p:sp>
        <p:nvSpPr>
          <p:cNvPr id="171" name="Freeform 867">
            <a:extLst>
              <a:ext uri="{FF2B5EF4-FFF2-40B4-BE49-F238E27FC236}">
                <a16:creationId xmlns:a16="http://schemas.microsoft.com/office/drawing/2014/main" id="{90B15AE6-1901-45F6-8FFA-DCBBAE1BAAEE}"/>
              </a:ext>
            </a:extLst>
          </p:cNvPr>
          <p:cNvSpPr>
            <a:spLocks noChangeAspect="1" noEditPoints="1"/>
          </p:cNvSpPr>
          <p:nvPr/>
        </p:nvSpPr>
        <p:spPr bwMode="auto">
          <a:xfrm>
            <a:off x="1330756" y="4500762"/>
            <a:ext cx="521601" cy="532392"/>
          </a:xfrm>
          <a:custGeom>
            <a:avLst/>
            <a:gdLst>
              <a:gd name="T0" fmla="*/ 138 w 512"/>
              <a:gd name="T1" fmla="*/ 138 h 512"/>
              <a:gd name="T2" fmla="*/ 373 w 512"/>
              <a:gd name="T3" fmla="*/ 138 h 512"/>
              <a:gd name="T4" fmla="*/ 373 w 512"/>
              <a:gd name="T5" fmla="*/ 309 h 512"/>
              <a:gd name="T6" fmla="*/ 138 w 512"/>
              <a:gd name="T7" fmla="*/ 309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266 w 512"/>
              <a:gd name="T25" fmla="*/ 117 h 512"/>
              <a:gd name="T26" fmla="*/ 256 w 512"/>
              <a:gd name="T27" fmla="*/ 106 h 512"/>
              <a:gd name="T28" fmla="*/ 245 w 512"/>
              <a:gd name="T29" fmla="*/ 117 h 512"/>
              <a:gd name="T30" fmla="*/ 128 w 512"/>
              <a:gd name="T31" fmla="*/ 117 h 512"/>
              <a:gd name="T32" fmla="*/ 117 w 512"/>
              <a:gd name="T33" fmla="*/ 128 h 512"/>
              <a:gd name="T34" fmla="*/ 117 w 512"/>
              <a:gd name="T35" fmla="*/ 320 h 512"/>
              <a:gd name="T36" fmla="*/ 128 w 512"/>
              <a:gd name="T37" fmla="*/ 330 h 512"/>
              <a:gd name="T38" fmla="*/ 198 w 512"/>
              <a:gd name="T39" fmla="*/ 330 h 512"/>
              <a:gd name="T40" fmla="*/ 171 w 512"/>
              <a:gd name="T41" fmla="*/ 401 h 512"/>
              <a:gd name="T42" fmla="*/ 177 w 512"/>
              <a:gd name="T43" fmla="*/ 415 h 512"/>
              <a:gd name="T44" fmla="*/ 181 w 512"/>
              <a:gd name="T45" fmla="*/ 416 h 512"/>
              <a:gd name="T46" fmla="*/ 191 w 512"/>
              <a:gd name="T47" fmla="*/ 409 h 512"/>
              <a:gd name="T48" fmla="*/ 220 w 512"/>
              <a:gd name="T49" fmla="*/ 330 h 512"/>
              <a:gd name="T50" fmla="*/ 245 w 512"/>
              <a:gd name="T51" fmla="*/ 330 h 512"/>
              <a:gd name="T52" fmla="*/ 245 w 512"/>
              <a:gd name="T53" fmla="*/ 373 h 512"/>
              <a:gd name="T54" fmla="*/ 256 w 512"/>
              <a:gd name="T55" fmla="*/ 384 h 512"/>
              <a:gd name="T56" fmla="*/ 266 w 512"/>
              <a:gd name="T57" fmla="*/ 373 h 512"/>
              <a:gd name="T58" fmla="*/ 266 w 512"/>
              <a:gd name="T59" fmla="*/ 330 h 512"/>
              <a:gd name="T60" fmla="*/ 291 w 512"/>
              <a:gd name="T61" fmla="*/ 330 h 512"/>
              <a:gd name="T62" fmla="*/ 320 w 512"/>
              <a:gd name="T63" fmla="*/ 409 h 512"/>
              <a:gd name="T64" fmla="*/ 330 w 512"/>
              <a:gd name="T65" fmla="*/ 416 h 512"/>
              <a:gd name="T66" fmla="*/ 334 w 512"/>
              <a:gd name="T67" fmla="*/ 415 h 512"/>
              <a:gd name="T68" fmla="*/ 340 w 512"/>
              <a:gd name="T69" fmla="*/ 401 h 512"/>
              <a:gd name="T70" fmla="*/ 314 w 512"/>
              <a:gd name="T71" fmla="*/ 330 h 512"/>
              <a:gd name="T72" fmla="*/ 384 w 512"/>
              <a:gd name="T73" fmla="*/ 330 h 512"/>
              <a:gd name="T74" fmla="*/ 394 w 512"/>
              <a:gd name="T75" fmla="*/ 320 h 512"/>
              <a:gd name="T76" fmla="*/ 394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138" y="138"/>
                </a:moveTo>
                <a:cubicBezTo>
                  <a:pt x="373" y="138"/>
                  <a:pt x="373" y="138"/>
                  <a:pt x="373" y="138"/>
                </a:cubicBezTo>
                <a:cubicBezTo>
                  <a:pt x="373" y="309"/>
                  <a:pt x="373" y="309"/>
                  <a:pt x="373" y="309"/>
                </a:cubicBezTo>
                <a:cubicBezTo>
                  <a:pt x="138" y="309"/>
                  <a:pt x="138" y="309"/>
                  <a:pt x="138" y="309"/>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266" y="117"/>
                  <a:pt x="266" y="117"/>
                  <a:pt x="266" y="117"/>
                </a:cubicBezTo>
                <a:cubicBezTo>
                  <a:pt x="266" y="111"/>
                  <a:pt x="262" y="106"/>
                  <a:pt x="256" y="106"/>
                </a:cubicBezTo>
                <a:cubicBezTo>
                  <a:pt x="250" y="106"/>
                  <a:pt x="245" y="111"/>
                  <a:pt x="245" y="117"/>
                </a:cubicBezTo>
                <a:cubicBezTo>
                  <a:pt x="128" y="117"/>
                  <a:pt x="128" y="117"/>
                  <a:pt x="128" y="117"/>
                </a:cubicBezTo>
                <a:cubicBezTo>
                  <a:pt x="122" y="117"/>
                  <a:pt x="117" y="122"/>
                  <a:pt x="117" y="128"/>
                </a:cubicBezTo>
                <a:cubicBezTo>
                  <a:pt x="117" y="320"/>
                  <a:pt x="117" y="320"/>
                  <a:pt x="117" y="320"/>
                </a:cubicBezTo>
                <a:cubicBezTo>
                  <a:pt x="117" y="326"/>
                  <a:pt x="122" y="330"/>
                  <a:pt x="128" y="330"/>
                </a:cubicBezTo>
                <a:cubicBezTo>
                  <a:pt x="198" y="330"/>
                  <a:pt x="198" y="330"/>
                  <a:pt x="198" y="330"/>
                </a:cubicBezTo>
                <a:cubicBezTo>
                  <a:pt x="171" y="401"/>
                  <a:pt x="171" y="401"/>
                  <a:pt x="171" y="401"/>
                </a:cubicBezTo>
                <a:cubicBezTo>
                  <a:pt x="169" y="407"/>
                  <a:pt x="172" y="413"/>
                  <a:pt x="177" y="415"/>
                </a:cubicBezTo>
                <a:cubicBezTo>
                  <a:pt x="178" y="415"/>
                  <a:pt x="180" y="416"/>
                  <a:pt x="181" y="416"/>
                </a:cubicBezTo>
                <a:cubicBezTo>
                  <a:pt x="185" y="416"/>
                  <a:pt x="189" y="413"/>
                  <a:pt x="191" y="409"/>
                </a:cubicBezTo>
                <a:cubicBezTo>
                  <a:pt x="220" y="330"/>
                  <a:pt x="220" y="330"/>
                  <a:pt x="220" y="330"/>
                </a:cubicBezTo>
                <a:cubicBezTo>
                  <a:pt x="245" y="330"/>
                  <a:pt x="245" y="330"/>
                  <a:pt x="245" y="330"/>
                </a:cubicBezTo>
                <a:cubicBezTo>
                  <a:pt x="245" y="373"/>
                  <a:pt x="245" y="373"/>
                  <a:pt x="245" y="373"/>
                </a:cubicBezTo>
                <a:cubicBezTo>
                  <a:pt x="245" y="379"/>
                  <a:pt x="250" y="384"/>
                  <a:pt x="256" y="384"/>
                </a:cubicBezTo>
                <a:cubicBezTo>
                  <a:pt x="262" y="384"/>
                  <a:pt x="266" y="379"/>
                  <a:pt x="266" y="373"/>
                </a:cubicBezTo>
                <a:cubicBezTo>
                  <a:pt x="266" y="330"/>
                  <a:pt x="266" y="330"/>
                  <a:pt x="266" y="330"/>
                </a:cubicBezTo>
                <a:cubicBezTo>
                  <a:pt x="291" y="330"/>
                  <a:pt x="291" y="330"/>
                  <a:pt x="291" y="330"/>
                </a:cubicBezTo>
                <a:cubicBezTo>
                  <a:pt x="320" y="409"/>
                  <a:pt x="320" y="409"/>
                  <a:pt x="320" y="409"/>
                </a:cubicBezTo>
                <a:cubicBezTo>
                  <a:pt x="322" y="413"/>
                  <a:pt x="326" y="416"/>
                  <a:pt x="330" y="416"/>
                </a:cubicBezTo>
                <a:cubicBezTo>
                  <a:pt x="332" y="416"/>
                  <a:pt x="333" y="415"/>
                  <a:pt x="334" y="415"/>
                </a:cubicBezTo>
                <a:cubicBezTo>
                  <a:pt x="340" y="413"/>
                  <a:pt x="342" y="407"/>
                  <a:pt x="340" y="401"/>
                </a:cubicBezTo>
                <a:cubicBezTo>
                  <a:pt x="314" y="330"/>
                  <a:pt x="314" y="330"/>
                  <a:pt x="314" y="330"/>
                </a:cubicBezTo>
                <a:cubicBezTo>
                  <a:pt x="384" y="330"/>
                  <a:pt x="384" y="330"/>
                  <a:pt x="384" y="330"/>
                </a:cubicBezTo>
                <a:cubicBezTo>
                  <a:pt x="390" y="330"/>
                  <a:pt x="394" y="326"/>
                  <a:pt x="394" y="320"/>
                </a:cubicBezTo>
                <a:lnTo>
                  <a:pt x="394" y="128"/>
                </a:lnTo>
                <a:close/>
              </a:path>
            </a:pathLst>
          </a:custGeom>
          <a:solidFill>
            <a:schemeClr val="accent6"/>
          </a:solidFill>
          <a:ln>
            <a:noFill/>
          </a:ln>
        </p:spPr>
        <p:txBody>
          <a:bodyPr vert="horz" wrap="square" lIns="68553" tIns="34277" rIns="68553" bIns="34277" numCol="1" anchor="t" anchorCtr="0" compatLnSpc="1">
            <a:prstTxWarp prst="textNoShape">
              <a:avLst/>
            </a:prstTxWarp>
          </a:bodyPr>
          <a:lstStyle/>
          <a:p>
            <a:pPr defTabSz="914126">
              <a:defRPr/>
            </a:pPr>
            <a:endParaRPr lang="en-US" sz="1400" kern="0" dirty="0">
              <a:solidFill>
                <a:prstClr val="black"/>
              </a:solidFill>
            </a:endParaRPr>
          </a:p>
        </p:txBody>
      </p:sp>
      <p:sp>
        <p:nvSpPr>
          <p:cNvPr id="172" name="Rectangle 171">
            <a:extLst>
              <a:ext uri="{FF2B5EF4-FFF2-40B4-BE49-F238E27FC236}">
                <a16:creationId xmlns:a16="http://schemas.microsoft.com/office/drawing/2014/main" id="{7570208C-9171-443D-8DF8-F07CC6B48616}"/>
              </a:ext>
            </a:extLst>
          </p:cNvPr>
          <p:cNvSpPr/>
          <p:nvPr/>
        </p:nvSpPr>
        <p:spPr bwMode="gray">
          <a:xfrm>
            <a:off x="1709692" y="2649970"/>
            <a:ext cx="1886288" cy="1264363"/>
          </a:xfrm>
          <a:prstGeom prst="rect">
            <a:avLst/>
          </a:prstGeom>
          <a:solidFill>
            <a:sysClr val="window" lastClr="FFFFFF"/>
          </a:solidFill>
          <a:ln w="19050" algn="ctr">
            <a:solidFill>
              <a:schemeClr val="accent6"/>
            </a:solidFill>
            <a:prstDash val="sysDot"/>
            <a:miter lim="800000"/>
            <a:headEnd/>
            <a:tailEnd/>
          </a:ln>
        </p:spPr>
        <p:txBody>
          <a:bodyPr wrap="square" lIns="137106" tIns="66649" rIns="66649" bIns="66649" rtlCol="0" anchor="ctr"/>
          <a:lstStyle/>
          <a:p>
            <a:pPr algn="ctr">
              <a:lnSpc>
                <a:spcPct val="106000"/>
              </a:lnSpc>
            </a:pPr>
            <a:r>
              <a:rPr lang="en-US" sz="1400" kern="0" dirty="0">
                <a:solidFill>
                  <a:srgbClr val="313131"/>
                </a:solidFill>
                <a:ea typeface="Open Sans" panose="020B0606030504020204" pitchFamily="34" charset="0"/>
                <a:cs typeface="Open Sans" panose="020B0606030504020204" pitchFamily="34" charset="0"/>
              </a:rPr>
              <a:t>Organization; </a:t>
            </a:r>
            <a:br>
              <a:rPr lang="en-US" sz="1400" kern="0" dirty="0">
                <a:solidFill>
                  <a:srgbClr val="313131"/>
                </a:solidFill>
                <a:ea typeface="Open Sans" panose="020B0606030504020204" pitchFamily="34" charset="0"/>
                <a:cs typeface="Open Sans" panose="020B0606030504020204" pitchFamily="34" charset="0"/>
              </a:rPr>
            </a:br>
            <a:r>
              <a:rPr lang="en-US" sz="1400" kern="0" dirty="0">
                <a:solidFill>
                  <a:srgbClr val="313131"/>
                </a:solidFill>
                <a:ea typeface="Open Sans" panose="020B0606030504020204" pitchFamily="34" charset="0"/>
                <a:cs typeface="Open Sans" panose="020B0606030504020204" pitchFamily="34" charset="0"/>
              </a:rPr>
              <a:t>represents </a:t>
            </a:r>
            <a:br>
              <a:rPr lang="en-US" sz="1400" kern="0" dirty="0">
                <a:solidFill>
                  <a:srgbClr val="313131"/>
                </a:solidFill>
                <a:ea typeface="Open Sans" panose="020B0606030504020204" pitchFamily="34" charset="0"/>
                <a:cs typeface="Open Sans" panose="020B0606030504020204" pitchFamily="34" charset="0"/>
              </a:rPr>
            </a:br>
            <a:r>
              <a:rPr lang="en-US" sz="1400" kern="0" dirty="0">
                <a:solidFill>
                  <a:srgbClr val="313131"/>
                </a:solidFill>
                <a:ea typeface="Open Sans" panose="020B0606030504020204" pitchFamily="34" charset="0"/>
                <a:cs typeface="Open Sans" panose="020B0606030504020204" pitchFamily="34" charset="0"/>
              </a:rPr>
              <a:t>the stakeholders </a:t>
            </a:r>
          </a:p>
        </p:txBody>
      </p:sp>
      <p:sp>
        <p:nvSpPr>
          <p:cNvPr id="173" name="Oval 65">
            <a:extLst>
              <a:ext uri="{FF2B5EF4-FFF2-40B4-BE49-F238E27FC236}">
                <a16:creationId xmlns:a16="http://schemas.microsoft.com/office/drawing/2014/main" id="{8D3BAB35-EC44-4B5A-8E5D-3C075C5F9F9F}"/>
              </a:ext>
            </a:extLst>
          </p:cNvPr>
          <p:cNvSpPr>
            <a:spLocks noChangeArrowheads="1"/>
          </p:cNvSpPr>
          <p:nvPr/>
        </p:nvSpPr>
        <p:spPr bwMode="auto">
          <a:xfrm rot="8100000">
            <a:off x="1218065" y="2904648"/>
            <a:ext cx="739699" cy="755005"/>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600" kern="0" dirty="0">
              <a:solidFill>
                <a:prstClr val="black"/>
              </a:solidFill>
            </a:endParaRPr>
          </a:p>
        </p:txBody>
      </p:sp>
      <p:grpSp>
        <p:nvGrpSpPr>
          <p:cNvPr id="174" name="Group 173">
            <a:extLst>
              <a:ext uri="{FF2B5EF4-FFF2-40B4-BE49-F238E27FC236}">
                <a16:creationId xmlns:a16="http://schemas.microsoft.com/office/drawing/2014/main" id="{30932BD1-484E-4984-A597-A0D8361D4A40}"/>
              </a:ext>
            </a:extLst>
          </p:cNvPr>
          <p:cNvGrpSpPr>
            <a:grpSpLocks noChangeAspect="1"/>
          </p:cNvGrpSpPr>
          <p:nvPr/>
        </p:nvGrpSpPr>
        <p:grpSpPr>
          <a:xfrm>
            <a:off x="1325703" y="2963577"/>
            <a:ext cx="524403" cy="532567"/>
            <a:chOff x="5672133" y="4513272"/>
            <a:chExt cx="1579564" cy="1571627"/>
          </a:xfrm>
          <a:solidFill>
            <a:schemeClr val="accent6"/>
          </a:solidFill>
        </p:grpSpPr>
        <p:sp>
          <p:nvSpPr>
            <p:cNvPr id="175" name="Rectangle 5">
              <a:extLst>
                <a:ext uri="{FF2B5EF4-FFF2-40B4-BE49-F238E27FC236}">
                  <a16:creationId xmlns:a16="http://schemas.microsoft.com/office/drawing/2014/main" id="{976C4D89-594B-4151-AA06-BE5AF8E5839D}"/>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176" name="Oval 6">
              <a:extLst>
                <a:ext uri="{FF2B5EF4-FFF2-40B4-BE49-F238E27FC236}">
                  <a16:creationId xmlns:a16="http://schemas.microsoft.com/office/drawing/2014/main" id="{6875598C-76BB-4406-BBFA-83F429C95A48}"/>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29" name="Rectangle 7">
              <a:extLst>
                <a:ext uri="{FF2B5EF4-FFF2-40B4-BE49-F238E27FC236}">
                  <a16:creationId xmlns:a16="http://schemas.microsoft.com/office/drawing/2014/main" id="{DBBCD350-8841-4AAB-957B-4F4FEF7BBCE0}"/>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30" name="Oval 8">
              <a:extLst>
                <a:ext uri="{FF2B5EF4-FFF2-40B4-BE49-F238E27FC236}">
                  <a16:creationId xmlns:a16="http://schemas.microsoft.com/office/drawing/2014/main" id="{F631E5BD-35AB-4CBE-A5D1-62C2FB6A04A6}"/>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31" name="Oval 9">
              <a:extLst>
                <a:ext uri="{FF2B5EF4-FFF2-40B4-BE49-F238E27FC236}">
                  <a16:creationId xmlns:a16="http://schemas.microsoft.com/office/drawing/2014/main" id="{474A482B-1425-4973-A7A8-805E52C059B2}"/>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sp>
          <p:nvSpPr>
            <p:cNvPr id="232" name="Freeform 10">
              <a:extLst>
                <a:ext uri="{FF2B5EF4-FFF2-40B4-BE49-F238E27FC236}">
                  <a16:creationId xmlns:a16="http://schemas.microsoft.com/office/drawing/2014/main" id="{D7A96F4C-7657-4ED2-B5F8-434743E596C4}"/>
                </a:ext>
              </a:extLst>
            </p:cNvPr>
            <p:cNvSpPr>
              <a:spLocks noEditPoints="1"/>
            </p:cNvSpPr>
            <p:nvPr/>
          </p:nvSpPr>
          <p:spPr bwMode="auto">
            <a:xfrm>
              <a:off x="5672133" y="4513272"/>
              <a:ext cx="1579564" cy="1571627"/>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799" kern="0" dirty="0">
                <a:solidFill>
                  <a:prstClr val="black"/>
                </a:solidFill>
              </a:endParaRPr>
            </a:p>
          </p:txBody>
        </p:sp>
        <p:sp>
          <p:nvSpPr>
            <p:cNvPr id="233" name="Freeform 11">
              <a:extLst>
                <a:ext uri="{FF2B5EF4-FFF2-40B4-BE49-F238E27FC236}">
                  <a16:creationId xmlns:a16="http://schemas.microsoft.com/office/drawing/2014/main" id="{127D9EAC-5577-49A1-8BEA-23A947EB77DB}"/>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3" tIns="34277" rIns="68553" bIns="34277" numCol="1" anchor="t" anchorCtr="0" compatLnSpc="1">
              <a:prstTxWarp prst="textNoShape">
                <a:avLst/>
              </a:prstTxWarp>
            </a:bodyPr>
            <a:lstStyle/>
            <a:p>
              <a:pPr defTabSz="914126">
                <a:defRPr/>
              </a:pPr>
              <a:endParaRPr lang="en-US" sz="2399" kern="0" dirty="0">
                <a:solidFill>
                  <a:prstClr val="black"/>
                </a:solidFill>
              </a:endParaRPr>
            </a:p>
          </p:txBody>
        </p:sp>
      </p:grpSp>
      <p:grpSp>
        <p:nvGrpSpPr>
          <p:cNvPr id="234" name="Group 233">
            <a:extLst>
              <a:ext uri="{FF2B5EF4-FFF2-40B4-BE49-F238E27FC236}">
                <a16:creationId xmlns:a16="http://schemas.microsoft.com/office/drawing/2014/main" id="{615843FE-C8D9-4549-8F23-8AA701671288}"/>
              </a:ext>
            </a:extLst>
          </p:cNvPr>
          <p:cNvGrpSpPr/>
          <p:nvPr/>
        </p:nvGrpSpPr>
        <p:grpSpPr>
          <a:xfrm>
            <a:off x="1354761" y="1029452"/>
            <a:ext cx="2421732" cy="1438759"/>
            <a:chOff x="92136" y="1632338"/>
            <a:chExt cx="4292183" cy="2498308"/>
          </a:xfrm>
        </p:grpSpPr>
        <p:sp>
          <p:nvSpPr>
            <p:cNvPr id="235" name="Rectangle 234">
              <a:extLst>
                <a:ext uri="{FF2B5EF4-FFF2-40B4-BE49-F238E27FC236}">
                  <a16:creationId xmlns:a16="http://schemas.microsoft.com/office/drawing/2014/main" id="{23406689-C133-40CB-86D3-B2BF8A204282}"/>
                </a:ext>
              </a:extLst>
            </p:cNvPr>
            <p:cNvSpPr/>
            <p:nvPr/>
          </p:nvSpPr>
          <p:spPr bwMode="gray">
            <a:xfrm>
              <a:off x="92136" y="2335695"/>
              <a:ext cx="4292183" cy="1794951"/>
            </a:xfrm>
            <a:prstGeom prst="rect">
              <a:avLst/>
            </a:prstGeom>
            <a:solidFill>
              <a:sysClr val="window" lastClr="FFFFFF"/>
            </a:solidFill>
            <a:ln w="19050" algn="ctr">
              <a:solidFill>
                <a:schemeClr val="accent6"/>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solidFill>
                  <a:prstClr val="white"/>
                </a:solidFill>
              </a:endParaRPr>
            </a:p>
          </p:txBody>
        </p:sp>
        <p:grpSp>
          <p:nvGrpSpPr>
            <p:cNvPr id="236" name="Group 64">
              <a:extLst>
                <a:ext uri="{FF2B5EF4-FFF2-40B4-BE49-F238E27FC236}">
                  <a16:creationId xmlns:a16="http://schemas.microsoft.com/office/drawing/2014/main" id="{3047404E-4BAE-4842-B8F6-862A9FA8CEED}"/>
                </a:ext>
              </a:extLst>
            </p:cNvPr>
            <p:cNvGrpSpPr>
              <a:grpSpLocks noChangeAspect="1"/>
            </p:cNvGrpSpPr>
            <p:nvPr/>
          </p:nvGrpSpPr>
          <p:grpSpPr bwMode="auto">
            <a:xfrm rot="8100000">
              <a:off x="1523208" y="1632338"/>
              <a:ext cx="1311014" cy="1311017"/>
              <a:chOff x="701" y="2170"/>
              <a:chExt cx="587" cy="587"/>
            </a:xfrm>
          </p:grpSpPr>
          <p:sp>
            <p:nvSpPr>
              <p:cNvPr id="248" name="Oval 65">
                <a:extLst>
                  <a:ext uri="{FF2B5EF4-FFF2-40B4-BE49-F238E27FC236}">
                    <a16:creationId xmlns:a16="http://schemas.microsoft.com/office/drawing/2014/main" id="{2DAD6261-807C-4677-BF40-131EEA685024}"/>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9" name="Line 66">
                <a:extLst>
                  <a:ext uri="{FF2B5EF4-FFF2-40B4-BE49-F238E27FC236}">
                    <a16:creationId xmlns:a16="http://schemas.microsoft.com/office/drawing/2014/main" id="{49EC21E9-5D01-4C36-BE40-C9C168958752}"/>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0" name="Line 67">
                <a:extLst>
                  <a:ext uri="{FF2B5EF4-FFF2-40B4-BE49-F238E27FC236}">
                    <a16:creationId xmlns:a16="http://schemas.microsoft.com/office/drawing/2014/main" id="{DD095F76-021C-49FA-835D-6326EC2D2A0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1" name="Line 69">
                <a:extLst>
                  <a:ext uri="{FF2B5EF4-FFF2-40B4-BE49-F238E27FC236}">
                    <a16:creationId xmlns:a16="http://schemas.microsoft.com/office/drawing/2014/main" id="{DC10CED1-41DC-4E26-AFC0-9F7CEE7F29E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2" name="Line 74">
                <a:extLst>
                  <a:ext uri="{FF2B5EF4-FFF2-40B4-BE49-F238E27FC236}">
                    <a16:creationId xmlns:a16="http://schemas.microsoft.com/office/drawing/2014/main" id="{B7BE6D3D-6DE8-475B-8411-D75B728EE9B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3" name="Freeform 78">
                <a:extLst>
                  <a:ext uri="{FF2B5EF4-FFF2-40B4-BE49-F238E27FC236}">
                    <a16:creationId xmlns:a16="http://schemas.microsoft.com/office/drawing/2014/main" id="{47282B93-3EE7-4A3C-9571-21698800E4C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solidFill>
                <a:srgbClr val="FFFFFF"/>
              </a:solidFill>
              <a:ln w="19050" cap="flat">
                <a:solidFill>
                  <a:srgbClr val="00A3E0"/>
                </a:solidFill>
                <a:prstDash val="sysDot"/>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54" name="Freeform 80">
                <a:extLst>
                  <a:ext uri="{FF2B5EF4-FFF2-40B4-BE49-F238E27FC236}">
                    <a16:creationId xmlns:a16="http://schemas.microsoft.com/office/drawing/2014/main" id="{4884A833-7EC3-4859-AA70-9DE973FF0C7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237" name="Rectangle 236">
              <a:extLst>
                <a:ext uri="{FF2B5EF4-FFF2-40B4-BE49-F238E27FC236}">
                  <a16:creationId xmlns:a16="http://schemas.microsoft.com/office/drawing/2014/main" id="{74F9B3BA-3A25-4F41-B8D7-DB18EA4839C2}"/>
                </a:ext>
              </a:extLst>
            </p:cNvPr>
            <p:cNvSpPr/>
            <p:nvPr/>
          </p:nvSpPr>
          <p:spPr>
            <a:xfrm>
              <a:off x="322974" y="2746886"/>
              <a:ext cx="3741411" cy="1059684"/>
            </a:xfrm>
            <a:prstGeom prst="rect">
              <a:avLst/>
            </a:prstGeom>
          </p:spPr>
          <p:txBody>
            <a:bodyPr wrap="square">
              <a:spAutoFit/>
            </a:bodyPr>
            <a:lstStyle/>
            <a:p>
              <a:pPr algn="ctr" defTabSz="914126">
                <a:spcAft>
                  <a:spcPts val="225"/>
                </a:spcAft>
                <a:buClr>
                  <a:srgbClr val="62B5E5"/>
                </a:buClr>
                <a:defRPr/>
              </a:pPr>
              <a:r>
                <a:rPr lang="en-US" sz="1799" b="1" kern="0" dirty="0">
                  <a:solidFill>
                    <a:schemeClr val="accent6"/>
                  </a:solidFill>
                  <a:ea typeface="Open Sans" panose="020B0606030504020204" pitchFamily="34" charset="0"/>
                  <a:cs typeface="Open Sans" panose="020B0606030504020204" pitchFamily="34" charset="0"/>
                </a:rPr>
                <a:t>Product Owner</a:t>
              </a:r>
            </a:p>
            <a:p>
              <a:pPr algn="ctr" defTabSz="914126">
                <a:spcAft>
                  <a:spcPts val="450"/>
                </a:spcAft>
                <a:buClr>
                  <a:srgbClr val="62B5E5"/>
                </a:buClr>
                <a:defRPr/>
              </a:pPr>
              <a:r>
                <a:rPr lang="en-US" sz="1400" kern="0" dirty="0">
                  <a:solidFill>
                    <a:schemeClr val="accent6"/>
                  </a:solidFill>
                  <a:ea typeface="Open Sans" panose="020B0606030504020204" pitchFamily="34" charset="0"/>
                  <a:cs typeface="Open Sans" panose="020B0606030504020204" pitchFamily="34" charset="0"/>
                </a:rPr>
                <a:t>“Voice of the customer”</a:t>
              </a:r>
            </a:p>
          </p:txBody>
        </p:sp>
        <p:grpSp>
          <p:nvGrpSpPr>
            <p:cNvPr id="238" name="Group 237">
              <a:extLst>
                <a:ext uri="{FF2B5EF4-FFF2-40B4-BE49-F238E27FC236}">
                  <a16:creationId xmlns:a16="http://schemas.microsoft.com/office/drawing/2014/main" id="{973DDAD5-6AB1-4E32-82AA-42F0E0E1BC4D}"/>
                </a:ext>
              </a:extLst>
            </p:cNvPr>
            <p:cNvGrpSpPr/>
            <p:nvPr/>
          </p:nvGrpSpPr>
          <p:grpSpPr>
            <a:xfrm>
              <a:off x="1847886" y="1796936"/>
              <a:ext cx="486350" cy="990752"/>
              <a:chOff x="2806707" y="2803319"/>
              <a:chExt cx="433388" cy="882861"/>
            </a:xfrm>
          </p:grpSpPr>
          <p:grpSp>
            <p:nvGrpSpPr>
              <p:cNvPr id="239" name="Group 51">
                <a:extLst>
                  <a:ext uri="{FF2B5EF4-FFF2-40B4-BE49-F238E27FC236}">
                    <a16:creationId xmlns:a16="http://schemas.microsoft.com/office/drawing/2014/main" id="{E2DE0E5B-F5AC-4D48-89D0-D1D3C01AD02D}"/>
                  </a:ext>
                </a:extLst>
              </p:cNvPr>
              <p:cNvGrpSpPr>
                <a:grpSpLocks noChangeAspect="1"/>
              </p:cNvGrpSpPr>
              <p:nvPr/>
            </p:nvGrpSpPr>
            <p:grpSpPr bwMode="auto">
              <a:xfrm>
                <a:off x="2806707" y="3043242"/>
                <a:ext cx="433388" cy="642938"/>
                <a:chOff x="1768" y="1917"/>
                <a:chExt cx="273" cy="405"/>
              </a:xfrm>
            </p:grpSpPr>
            <p:sp>
              <p:nvSpPr>
                <p:cNvPr id="241" name="Freeform 52">
                  <a:extLst>
                    <a:ext uri="{FF2B5EF4-FFF2-40B4-BE49-F238E27FC236}">
                      <a16:creationId xmlns:a16="http://schemas.microsoft.com/office/drawing/2014/main" id="{10CDA03E-D8EB-4581-BB5D-42044EC5957F}"/>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2" name="Line 54">
                  <a:extLst>
                    <a:ext uri="{FF2B5EF4-FFF2-40B4-BE49-F238E27FC236}">
                      <a16:creationId xmlns:a16="http://schemas.microsoft.com/office/drawing/2014/main" id="{8AD3E9AC-968F-4697-A8B3-61BF9E21D481}"/>
                    </a:ext>
                  </a:extLst>
                </p:cNvPr>
                <p:cNvSpPr>
                  <a:spLocks noChangeShapeType="1"/>
                </p:cNvSpPr>
                <p:nvPr/>
              </p:nvSpPr>
              <p:spPr bwMode="auto">
                <a:xfrm flipV="1">
                  <a:off x="1877" y="1995"/>
                  <a:ext cx="0" cy="327"/>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3" name="Line 55">
                  <a:extLst>
                    <a:ext uri="{FF2B5EF4-FFF2-40B4-BE49-F238E27FC236}">
                      <a16:creationId xmlns:a16="http://schemas.microsoft.com/office/drawing/2014/main" id="{07F91347-93B7-470A-A872-D1301FE8CC85}"/>
                    </a:ext>
                  </a:extLst>
                </p:cNvPr>
                <p:cNvSpPr>
                  <a:spLocks noChangeShapeType="1"/>
                </p:cNvSpPr>
                <p:nvPr/>
              </p:nvSpPr>
              <p:spPr bwMode="auto">
                <a:xfrm flipV="1">
                  <a:off x="2009" y="1995"/>
                  <a:ext cx="0" cy="153"/>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4" name="Freeform 56">
                  <a:extLst>
                    <a:ext uri="{FF2B5EF4-FFF2-40B4-BE49-F238E27FC236}">
                      <a16:creationId xmlns:a16="http://schemas.microsoft.com/office/drawing/2014/main" id="{866875FE-2D04-4360-B5FC-AEB140DCE70E}"/>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5" name="Line 57">
                  <a:extLst>
                    <a:ext uri="{FF2B5EF4-FFF2-40B4-BE49-F238E27FC236}">
                      <a16:creationId xmlns:a16="http://schemas.microsoft.com/office/drawing/2014/main" id="{D1699AF5-F6D2-4E7E-9D48-79F75E9FCAA4}"/>
                    </a:ext>
                  </a:extLst>
                </p:cNvPr>
                <p:cNvSpPr>
                  <a:spLocks noChangeShapeType="1"/>
                </p:cNvSpPr>
                <p:nvPr/>
              </p:nvSpPr>
              <p:spPr bwMode="auto">
                <a:xfrm>
                  <a:off x="1943" y="2135"/>
                  <a:ext cx="0" cy="186"/>
                </a:xfrm>
                <a:prstGeom prst="line">
                  <a:avLst/>
                </a:pr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6" name="Freeform 58">
                  <a:extLst>
                    <a:ext uri="{FF2B5EF4-FFF2-40B4-BE49-F238E27FC236}">
                      <a16:creationId xmlns:a16="http://schemas.microsoft.com/office/drawing/2014/main" id="{540D3EB0-173D-49A1-B4ED-AE41FA2E14C8}"/>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ysClr val="windowText" lastClr="000000">
                      <a:lumMod val="65000"/>
                      <a:lumOff val="35000"/>
                    </a:sys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47" name="Rectangle 59">
                  <a:extLst>
                    <a:ext uri="{FF2B5EF4-FFF2-40B4-BE49-F238E27FC236}">
                      <a16:creationId xmlns:a16="http://schemas.microsoft.com/office/drawing/2014/main" id="{479147BC-2D3D-424D-9D26-516EE3780388}"/>
                    </a:ext>
                  </a:extLst>
                </p:cNvPr>
                <p:cNvSpPr>
                  <a:spLocks noChangeArrowheads="1"/>
                </p:cNvSpPr>
                <p:nvPr/>
              </p:nvSpPr>
              <p:spPr bwMode="auto">
                <a:xfrm>
                  <a:off x="1768" y="2102"/>
                  <a:ext cx="132" cy="109"/>
                </a:xfrm>
                <a:prstGeom prst="rect">
                  <a:avLst/>
                </a:prstGeom>
                <a:solidFill>
                  <a:sysClr val="windowText" lastClr="000000">
                    <a:lumMod val="50000"/>
                    <a:lumOff val="50000"/>
                  </a:sysClr>
                </a:solidFill>
                <a:ln w="14288">
                  <a:solidFill>
                    <a:sysClr val="windowText" lastClr="000000">
                      <a:lumMod val="65000"/>
                      <a:lumOff val="35000"/>
                    </a:sysClr>
                  </a:solidFill>
                  <a:prstDash val="solid"/>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sp>
            <p:nvSpPr>
              <p:cNvPr id="240" name="Oval 239">
                <a:extLst>
                  <a:ext uri="{FF2B5EF4-FFF2-40B4-BE49-F238E27FC236}">
                    <a16:creationId xmlns:a16="http://schemas.microsoft.com/office/drawing/2014/main" id="{B4EB4C57-30FB-4AF8-BAC3-A3E5FFC35ADD}"/>
                  </a:ext>
                </a:extLst>
              </p:cNvPr>
              <p:cNvSpPr/>
              <p:nvPr/>
            </p:nvSpPr>
            <p:spPr bwMode="gray">
              <a:xfrm>
                <a:off x="2981633" y="2803319"/>
                <a:ext cx="193842" cy="193842"/>
              </a:xfrm>
              <a:prstGeom prst="ellipse">
                <a:avLst/>
              </a:prstGeom>
              <a:solidFill>
                <a:srgbClr val="00A3E0"/>
              </a:solidFill>
              <a:ln w="15875">
                <a:solidFill>
                  <a:sysClr val="windowText" lastClr="000000">
                    <a:lumMod val="65000"/>
                    <a:lumOff val="35000"/>
                  </a:sysClr>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nvGrpSpPr>
          <p:cNvPr id="255" name="Group 254">
            <a:extLst>
              <a:ext uri="{FF2B5EF4-FFF2-40B4-BE49-F238E27FC236}">
                <a16:creationId xmlns:a16="http://schemas.microsoft.com/office/drawing/2014/main" id="{9CB97F2B-EC33-4F79-B974-A46D50B58E6C}"/>
              </a:ext>
            </a:extLst>
          </p:cNvPr>
          <p:cNvGrpSpPr/>
          <p:nvPr/>
        </p:nvGrpSpPr>
        <p:grpSpPr>
          <a:xfrm>
            <a:off x="8373934" y="1029450"/>
            <a:ext cx="2584172" cy="1467514"/>
            <a:chOff x="7819869" y="524668"/>
            <a:chExt cx="4053905" cy="2255489"/>
          </a:xfrm>
        </p:grpSpPr>
        <p:grpSp>
          <p:nvGrpSpPr>
            <p:cNvPr id="256" name="Group 255">
              <a:extLst>
                <a:ext uri="{FF2B5EF4-FFF2-40B4-BE49-F238E27FC236}">
                  <a16:creationId xmlns:a16="http://schemas.microsoft.com/office/drawing/2014/main" id="{A9156C26-D56A-4AEA-8F04-6FB6B073FCAB}"/>
                </a:ext>
              </a:extLst>
            </p:cNvPr>
            <p:cNvGrpSpPr/>
            <p:nvPr/>
          </p:nvGrpSpPr>
          <p:grpSpPr>
            <a:xfrm>
              <a:off x="8047967" y="524668"/>
              <a:ext cx="3599766" cy="2211295"/>
              <a:chOff x="7993550" y="2734469"/>
              <a:chExt cx="3624114" cy="2226250"/>
            </a:xfrm>
          </p:grpSpPr>
          <p:grpSp>
            <p:nvGrpSpPr>
              <p:cNvPr id="258" name="Group 257">
                <a:extLst>
                  <a:ext uri="{FF2B5EF4-FFF2-40B4-BE49-F238E27FC236}">
                    <a16:creationId xmlns:a16="http://schemas.microsoft.com/office/drawing/2014/main" id="{3B481B62-5618-4126-800E-C0C1F59F34E6}"/>
                  </a:ext>
                </a:extLst>
              </p:cNvPr>
              <p:cNvGrpSpPr/>
              <p:nvPr/>
            </p:nvGrpSpPr>
            <p:grpSpPr>
              <a:xfrm>
                <a:off x="7993550" y="2734469"/>
                <a:ext cx="3624114" cy="2226250"/>
                <a:chOff x="7993550" y="1139995"/>
                <a:chExt cx="3624114" cy="2226250"/>
              </a:xfrm>
            </p:grpSpPr>
            <p:sp>
              <p:nvSpPr>
                <p:cNvPr id="366" name="Rectangle 365">
                  <a:extLst>
                    <a:ext uri="{FF2B5EF4-FFF2-40B4-BE49-F238E27FC236}">
                      <a16:creationId xmlns:a16="http://schemas.microsoft.com/office/drawing/2014/main" id="{9F8ACA4E-9E9E-4F73-970C-D92053F81D23}"/>
                    </a:ext>
                  </a:extLst>
                </p:cNvPr>
                <p:cNvSpPr/>
                <p:nvPr/>
              </p:nvSpPr>
              <p:spPr bwMode="gray">
                <a:xfrm>
                  <a:off x="7993550" y="1779913"/>
                  <a:ext cx="3624114" cy="1586332"/>
                </a:xfrm>
                <a:prstGeom prst="rect">
                  <a:avLst/>
                </a:prstGeom>
                <a:solidFill>
                  <a:sysClr val="window" lastClr="FFFFFF"/>
                </a:solidFill>
                <a:ln w="19050" algn="ctr">
                  <a:solidFill>
                    <a:schemeClr val="accent1"/>
                  </a:solidFill>
                  <a:prstDash val="sysDot"/>
                  <a:miter lim="800000"/>
                  <a:headEnd/>
                  <a:tailEnd/>
                </a:ln>
              </p:spPr>
              <p:txBody>
                <a:bodyPr wrap="square" lIns="66649" tIns="66649" rIns="66649" bIns="66649" rtlCol="0" anchor="ctr"/>
                <a:lstStyle/>
                <a:p>
                  <a:pPr algn="ctr" defTabSz="914126">
                    <a:lnSpc>
                      <a:spcPct val="106000"/>
                    </a:lnSpc>
                    <a:defRPr/>
                  </a:pPr>
                  <a:endParaRPr lang="en-US" sz="1400" b="1" kern="0" dirty="0">
                    <a:ln>
                      <a:solidFill>
                        <a:srgbClr val="43B02A"/>
                      </a:solidFill>
                    </a:ln>
                    <a:solidFill>
                      <a:srgbClr val="86BC25"/>
                    </a:solidFill>
                  </a:endParaRPr>
                </a:p>
              </p:txBody>
            </p:sp>
            <p:grpSp>
              <p:nvGrpSpPr>
                <p:cNvPr id="367" name="Group 64">
                  <a:extLst>
                    <a:ext uri="{FF2B5EF4-FFF2-40B4-BE49-F238E27FC236}">
                      <a16:creationId xmlns:a16="http://schemas.microsoft.com/office/drawing/2014/main" id="{4C3F0809-DDFB-449D-90CC-B8C0DFDBBF01}"/>
                    </a:ext>
                  </a:extLst>
                </p:cNvPr>
                <p:cNvGrpSpPr>
                  <a:grpSpLocks noChangeAspect="1"/>
                </p:cNvGrpSpPr>
                <p:nvPr/>
              </p:nvGrpSpPr>
              <p:grpSpPr bwMode="auto">
                <a:xfrm rot="8100000">
                  <a:off x="9254103" y="1139995"/>
                  <a:ext cx="1168247" cy="1168250"/>
                  <a:chOff x="701" y="2170"/>
                  <a:chExt cx="587" cy="587"/>
                </a:xfrm>
              </p:grpSpPr>
              <p:sp>
                <p:nvSpPr>
                  <p:cNvPr id="368" name="Oval 65">
                    <a:extLst>
                      <a:ext uri="{FF2B5EF4-FFF2-40B4-BE49-F238E27FC236}">
                        <a16:creationId xmlns:a16="http://schemas.microsoft.com/office/drawing/2014/main" id="{1C01A002-1FD8-405A-940C-01E99556BD83}"/>
                      </a:ext>
                    </a:extLst>
                  </p:cNvPr>
                  <p:cNvSpPr>
                    <a:spLocks noChangeArrowheads="1"/>
                  </p:cNvSpPr>
                  <p:nvPr/>
                </p:nvSpPr>
                <p:spPr bwMode="auto">
                  <a:xfrm>
                    <a:off x="701" y="2170"/>
                    <a:ext cx="587" cy="587"/>
                  </a:xfrm>
                  <a:prstGeom prst="ellipse">
                    <a:avLst/>
                  </a:prstGeom>
                  <a:solidFill>
                    <a:sysClr val="window" lastClr="FFFFFF"/>
                  </a:solidFill>
                  <a:ln w="19050">
                    <a:solidFill>
                      <a:sysClr val="window" lastClr="FFFFFF"/>
                    </a:solidFill>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69" name="Line 66">
                    <a:extLst>
                      <a:ext uri="{FF2B5EF4-FFF2-40B4-BE49-F238E27FC236}">
                        <a16:creationId xmlns:a16="http://schemas.microsoft.com/office/drawing/2014/main" id="{9545F4E2-B610-47F0-A482-12E480E2C9B8}"/>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70" name="Line 67">
                    <a:extLst>
                      <a:ext uri="{FF2B5EF4-FFF2-40B4-BE49-F238E27FC236}">
                        <a16:creationId xmlns:a16="http://schemas.microsoft.com/office/drawing/2014/main" id="{61560E0B-C2F1-4A2D-92F3-156FA921781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71" name="Line 69">
                    <a:extLst>
                      <a:ext uri="{FF2B5EF4-FFF2-40B4-BE49-F238E27FC236}">
                        <a16:creationId xmlns:a16="http://schemas.microsoft.com/office/drawing/2014/main" id="{EAFB1ABB-C874-48AE-9B6B-CDAE6E1B62C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72" name="Line 74">
                    <a:extLst>
                      <a:ext uri="{FF2B5EF4-FFF2-40B4-BE49-F238E27FC236}">
                        <a16:creationId xmlns:a16="http://schemas.microsoft.com/office/drawing/2014/main" id="{09C3FDAF-A35F-4B09-A71C-A6DF9B5DE37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73" name="Freeform 78">
                    <a:extLst>
                      <a:ext uri="{FF2B5EF4-FFF2-40B4-BE49-F238E27FC236}">
                        <a16:creationId xmlns:a16="http://schemas.microsoft.com/office/drawing/2014/main" id="{CB850E52-0FFD-47D8-AA30-40C2A58224E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74" name="Freeform 80">
                    <a:extLst>
                      <a:ext uri="{FF2B5EF4-FFF2-40B4-BE49-F238E27FC236}">
                        <a16:creationId xmlns:a16="http://schemas.microsoft.com/office/drawing/2014/main" id="{59B2A068-2E04-4524-A30A-78CC0DBB2E9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chemeClr val="accent1"/>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grpSp>
            <p:nvGrpSpPr>
              <p:cNvPr id="259" name="Group 258">
                <a:extLst>
                  <a:ext uri="{FF2B5EF4-FFF2-40B4-BE49-F238E27FC236}">
                    <a16:creationId xmlns:a16="http://schemas.microsoft.com/office/drawing/2014/main" id="{CB4D1995-F1B3-4D14-8366-E628A82F4D7E}"/>
                  </a:ext>
                </a:extLst>
              </p:cNvPr>
              <p:cNvGrpSpPr/>
              <p:nvPr/>
            </p:nvGrpSpPr>
            <p:grpSpPr>
              <a:xfrm>
                <a:off x="9392771" y="3033655"/>
                <a:ext cx="882489" cy="655154"/>
                <a:chOff x="5299997" y="2907109"/>
                <a:chExt cx="1542922" cy="1145462"/>
              </a:xfrm>
            </p:grpSpPr>
            <p:sp>
              <p:nvSpPr>
                <p:cNvPr id="260" name="Freeform 33">
                  <a:extLst>
                    <a:ext uri="{FF2B5EF4-FFF2-40B4-BE49-F238E27FC236}">
                      <a16:creationId xmlns:a16="http://schemas.microsoft.com/office/drawing/2014/main" id="{267A9A76-2811-44AA-B678-D5AAE52ABC5A}"/>
                    </a:ext>
                  </a:extLst>
                </p:cNvPr>
                <p:cNvSpPr>
                  <a:spLocks/>
                </p:cNvSpPr>
                <p:nvPr/>
              </p:nvSpPr>
              <p:spPr bwMode="auto">
                <a:xfrm>
                  <a:off x="6555189" y="2907109"/>
                  <a:ext cx="274319" cy="273255"/>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1" name="Freeform 34">
                  <a:extLst>
                    <a:ext uri="{FF2B5EF4-FFF2-40B4-BE49-F238E27FC236}">
                      <a16:creationId xmlns:a16="http://schemas.microsoft.com/office/drawing/2014/main" id="{2F747668-3F1F-4C87-AA45-2303F572D1A5}"/>
                    </a:ext>
                  </a:extLst>
                </p:cNvPr>
                <p:cNvSpPr>
                  <a:spLocks/>
                </p:cNvSpPr>
                <p:nvPr/>
              </p:nvSpPr>
              <p:spPr bwMode="auto">
                <a:xfrm rot="16200000">
                  <a:off x="6569665" y="3254888"/>
                  <a:ext cx="273254" cy="273255"/>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2" name="Freeform 37">
                  <a:extLst>
                    <a:ext uri="{FF2B5EF4-FFF2-40B4-BE49-F238E27FC236}">
                      <a16:creationId xmlns:a16="http://schemas.microsoft.com/office/drawing/2014/main" id="{CB4B5959-0D6C-479A-BBB9-D2F2614A61E8}"/>
                    </a:ext>
                  </a:extLst>
                </p:cNvPr>
                <p:cNvSpPr>
                  <a:spLocks/>
                </p:cNvSpPr>
                <p:nvPr/>
              </p:nvSpPr>
              <p:spPr bwMode="auto">
                <a:xfrm>
                  <a:off x="5324835" y="2907109"/>
                  <a:ext cx="274319" cy="273255"/>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3" name="Freeform 38">
                  <a:extLst>
                    <a:ext uri="{FF2B5EF4-FFF2-40B4-BE49-F238E27FC236}">
                      <a16:creationId xmlns:a16="http://schemas.microsoft.com/office/drawing/2014/main" id="{B11BA03D-2615-449A-8829-1F82479E12F8}"/>
                    </a:ext>
                  </a:extLst>
                </p:cNvPr>
                <p:cNvSpPr>
                  <a:spLocks/>
                </p:cNvSpPr>
                <p:nvPr/>
              </p:nvSpPr>
              <p:spPr bwMode="auto">
                <a:xfrm rot="16200000">
                  <a:off x="5299998" y="3254888"/>
                  <a:ext cx="273254" cy="273255"/>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4" name="Freeform 32">
                  <a:extLst>
                    <a:ext uri="{FF2B5EF4-FFF2-40B4-BE49-F238E27FC236}">
                      <a16:creationId xmlns:a16="http://schemas.microsoft.com/office/drawing/2014/main" id="{619C22C9-6F55-476F-ACCD-208770FE88C3}"/>
                    </a:ext>
                  </a:extLst>
                </p:cNvPr>
                <p:cNvSpPr>
                  <a:spLocks/>
                </p:cNvSpPr>
                <p:nvPr/>
              </p:nvSpPr>
              <p:spPr bwMode="auto">
                <a:xfrm>
                  <a:off x="6229914" y="2913260"/>
                  <a:ext cx="347473" cy="347779"/>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5" name="Freeform 35">
                  <a:extLst>
                    <a:ext uri="{FF2B5EF4-FFF2-40B4-BE49-F238E27FC236}">
                      <a16:creationId xmlns:a16="http://schemas.microsoft.com/office/drawing/2014/main" id="{E0CBE62B-B332-4F78-8723-5A64A7BF6255}"/>
                    </a:ext>
                  </a:extLst>
                </p:cNvPr>
                <p:cNvSpPr>
                  <a:spLocks/>
                </p:cNvSpPr>
                <p:nvPr/>
              </p:nvSpPr>
              <p:spPr bwMode="auto">
                <a:xfrm rot="16200000">
                  <a:off x="6246727" y="3329412"/>
                  <a:ext cx="322936" cy="375380"/>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6" name="Freeform 36">
                  <a:extLst>
                    <a:ext uri="{FF2B5EF4-FFF2-40B4-BE49-F238E27FC236}">
                      <a16:creationId xmlns:a16="http://schemas.microsoft.com/office/drawing/2014/main" id="{A10FDA02-1EEA-414C-8BE0-439F590D66C6}"/>
                    </a:ext>
                  </a:extLst>
                </p:cNvPr>
                <p:cNvSpPr>
                  <a:spLocks/>
                </p:cNvSpPr>
                <p:nvPr/>
              </p:nvSpPr>
              <p:spPr bwMode="auto">
                <a:xfrm>
                  <a:off x="5573250" y="2907109"/>
                  <a:ext cx="347473" cy="347779"/>
                </a:xfrm>
                <a:prstGeom prst="ellipse">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7" name="Freeform 25">
                  <a:extLst>
                    <a:ext uri="{FF2B5EF4-FFF2-40B4-BE49-F238E27FC236}">
                      <a16:creationId xmlns:a16="http://schemas.microsoft.com/office/drawing/2014/main" id="{4F23DABC-F52C-4183-8734-C223DABDCE5E}"/>
                    </a:ext>
                  </a:extLst>
                </p:cNvPr>
                <p:cNvSpPr>
                  <a:spLocks/>
                </p:cNvSpPr>
                <p:nvPr/>
              </p:nvSpPr>
              <p:spPr bwMode="auto">
                <a:xfrm>
                  <a:off x="5846505" y="2907109"/>
                  <a:ext cx="452664" cy="447144"/>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8" name="Freeform 39">
                  <a:extLst>
                    <a:ext uri="{FF2B5EF4-FFF2-40B4-BE49-F238E27FC236}">
                      <a16:creationId xmlns:a16="http://schemas.microsoft.com/office/drawing/2014/main" id="{9148C827-6962-4C1A-AD80-5359EF5398AB}"/>
                    </a:ext>
                  </a:extLst>
                </p:cNvPr>
                <p:cNvSpPr>
                  <a:spLocks/>
                </p:cNvSpPr>
                <p:nvPr/>
              </p:nvSpPr>
              <p:spPr bwMode="auto">
                <a:xfrm rot="16200000">
                  <a:off x="5573250" y="3329412"/>
                  <a:ext cx="322936" cy="375380"/>
                </a:xfrm>
                <a:prstGeom prst="flowChartDelay">
                  <a:avLst/>
                </a:pr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69" name="Freeform 26">
                  <a:extLst>
                    <a:ext uri="{FF2B5EF4-FFF2-40B4-BE49-F238E27FC236}">
                      <a16:creationId xmlns:a16="http://schemas.microsoft.com/office/drawing/2014/main" id="{A0FFABEF-1F44-4C0F-85C2-8750F59B461D}"/>
                    </a:ext>
                  </a:extLst>
                </p:cNvPr>
                <p:cNvSpPr>
                  <a:spLocks/>
                </p:cNvSpPr>
                <p:nvPr/>
              </p:nvSpPr>
              <p:spPr bwMode="auto">
                <a:xfrm>
                  <a:off x="5796824" y="3431537"/>
                  <a:ext cx="549268" cy="422303"/>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270" name="Rectangle 27">
                  <a:extLst>
                    <a:ext uri="{FF2B5EF4-FFF2-40B4-BE49-F238E27FC236}">
                      <a16:creationId xmlns:a16="http://schemas.microsoft.com/office/drawing/2014/main" id="{733E622D-FD37-48A4-893D-557565BE1A45}"/>
                    </a:ext>
                  </a:extLst>
                </p:cNvPr>
                <p:cNvSpPr>
                  <a:spLocks noChangeArrowheads="1"/>
                </p:cNvSpPr>
                <p:nvPr/>
              </p:nvSpPr>
              <p:spPr bwMode="auto">
                <a:xfrm>
                  <a:off x="5923789" y="3605427"/>
                  <a:ext cx="295335" cy="447144"/>
                </a:xfrm>
                <a:prstGeom prst="rect">
                  <a:avLst/>
                </a:prstGeom>
                <a:solidFill>
                  <a:srgbClr val="C4D600"/>
                </a:solidFill>
                <a:ln w="25400">
                  <a:noFill/>
                  <a:miter lim="800000"/>
                  <a:headEnd/>
                  <a:tailEnd/>
                </a:ln>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64" name="Line 29">
                  <a:extLst>
                    <a:ext uri="{FF2B5EF4-FFF2-40B4-BE49-F238E27FC236}">
                      <a16:creationId xmlns:a16="http://schemas.microsoft.com/office/drawing/2014/main" id="{D4F92F93-8889-48F0-8E28-FB991988EF62}"/>
                    </a:ext>
                  </a:extLst>
                </p:cNvPr>
                <p:cNvSpPr>
                  <a:spLocks noChangeShapeType="1"/>
                </p:cNvSpPr>
                <p:nvPr/>
              </p:nvSpPr>
              <p:spPr bwMode="auto">
                <a:xfrm flipV="1">
                  <a:off x="6219124" y="3605427"/>
                  <a:ext cx="0" cy="447144"/>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sp>
              <p:nvSpPr>
                <p:cNvPr id="365" name="Line 31">
                  <a:extLst>
                    <a:ext uri="{FF2B5EF4-FFF2-40B4-BE49-F238E27FC236}">
                      <a16:creationId xmlns:a16="http://schemas.microsoft.com/office/drawing/2014/main" id="{433016CA-B218-4EA7-8278-FEE12BD55153}"/>
                    </a:ext>
                  </a:extLst>
                </p:cNvPr>
                <p:cNvSpPr>
                  <a:spLocks noChangeShapeType="1"/>
                </p:cNvSpPr>
                <p:nvPr/>
              </p:nvSpPr>
              <p:spPr bwMode="auto">
                <a:xfrm>
                  <a:off x="5923789" y="3605427"/>
                  <a:ext cx="0" cy="447144"/>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553" tIns="34277" rIns="68553" bIns="34277" numCol="1" anchor="t" anchorCtr="0" compatLnSpc="1">
                  <a:prstTxWarp prst="textNoShape">
                    <a:avLst/>
                  </a:prstTxWarp>
                </a:bodyPr>
                <a:lstStyle/>
                <a:p>
                  <a:pPr defTabSz="914126">
                    <a:defRPr/>
                  </a:pPr>
                  <a:endParaRPr lang="en-US" sz="1799" kern="0" dirty="0">
                    <a:solidFill>
                      <a:prstClr val="black"/>
                    </a:solidFill>
                  </a:endParaRPr>
                </a:p>
              </p:txBody>
            </p:sp>
          </p:grpSp>
        </p:grpSp>
        <p:sp>
          <p:nvSpPr>
            <p:cNvPr id="257" name="Rectangle 256">
              <a:extLst>
                <a:ext uri="{FF2B5EF4-FFF2-40B4-BE49-F238E27FC236}">
                  <a16:creationId xmlns:a16="http://schemas.microsoft.com/office/drawing/2014/main" id="{987BD91B-AA99-426F-8282-461A5E509EF3}"/>
                </a:ext>
              </a:extLst>
            </p:cNvPr>
            <p:cNvSpPr/>
            <p:nvPr/>
          </p:nvSpPr>
          <p:spPr>
            <a:xfrm>
              <a:off x="7819869" y="1511175"/>
              <a:ext cx="4053905" cy="1268982"/>
            </a:xfrm>
            <a:prstGeom prst="rect">
              <a:avLst/>
            </a:prstGeom>
            <a:noFill/>
          </p:spPr>
          <p:txBody>
            <a:bodyPr wrap="square">
              <a:spAutoFit/>
            </a:bodyPr>
            <a:lstStyle/>
            <a:p>
              <a:pPr algn="ctr" defTabSz="914126">
                <a:spcAft>
                  <a:spcPts val="225"/>
                </a:spcAft>
                <a:buClr>
                  <a:srgbClr val="62B5E5"/>
                </a:buClr>
                <a:defRPr/>
              </a:pPr>
              <a:r>
                <a:rPr lang="en-US" sz="1799" b="1" kern="0" dirty="0">
                  <a:solidFill>
                    <a:schemeClr val="accent1"/>
                  </a:solidFill>
                  <a:ea typeface="Open Sans" panose="020B0606030504020204" pitchFamily="34" charset="0"/>
                  <a:cs typeface="Open Sans" panose="020B0606030504020204" pitchFamily="34" charset="0"/>
                </a:rPr>
                <a:t>Development team</a:t>
              </a:r>
            </a:p>
            <a:p>
              <a:pPr algn="ctr" defTabSz="914126">
                <a:buClr>
                  <a:srgbClr val="62B5E5"/>
                </a:buClr>
                <a:defRPr/>
              </a:pPr>
              <a:r>
                <a:rPr lang="en-US" sz="1400" kern="0" dirty="0">
                  <a:solidFill>
                    <a:schemeClr val="accent1"/>
                  </a:solidFill>
                  <a:ea typeface="Open Sans" panose="020B0606030504020204" pitchFamily="34" charset="0"/>
                  <a:cs typeface="Open Sans" panose="020B0606030504020204" pitchFamily="34" charset="0"/>
                </a:rPr>
                <a:t>“Multi-talented group of </a:t>
              </a:r>
            </a:p>
            <a:p>
              <a:pPr algn="ctr" defTabSz="914126">
                <a:buClr>
                  <a:srgbClr val="62B5E5"/>
                </a:buClr>
                <a:defRPr/>
              </a:pPr>
              <a:r>
                <a:rPr lang="en-US" sz="1400" kern="0" dirty="0">
                  <a:solidFill>
                    <a:schemeClr val="accent1"/>
                  </a:solidFill>
                  <a:ea typeface="Open Sans" panose="020B0606030504020204" pitchFamily="34" charset="0"/>
                  <a:cs typeface="Open Sans" panose="020B0606030504020204" pitchFamily="34" charset="0"/>
                </a:rPr>
                <a:t>people”</a:t>
              </a:r>
            </a:p>
          </p:txBody>
        </p:sp>
      </p:grpSp>
    </p:spTree>
    <p:custDataLst>
      <p:tags r:id="rId1"/>
    </p:custDataLst>
    <p:extLst>
      <p:ext uri="{BB962C8B-B14F-4D97-AF65-F5344CB8AC3E}">
        <p14:creationId xmlns:p14="http://schemas.microsoft.com/office/powerpoint/2010/main" val="205977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90AA727-9712-4FEC-A14E-62276CF1D6A6}"/>
              </a:ext>
            </a:extLst>
          </p:cNvPr>
          <p:cNvSpPr/>
          <p:nvPr/>
        </p:nvSpPr>
        <p:spPr bwMode="gray">
          <a:xfrm>
            <a:off x="598323" y="3265981"/>
            <a:ext cx="629963" cy="912832"/>
          </a:xfrm>
          <a:prstGeom prst="rect">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itle 3">
            <a:extLst>
              <a:ext uri="{FF2B5EF4-FFF2-40B4-BE49-F238E27FC236}">
                <a16:creationId xmlns:a16="http://schemas.microsoft.com/office/drawing/2014/main" id="{A21F36B2-2A37-4842-A8E4-8168BE7C77FB}"/>
              </a:ext>
            </a:extLst>
          </p:cNvPr>
          <p:cNvSpPr>
            <a:spLocks noGrp="1"/>
          </p:cNvSpPr>
          <p:nvPr>
            <p:ph type="title"/>
          </p:nvPr>
        </p:nvSpPr>
        <p:spPr/>
        <p:txBody>
          <a:bodyPr/>
          <a:lstStyle/>
          <a:p>
            <a:r>
              <a:rPr lang="en-US" dirty="0"/>
              <a:t>Discovery: Define User Stories</a:t>
            </a:r>
          </a:p>
        </p:txBody>
      </p:sp>
      <p:sp>
        <p:nvSpPr>
          <p:cNvPr id="379" name="Text Placeholder 26">
            <a:extLst>
              <a:ext uri="{FF2B5EF4-FFF2-40B4-BE49-F238E27FC236}">
                <a16:creationId xmlns:a16="http://schemas.microsoft.com/office/drawing/2014/main" id="{5AB413F5-343C-4AAA-B9AC-12FE3978929D}"/>
              </a:ext>
            </a:extLst>
          </p:cNvPr>
          <p:cNvSpPr>
            <a:spLocks noGrp="1"/>
          </p:cNvSpPr>
          <p:nvPr>
            <p:ph type="body" sz="quarter" idx="13"/>
          </p:nvPr>
        </p:nvSpPr>
        <p:spPr/>
        <p:txBody>
          <a:bodyPr/>
          <a:lstStyle/>
          <a:p>
            <a:r>
              <a:rPr lang="en-US" dirty="0"/>
              <a:t> </a:t>
            </a:r>
          </a:p>
        </p:txBody>
      </p:sp>
      <p:graphicFrame>
        <p:nvGraphicFramePr>
          <p:cNvPr id="911" name="Table 910">
            <a:extLst>
              <a:ext uri="{FF2B5EF4-FFF2-40B4-BE49-F238E27FC236}">
                <a16:creationId xmlns:a16="http://schemas.microsoft.com/office/drawing/2014/main" id="{20E2C7FE-04AA-46C4-B3C3-9CFA6AF9FC1B}"/>
              </a:ext>
            </a:extLst>
          </p:cNvPr>
          <p:cNvGraphicFramePr>
            <a:graphicFrameLocks noGrp="1"/>
          </p:cNvGraphicFramePr>
          <p:nvPr>
            <p:extLst>
              <p:ext uri="{D42A27DB-BD31-4B8C-83A1-F6EECF244321}">
                <p14:modId xmlns:p14="http://schemas.microsoft.com/office/powerpoint/2010/main" val="3052719091"/>
              </p:ext>
            </p:extLst>
          </p:nvPr>
        </p:nvGraphicFramePr>
        <p:xfrm>
          <a:off x="4178627" y="3158850"/>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912" name="Rectangle 911">
            <a:extLst>
              <a:ext uri="{FF2B5EF4-FFF2-40B4-BE49-F238E27FC236}">
                <a16:creationId xmlns:a16="http://schemas.microsoft.com/office/drawing/2014/main" id="{3FDD0DB7-674F-4408-A44D-5FA48A1CA158}"/>
              </a:ext>
            </a:extLst>
          </p:cNvPr>
          <p:cNvSpPr>
            <a:spLocks/>
          </p:cNvSpPr>
          <p:nvPr/>
        </p:nvSpPr>
        <p:spPr bwMode="gray">
          <a:xfrm>
            <a:off x="9918827" y="1551301"/>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913" name="Table 912">
            <a:extLst>
              <a:ext uri="{FF2B5EF4-FFF2-40B4-BE49-F238E27FC236}">
                <a16:creationId xmlns:a16="http://schemas.microsoft.com/office/drawing/2014/main" id="{1346A50A-9903-4911-9320-0413DFA887E9}"/>
              </a:ext>
            </a:extLst>
          </p:cNvPr>
          <p:cNvGraphicFramePr>
            <a:graphicFrameLocks noGrp="1"/>
          </p:cNvGraphicFramePr>
          <p:nvPr>
            <p:extLst>
              <p:ext uri="{D42A27DB-BD31-4B8C-83A1-F6EECF244321}">
                <p14:modId xmlns:p14="http://schemas.microsoft.com/office/powerpoint/2010/main" val="2991662233"/>
              </p:ext>
            </p:extLst>
          </p:nvPr>
        </p:nvGraphicFramePr>
        <p:xfrm>
          <a:off x="468615" y="4440018"/>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914" name="Group 913">
            <a:extLst>
              <a:ext uri="{FF2B5EF4-FFF2-40B4-BE49-F238E27FC236}">
                <a16:creationId xmlns:a16="http://schemas.microsoft.com/office/drawing/2014/main" id="{86CC98FF-0BE0-4E1E-8571-FB5E76A5DCE0}"/>
              </a:ext>
            </a:extLst>
          </p:cNvPr>
          <p:cNvGrpSpPr/>
          <p:nvPr/>
        </p:nvGrpSpPr>
        <p:grpSpPr>
          <a:xfrm>
            <a:off x="7902088" y="3305977"/>
            <a:ext cx="1851680" cy="1646153"/>
            <a:chOff x="7893402" y="3412713"/>
            <a:chExt cx="1856890" cy="1650785"/>
          </a:xfrm>
        </p:grpSpPr>
        <p:sp>
          <p:nvSpPr>
            <p:cNvPr id="915" name="Rectangle 914">
              <a:extLst>
                <a:ext uri="{FF2B5EF4-FFF2-40B4-BE49-F238E27FC236}">
                  <a16:creationId xmlns:a16="http://schemas.microsoft.com/office/drawing/2014/main" id="{1BBE7D40-43EE-482B-9BC1-4F0D359BAD50}"/>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916" name="Rectangle 915">
              <a:extLst>
                <a:ext uri="{FF2B5EF4-FFF2-40B4-BE49-F238E27FC236}">
                  <a16:creationId xmlns:a16="http://schemas.microsoft.com/office/drawing/2014/main" id="{72AADC04-247B-4267-94DC-8CA062C6D0CE}"/>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917" name="Group 916">
              <a:extLst>
                <a:ext uri="{FF2B5EF4-FFF2-40B4-BE49-F238E27FC236}">
                  <a16:creationId xmlns:a16="http://schemas.microsoft.com/office/drawing/2014/main" id="{4A4E1243-EF11-4164-AB5E-5444C497CD25}"/>
                </a:ext>
              </a:extLst>
            </p:cNvPr>
            <p:cNvGrpSpPr>
              <a:grpSpLocks/>
            </p:cNvGrpSpPr>
            <p:nvPr/>
          </p:nvGrpSpPr>
          <p:grpSpPr>
            <a:xfrm>
              <a:off x="8732469" y="4576554"/>
              <a:ext cx="486942" cy="486944"/>
              <a:chOff x="9882273" y="6953856"/>
              <a:chExt cx="473625" cy="473627"/>
            </a:xfrm>
          </p:grpSpPr>
          <p:grpSp>
            <p:nvGrpSpPr>
              <p:cNvPr id="941" name="Group 64">
                <a:extLst>
                  <a:ext uri="{FF2B5EF4-FFF2-40B4-BE49-F238E27FC236}">
                    <a16:creationId xmlns:a16="http://schemas.microsoft.com/office/drawing/2014/main" id="{EA23C0D7-C5C8-4283-9C1D-E87FF831683D}"/>
                  </a:ext>
                </a:extLst>
              </p:cNvPr>
              <p:cNvGrpSpPr>
                <a:grpSpLocks noChangeAspect="1"/>
              </p:cNvGrpSpPr>
              <p:nvPr/>
            </p:nvGrpSpPr>
            <p:grpSpPr bwMode="auto">
              <a:xfrm rot="8100000">
                <a:off x="9882273" y="6953856"/>
                <a:ext cx="473625" cy="473627"/>
                <a:chOff x="701" y="2170"/>
                <a:chExt cx="587" cy="587"/>
              </a:xfrm>
            </p:grpSpPr>
            <p:sp>
              <p:nvSpPr>
                <p:cNvPr id="973" name="Oval 65">
                  <a:extLst>
                    <a:ext uri="{FF2B5EF4-FFF2-40B4-BE49-F238E27FC236}">
                      <a16:creationId xmlns:a16="http://schemas.microsoft.com/office/drawing/2014/main" id="{6B6E5F8B-5C26-4D9A-9ABB-695D99550E41}"/>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74" name="Line 66">
                  <a:extLst>
                    <a:ext uri="{FF2B5EF4-FFF2-40B4-BE49-F238E27FC236}">
                      <a16:creationId xmlns:a16="http://schemas.microsoft.com/office/drawing/2014/main" id="{1219BE7B-7052-4390-8ED6-6B1777CAA502}"/>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75" name="Line 67">
                  <a:extLst>
                    <a:ext uri="{FF2B5EF4-FFF2-40B4-BE49-F238E27FC236}">
                      <a16:creationId xmlns:a16="http://schemas.microsoft.com/office/drawing/2014/main" id="{93497654-89E2-4CB8-A03B-5DA53F5C514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76" name="Line 69">
                  <a:extLst>
                    <a:ext uri="{FF2B5EF4-FFF2-40B4-BE49-F238E27FC236}">
                      <a16:creationId xmlns:a16="http://schemas.microsoft.com/office/drawing/2014/main" id="{8A3E191A-E30E-4510-894F-4BF7C3C5490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77" name="Line 74">
                  <a:extLst>
                    <a:ext uri="{FF2B5EF4-FFF2-40B4-BE49-F238E27FC236}">
                      <a16:creationId xmlns:a16="http://schemas.microsoft.com/office/drawing/2014/main" id="{18F3E652-3836-4CE9-9D00-97B1236BCB0D}"/>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78" name="Freeform 78">
                  <a:extLst>
                    <a:ext uri="{FF2B5EF4-FFF2-40B4-BE49-F238E27FC236}">
                      <a16:creationId xmlns:a16="http://schemas.microsoft.com/office/drawing/2014/main" id="{F1487A2D-28FF-48BA-9DF3-935B8C8F435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79" name="Freeform 80">
                  <a:extLst>
                    <a:ext uri="{FF2B5EF4-FFF2-40B4-BE49-F238E27FC236}">
                      <a16:creationId xmlns:a16="http://schemas.microsoft.com/office/drawing/2014/main" id="{EF558F50-E167-462A-8ABD-F512A769BAE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942" name="Group 941">
                <a:extLst>
                  <a:ext uri="{FF2B5EF4-FFF2-40B4-BE49-F238E27FC236}">
                    <a16:creationId xmlns:a16="http://schemas.microsoft.com/office/drawing/2014/main" id="{70E36D30-07CA-454E-89DD-1D6AA26DDFDC}"/>
                  </a:ext>
                </a:extLst>
              </p:cNvPr>
              <p:cNvGrpSpPr/>
              <p:nvPr/>
            </p:nvGrpSpPr>
            <p:grpSpPr>
              <a:xfrm>
                <a:off x="9938546" y="7021642"/>
                <a:ext cx="356509" cy="349884"/>
                <a:chOff x="468738" y="2241878"/>
                <a:chExt cx="1655483" cy="1624719"/>
              </a:xfrm>
            </p:grpSpPr>
            <p:sp>
              <p:nvSpPr>
                <p:cNvPr id="943" name="Freeform 5">
                  <a:extLst>
                    <a:ext uri="{FF2B5EF4-FFF2-40B4-BE49-F238E27FC236}">
                      <a16:creationId xmlns:a16="http://schemas.microsoft.com/office/drawing/2014/main" id="{D2A983DE-868D-46F2-AF4C-E95A477010C0}"/>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44" name="Freeform 6">
                  <a:extLst>
                    <a:ext uri="{FF2B5EF4-FFF2-40B4-BE49-F238E27FC236}">
                      <a16:creationId xmlns:a16="http://schemas.microsoft.com/office/drawing/2014/main" id="{64E1438A-96DF-4AD2-8260-327D31ADC06D}"/>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45" name="Line 7">
                  <a:extLst>
                    <a:ext uri="{FF2B5EF4-FFF2-40B4-BE49-F238E27FC236}">
                      <a16:creationId xmlns:a16="http://schemas.microsoft.com/office/drawing/2014/main" id="{EC34467D-201B-4E43-A53B-6EDD2342D5A8}"/>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46" name="Freeform 8">
                  <a:extLst>
                    <a:ext uri="{FF2B5EF4-FFF2-40B4-BE49-F238E27FC236}">
                      <a16:creationId xmlns:a16="http://schemas.microsoft.com/office/drawing/2014/main" id="{275B5AC6-87BD-4D9F-B939-086E8C1D2C7A}"/>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47" name="Line 9">
                  <a:extLst>
                    <a:ext uri="{FF2B5EF4-FFF2-40B4-BE49-F238E27FC236}">
                      <a16:creationId xmlns:a16="http://schemas.microsoft.com/office/drawing/2014/main" id="{FADE63F3-E6C6-41C8-9296-DB7718102191}"/>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948" name="Group 947">
                  <a:extLst>
                    <a:ext uri="{FF2B5EF4-FFF2-40B4-BE49-F238E27FC236}">
                      <a16:creationId xmlns:a16="http://schemas.microsoft.com/office/drawing/2014/main" id="{5417A75C-7C37-42F8-8E24-A5C14180FFA6}"/>
                    </a:ext>
                  </a:extLst>
                </p:cNvPr>
                <p:cNvGrpSpPr/>
                <p:nvPr/>
              </p:nvGrpSpPr>
              <p:grpSpPr>
                <a:xfrm>
                  <a:off x="1207113" y="2241878"/>
                  <a:ext cx="178734" cy="348678"/>
                  <a:chOff x="1207113" y="2241878"/>
                  <a:chExt cx="178734" cy="348678"/>
                </a:xfrm>
              </p:grpSpPr>
              <p:sp>
                <p:nvSpPr>
                  <p:cNvPr id="971" name="Freeform 10">
                    <a:extLst>
                      <a:ext uri="{FF2B5EF4-FFF2-40B4-BE49-F238E27FC236}">
                        <a16:creationId xmlns:a16="http://schemas.microsoft.com/office/drawing/2014/main" id="{5FE0EC2D-17B3-418C-AA35-1D0BC3DEBA9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72" name="Line 11">
                    <a:extLst>
                      <a:ext uri="{FF2B5EF4-FFF2-40B4-BE49-F238E27FC236}">
                        <a16:creationId xmlns:a16="http://schemas.microsoft.com/office/drawing/2014/main" id="{602DA0CC-5CBF-44A3-A76F-D60DB1B0D13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949" name="Freeform 12">
                  <a:extLst>
                    <a:ext uri="{FF2B5EF4-FFF2-40B4-BE49-F238E27FC236}">
                      <a16:creationId xmlns:a16="http://schemas.microsoft.com/office/drawing/2014/main" id="{B9BC19D0-53E7-4C78-9093-2B6B69562C98}"/>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0" name="Line 13">
                  <a:extLst>
                    <a:ext uri="{FF2B5EF4-FFF2-40B4-BE49-F238E27FC236}">
                      <a16:creationId xmlns:a16="http://schemas.microsoft.com/office/drawing/2014/main" id="{901E48DC-CA00-4AE6-AA4C-9EBD5437E75E}"/>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1" name="Freeform 14">
                  <a:extLst>
                    <a:ext uri="{FF2B5EF4-FFF2-40B4-BE49-F238E27FC236}">
                      <a16:creationId xmlns:a16="http://schemas.microsoft.com/office/drawing/2014/main" id="{CDB2F24E-630A-409B-8388-802CBA1C3608}"/>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2" name="Line 15">
                  <a:extLst>
                    <a:ext uri="{FF2B5EF4-FFF2-40B4-BE49-F238E27FC236}">
                      <a16:creationId xmlns:a16="http://schemas.microsoft.com/office/drawing/2014/main" id="{EF80ED87-013B-4D9D-9125-A72B355E885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3" name="Freeform 16">
                  <a:extLst>
                    <a:ext uri="{FF2B5EF4-FFF2-40B4-BE49-F238E27FC236}">
                      <a16:creationId xmlns:a16="http://schemas.microsoft.com/office/drawing/2014/main" id="{86EA4439-CEAA-4E28-B674-F91AC28D3CA6}"/>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4" name="Line 17">
                  <a:extLst>
                    <a:ext uri="{FF2B5EF4-FFF2-40B4-BE49-F238E27FC236}">
                      <a16:creationId xmlns:a16="http://schemas.microsoft.com/office/drawing/2014/main" id="{44093085-3BD1-47F7-9D63-C4AC29F9E9E0}"/>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5" name="Freeform 18">
                  <a:extLst>
                    <a:ext uri="{FF2B5EF4-FFF2-40B4-BE49-F238E27FC236}">
                      <a16:creationId xmlns:a16="http://schemas.microsoft.com/office/drawing/2014/main" id="{E6EE3A1C-CE76-436C-828A-AF024BE9FA53}"/>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6" name="Line 19">
                  <a:extLst>
                    <a:ext uri="{FF2B5EF4-FFF2-40B4-BE49-F238E27FC236}">
                      <a16:creationId xmlns:a16="http://schemas.microsoft.com/office/drawing/2014/main" id="{548809A7-D49B-4A85-B3C8-A246916E79D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7" name="Freeform 35">
                  <a:extLst>
                    <a:ext uri="{FF2B5EF4-FFF2-40B4-BE49-F238E27FC236}">
                      <a16:creationId xmlns:a16="http://schemas.microsoft.com/office/drawing/2014/main" id="{F4869285-B1ED-47BA-B9B2-1FB19995EAA9}"/>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58" name="Freeform 36">
                  <a:extLst>
                    <a:ext uri="{FF2B5EF4-FFF2-40B4-BE49-F238E27FC236}">
                      <a16:creationId xmlns:a16="http://schemas.microsoft.com/office/drawing/2014/main" id="{EB3C5619-2030-4B07-AE30-2006C3F91C9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59" name="Freeform 37">
                  <a:extLst>
                    <a:ext uri="{FF2B5EF4-FFF2-40B4-BE49-F238E27FC236}">
                      <a16:creationId xmlns:a16="http://schemas.microsoft.com/office/drawing/2014/main" id="{D79EF8BA-0B3B-4F95-9CCF-F3691E2FA451}"/>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60" name="Freeform 38">
                  <a:extLst>
                    <a:ext uri="{FF2B5EF4-FFF2-40B4-BE49-F238E27FC236}">
                      <a16:creationId xmlns:a16="http://schemas.microsoft.com/office/drawing/2014/main" id="{3641D07C-6E60-454F-8F92-637E8D47E2A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61" name="Freeform 39">
                  <a:extLst>
                    <a:ext uri="{FF2B5EF4-FFF2-40B4-BE49-F238E27FC236}">
                      <a16:creationId xmlns:a16="http://schemas.microsoft.com/office/drawing/2014/main" id="{1E24A9D6-75B1-43E0-8F9B-DFC85434745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62" name="Freeform 40">
                  <a:extLst>
                    <a:ext uri="{FF2B5EF4-FFF2-40B4-BE49-F238E27FC236}">
                      <a16:creationId xmlns:a16="http://schemas.microsoft.com/office/drawing/2014/main" id="{776B36BA-BDA2-42C4-9005-C9B0CE00714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63" name="Freeform 41">
                  <a:extLst>
                    <a:ext uri="{FF2B5EF4-FFF2-40B4-BE49-F238E27FC236}">
                      <a16:creationId xmlns:a16="http://schemas.microsoft.com/office/drawing/2014/main" id="{DF1E614A-34E9-466B-9C02-2EB90EE38CE5}"/>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64" name="Line 42">
                  <a:extLst>
                    <a:ext uri="{FF2B5EF4-FFF2-40B4-BE49-F238E27FC236}">
                      <a16:creationId xmlns:a16="http://schemas.microsoft.com/office/drawing/2014/main" id="{83A4BDFC-FD62-4FBA-B9B0-E5A383B7226C}"/>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65" name="Freeform 43">
                  <a:extLst>
                    <a:ext uri="{FF2B5EF4-FFF2-40B4-BE49-F238E27FC236}">
                      <a16:creationId xmlns:a16="http://schemas.microsoft.com/office/drawing/2014/main" id="{6C1BD1DA-2A18-4A33-9E30-99F37F229FEC}"/>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66" name="Freeform 44">
                  <a:extLst>
                    <a:ext uri="{FF2B5EF4-FFF2-40B4-BE49-F238E27FC236}">
                      <a16:creationId xmlns:a16="http://schemas.microsoft.com/office/drawing/2014/main" id="{F85BFC7C-D59D-4C8A-88BC-F0E396CA8313}"/>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67" name="Freeform 45">
                  <a:extLst>
                    <a:ext uri="{FF2B5EF4-FFF2-40B4-BE49-F238E27FC236}">
                      <a16:creationId xmlns:a16="http://schemas.microsoft.com/office/drawing/2014/main" id="{6AFFF042-5465-481D-ABE2-9074AE24221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968" name="Group 967">
                  <a:extLst>
                    <a:ext uri="{FF2B5EF4-FFF2-40B4-BE49-F238E27FC236}">
                      <a16:creationId xmlns:a16="http://schemas.microsoft.com/office/drawing/2014/main" id="{12B7EAAE-059C-4724-8FFA-66C46F895D74}"/>
                    </a:ext>
                  </a:extLst>
                </p:cNvPr>
                <p:cNvGrpSpPr/>
                <p:nvPr/>
              </p:nvGrpSpPr>
              <p:grpSpPr>
                <a:xfrm flipV="1">
                  <a:off x="1202047" y="3517919"/>
                  <a:ext cx="178734" cy="348678"/>
                  <a:chOff x="1207113" y="2241878"/>
                  <a:chExt cx="178734" cy="348678"/>
                </a:xfrm>
              </p:grpSpPr>
              <p:sp>
                <p:nvSpPr>
                  <p:cNvPr id="969" name="Freeform 10">
                    <a:extLst>
                      <a:ext uri="{FF2B5EF4-FFF2-40B4-BE49-F238E27FC236}">
                        <a16:creationId xmlns:a16="http://schemas.microsoft.com/office/drawing/2014/main" id="{6C6A02C7-EF99-455B-AE01-425C3DF965B4}"/>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70" name="Line 11">
                    <a:extLst>
                      <a:ext uri="{FF2B5EF4-FFF2-40B4-BE49-F238E27FC236}">
                        <a16:creationId xmlns:a16="http://schemas.microsoft.com/office/drawing/2014/main" id="{FE07BB68-03B4-4424-94FD-DC66395E4423}"/>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918" name="Group 917">
              <a:extLst>
                <a:ext uri="{FF2B5EF4-FFF2-40B4-BE49-F238E27FC236}">
                  <a16:creationId xmlns:a16="http://schemas.microsoft.com/office/drawing/2014/main" id="{D24E0E8D-DC4D-4C44-9504-24EBDDAF7F1A}"/>
                </a:ext>
              </a:extLst>
            </p:cNvPr>
            <p:cNvGrpSpPr>
              <a:grpSpLocks/>
            </p:cNvGrpSpPr>
            <p:nvPr/>
          </p:nvGrpSpPr>
          <p:grpSpPr>
            <a:xfrm>
              <a:off x="9270466" y="4594229"/>
              <a:ext cx="427295" cy="427297"/>
              <a:chOff x="10412894" y="6962721"/>
              <a:chExt cx="415610" cy="415612"/>
            </a:xfrm>
          </p:grpSpPr>
          <p:grpSp>
            <p:nvGrpSpPr>
              <p:cNvPr id="919" name="Group 64">
                <a:extLst>
                  <a:ext uri="{FF2B5EF4-FFF2-40B4-BE49-F238E27FC236}">
                    <a16:creationId xmlns:a16="http://schemas.microsoft.com/office/drawing/2014/main" id="{1A864AB0-3507-4CE2-BAE4-225ADC6F85B0}"/>
                  </a:ext>
                </a:extLst>
              </p:cNvPr>
              <p:cNvGrpSpPr>
                <a:grpSpLocks noChangeAspect="1"/>
              </p:cNvGrpSpPr>
              <p:nvPr/>
            </p:nvGrpSpPr>
            <p:grpSpPr bwMode="auto">
              <a:xfrm rot="8100000">
                <a:off x="10412894" y="6962721"/>
                <a:ext cx="415610" cy="415612"/>
                <a:chOff x="701" y="2170"/>
                <a:chExt cx="587" cy="587"/>
              </a:xfrm>
            </p:grpSpPr>
            <p:sp>
              <p:nvSpPr>
                <p:cNvPr id="934" name="Oval 65">
                  <a:extLst>
                    <a:ext uri="{FF2B5EF4-FFF2-40B4-BE49-F238E27FC236}">
                      <a16:creationId xmlns:a16="http://schemas.microsoft.com/office/drawing/2014/main" id="{12E3967C-5E7C-4A70-9FBB-462BDCD1123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35" name="Line 66">
                  <a:extLst>
                    <a:ext uri="{FF2B5EF4-FFF2-40B4-BE49-F238E27FC236}">
                      <a16:creationId xmlns:a16="http://schemas.microsoft.com/office/drawing/2014/main" id="{3F56747E-F9D1-4C51-8EE0-65C9CC52D7C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36" name="Line 67">
                  <a:extLst>
                    <a:ext uri="{FF2B5EF4-FFF2-40B4-BE49-F238E27FC236}">
                      <a16:creationId xmlns:a16="http://schemas.microsoft.com/office/drawing/2014/main" id="{E559B4A1-CCB6-4038-B51E-D686E98E5BA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37" name="Line 69">
                  <a:extLst>
                    <a:ext uri="{FF2B5EF4-FFF2-40B4-BE49-F238E27FC236}">
                      <a16:creationId xmlns:a16="http://schemas.microsoft.com/office/drawing/2014/main" id="{6FD508E4-33A9-4609-B7DB-D9F64DBAA8D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38" name="Line 74">
                  <a:extLst>
                    <a:ext uri="{FF2B5EF4-FFF2-40B4-BE49-F238E27FC236}">
                      <a16:creationId xmlns:a16="http://schemas.microsoft.com/office/drawing/2014/main" id="{B8D2E5E2-6689-403B-B359-F20964338CA0}"/>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39" name="Freeform 78">
                  <a:extLst>
                    <a:ext uri="{FF2B5EF4-FFF2-40B4-BE49-F238E27FC236}">
                      <a16:creationId xmlns:a16="http://schemas.microsoft.com/office/drawing/2014/main" id="{051025A4-CFF5-4820-ABB4-EF561A8515D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40" name="Freeform 80">
                  <a:extLst>
                    <a:ext uri="{FF2B5EF4-FFF2-40B4-BE49-F238E27FC236}">
                      <a16:creationId xmlns:a16="http://schemas.microsoft.com/office/drawing/2014/main" id="{AF869E99-9B1D-48C7-B0D9-AF20B952C167}"/>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920" name="Group 919">
                <a:extLst>
                  <a:ext uri="{FF2B5EF4-FFF2-40B4-BE49-F238E27FC236}">
                    <a16:creationId xmlns:a16="http://schemas.microsoft.com/office/drawing/2014/main" id="{3A496550-E367-4239-A631-B4ACE2CEE023}"/>
                  </a:ext>
                </a:extLst>
              </p:cNvPr>
              <p:cNvGrpSpPr/>
              <p:nvPr/>
            </p:nvGrpSpPr>
            <p:grpSpPr>
              <a:xfrm>
                <a:off x="10462223" y="7069159"/>
                <a:ext cx="313949" cy="233075"/>
                <a:chOff x="3707533" y="2731244"/>
                <a:chExt cx="389644" cy="289271"/>
              </a:xfrm>
            </p:grpSpPr>
            <p:sp>
              <p:nvSpPr>
                <p:cNvPr id="921" name="Freeform 33">
                  <a:extLst>
                    <a:ext uri="{FF2B5EF4-FFF2-40B4-BE49-F238E27FC236}">
                      <a16:creationId xmlns:a16="http://schemas.microsoft.com/office/drawing/2014/main" id="{3194C57C-E3D3-480F-A0CD-14B49ED729C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22" name="Freeform 34">
                  <a:extLst>
                    <a:ext uri="{FF2B5EF4-FFF2-40B4-BE49-F238E27FC236}">
                      <a16:creationId xmlns:a16="http://schemas.microsoft.com/office/drawing/2014/main" id="{D8113F91-C579-4BAE-BEE7-CCA48A0339FB}"/>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23" name="Freeform 37">
                  <a:extLst>
                    <a:ext uri="{FF2B5EF4-FFF2-40B4-BE49-F238E27FC236}">
                      <a16:creationId xmlns:a16="http://schemas.microsoft.com/office/drawing/2014/main" id="{5E5E0FD2-FA18-4C32-92D7-5DEAAF657E7D}"/>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24" name="Freeform 38">
                  <a:extLst>
                    <a:ext uri="{FF2B5EF4-FFF2-40B4-BE49-F238E27FC236}">
                      <a16:creationId xmlns:a16="http://schemas.microsoft.com/office/drawing/2014/main" id="{21FFF5FF-A131-4397-8ED5-DBFF12A385C8}"/>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25" name="Freeform 32">
                  <a:extLst>
                    <a:ext uri="{FF2B5EF4-FFF2-40B4-BE49-F238E27FC236}">
                      <a16:creationId xmlns:a16="http://schemas.microsoft.com/office/drawing/2014/main" id="{51A416F3-687F-4BF8-B9E3-49421C8EAF3A}"/>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26" name="Freeform 35">
                  <a:extLst>
                    <a:ext uri="{FF2B5EF4-FFF2-40B4-BE49-F238E27FC236}">
                      <a16:creationId xmlns:a16="http://schemas.microsoft.com/office/drawing/2014/main" id="{F1EC84BF-74F9-4E31-9BCC-5A952B100C6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27" name="Freeform 36">
                  <a:extLst>
                    <a:ext uri="{FF2B5EF4-FFF2-40B4-BE49-F238E27FC236}">
                      <a16:creationId xmlns:a16="http://schemas.microsoft.com/office/drawing/2014/main" id="{85A63401-DAB8-4217-9E5C-F67E9AE0FD6C}"/>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28" name="Freeform 25">
                  <a:extLst>
                    <a:ext uri="{FF2B5EF4-FFF2-40B4-BE49-F238E27FC236}">
                      <a16:creationId xmlns:a16="http://schemas.microsoft.com/office/drawing/2014/main" id="{EFD0D07B-90F3-4A78-87A4-AA09DDD5C747}"/>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29" name="Freeform 39">
                  <a:extLst>
                    <a:ext uri="{FF2B5EF4-FFF2-40B4-BE49-F238E27FC236}">
                      <a16:creationId xmlns:a16="http://schemas.microsoft.com/office/drawing/2014/main" id="{7839B895-DABA-41CE-92CD-9DAB6FF6783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30" name="Freeform 26">
                  <a:extLst>
                    <a:ext uri="{FF2B5EF4-FFF2-40B4-BE49-F238E27FC236}">
                      <a16:creationId xmlns:a16="http://schemas.microsoft.com/office/drawing/2014/main" id="{B9537144-68C8-46D3-8A4C-720D024D690E}"/>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31" name="Rectangle 27">
                  <a:extLst>
                    <a:ext uri="{FF2B5EF4-FFF2-40B4-BE49-F238E27FC236}">
                      <a16:creationId xmlns:a16="http://schemas.microsoft.com/office/drawing/2014/main" id="{490DF160-C977-48D4-846D-50B620CCBA0E}"/>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32" name="Line 29">
                  <a:extLst>
                    <a:ext uri="{FF2B5EF4-FFF2-40B4-BE49-F238E27FC236}">
                      <a16:creationId xmlns:a16="http://schemas.microsoft.com/office/drawing/2014/main" id="{E813C7CD-B7E2-4FFA-92F2-19E30299DABD}"/>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933" name="Line 31">
                  <a:extLst>
                    <a:ext uri="{FF2B5EF4-FFF2-40B4-BE49-F238E27FC236}">
                      <a16:creationId xmlns:a16="http://schemas.microsoft.com/office/drawing/2014/main" id="{AA047F0C-5331-4EBC-B4B6-FBB7F339B9C6}"/>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980" name="Group 979">
            <a:extLst>
              <a:ext uri="{FF2B5EF4-FFF2-40B4-BE49-F238E27FC236}">
                <a16:creationId xmlns:a16="http://schemas.microsoft.com/office/drawing/2014/main" id="{FF2A015D-FF63-49E3-BE75-44DC88400E45}"/>
              </a:ext>
            </a:extLst>
          </p:cNvPr>
          <p:cNvGrpSpPr/>
          <p:nvPr/>
        </p:nvGrpSpPr>
        <p:grpSpPr>
          <a:xfrm>
            <a:off x="5336641" y="3847678"/>
            <a:ext cx="4367346" cy="2539218"/>
            <a:chOff x="5338031" y="3986050"/>
            <a:chExt cx="4368484" cy="2539879"/>
          </a:xfrm>
        </p:grpSpPr>
        <p:grpSp>
          <p:nvGrpSpPr>
            <p:cNvPr id="981" name="Group 980">
              <a:extLst>
                <a:ext uri="{FF2B5EF4-FFF2-40B4-BE49-F238E27FC236}">
                  <a16:creationId xmlns:a16="http://schemas.microsoft.com/office/drawing/2014/main" id="{ADB33940-6FFB-4953-BD03-DE186BD23702}"/>
                </a:ext>
              </a:extLst>
            </p:cNvPr>
            <p:cNvGrpSpPr/>
            <p:nvPr/>
          </p:nvGrpSpPr>
          <p:grpSpPr>
            <a:xfrm>
              <a:off x="6626435" y="3986050"/>
              <a:ext cx="3080080" cy="2539879"/>
              <a:chOff x="6642908" y="3955938"/>
              <a:chExt cx="3087943" cy="2546363"/>
            </a:xfrm>
          </p:grpSpPr>
          <p:sp>
            <p:nvSpPr>
              <p:cNvPr id="983" name="Rectangle 982">
                <a:extLst>
                  <a:ext uri="{FF2B5EF4-FFF2-40B4-BE49-F238E27FC236}">
                    <a16:creationId xmlns:a16="http://schemas.microsoft.com/office/drawing/2014/main" id="{C3C49F50-86DD-404A-AE38-DAB34DF3790A}"/>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984" name="Group 983">
                <a:extLst>
                  <a:ext uri="{FF2B5EF4-FFF2-40B4-BE49-F238E27FC236}">
                    <a16:creationId xmlns:a16="http://schemas.microsoft.com/office/drawing/2014/main" id="{8E534372-AD11-4CAE-9918-E7C5602F12D3}"/>
                  </a:ext>
                </a:extLst>
              </p:cNvPr>
              <p:cNvGrpSpPr/>
              <p:nvPr/>
            </p:nvGrpSpPr>
            <p:grpSpPr>
              <a:xfrm>
                <a:off x="8222643" y="5655421"/>
                <a:ext cx="1030675" cy="846880"/>
                <a:chOff x="10800033" y="2297897"/>
                <a:chExt cx="1600558" cy="1315140"/>
              </a:xfrm>
            </p:grpSpPr>
            <p:grpSp>
              <p:nvGrpSpPr>
                <p:cNvPr id="986" name="Group 985">
                  <a:extLst>
                    <a:ext uri="{FF2B5EF4-FFF2-40B4-BE49-F238E27FC236}">
                      <a16:creationId xmlns:a16="http://schemas.microsoft.com/office/drawing/2014/main" id="{C4577113-F2FE-413E-8402-775982FCD2F8}"/>
                    </a:ext>
                  </a:extLst>
                </p:cNvPr>
                <p:cNvGrpSpPr>
                  <a:grpSpLocks/>
                </p:cNvGrpSpPr>
                <p:nvPr/>
              </p:nvGrpSpPr>
              <p:grpSpPr>
                <a:xfrm>
                  <a:off x="10800033" y="2339037"/>
                  <a:ext cx="613092" cy="613092"/>
                  <a:chOff x="745985" y="4768134"/>
                  <a:chExt cx="368776" cy="368777"/>
                </a:xfrm>
              </p:grpSpPr>
              <p:grpSp>
                <p:nvGrpSpPr>
                  <p:cNvPr id="1400" name="Group 64">
                    <a:extLst>
                      <a:ext uri="{FF2B5EF4-FFF2-40B4-BE49-F238E27FC236}">
                        <a16:creationId xmlns:a16="http://schemas.microsoft.com/office/drawing/2014/main" id="{37D0E470-74D6-477D-A8F1-82558BE9F663}"/>
                      </a:ext>
                    </a:extLst>
                  </p:cNvPr>
                  <p:cNvGrpSpPr>
                    <a:grpSpLocks noChangeAspect="1"/>
                  </p:cNvGrpSpPr>
                  <p:nvPr/>
                </p:nvGrpSpPr>
                <p:grpSpPr bwMode="auto">
                  <a:xfrm rot="8100000">
                    <a:off x="745985" y="4768134"/>
                    <a:ext cx="368776" cy="368777"/>
                    <a:chOff x="701" y="2170"/>
                    <a:chExt cx="587" cy="587"/>
                  </a:xfrm>
                </p:grpSpPr>
                <p:sp>
                  <p:nvSpPr>
                    <p:cNvPr id="1411" name="Oval 65">
                      <a:extLst>
                        <a:ext uri="{FF2B5EF4-FFF2-40B4-BE49-F238E27FC236}">
                          <a16:creationId xmlns:a16="http://schemas.microsoft.com/office/drawing/2014/main" id="{144022C8-4783-46E1-8687-5ABC260DB21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12" name="Line 66">
                      <a:extLst>
                        <a:ext uri="{FF2B5EF4-FFF2-40B4-BE49-F238E27FC236}">
                          <a16:creationId xmlns:a16="http://schemas.microsoft.com/office/drawing/2014/main" id="{C7A17191-C7C3-484E-8F22-53A7B7B85F4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13" name="Line 67">
                      <a:extLst>
                        <a:ext uri="{FF2B5EF4-FFF2-40B4-BE49-F238E27FC236}">
                          <a16:creationId xmlns:a16="http://schemas.microsoft.com/office/drawing/2014/main" id="{F3199691-5DD9-4D90-896C-DA4959BE8FF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14" name="Line 69">
                      <a:extLst>
                        <a:ext uri="{FF2B5EF4-FFF2-40B4-BE49-F238E27FC236}">
                          <a16:creationId xmlns:a16="http://schemas.microsoft.com/office/drawing/2014/main" id="{8E6ABDE3-4F83-4F2B-BD5B-179704605CBB}"/>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15" name="Line 74">
                      <a:extLst>
                        <a:ext uri="{FF2B5EF4-FFF2-40B4-BE49-F238E27FC236}">
                          <a16:creationId xmlns:a16="http://schemas.microsoft.com/office/drawing/2014/main" id="{5AC50085-CB8D-4EDD-9724-FC091955BB5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16" name="Freeform 78">
                      <a:extLst>
                        <a:ext uri="{FF2B5EF4-FFF2-40B4-BE49-F238E27FC236}">
                          <a16:creationId xmlns:a16="http://schemas.microsoft.com/office/drawing/2014/main" id="{E7940AED-F3DF-41DE-A374-9EE1081DD67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17" name="Freeform 80">
                      <a:extLst>
                        <a:ext uri="{FF2B5EF4-FFF2-40B4-BE49-F238E27FC236}">
                          <a16:creationId xmlns:a16="http://schemas.microsoft.com/office/drawing/2014/main" id="{DA921FF4-2D20-4DC4-8195-DD4EE83E9271}"/>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401" name="Group 1400">
                    <a:extLst>
                      <a:ext uri="{FF2B5EF4-FFF2-40B4-BE49-F238E27FC236}">
                        <a16:creationId xmlns:a16="http://schemas.microsoft.com/office/drawing/2014/main" id="{FA0D792F-FC56-452C-AA03-A57F9E75BF4C}"/>
                      </a:ext>
                    </a:extLst>
                  </p:cNvPr>
                  <p:cNvGrpSpPr/>
                  <p:nvPr/>
                </p:nvGrpSpPr>
                <p:grpSpPr>
                  <a:xfrm>
                    <a:off x="837312" y="4814434"/>
                    <a:ext cx="136805" cy="278689"/>
                    <a:chOff x="2806700" y="2803319"/>
                    <a:chExt cx="433387" cy="882861"/>
                  </a:xfrm>
                </p:grpSpPr>
                <p:grpSp>
                  <p:nvGrpSpPr>
                    <p:cNvPr id="1402" name="Group 1401">
                      <a:extLst>
                        <a:ext uri="{FF2B5EF4-FFF2-40B4-BE49-F238E27FC236}">
                          <a16:creationId xmlns:a16="http://schemas.microsoft.com/office/drawing/2014/main" id="{C442BD9A-BEE7-4A6A-98DF-E8AF50AA9DB9}"/>
                        </a:ext>
                      </a:extLst>
                    </p:cNvPr>
                    <p:cNvGrpSpPr>
                      <a:grpSpLocks noChangeAspect="1"/>
                    </p:cNvGrpSpPr>
                    <p:nvPr/>
                  </p:nvGrpSpPr>
                  <p:grpSpPr bwMode="auto">
                    <a:xfrm>
                      <a:off x="2806700" y="3043242"/>
                      <a:ext cx="433387" cy="642938"/>
                      <a:chOff x="1768" y="1917"/>
                      <a:chExt cx="273" cy="405"/>
                    </a:xfrm>
                  </p:grpSpPr>
                  <p:sp>
                    <p:nvSpPr>
                      <p:cNvPr id="1404" name="Freeform 52">
                        <a:extLst>
                          <a:ext uri="{FF2B5EF4-FFF2-40B4-BE49-F238E27FC236}">
                            <a16:creationId xmlns:a16="http://schemas.microsoft.com/office/drawing/2014/main" id="{6CB7856B-17BF-45DD-96EB-6DEEEE7D7207}"/>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05" name="Line 54">
                        <a:extLst>
                          <a:ext uri="{FF2B5EF4-FFF2-40B4-BE49-F238E27FC236}">
                            <a16:creationId xmlns:a16="http://schemas.microsoft.com/office/drawing/2014/main" id="{2FB9C162-8332-47A9-8194-85DE1FA11AC2}"/>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06" name="Line 55">
                        <a:extLst>
                          <a:ext uri="{FF2B5EF4-FFF2-40B4-BE49-F238E27FC236}">
                            <a16:creationId xmlns:a16="http://schemas.microsoft.com/office/drawing/2014/main" id="{8A2067B8-983F-4AFB-AFB1-AF0CE28EE1DF}"/>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07" name="Freeform 56">
                        <a:extLst>
                          <a:ext uri="{FF2B5EF4-FFF2-40B4-BE49-F238E27FC236}">
                            <a16:creationId xmlns:a16="http://schemas.microsoft.com/office/drawing/2014/main" id="{A343CBA9-9468-43D0-8C21-90F0D760C672}"/>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08" name="Line 57">
                        <a:extLst>
                          <a:ext uri="{FF2B5EF4-FFF2-40B4-BE49-F238E27FC236}">
                            <a16:creationId xmlns:a16="http://schemas.microsoft.com/office/drawing/2014/main" id="{A0321027-2D58-4056-9FCC-A63353DBA735}"/>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09" name="Freeform 58">
                        <a:extLst>
                          <a:ext uri="{FF2B5EF4-FFF2-40B4-BE49-F238E27FC236}">
                            <a16:creationId xmlns:a16="http://schemas.microsoft.com/office/drawing/2014/main" id="{1A8511D2-E734-4A88-9089-C3334816DA06}"/>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10" name="Rectangle 1409">
                        <a:extLst>
                          <a:ext uri="{FF2B5EF4-FFF2-40B4-BE49-F238E27FC236}">
                            <a16:creationId xmlns:a16="http://schemas.microsoft.com/office/drawing/2014/main" id="{C02464C0-5701-40B4-8F58-566DA2CB5C5F}"/>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1403" name="Oval 1402">
                      <a:extLst>
                        <a:ext uri="{FF2B5EF4-FFF2-40B4-BE49-F238E27FC236}">
                          <a16:creationId xmlns:a16="http://schemas.microsoft.com/office/drawing/2014/main" id="{B6B38297-BB02-4AE4-BCC8-4BF3F5C9F653}"/>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987" name="Group 986">
                  <a:extLst>
                    <a:ext uri="{FF2B5EF4-FFF2-40B4-BE49-F238E27FC236}">
                      <a16:creationId xmlns:a16="http://schemas.microsoft.com/office/drawing/2014/main" id="{AA85EAB2-D2F5-46F2-ABCE-EDCFD769A99C}"/>
                    </a:ext>
                  </a:extLst>
                </p:cNvPr>
                <p:cNvGrpSpPr>
                  <a:grpSpLocks/>
                </p:cNvGrpSpPr>
                <p:nvPr/>
              </p:nvGrpSpPr>
              <p:grpSpPr>
                <a:xfrm>
                  <a:off x="11166615" y="2825631"/>
                  <a:ext cx="787402" cy="787406"/>
                  <a:chOff x="1454941" y="4721722"/>
                  <a:chExt cx="473625" cy="473627"/>
                </a:xfrm>
              </p:grpSpPr>
              <p:grpSp>
                <p:nvGrpSpPr>
                  <p:cNvPr id="1361" name="Group 64">
                    <a:extLst>
                      <a:ext uri="{FF2B5EF4-FFF2-40B4-BE49-F238E27FC236}">
                        <a16:creationId xmlns:a16="http://schemas.microsoft.com/office/drawing/2014/main" id="{AF6DA521-3F1E-4270-8E4B-42810E2FFD51}"/>
                      </a:ext>
                    </a:extLst>
                  </p:cNvPr>
                  <p:cNvGrpSpPr>
                    <a:grpSpLocks noChangeAspect="1"/>
                  </p:cNvGrpSpPr>
                  <p:nvPr/>
                </p:nvGrpSpPr>
                <p:grpSpPr bwMode="auto">
                  <a:xfrm rot="8100000">
                    <a:off x="1454941" y="4721722"/>
                    <a:ext cx="473625" cy="473627"/>
                    <a:chOff x="701" y="2170"/>
                    <a:chExt cx="587" cy="587"/>
                  </a:xfrm>
                </p:grpSpPr>
                <p:sp>
                  <p:nvSpPr>
                    <p:cNvPr id="1393" name="Oval 65">
                      <a:extLst>
                        <a:ext uri="{FF2B5EF4-FFF2-40B4-BE49-F238E27FC236}">
                          <a16:creationId xmlns:a16="http://schemas.microsoft.com/office/drawing/2014/main" id="{363ECEA5-D446-4441-9449-340F2F17E70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94" name="Line 66">
                      <a:extLst>
                        <a:ext uri="{FF2B5EF4-FFF2-40B4-BE49-F238E27FC236}">
                          <a16:creationId xmlns:a16="http://schemas.microsoft.com/office/drawing/2014/main" id="{0CCB7532-485C-4993-AC29-49E20C154C7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95" name="Line 67">
                      <a:extLst>
                        <a:ext uri="{FF2B5EF4-FFF2-40B4-BE49-F238E27FC236}">
                          <a16:creationId xmlns:a16="http://schemas.microsoft.com/office/drawing/2014/main" id="{A106BD6D-9A95-4CBA-8863-882F76AF16F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96" name="Line 69">
                      <a:extLst>
                        <a:ext uri="{FF2B5EF4-FFF2-40B4-BE49-F238E27FC236}">
                          <a16:creationId xmlns:a16="http://schemas.microsoft.com/office/drawing/2014/main" id="{D4BE555A-3B95-422F-BE2E-CFC38053DF5D}"/>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97" name="Line 74">
                      <a:extLst>
                        <a:ext uri="{FF2B5EF4-FFF2-40B4-BE49-F238E27FC236}">
                          <a16:creationId xmlns:a16="http://schemas.microsoft.com/office/drawing/2014/main" id="{06CFB459-3154-4A68-B54B-231B4B03E9D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98" name="Freeform 78">
                      <a:extLst>
                        <a:ext uri="{FF2B5EF4-FFF2-40B4-BE49-F238E27FC236}">
                          <a16:creationId xmlns:a16="http://schemas.microsoft.com/office/drawing/2014/main" id="{BAD1DDDB-70DF-4059-8D45-D413CEF85BC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99" name="Freeform 80">
                      <a:extLst>
                        <a:ext uri="{FF2B5EF4-FFF2-40B4-BE49-F238E27FC236}">
                          <a16:creationId xmlns:a16="http://schemas.microsoft.com/office/drawing/2014/main" id="{59C5BEE5-629B-4B07-912E-D6B73B5C52E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362" name="Group 1361">
                    <a:extLst>
                      <a:ext uri="{FF2B5EF4-FFF2-40B4-BE49-F238E27FC236}">
                        <a16:creationId xmlns:a16="http://schemas.microsoft.com/office/drawing/2014/main" id="{C430044D-25F1-4335-B636-3D8ED95CADCF}"/>
                      </a:ext>
                    </a:extLst>
                  </p:cNvPr>
                  <p:cNvGrpSpPr/>
                  <p:nvPr/>
                </p:nvGrpSpPr>
                <p:grpSpPr>
                  <a:xfrm>
                    <a:off x="1511214" y="4789508"/>
                    <a:ext cx="356509" cy="349884"/>
                    <a:chOff x="468738" y="2241878"/>
                    <a:chExt cx="1655483" cy="1624719"/>
                  </a:xfrm>
                </p:grpSpPr>
                <p:sp>
                  <p:nvSpPr>
                    <p:cNvPr id="1363" name="Freeform 5">
                      <a:extLst>
                        <a:ext uri="{FF2B5EF4-FFF2-40B4-BE49-F238E27FC236}">
                          <a16:creationId xmlns:a16="http://schemas.microsoft.com/office/drawing/2014/main" id="{DFB6C379-D254-48E2-8F5B-64E723FBF177}"/>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64" name="Freeform 6">
                      <a:extLst>
                        <a:ext uri="{FF2B5EF4-FFF2-40B4-BE49-F238E27FC236}">
                          <a16:creationId xmlns:a16="http://schemas.microsoft.com/office/drawing/2014/main" id="{1BD43893-3B98-4750-BC10-86CE806073A4}"/>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65" name="Line 7">
                      <a:extLst>
                        <a:ext uri="{FF2B5EF4-FFF2-40B4-BE49-F238E27FC236}">
                          <a16:creationId xmlns:a16="http://schemas.microsoft.com/office/drawing/2014/main" id="{7A1FA2B0-C6CD-4A92-999A-00DF6B3E1385}"/>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66" name="Freeform 8">
                      <a:extLst>
                        <a:ext uri="{FF2B5EF4-FFF2-40B4-BE49-F238E27FC236}">
                          <a16:creationId xmlns:a16="http://schemas.microsoft.com/office/drawing/2014/main" id="{83F0BB79-580B-42C5-A6E9-62E638B72F2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67" name="Line 9">
                      <a:extLst>
                        <a:ext uri="{FF2B5EF4-FFF2-40B4-BE49-F238E27FC236}">
                          <a16:creationId xmlns:a16="http://schemas.microsoft.com/office/drawing/2014/main" id="{822D9A22-F714-4640-899E-8CDD2E2BE87A}"/>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368" name="Group 1367">
                      <a:extLst>
                        <a:ext uri="{FF2B5EF4-FFF2-40B4-BE49-F238E27FC236}">
                          <a16:creationId xmlns:a16="http://schemas.microsoft.com/office/drawing/2014/main" id="{DA598AB6-FBC8-405F-A93F-89074E240E97}"/>
                        </a:ext>
                      </a:extLst>
                    </p:cNvPr>
                    <p:cNvGrpSpPr/>
                    <p:nvPr/>
                  </p:nvGrpSpPr>
                  <p:grpSpPr>
                    <a:xfrm>
                      <a:off x="1207113" y="2241878"/>
                      <a:ext cx="178734" cy="348678"/>
                      <a:chOff x="1207113" y="2241878"/>
                      <a:chExt cx="178734" cy="348678"/>
                    </a:xfrm>
                  </p:grpSpPr>
                  <p:sp>
                    <p:nvSpPr>
                      <p:cNvPr id="1391" name="Freeform 10">
                        <a:extLst>
                          <a:ext uri="{FF2B5EF4-FFF2-40B4-BE49-F238E27FC236}">
                            <a16:creationId xmlns:a16="http://schemas.microsoft.com/office/drawing/2014/main" id="{F1690CE7-C8B3-4C58-8AA1-1927CB5F5E8E}"/>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92" name="Line 11">
                        <a:extLst>
                          <a:ext uri="{FF2B5EF4-FFF2-40B4-BE49-F238E27FC236}">
                            <a16:creationId xmlns:a16="http://schemas.microsoft.com/office/drawing/2014/main" id="{8A2BD867-3E2D-4475-96A2-F2217D94F75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1369" name="Freeform 12">
                      <a:extLst>
                        <a:ext uri="{FF2B5EF4-FFF2-40B4-BE49-F238E27FC236}">
                          <a16:creationId xmlns:a16="http://schemas.microsoft.com/office/drawing/2014/main" id="{256534E6-ED23-4C6B-907D-461510DD0C7F}"/>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0" name="Line 13">
                      <a:extLst>
                        <a:ext uri="{FF2B5EF4-FFF2-40B4-BE49-F238E27FC236}">
                          <a16:creationId xmlns:a16="http://schemas.microsoft.com/office/drawing/2014/main" id="{3F26658B-B59A-4BD7-953D-4077135A0BD4}"/>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1" name="Freeform 14">
                      <a:extLst>
                        <a:ext uri="{FF2B5EF4-FFF2-40B4-BE49-F238E27FC236}">
                          <a16:creationId xmlns:a16="http://schemas.microsoft.com/office/drawing/2014/main" id="{661AECED-41CD-4258-814A-B3EC56A5811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2" name="Line 15">
                      <a:extLst>
                        <a:ext uri="{FF2B5EF4-FFF2-40B4-BE49-F238E27FC236}">
                          <a16:creationId xmlns:a16="http://schemas.microsoft.com/office/drawing/2014/main" id="{49A2BF80-F059-40A9-B1BE-90CA7C22AF0B}"/>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3" name="Freeform 16">
                      <a:extLst>
                        <a:ext uri="{FF2B5EF4-FFF2-40B4-BE49-F238E27FC236}">
                          <a16:creationId xmlns:a16="http://schemas.microsoft.com/office/drawing/2014/main" id="{15C6FE01-2D9D-476A-9AFB-564A86390536}"/>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4" name="Line 17">
                      <a:extLst>
                        <a:ext uri="{FF2B5EF4-FFF2-40B4-BE49-F238E27FC236}">
                          <a16:creationId xmlns:a16="http://schemas.microsoft.com/office/drawing/2014/main" id="{662E9F30-2729-4B4A-AF3E-B554E784162B}"/>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5" name="Freeform 18">
                      <a:extLst>
                        <a:ext uri="{FF2B5EF4-FFF2-40B4-BE49-F238E27FC236}">
                          <a16:creationId xmlns:a16="http://schemas.microsoft.com/office/drawing/2014/main" id="{C33BD66F-CCB6-4996-BCDE-26D863FBD92F}"/>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6" name="Line 19">
                      <a:extLst>
                        <a:ext uri="{FF2B5EF4-FFF2-40B4-BE49-F238E27FC236}">
                          <a16:creationId xmlns:a16="http://schemas.microsoft.com/office/drawing/2014/main" id="{B47EC847-93CD-4D04-9B50-74CA9FC25153}"/>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7" name="Freeform 35">
                      <a:extLst>
                        <a:ext uri="{FF2B5EF4-FFF2-40B4-BE49-F238E27FC236}">
                          <a16:creationId xmlns:a16="http://schemas.microsoft.com/office/drawing/2014/main" id="{A53DB6BA-E2EE-41C4-A9F6-88379A8192A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78" name="Freeform 36">
                      <a:extLst>
                        <a:ext uri="{FF2B5EF4-FFF2-40B4-BE49-F238E27FC236}">
                          <a16:creationId xmlns:a16="http://schemas.microsoft.com/office/drawing/2014/main" id="{00511621-13F0-4595-82C6-26C52BD4E38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79" name="Freeform 37">
                      <a:extLst>
                        <a:ext uri="{FF2B5EF4-FFF2-40B4-BE49-F238E27FC236}">
                          <a16:creationId xmlns:a16="http://schemas.microsoft.com/office/drawing/2014/main" id="{C42E4B8B-92E0-4335-9B1E-6FF13BA80CD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80" name="Freeform 38">
                      <a:extLst>
                        <a:ext uri="{FF2B5EF4-FFF2-40B4-BE49-F238E27FC236}">
                          <a16:creationId xmlns:a16="http://schemas.microsoft.com/office/drawing/2014/main" id="{3DFBB210-2D61-48BE-8450-B841EB2F44E2}"/>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81" name="Freeform 39">
                      <a:extLst>
                        <a:ext uri="{FF2B5EF4-FFF2-40B4-BE49-F238E27FC236}">
                          <a16:creationId xmlns:a16="http://schemas.microsoft.com/office/drawing/2014/main" id="{F11B9C33-51BE-4820-B079-0F9C57038E4D}"/>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82" name="Freeform 40">
                      <a:extLst>
                        <a:ext uri="{FF2B5EF4-FFF2-40B4-BE49-F238E27FC236}">
                          <a16:creationId xmlns:a16="http://schemas.microsoft.com/office/drawing/2014/main" id="{B2E38A9C-9385-481F-A282-E51D72BE104A}"/>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83" name="Freeform 41">
                      <a:extLst>
                        <a:ext uri="{FF2B5EF4-FFF2-40B4-BE49-F238E27FC236}">
                          <a16:creationId xmlns:a16="http://schemas.microsoft.com/office/drawing/2014/main" id="{C0CBC4EC-ACB8-4414-8402-93B4CCAA2F8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84" name="Line 42">
                      <a:extLst>
                        <a:ext uri="{FF2B5EF4-FFF2-40B4-BE49-F238E27FC236}">
                          <a16:creationId xmlns:a16="http://schemas.microsoft.com/office/drawing/2014/main" id="{4C1C3379-E9F4-4CD6-95FE-8EE0C2E3EC91}"/>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85" name="Freeform 43">
                      <a:extLst>
                        <a:ext uri="{FF2B5EF4-FFF2-40B4-BE49-F238E27FC236}">
                          <a16:creationId xmlns:a16="http://schemas.microsoft.com/office/drawing/2014/main" id="{2D261CFD-4333-4569-A3D9-9AD0BFD41EAE}"/>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86" name="Freeform 44">
                      <a:extLst>
                        <a:ext uri="{FF2B5EF4-FFF2-40B4-BE49-F238E27FC236}">
                          <a16:creationId xmlns:a16="http://schemas.microsoft.com/office/drawing/2014/main" id="{F036B74E-302B-4809-A8C2-041E7D0D325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87" name="Freeform 45">
                      <a:extLst>
                        <a:ext uri="{FF2B5EF4-FFF2-40B4-BE49-F238E27FC236}">
                          <a16:creationId xmlns:a16="http://schemas.microsoft.com/office/drawing/2014/main" id="{5C9F3A14-87F7-4864-AB04-71B4E8F21C77}"/>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388" name="Group 1387">
                      <a:extLst>
                        <a:ext uri="{FF2B5EF4-FFF2-40B4-BE49-F238E27FC236}">
                          <a16:creationId xmlns:a16="http://schemas.microsoft.com/office/drawing/2014/main" id="{89C0DD3D-085B-47FB-8E70-867732DE2A3D}"/>
                        </a:ext>
                      </a:extLst>
                    </p:cNvPr>
                    <p:cNvGrpSpPr/>
                    <p:nvPr/>
                  </p:nvGrpSpPr>
                  <p:grpSpPr>
                    <a:xfrm flipV="1">
                      <a:off x="1202047" y="3517919"/>
                      <a:ext cx="178734" cy="348678"/>
                      <a:chOff x="1207113" y="2241878"/>
                      <a:chExt cx="178734" cy="348678"/>
                    </a:xfrm>
                  </p:grpSpPr>
                  <p:sp>
                    <p:nvSpPr>
                      <p:cNvPr id="1389" name="Freeform 10">
                        <a:extLst>
                          <a:ext uri="{FF2B5EF4-FFF2-40B4-BE49-F238E27FC236}">
                            <a16:creationId xmlns:a16="http://schemas.microsoft.com/office/drawing/2014/main" id="{0C4AE7AA-52B7-48B6-A491-4EE491B36C6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90" name="Line 11">
                        <a:extLst>
                          <a:ext uri="{FF2B5EF4-FFF2-40B4-BE49-F238E27FC236}">
                            <a16:creationId xmlns:a16="http://schemas.microsoft.com/office/drawing/2014/main" id="{414A969F-5207-498F-B1CA-08A2AE931F91}"/>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988" name="Group 987">
                  <a:extLst>
                    <a:ext uri="{FF2B5EF4-FFF2-40B4-BE49-F238E27FC236}">
                      <a16:creationId xmlns:a16="http://schemas.microsoft.com/office/drawing/2014/main" id="{E6586307-4A42-4D8F-A000-DD56539014F3}"/>
                    </a:ext>
                  </a:extLst>
                </p:cNvPr>
                <p:cNvGrpSpPr>
                  <a:grpSpLocks/>
                </p:cNvGrpSpPr>
                <p:nvPr/>
              </p:nvGrpSpPr>
              <p:grpSpPr>
                <a:xfrm>
                  <a:off x="11709639" y="2297897"/>
                  <a:ext cx="690952" cy="690956"/>
                  <a:chOff x="2268747" y="4723725"/>
                  <a:chExt cx="415610" cy="415612"/>
                </a:xfrm>
              </p:grpSpPr>
              <p:grpSp>
                <p:nvGrpSpPr>
                  <p:cNvPr id="989" name="Group 64">
                    <a:extLst>
                      <a:ext uri="{FF2B5EF4-FFF2-40B4-BE49-F238E27FC236}">
                        <a16:creationId xmlns:a16="http://schemas.microsoft.com/office/drawing/2014/main" id="{28C1D488-A476-4ABD-B2B5-D63D16FF9826}"/>
                      </a:ext>
                    </a:extLst>
                  </p:cNvPr>
                  <p:cNvGrpSpPr>
                    <a:grpSpLocks noChangeAspect="1"/>
                  </p:cNvGrpSpPr>
                  <p:nvPr/>
                </p:nvGrpSpPr>
                <p:grpSpPr bwMode="auto">
                  <a:xfrm rot="8100000">
                    <a:off x="2268747" y="4723725"/>
                    <a:ext cx="415610" cy="415612"/>
                    <a:chOff x="701" y="2170"/>
                    <a:chExt cx="587" cy="587"/>
                  </a:xfrm>
                </p:grpSpPr>
                <p:sp>
                  <p:nvSpPr>
                    <p:cNvPr id="1354" name="Oval 65">
                      <a:extLst>
                        <a:ext uri="{FF2B5EF4-FFF2-40B4-BE49-F238E27FC236}">
                          <a16:creationId xmlns:a16="http://schemas.microsoft.com/office/drawing/2014/main" id="{1C3D09AF-9A36-4FE2-A5EF-9F6AD7A7F6CD}"/>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55" name="Line 66">
                      <a:extLst>
                        <a:ext uri="{FF2B5EF4-FFF2-40B4-BE49-F238E27FC236}">
                          <a16:creationId xmlns:a16="http://schemas.microsoft.com/office/drawing/2014/main" id="{2637A534-DEBF-4479-802C-83A66ED1781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56" name="Line 67">
                      <a:extLst>
                        <a:ext uri="{FF2B5EF4-FFF2-40B4-BE49-F238E27FC236}">
                          <a16:creationId xmlns:a16="http://schemas.microsoft.com/office/drawing/2014/main" id="{2D3E093E-C76B-4ECB-94C7-C29904FAA2C4}"/>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57" name="Line 69">
                      <a:extLst>
                        <a:ext uri="{FF2B5EF4-FFF2-40B4-BE49-F238E27FC236}">
                          <a16:creationId xmlns:a16="http://schemas.microsoft.com/office/drawing/2014/main" id="{DD5C9AC9-2D1F-41E8-B32A-744B38402C37}"/>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58" name="Line 74">
                      <a:extLst>
                        <a:ext uri="{FF2B5EF4-FFF2-40B4-BE49-F238E27FC236}">
                          <a16:creationId xmlns:a16="http://schemas.microsoft.com/office/drawing/2014/main" id="{CF643C4E-00B2-410C-AEE4-A6D8CF79E4E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59" name="Freeform 78">
                      <a:extLst>
                        <a:ext uri="{FF2B5EF4-FFF2-40B4-BE49-F238E27FC236}">
                          <a16:creationId xmlns:a16="http://schemas.microsoft.com/office/drawing/2014/main" id="{1C42348D-B05D-42B0-9E79-AAC3409F88D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60" name="Freeform 80">
                      <a:extLst>
                        <a:ext uri="{FF2B5EF4-FFF2-40B4-BE49-F238E27FC236}">
                          <a16:creationId xmlns:a16="http://schemas.microsoft.com/office/drawing/2014/main" id="{745CFE79-400E-4B77-9151-0DF6394F7D4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990" name="Group 989">
                    <a:extLst>
                      <a:ext uri="{FF2B5EF4-FFF2-40B4-BE49-F238E27FC236}">
                        <a16:creationId xmlns:a16="http://schemas.microsoft.com/office/drawing/2014/main" id="{F96AA0BE-573D-4904-9734-4F8DD206E754}"/>
                      </a:ext>
                    </a:extLst>
                  </p:cNvPr>
                  <p:cNvGrpSpPr/>
                  <p:nvPr/>
                </p:nvGrpSpPr>
                <p:grpSpPr>
                  <a:xfrm>
                    <a:off x="2318076" y="4830163"/>
                    <a:ext cx="313949" cy="233075"/>
                    <a:chOff x="3707533" y="2731244"/>
                    <a:chExt cx="389644" cy="289271"/>
                  </a:xfrm>
                </p:grpSpPr>
                <p:sp>
                  <p:nvSpPr>
                    <p:cNvPr id="991" name="Freeform 33">
                      <a:extLst>
                        <a:ext uri="{FF2B5EF4-FFF2-40B4-BE49-F238E27FC236}">
                          <a16:creationId xmlns:a16="http://schemas.microsoft.com/office/drawing/2014/main" id="{7D0FD361-AD88-452A-A513-B18065A198D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92" name="Freeform 34">
                      <a:extLst>
                        <a:ext uri="{FF2B5EF4-FFF2-40B4-BE49-F238E27FC236}">
                          <a16:creationId xmlns:a16="http://schemas.microsoft.com/office/drawing/2014/main" id="{BE7B683E-815E-49BC-AF2B-1C3C60F1B4BE}"/>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993" name="Freeform 37">
                      <a:extLst>
                        <a:ext uri="{FF2B5EF4-FFF2-40B4-BE49-F238E27FC236}">
                          <a16:creationId xmlns:a16="http://schemas.microsoft.com/office/drawing/2014/main" id="{6669B374-2E48-4E81-9069-A57C3C943EA5}"/>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269" name="Freeform 38">
                      <a:extLst>
                        <a:ext uri="{FF2B5EF4-FFF2-40B4-BE49-F238E27FC236}">
                          <a16:creationId xmlns:a16="http://schemas.microsoft.com/office/drawing/2014/main" id="{F57EAADC-65FF-46A5-BE21-13A657480A73}"/>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270" name="Freeform 32">
                      <a:extLst>
                        <a:ext uri="{FF2B5EF4-FFF2-40B4-BE49-F238E27FC236}">
                          <a16:creationId xmlns:a16="http://schemas.microsoft.com/office/drawing/2014/main" id="{6964291F-BF31-4AFB-99A2-BFA43506E470}"/>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271" name="Freeform 35">
                      <a:extLst>
                        <a:ext uri="{FF2B5EF4-FFF2-40B4-BE49-F238E27FC236}">
                          <a16:creationId xmlns:a16="http://schemas.microsoft.com/office/drawing/2014/main" id="{67DF30A1-E696-44DF-A539-B6570D37CF8A}"/>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272" name="Freeform 36">
                      <a:extLst>
                        <a:ext uri="{FF2B5EF4-FFF2-40B4-BE49-F238E27FC236}">
                          <a16:creationId xmlns:a16="http://schemas.microsoft.com/office/drawing/2014/main" id="{B2B557E8-63DA-4F31-8F76-87320CCD2AD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273" name="Freeform 25">
                      <a:extLst>
                        <a:ext uri="{FF2B5EF4-FFF2-40B4-BE49-F238E27FC236}">
                          <a16:creationId xmlns:a16="http://schemas.microsoft.com/office/drawing/2014/main" id="{323D8C9E-079B-43C0-ACAF-E6A21BE73E83}"/>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274" name="Freeform 39">
                      <a:extLst>
                        <a:ext uri="{FF2B5EF4-FFF2-40B4-BE49-F238E27FC236}">
                          <a16:creationId xmlns:a16="http://schemas.microsoft.com/office/drawing/2014/main" id="{D22D4828-A07A-4486-BDB1-A573E3D2CA4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50" name="Freeform 26">
                      <a:extLst>
                        <a:ext uri="{FF2B5EF4-FFF2-40B4-BE49-F238E27FC236}">
                          <a16:creationId xmlns:a16="http://schemas.microsoft.com/office/drawing/2014/main" id="{143BE8D4-21FD-43AA-AB9D-60A41E213811}"/>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51" name="Rectangle 27">
                      <a:extLst>
                        <a:ext uri="{FF2B5EF4-FFF2-40B4-BE49-F238E27FC236}">
                          <a16:creationId xmlns:a16="http://schemas.microsoft.com/office/drawing/2014/main" id="{71749177-4AB5-4875-A426-FEE086511FE7}"/>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352" name="Line 29">
                      <a:extLst>
                        <a:ext uri="{FF2B5EF4-FFF2-40B4-BE49-F238E27FC236}">
                          <a16:creationId xmlns:a16="http://schemas.microsoft.com/office/drawing/2014/main" id="{2DC3D8DF-DAD8-4CC3-BC3F-D5E054B54CF2}"/>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353" name="Line 31">
                      <a:extLst>
                        <a:ext uri="{FF2B5EF4-FFF2-40B4-BE49-F238E27FC236}">
                          <a16:creationId xmlns:a16="http://schemas.microsoft.com/office/drawing/2014/main" id="{798F2458-77D6-46D7-A0BE-3D81546903BE}"/>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985" name="Rectangle 984">
                <a:extLst>
                  <a:ext uri="{FF2B5EF4-FFF2-40B4-BE49-F238E27FC236}">
                    <a16:creationId xmlns:a16="http://schemas.microsoft.com/office/drawing/2014/main" id="{DB069B6E-C3D0-4A6F-A3B0-4AAB093F082A}"/>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982" name="Rectangle 981">
              <a:extLst>
                <a:ext uri="{FF2B5EF4-FFF2-40B4-BE49-F238E27FC236}">
                  <a16:creationId xmlns:a16="http://schemas.microsoft.com/office/drawing/2014/main" id="{B40AD936-165A-49D5-8248-EFD13D73DF05}"/>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1418" name="Group 1417">
            <a:extLst>
              <a:ext uri="{FF2B5EF4-FFF2-40B4-BE49-F238E27FC236}">
                <a16:creationId xmlns:a16="http://schemas.microsoft.com/office/drawing/2014/main" id="{E85D1C8C-E499-4564-B467-75AC2DA7BF03}"/>
              </a:ext>
            </a:extLst>
          </p:cNvPr>
          <p:cNvGrpSpPr/>
          <p:nvPr/>
        </p:nvGrpSpPr>
        <p:grpSpPr>
          <a:xfrm>
            <a:off x="5581513" y="3847679"/>
            <a:ext cx="2022711" cy="2582790"/>
            <a:chOff x="5596776" y="3955938"/>
            <a:chExt cx="2028403" cy="2590058"/>
          </a:xfrm>
        </p:grpSpPr>
        <p:sp>
          <p:nvSpPr>
            <p:cNvPr id="1419" name="Rectangle 1418">
              <a:extLst>
                <a:ext uri="{FF2B5EF4-FFF2-40B4-BE49-F238E27FC236}">
                  <a16:creationId xmlns:a16="http://schemas.microsoft.com/office/drawing/2014/main" id="{9783025B-FABC-49DB-BA5D-27DAA1FB19E0}"/>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1420" name="Group 1419">
              <a:extLst>
                <a:ext uri="{FF2B5EF4-FFF2-40B4-BE49-F238E27FC236}">
                  <a16:creationId xmlns:a16="http://schemas.microsoft.com/office/drawing/2014/main" id="{1FD27290-6CEE-40C8-A2C4-5FC2A6F06FAA}"/>
                </a:ext>
              </a:extLst>
            </p:cNvPr>
            <p:cNvGrpSpPr/>
            <p:nvPr/>
          </p:nvGrpSpPr>
          <p:grpSpPr>
            <a:xfrm>
              <a:off x="5596776" y="4804677"/>
              <a:ext cx="2028403" cy="1741319"/>
              <a:chOff x="5596776" y="4804677"/>
              <a:chExt cx="2028403" cy="1741319"/>
            </a:xfrm>
          </p:grpSpPr>
          <p:sp>
            <p:nvSpPr>
              <p:cNvPr id="1421" name="Rectangle 1420">
                <a:extLst>
                  <a:ext uri="{FF2B5EF4-FFF2-40B4-BE49-F238E27FC236}">
                    <a16:creationId xmlns:a16="http://schemas.microsoft.com/office/drawing/2014/main" id="{D37A9A49-2577-489C-AB8A-A11CEDEEF60C}"/>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1422" name="Rectangle 1421">
                <a:extLst>
                  <a:ext uri="{FF2B5EF4-FFF2-40B4-BE49-F238E27FC236}">
                    <a16:creationId xmlns:a16="http://schemas.microsoft.com/office/drawing/2014/main" id="{2C031665-B059-46A7-B0FE-D12B9ECA4867}"/>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1423" name="Picture 1422">
                <a:extLst>
                  <a:ext uri="{FF2B5EF4-FFF2-40B4-BE49-F238E27FC236}">
                    <a16:creationId xmlns:a16="http://schemas.microsoft.com/office/drawing/2014/main" id="{0219B6BA-826A-450E-BA6B-0438065CA1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1424" name="Group 1423">
                <a:extLst>
                  <a:ext uri="{FF2B5EF4-FFF2-40B4-BE49-F238E27FC236}">
                    <a16:creationId xmlns:a16="http://schemas.microsoft.com/office/drawing/2014/main" id="{8C93D158-D2E4-4E03-B7BD-4F875D20FCAE}"/>
                  </a:ext>
                </a:extLst>
              </p:cNvPr>
              <p:cNvGrpSpPr>
                <a:grpSpLocks/>
              </p:cNvGrpSpPr>
              <p:nvPr/>
            </p:nvGrpSpPr>
            <p:grpSpPr>
              <a:xfrm>
                <a:off x="6916019" y="5876745"/>
                <a:ext cx="476834" cy="476835"/>
                <a:chOff x="7895435" y="7917966"/>
                <a:chExt cx="473625" cy="473627"/>
              </a:xfrm>
            </p:grpSpPr>
            <p:grpSp>
              <p:nvGrpSpPr>
                <p:cNvPr id="1425" name="Group 64">
                  <a:extLst>
                    <a:ext uri="{FF2B5EF4-FFF2-40B4-BE49-F238E27FC236}">
                      <a16:creationId xmlns:a16="http://schemas.microsoft.com/office/drawing/2014/main" id="{DA975D4C-8191-43A7-945E-E0123C623B2B}"/>
                    </a:ext>
                  </a:extLst>
                </p:cNvPr>
                <p:cNvGrpSpPr>
                  <a:grpSpLocks noChangeAspect="1"/>
                </p:cNvGrpSpPr>
                <p:nvPr/>
              </p:nvGrpSpPr>
              <p:grpSpPr bwMode="auto">
                <a:xfrm rot="8100000">
                  <a:off x="7895435" y="7917966"/>
                  <a:ext cx="473625" cy="473627"/>
                  <a:chOff x="701" y="2170"/>
                  <a:chExt cx="587" cy="587"/>
                </a:xfrm>
              </p:grpSpPr>
              <p:sp>
                <p:nvSpPr>
                  <p:cNvPr id="1457" name="Oval 65">
                    <a:extLst>
                      <a:ext uri="{FF2B5EF4-FFF2-40B4-BE49-F238E27FC236}">
                        <a16:creationId xmlns:a16="http://schemas.microsoft.com/office/drawing/2014/main" id="{8011FA85-8F72-476E-8ACE-ABA1DD6064C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58" name="Line 66">
                    <a:extLst>
                      <a:ext uri="{FF2B5EF4-FFF2-40B4-BE49-F238E27FC236}">
                        <a16:creationId xmlns:a16="http://schemas.microsoft.com/office/drawing/2014/main" id="{30DA1455-3301-420D-9D8F-ACF293958E6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59" name="Line 67">
                    <a:extLst>
                      <a:ext uri="{FF2B5EF4-FFF2-40B4-BE49-F238E27FC236}">
                        <a16:creationId xmlns:a16="http://schemas.microsoft.com/office/drawing/2014/main" id="{5C28C949-96D8-4AD5-BEDE-A1972F914F6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60" name="Line 69">
                    <a:extLst>
                      <a:ext uri="{FF2B5EF4-FFF2-40B4-BE49-F238E27FC236}">
                        <a16:creationId xmlns:a16="http://schemas.microsoft.com/office/drawing/2014/main" id="{2654EF78-A199-4529-95E6-C114B1BBF10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61" name="Line 74">
                    <a:extLst>
                      <a:ext uri="{FF2B5EF4-FFF2-40B4-BE49-F238E27FC236}">
                        <a16:creationId xmlns:a16="http://schemas.microsoft.com/office/drawing/2014/main" id="{9713670F-7ADD-456A-8749-6F9AFB1BEE3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62" name="Freeform 78">
                    <a:extLst>
                      <a:ext uri="{FF2B5EF4-FFF2-40B4-BE49-F238E27FC236}">
                        <a16:creationId xmlns:a16="http://schemas.microsoft.com/office/drawing/2014/main" id="{BCE2598D-9DFF-4C49-8A1E-279AC66F96E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63" name="Freeform 80">
                    <a:extLst>
                      <a:ext uri="{FF2B5EF4-FFF2-40B4-BE49-F238E27FC236}">
                        <a16:creationId xmlns:a16="http://schemas.microsoft.com/office/drawing/2014/main" id="{9E2B4192-E1DD-4C5A-A681-E75EE826A29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426" name="Group 1425">
                  <a:extLst>
                    <a:ext uri="{FF2B5EF4-FFF2-40B4-BE49-F238E27FC236}">
                      <a16:creationId xmlns:a16="http://schemas.microsoft.com/office/drawing/2014/main" id="{7B38A08E-6F06-4BDE-BF09-7AA404D77345}"/>
                    </a:ext>
                  </a:extLst>
                </p:cNvPr>
                <p:cNvGrpSpPr/>
                <p:nvPr/>
              </p:nvGrpSpPr>
              <p:grpSpPr>
                <a:xfrm>
                  <a:off x="7951708" y="7985752"/>
                  <a:ext cx="356509" cy="349884"/>
                  <a:chOff x="468738" y="2241878"/>
                  <a:chExt cx="1655483" cy="1624719"/>
                </a:xfrm>
              </p:grpSpPr>
              <p:sp>
                <p:nvSpPr>
                  <p:cNvPr id="1427" name="Freeform 5">
                    <a:extLst>
                      <a:ext uri="{FF2B5EF4-FFF2-40B4-BE49-F238E27FC236}">
                        <a16:creationId xmlns:a16="http://schemas.microsoft.com/office/drawing/2014/main" id="{37E8BFFE-0240-4736-A599-D07EEB040CDA}"/>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28" name="Freeform 6">
                    <a:extLst>
                      <a:ext uri="{FF2B5EF4-FFF2-40B4-BE49-F238E27FC236}">
                        <a16:creationId xmlns:a16="http://schemas.microsoft.com/office/drawing/2014/main" id="{C66C19CF-9CD2-4919-800A-E875C320B1B4}"/>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29" name="Line 7">
                    <a:extLst>
                      <a:ext uri="{FF2B5EF4-FFF2-40B4-BE49-F238E27FC236}">
                        <a16:creationId xmlns:a16="http://schemas.microsoft.com/office/drawing/2014/main" id="{DF49FFA0-66F0-4EE4-9A47-7BDB775363BB}"/>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30" name="Freeform 8">
                    <a:extLst>
                      <a:ext uri="{FF2B5EF4-FFF2-40B4-BE49-F238E27FC236}">
                        <a16:creationId xmlns:a16="http://schemas.microsoft.com/office/drawing/2014/main" id="{C546631D-0F55-46B5-BEEA-57F496EF5436}"/>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31" name="Line 9">
                    <a:extLst>
                      <a:ext uri="{FF2B5EF4-FFF2-40B4-BE49-F238E27FC236}">
                        <a16:creationId xmlns:a16="http://schemas.microsoft.com/office/drawing/2014/main" id="{F4C24E57-AC9C-468C-8508-2FA42C7A4DD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432" name="Group 1431">
                    <a:extLst>
                      <a:ext uri="{FF2B5EF4-FFF2-40B4-BE49-F238E27FC236}">
                        <a16:creationId xmlns:a16="http://schemas.microsoft.com/office/drawing/2014/main" id="{20643C1E-34E7-4ECF-A9FD-262187069BE5}"/>
                      </a:ext>
                    </a:extLst>
                  </p:cNvPr>
                  <p:cNvGrpSpPr/>
                  <p:nvPr/>
                </p:nvGrpSpPr>
                <p:grpSpPr>
                  <a:xfrm>
                    <a:off x="1207113" y="2241878"/>
                    <a:ext cx="178734" cy="348678"/>
                    <a:chOff x="1207113" y="2241878"/>
                    <a:chExt cx="178734" cy="348678"/>
                  </a:xfrm>
                </p:grpSpPr>
                <p:sp>
                  <p:nvSpPr>
                    <p:cNvPr id="1455" name="Freeform 10">
                      <a:extLst>
                        <a:ext uri="{FF2B5EF4-FFF2-40B4-BE49-F238E27FC236}">
                          <a16:creationId xmlns:a16="http://schemas.microsoft.com/office/drawing/2014/main" id="{E56DB8A5-8EC8-48FF-A37A-503219422BB0}"/>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56" name="Line 11">
                      <a:extLst>
                        <a:ext uri="{FF2B5EF4-FFF2-40B4-BE49-F238E27FC236}">
                          <a16:creationId xmlns:a16="http://schemas.microsoft.com/office/drawing/2014/main" id="{9A569E52-EAFE-4A19-B1BD-A3B244927FA5}"/>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1433" name="Freeform 12">
                    <a:extLst>
                      <a:ext uri="{FF2B5EF4-FFF2-40B4-BE49-F238E27FC236}">
                        <a16:creationId xmlns:a16="http://schemas.microsoft.com/office/drawing/2014/main" id="{07470175-F78A-478F-B0EF-B1C648D11791}"/>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34" name="Line 13">
                    <a:extLst>
                      <a:ext uri="{FF2B5EF4-FFF2-40B4-BE49-F238E27FC236}">
                        <a16:creationId xmlns:a16="http://schemas.microsoft.com/office/drawing/2014/main" id="{BADF93CE-B335-45E9-967B-587ED283AB1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35" name="Freeform 14">
                    <a:extLst>
                      <a:ext uri="{FF2B5EF4-FFF2-40B4-BE49-F238E27FC236}">
                        <a16:creationId xmlns:a16="http://schemas.microsoft.com/office/drawing/2014/main" id="{AC714ABF-A443-4FFC-8339-95E89366FD46}"/>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36" name="Line 15">
                    <a:extLst>
                      <a:ext uri="{FF2B5EF4-FFF2-40B4-BE49-F238E27FC236}">
                        <a16:creationId xmlns:a16="http://schemas.microsoft.com/office/drawing/2014/main" id="{BBE42E89-C405-4D4D-84FD-3954F3CB0357}"/>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37" name="Freeform 16">
                    <a:extLst>
                      <a:ext uri="{FF2B5EF4-FFF2-40B4-BE49-F238E27FC236}">
                        <a16:creationId xmlns:a16="http://schemas.microsoft.com/office/drawing/2014/main" id="{D153FC2A-B862-45E9-B22E-3E4536A9A403}"/>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38" name="Line 17">
                    <a:extLst>
                      <a:ext uri="{FF2B5EF4-FFF2-40B4-BE49-F238E27FC236}">
                        <a16:creationId xmlns:a16="http://schemas.microsoft.com/office/drawing/2014/main" id="{8DBC3DBE-1B84-48E7-B948-953405F87555}"/>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39" name="Freeform 18">
                    <a:extLst>
                      <a:ext uri="{FF2B5EF4-FFF2-40B4-BE49-F238E27FC236}">
                        <a16:creationId xmlns:a16="http://schemas.microsoft.com/office/drawing/2014/main" id="{EDB01ACE-9C0D-4AEE-981C-32A0E12B081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40" name="Line 19">
                    <a:extLst>
                      <a:ext uri="{FF2B5EF4-FFF2-40B4-BE49-F238E27FC236}">
                        <a16:creationId xmlns:a16="http://schemas.microsoft.com/office/drawing/2014/main" id="{0C7CABBA-6747-48BE-8866-241439089D1C}"/>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41" name="Freeform 35">
                    <a:extLst>
                      <a:ext uri="{FF2B5EF4-FFF2-40B4-BE49-F238E27FC236}">
                        <a16:creationId xmlns:a16="http://schemas.microsoft.com/office/drawing/2014/main" id="{0606BACC-AFF1-4193-832F-3FAB78F70E01}"/>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42" name="Freeform 36">
                    <a:extLst>
                      <a:ext uri="{FF2B5EF4-FFF2-40B4-BE49-F238E27FC236}">
                        <a16:creationId xmlns:a16="http://schemas.microsoft.com/office/drawing/2014/main" id="{0A8741FE-3BAB-4855-B793-14704C7DFB01}"/>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43" name="Freeform 37">
                    <a:extLst>
                      <a:ext uri="{FF2B5EF4-FFF2-40B4-BE49-F238E27FC236}">
                        <a16:creationId xmlns:a16="http://schemas.microsoft.com/office/drawing/2014/main" id="{567AF43A-61AA-4707-86F6-4A31FD4A7966}"/>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44" name="Freeform 38">
                    <a:extLst>
                      <a:ext uri="{FF2B5EF4-FFF2-40B4-BE49-F238E27FC236}">
                        <a16:creationId xmlns:a16="http://schemas.microsoft.com/office/drawing/2014/main" id="{8869F965-5863-486E-B188-31E274E248F2}"/>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45" name="Freeform 39">
                    <a:extLst>
                      <a:ext uri="{FF2B5EF4-FFF2-40B4-BE49-F238E27FC236}">
                        <a16:creationId xmlns:a16="http://schemas.microsoft.com/office/drawing/2014/main" id="{03AF9BC2-D1A9-49A0-A228-327F7CA10D92}"/>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46" name="Freeform 40">
                    <a:extLst>
                      <a:ext uri="{FF2B5EF4-FFF2-40B4-BE49-F238E27FC236}">
                        <a16:creationId xmlns:a16="http://schemas.microsoft.com/office/drawing/2014/main" id="{D9FC8532-863D-4C0E-BD6E-D039AA76F177}"/>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47" name="Freeform 41">
                    <a:extLst>
                      <a:ext uri="{FF2B5EF4-FFF2-40B4-BE49-F238E27FC236}">
                        <a16:creationId xmlns:a16="http://schemas.microsoft.com/office/drawing/2014/main" id="{98CCB1DF-1925-41BB-9803-C061A62A7FAE}"/>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48" name="Line 42">
                    <a:extLst>
                      <a:ext uri="{FF2B5EF4-FFF2-40B4-BE49-F238E27FC236}">
                        <a16:creationId xmlns:a16="http://schemas.microsoft.com/office/drawing/2014/main" id="{0D546B00-887D-47DB-AA2B-B67622CC228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49" name="Freeform 43">
                    <a:extLst>
                      <a:ext uri="{FF2B5EF4-FFF2-40B4-BE49-F238E27FC236}">
                        <a16:creationId xmlns:a16="http://schemas.microsoft.com/office/drawing/2014/main" id="{896BE11B-FC44-4793-8A5A-9C66CD40E043}"/>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50" name="Freeform 44">
                    <a:extLst>
                      <a:ext uri="{FF2B5EF4-FFF2-40B4-BE49-F238E27FC236}">
                        <a16:creationId xmlns:a16="http://schemas.microsoft.com/office/drawing/2014/main" id="{43B3A4A2-1EF1-4A8C-875C-8A1D3268725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51" name="Freeform 45">
                    <a:extLst>
                      <a:ext uri="{FF2B5EF4-FFF2-40B4-BE49-F238E27FC236}">
                        <a16:creationId xmlns:a16="http://schemas.microsoft.com/office/drawing/2014/main" id="{9710C9AA-82CE-42A3-B14F-66F956FE0565}"/>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452" name="Group 1451">
                    <a:extLst>
                      <a:ext uri="{FF2B5EF4-FFF2-40B4-BE49-F238E27FC236}">
                        <a16:creationId xmlns:a16="http://schemas.microsoft.com/office/drawing/2014/main" id="{98EAC028-4F62-4A67-931C-71AA26819214}"/>
                      </a:ext>
                    </a:extLst>
                  </p:cNvPr>
                  <p:cNvGrpSpPr/>
                  <p:nvPr/>
                </p:nvGrpSpPr>
                <p:grpSpPr>
                  <a:xfrm flipV="1">
                    <a:off x="1202047" y="3517919"/>
                    <a:ext cx="178734" cy="348678"/>
                    <a:chOff x="1207113" y="2241878"/>
                    <a:chExt cx="178734" cy="348678"/>
                  </a:xfrm>
                </p:grpSpPr>
                <p:sp>
                  <p:nvSpPr>
                    <p:cNvPr id="1453" name="Freeform 10">
                      <a:extLst>
                        <a:ext uri="{FF2B5EF4-FFF2-40B4-BE49-F238E27FC236}">
                          <a16:creationId xmlns:a16="http://schemas.microsoft.com/office/drawing/2014/main" id="{2121A8FB-8CE7-4123-85EC-3EB0C4199E7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54" name="Line 11">
                      <a:extLst>
                        <a:ext uri="{FF2B5EF4-FFF2-40B4-BE49-F238E27FC236}">
                          <a16:creationId xmlns:a16="http://schemas.microsoft.com/office/drawing/2014/main" id="{C871768D-63A0-4AAF-8681-75D7F749CD8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1464" name="Group 1463">
            <a:extLst>
              <a:ext uri="{FF2B5EF4-FFF2-40B4-BE49-F238E27FC236}">
                <a16:creationId xmlns:a16="http://schemas.microsoft.com/office/drawing/2014/main" id="{06BFFBDB-1A05-412D-8F57-30AB2FD89FC4}"/>
              </a:ext>
            </a:extLst>
          </p:cNvPr>
          <p:cNvGrpSpPr/>
          <p:nvPr/>
        </p:nvGrpSpPr>
        <p:grpSpPr>
          <a:xfrm>
            <a:off x="495092" y="1726072"/>
            <a:ext cx="1451488" cy="649270"/>
            <a:chOff x="1688915" y="1573673"/>
            <a:chExt cx="1455572" cy="651097"/>
          </a:xfrm>
        </p:grpSpPr>
        <p:sp>
          <p:nvSpPr>
            <p:cNvPr id="1465" name="Right Arrow 551">
              <a:extLst>
                <a:ext uri="{FF2B5EF4-FFF2-40B4-BE49-F238E27FC236}">
                  <a16:creationId xmlns:a16="http://schemas.microsoft.com/office/drawing/2014/main" id="{E945E20E-F070-4C8F-AD75-236B7743E351}"/>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1466" name="Group 1465">
              <a:extLst>
                <a:ext uri="{FF2B5EF4-FFF2-40B4-BE49-F238E27FC236}">
                  <a16:creationId xmlns:a16="http://schemas.microsoft.com/office/drawing/2014/main" id="{D236B455-F73F-476C-8208-6FEDC0289093}"/>
                </a:ext>
              </a:extLst>
            </p:cNvPr>
            <p:cNvGrpSpPr>
              <a:grpSpLocks/>
            </p:cNvGrpSpPr>
            <p:nvPr/>
          </p:nvGrpSpPr>
          <p:grpSpPr>
            <a:xfrm>
              <a:off x="1688915" y="1795002"/>
              <a:ext cx="418017" cy="418017"/>
              <a:chOff x="745985" y="4768134"/>
              <a:chExt cx="368776" cy="368777"/>
            </a:xfrm>
          </p:grpSpPr>
          <p:grpSp>
            <p:nvGrpSpPr>
              <p:cNvPr id="1530" name="Group 64">
                <a:extLst>
                  <a:ext uri="{FF2B5EF4-FFF2-40B4-BE49-F238E27FC236}">
                    <a16:creationId xmlns:a16="http://schemas.microsoft.com/office/drawing/2014/main" id="{4FACF1CC-7EF1-4745-83C5-98F945DD6191}"/>
                  </a:ext>
                </a:extLst>
              </p:cNvPr>
              <p:cNvGrpSpPr>
                <a:grpSpLocks noChangeAspect="1"/>
              </p:cNvGrpSpPr>
              <p:nvPr/>
            </p:nvGrpSpPr>
            <p:grpSpPr bwMode="auto">
              <a:xfrm rot="8100000">
                <a:off x="745985" y="4768134"/>
                <a:ext cx="368776" cy="368777"/>
                <a:chOff x="701" y="2170"/>
                <a:chExt cx="587" cy="587"/>
              </a:xfrm>
            </p:grpSpPr>
            <p:sp>
              <p:nvSpPr>
                <p:cNvPr id="1541" name="Oval 65">
                  <a:extLst>
                    <a:ext uri="{FF2B5EF4-FFF2-40B4-BE49-F238E27FC236}">
                      <a16:creationId xmlns:a16="http://schemas.microsoft.com/office/drawing/2014/main" id="{BE4637E7-AA30-4CC3-874B-4162349E76E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42" name="Line 66">
                  <a:extLst>
                    <a:ext uri="{FF2B5EF4-FFF2-40B4-BE49-F238E27FC236}">
                      <a16:creationId xmlns:a16="http://schemas.microsoft.com/office/drawing/2014/main" id="{D48680FD-0388-4B67-8D98-F525B8FC8729}"/>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43" name="Line 67">
                  <a:extLst>
                    <a:ext uri="{FF2B5EF4-FFF2-40B4-BE49-F238E27FC236}">
                      <a16:creationId xmlns:a16="http://schemas.microsoft.com/office/drawing/2014/main" id="{6A84CE45-5C0C-450B-83F1-1F139C0BA6E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44" name="Line 69">
                  <a:extLst>
                    <a:ext uri="{FF2B5EF4-FFF2-40B4-BE49-F238E27FC236}">
                      <a16:creationId xmlns:a16="http://schemas.microsoft.com/office/drawing/2014/main" id="{3B8CFC2F-7E72-4707-B32C-99AFDBFEBC2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45" name="Line 74">
                  <a:extLst>
                    <a:ext uri="{FF2B5EF4-FFF2-40B4-BE49-F238E27FC236}">
                      <a16:creationId xmlns:a16="http://schemas.microsoft.com/office/drawing/2014/main" id="{A2382BF9-627C-4646-A654-68234DA4A9A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46" name="Freeform 78">
                  <a:extLst>
                    <a:ext uri="{FF2B5EF4-FFF2-40B4-BE49-F238E27FC236}">
                      <a16:creationId xmlns:a16="http://schemas.microsoft.com/office/drawing/2014/main" id="{4333AAB5-8FAE-47E2-8BC2-05B5EA3056AD}"/>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47" name="Freeform 80">
                  <a:extLst>
                    <a:ext uri="{FF2B5EF4-FFF2-40B4-BE49-F238E27FC236}">
                      <a16:creationId xmlns:a16="http://schemas.microsoft.com/office/drawing/2014/main" id="{A1559683-2B7E-4F44-B45C-C85ED757710D}"/>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531" name="Group 1530">
                <a:extLst>
                  <a:ext uri="{FF2B5EF4-FFF2-40B4-BE49-F238E27FC236}">
                    <a16:creationId xmlns:a16="http://schemas.microsoft.com/office/drawing/2014/main" id="{34FF54F2-F6BE-4991-9E4E-D9D9C5745F58}"/>
                  </a:ext>
                </a:extLst>
              </p:cNvPr>
              <p:cNvGrpSpPr/>
              <p:nvPr/>
            </p:nvGrpSpPr>
            <p:grpSpPr>
              <a:xfrm>
                <a:off x="837312" y="4814434"/>
                <a:ext cx="136805" cy="278689"/>
                <a:chOff x="2806700" y="2803319"/>
                <a:chExt cx="433387" cy="882861"/>
              </a:xfrm>
            </p:grpSpPr>
            <p:grpSp>
              <p:nvGrpSpPr>
                <p:cNvPr id="1532" name="Group 1531">
                  <a:extLst>
                    <a:ext uri="{FF2B5EF4-FFF2-40B4-BE49-F238E27FC236}">
                      <a16:creationId xmlns:a16="http://schemas.microsoft.com/office/drawing/2014/main" id="{73524649-561E-4D44-888B-75A7EC589239}"/>
                    </a:ext>
                  </a:extLst>
                </p:cNvPr>
                <p:cNvGrpSpPr>
                  <a:grpSpLocks noChangeAspect="1"/>
                </p:cNvGrpSpPr>
                <p:nvPr/>
              </p:nvGrpSpPr>
              <p:grpSpPr bwMode="auto">
                <a:xfrm>
                  <a:off x="2806700" y="3043242"/>
                  <a:ext cx="433387" cy="642938"/>
                  <a:chOff x="1768" y="1917"/>
                  <a:chExt cx="273" cy="405"/>
                </a:xfrm>
              </p:grpSpPr>
              <p:sp>
                <p:nvSpPr>
                  <p:cNvPr id="1534" name="Freeform 52">
                    <a:extLst>
                      <a:ext uri="{FF2B5EF4-FFF2-40B4-BE49-F238E27FC236}">
                        <a16:creationId xmlns:a16="http://schemas.microsoft.com/office/drawing/2014/main" id="{C40CDB2A-F02C-4C1D-B169-6A62F2084EF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35" name="Line 54">
                    <a:extLst>
                      <a:ext uri="{FF2B5EF4-FFF2-40B4-BE49-F238E27FC236}">
                        <a16:creationId xmlns:a16="http://schemas.microsoft.com/office/drawing/2014/main" id="{D7697BFB-3CCF-4E7D-9492-4B1C24219CD0}"/>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36" name="Line 55">
                    <a:extLst>
                      <a:ext uri="{FF2B5EF4-FFF2-40B4-BE49-F238E27FC236}">
                        <a16:creationId xmlns:a16="http://schemas.microsoft.com/office/drawing/2014/main" id="{E2B1D89E-32EF-402B-A608-652553E85771}"/>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37" name="Freeform 56">
                    <a:extLst>
                      <a:ext uri="{FF2B5EF4-FFF2-40B4-BE49-F238E27FC236}">
                        <a16:creationId xmlns:a16="http://schemas.microsoft.com/office/drawing/2014/main" id="{DABBD15B-5844-476C-91BE-6751A7669C3A}"/>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38" name="Line 57">
                    <a:extLst>
                      <a:ext uri="{FF2B5EF4-FFF2-40B4-BE49-F238E27FC236}">
                        <a16:creationId xmlns:a16="http://schemas.microsoft.com/office/drawing/2014/main" id="{A0F5F55A-EC78-48BB-8BF3-9A2F20633326}"/>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39" name="Freeform 58">
                    <a:extLst>
                      <a:ext uri="{FF2B5EF4-FFF2-40B4-BE49-F238E27FC236}">
                        <a16:creationId xmlns:a16="http://schemas.microsoft.com/office/drawing/2014/main" id="{2D94D151-DFD1-4189-A89A-AC89C7F3D476}"/>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40" name="Rectangle 1539">
                    <a:extLst>
                      <a:ext uri="{FF2B5EF4-FFF2-40B4-BE49-F238E27FC236}">
                        <a16:creationId xmlns:a16="http://schemas.microsoft.com/office/drawing/2014/main" id="{32758030-85EE-4D97-A734-5D157DE9D81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1533" name="Oval 1532">
                  <a:extLst>
                    <a:ext uri="{FF2B5EF4-FFF2-40B4-BE49-F238E27FC236}">
                      <a16:creationId xmlns:a16="http://schemas.microsoft.com/office/drawing/2014/main" id="{38DEB301-2AA1-418E-B6ED-E3953C1D48FB}"/>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1467" name="Group 1466">
              <a:extLst>
                <a:ext uri="{FF2B5EF4-FFF2-40B4-BE49-F238E27FC236}">
                  <a16:creationId xmlns:a16="http://schemas.microsoft.com/office/drawing/2014/main" id="{75E32074-CABD-4D92-9DEB-CA947A88ED06}"/>
                </a:ext>
              </a:extLst>
            </p:cNvPr>
            <p:cNvGrpSpPr>
              <a:grpSpLocks/>
            </p:cNvGrpSpPr>
            <p:nvPr/>
          </p:nvGrpSpPr>
          <p:grpSpPr>
            <a:xfrm>
              <a:off x="2196256" y="1795002"/>
              <a:ext cx="429139" cy="429142"/>
              <a:chOff x="1454941" y="4721722"/>
              <a:chExt cx="473625" cy="473627"/>
            </a:xfrm>
          </p:grpSpPr>
          <p:grpSp>
            <p:nvGrpSpPr>
              <p:cNvPr id="1491" name="Group 64">
                <a:extLst>
                  <a:ext uri="{FF2B5EF4-FFF2-40B4-BE49-F238E27FC236}">
                    <a16:creationId xmlns:a16="http://schemas.microsoft.com/office/drawing/2014/main" id="{586F3558-101E-4B26-AE1F-B41ACEDF874A}"/>
                  </a:ext>
                </a:extLst>
              </p:cNvPr>
              <p:cNvGrpSpPr>
                <a:grpSpLocks noChangeAspect="1"/>
              </p:cNvGrpSpPr>
              <p:nvPr/>
            </p:nvGrpSpPr>
            <p:grpSpPr bwMode="auto">
              <a:xfrm rot="8100000">
                <a:off x="1454941" y="4721722"/>
                <a:ext cx="473625" cy="473627"/>
                <a:chOff x="701" y="2170"/>
                <a:chExt cx="587" cy="587"/>
              </a:xfrm>
            </p:grpSpPr>
            <p:sp>
              <p:nvSpPr>
                <p:cNvPr id="1523" name="Oval 65">
                  <a:extLst>
                    <a:ext uri="{FF2B5EF4-FFF2-40B4-BE49-F238E27FC236}">
                      <a16:creationId xmlns:a16="http://schemas.microsoft.com/office/drawing/2014/main" id="{5C0C7E8F-19AC-4DEC-A98C-E145B5B7562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24" name="Line 66">
                  <a:extLst>
                    <a:ext uri="{FF2B5EF4-FFF2-40B4-BE49-F238E27FC236}">
                      <a16:creationId xmlns:a16="http://schemas.microsoft.com/office/drawing/2014/main" id="{BEFAC1FE-ADEA-4F4E-B95E-ED16A3416A0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25" name="Line 67">
                  <a:extLst>
                    <a:ext uri="{FF2B5EF4-FFF2-40B4-BE49-F238E27FC236}">
                      <a16:creationId xmlns:a16="http://schemas.microsoft.com/office/drawing/2014/main" id="{74071092-2DD9-4218-8D1D-AE5E31599F14}"/>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26" name="Line 69">
                  <a:extLst>
                    <a:ext uri="{FF2B5EF4-FFF2-40B4-BE49-F238E27FC236}">
                      <a16:creationId xmlns:a16="http://schemas.microsoft.com/office/drawing/2014/main" id="{67EC1480-F4B6-4F6D-8E7F-E843972FC5E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27" name="Line 74">
                  <a:extLst>
                    <a:ext uri="{FF2B5EF4-FFF2-40B4-BE49-F238E27FC236}">
                      <a16:creationId xmlns:a16="http://schemas.microsoft.com/office/drawing/2014/main" id="{D6CEBDCE-C123-401E-9ACF-6EBF196746F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28" name="Freeform 78">
                  <a:extLst>
                    <a:ext uri="{FF2B5EF4-FFF2-40B4-BE49-F238E27FC236}">
                      <a16:creationId xmlns:a16="http://schemas.microsoft.com/office/drawing/2014/main" id="{A0F537F3-A203-4FB3-A8FB-244E1F3D09A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29" name="Freeform 80">
                  <a:extLst>
                    <a:ext uri="{FF2B5EF4-FFF2-40B4-BE49-F238E27FC236}">
                      <a16:creationId xmlns:a16="http://schemas.microsoft.com/office/drawing/2014/main" id="{1B64449C-14FE-4CF4-A761-0587076F662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492" name="Group 1491">
                <a:extLst>
                  <a:ext uri="{FF2B5EF4-FFF2-40B4-BE49-F238E27FC236}">
                    <a16:creationId xmlns:a16="http://schemas.microsoft.com/office/drawing/2014/main" id="{CF909D3C-450F-442E-AA58-50CC0761FE98}"/>
                  </a:ext>
                </a:extLst>
              </p:cNvPr>
              <p:cNvGrpSpPr/>
              <p:nvPr/>
            </p:nvGrpSpPr>
            <p:grpSpPr>
              <a:xfrm>
                <a:off x="1511214" y="4789508"/>
                <a:ext cx="356509" cy="349884"/>
                <a:chOff x="468738" y="2241878"/>
                <a:chExt cx="1655483" cy="1624719"/>
              </a:xfrm>
            </p:grpSpPr>
            <p:sp>
              <p:nvSpPr>
                <p:cNvPr id="1493" name="Freeform 5">
                  <a:extLst>
                    <a:ext uri="{FF2B5EF4-FFF2-40B4-BE49-F238E27FC236}">
                      <a16:creationId xmlns:a16="http://schemas.microsoft.com/office/drawing/2014/main" id="{E7850FB1-7CAE-4BE0-954F-553DAC477E96}"/>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94" name="Freeform 6">
                  <a:extLst>
                    <a:ext uri="{FF2B5EF4-FFF2-40B4-BE49-F238E27FC236}">
                      <a16:creationId xmlns:a16="http://schemas.microsoft.com/office/drawing/2014/main" id="{ED9826BD-E38C-4E18-BBF8-D846623717E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95" name="Line 7">
                  <a:extLst>
                    <a:ext uri="{FF2B5EF4-FFF2-40B4-BE49-F238E27FC236}">
                      <a16:creationId xmlns:a16="http://schemas.microsoft.com/office/drawing/2014/main" id="{2C9148E6-A78A-43DD-BC2C-F61516EF6A25}"/>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96" name="Freeform 8">
                  <a:extLst>
                    <a:ext uri="{FF2B5EF4-FFF2-40B4-BE49-F238E27FC236}">
                      <a16:creationId xmlns:a16="http://schemas.microsoft.com/office/drawing/2014/main" id="{6F244042-2364-436E-81F7-E9E6B5987083}"/>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97" name="Line 9">
                  <a:extLst>
                    <a:ext uri="{FF2B5EF4-FFF2-40B4-BE49-F238E27FC236}">
                      <a16:creationId xmlns:a16="http://schemas.microsoft.com/office/drawing/2014/main" id="{1FE965B9-128A-4F15-8D9A-096529D527F3}"/>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498" name="Group 1497">
                  <a:extLst>
                    <a:ext uri="{FF2B5EF4-FFF2-40B4-BE49-F238E27FC236}">
                      <a16:creationId xmlns:a16="http://schemas.microsoft.com/office/drawing/2014/main" id="{EE65B06B-D01A-4F8D-B644-0C04BC7B7BE0}"/>
                    </a:ext>
                  </a:extLst>
                </p:cNvPr>
                <p:cNvGrpSpPr/>
                <p:nvPr/>
              </p:nvGrpSpPr>
              <p:grpSpPr>
                <a:xfrm>
                  <a:off x="1207113" y="2241878"/>
                  <a:ext cx="178734" cy="348678"/>
                  <a:chOff x="1207113" y="2241878"/>
                  <a:chExt cx="178734" cy="348678"/>
                </a:xfrm>
              </p:grpSpPr>
              <p:sp>
                <p:nvSpPr>
                  <p:cNvPr id="1521" name="Freeform 10">
                    <a:extLst>
                      <a:ext uri="{FF2B5EF4-FFF2-40B4-BE49-F238E27FC236}">
                        <a16:creationId xmlns:a16="http://schemas.microsoft.com/office/drawing/2014/main" id="{C862BAC8-3E00-4A7B-ADC7-27D442062BDF}"/>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22" name="Line 11">
                    <a:extLst>
                      <a:ext uri="{FF2B5EF4-FFF2-40B4-BE49-F238E27FC236}">
                        <a16:creationId xmlns:a16="http://schemas.microsoft.com/office/drawing/2014/main" id="{4EEE1572-3201-4CDD-8B58-A56EA01991A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1499" name="Freeform 12">
                  <a:extLst>
                    <a:ext uri="{FF2B5EF4-FFF2-40B4-BE49-F238E27FC236}">
                      <a16:creationId xmlns:a16="http://schemas.microsoft.com/office/drawing/2014/main" id="{1E22D83A-5F1B-4587-96B3-94AE1B63B26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0" name="Line 13">
                  <a:extLst>
                    <a:ext uri="{FF2B5EF4-FFF2-40B4-BE49-F238E27FC236}">
                      <a16:creationId xmlns:a16="http://schemas.microsoft.com/office/drawing/2014/main" id="{47AFEBC2-5696-4A64-9D5E-EE08AB3C88C9}"/>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1" name="Freeform 14">
                  <a:extLst>
                    <a:ext uri="{FF2B5EF4-FFF2-40B4-BE49-F238E27FC236}">
                      <a16:creationId xmlns:a16="http://schemas.microsoft.com/office/drawing/2014/main" id="{D5D8993E-71B2-4E6B-9F32-F420B4CE3D06}"/>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2" name="Line 15">
                  <a:extLst>
                    <a:ext uri="{FF2B5EF4-FFF2-40B4-BE49-F238E27FC236}">
                      <a16:creationId xmlns:a16="http://schemas.microsoft.com/office/drawing/2014/main" id="{0B503262-00C2-474D-AF8C-D413FA0E326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3" name="Freeform 16">
                  <a:extLst>
                    <a:ext uri="{FF2B5EF4-FFF2-40B4-BE49-F238E27FC236}">
                      <a16:creationId xmlns:a16="http://schemas.microsoft.com/office/drawing/2014/main" id="{46B4CBBC-5DDA-4CFE-8DA7-D9519328A2F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4" name="Line 17">
                  <a:extLst>
                    <a:ext uri="{FF2B5EF4-FFF2-40B4-BE49-F238E27FC236}">
                      <a16:creationId xmlns:a16="http://schemas.microsoft.com/office/drawing/2014/main" id="{D9F97428-73C3-4724-8448-BC0BB4F6CAA3}"/>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5" name="Freeform 18">
                  <a:extLst>
                    <a:ext uri="{FF2B5EF4-FFF2-40B4-BE49-F238E27FC236}">
                      <a16:creationId xmlns:a16="http://schemas.microsoft.com/office/drawing/2014/main" id="{DE13EF12-7ADA-46D9-9EE4-4C891CB0EE04}"/>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6" name="Line 19">
                  <a:extLst>
                    <a:ext uri="{FF2B5EF4-FFF2-40B4-BE49-F238E27FC236}">
                      <a16:creationId xmlns:a16="http://schemas.microsoft.com/office/drawing/2014/main" id="{F4E326E6-BF75-4590-A4E0-E86EE6DAA2B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7" name="Freeform 35">
                  <a:extLst>
                    <a:ext uri="{FF2B5EF4-FFF2-40B4-BE49-F238E27FC236}">
                      <a16:creationId xmlns:a16="http://schemas.microsoft.com/office/drawing/2014/main" id="{61D6CCD7-7BFC-4092-84D7-B7858DF12A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08" name="Freeform 36">
                  <a:extLst>
                    <a:ext uri="{FF2B5EF4-FFF2-40B4-BE49-F238E27FC236}">
                      <a16:creationId xmlns:a16="http://schemas.microsoft.com/office/drawing/2014/main" id="{720754C1-BEC3-4DAF-990C-5207F647AD1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09" name="Freeform 37">
                  <a:extLst>
                    <a:ext uri="{FF2B5EF4-FFF2-40B4-BE49-F238E27FC236}">
                      <a16:creationId xmlns:a16="http://schemas.microsoft.com/office/drawing/2014/main" id="{2FD2A7D4-A921-4B3A-BA00-30DA732D76F6}"/>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10" name="Freeform 38">
                  <a:extLst>
                    <a:ext uri="{FF2B5EF4-FFF2-40B4-BE49-F238E27FC236}">
                      <a16:creationId xmlns:a16="http://schemas.microsoft.com/office/drawing/2014/main" id="{576A4EB7-5D50-4AC0-A885-C8759E57578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11" name="Freeform 39">
                  <a:extLst>
                    <a:ext uri="{FF2B5EF4-FFF2-40B4-BE49-F238E27FC236}">
                      <a16:creationId xmlns:a16="http://schemas.microsoft.com/office/drawing/2014/main" id="{EC9FAAE2-B68F-4CFF-B253-29C93406D985}"/>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12" name="Freeform 40">
                  <a:extLst>
                    <a:ext uri="{FF2B5EF4-FFF2-40B4-BE49-F238E27FC236}">
                      <a16:creationId xmlns:a16="http://schemas.microsoft.com/office/drawing/2014/main" id="{D7E1BC6D-C939-4963-9FB2-3840D73588DE}"/>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13" name="Freeform 41">
                  <a:extLst>
                    <a:ext uri="{FF2B5EF4-FFF2-40B4-BE49-F238E27FC236}">
                      <a16:creationId xmlns:a16="http://schemas.microsoft.com/office/drawing/2014/main" id="{F3CD6F87-B1BD-4D56-95CB-4CA21982900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14" name="Line 42">
                  <a:extLst>
                    <a:ext uri="{FF2B5EF4-FFF2-40B4-BE49-F238E27FC236}">
                      <a16:creationId xmlns:a16="http://schemas.microsoft.com/office/drawing/2014/main" id="{A55E9242-8815-4754-8D68-79283FAAD442}"/>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15" name="Freeform 43">
                  <a:extLst>
                    <a:ext uri="{FF2B5EF4-FFF2-40B4-BE49-F238E27FC236}">
                      <a16:creationId xmlns:a16="http://schemas.microsoft.com/office/drawing/2014/main" id="{DB03F8D4-C147-4367-92D4-BEB21BAEF41F}"/>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16" name="Freeform 44">
                  <a:extLst>
                    <a:ext uri="{FF2B5EF4-FFF2-40B4-BE49-F238E27FC236}">
                      <a16:creationId xmlns:a16="http://schemas.microsoft.com/office/drawing/2014/main" id="{AA8578CC-2B84-4496-8555-CD2080E5AEFF}"/>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17" name="Freeform 45">
                  <a:extLst>
                    <a:ext uri="{FF2B5EF4-FFF2-40B4-BE49-F238E27FC236}">
                      <a16:creationId xmlns:a16="http://schemas.microsoft.com/office/drawing/2014/main" id="{3D98FDC3-56C9-4712-9F1D-DA9864660731}"/>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518" name="Group 1517">
                  <a:extLst>
                    <a:ext uri="{FF2B5EF4-FFF2-40B4-BE49-F238E27FC236}">
                      <a16:creationId xmlns:a16="http://schemas.microsoft.com/office/drawing/2014/main" id="{4ACCABBC-902D-4EE8-BF62-F909D4347780}"/>
                    </a:ext>
                  </a:extLst>
                </p:cNvPr>
                <p:cNvGrpSpPr/>
                <p:nvPr/>
              </p:nvGrpSpPr>
              <p:grpSpPr>
                <a:xfrm flipV="1">
                  <a:off x="1202047" y="3517919"/>
                  <a:ext cx="178734" cy="348678"/>
                  <a:chOff x="1207113" y="2241878"/>
                  <a:chExt cx="178734" cy="348678"/>
                </a:xfrm>
              </p:grpSpPr>
              <p:sp>
                <p:nvSpPr>
                  <p:cNvPr id="1519" name="Freeform 10">
                    <a:extLst>
                      <a:ext uri="{FF2B5EF4-FFF2-40B4-BE49-F238E27FC236}">
                        <a16:creationId xmlns:a16="http://schemas.microsoft.com/office/drawing/2014/main" id="{C478520A-BBE0-42D8-8F7B-B0DEEDDC259F}"/>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20" name="Line 11">
                    <a:extLst>
                      <a:ext uri="{FF2B5EF4-FFF2-40B4-BE49-F238E27FC236}">
                        <a16:creationId xmlns:a16="http://schemas.microsoft.com/office/drawing/2014/main" id="{A3B1AE84-2F19-40C0-B1A2-03098511E183}"/>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1468" name="Group 1467">
              <a:extLst>
                <a:ext uri="{FF2B5EF4-FFF2-40B4-BE49-F238E27FC236}">
                  <a16:creationId xmlns:a16="http://schemas.microsoft.com/office/drawing/2014/main" id="{F15A558C-3E04-437A-ADB4-E1DAFDA594DE}"/>
                </a:ext>
              </a:extLst>
            </p:cNvPr>
            <p:cNvGrpSpPr>
              <a:grpSpLocks/>
            </p:cNvGrpSpPr>
            <p:nvPr/>
          </p:nvGrpSpPr>
          <p:grpSpPr>
            <a:xfrm>
              <a:off x="2714719" y="1795002"/>
              <a:ext cx="429768" cy="429768"/>
              <a:chOff x="2268747" y="4723725"/>
              <a:chExt cx="415610" cy="415612"/>
            </a:xfrm>
          </p:grpSpPr>
          <p:grpSp>
            <p:nvGrpSpPr>
              <p:cNvPr id="1469" name="Group 64">
                <a:extLst>
                  <a:ext uri="{FF2B5EF4-FFF2-40B4-BE49-F238E27FC236}">
                    <a16:creationId xmlns:a16="http://schemas.microsoft.com/office/drawing/2014/main" id="{EE44ACFA-1AC6-4FB2-A6D2-207725166FE6}"/>
                  </a:ext>
                </a:extLst>
              </p:cNvPr>
              <p:cNvGrpSpPr>
                <a:grpSpLocks noChangeAspect="1"/>
              </p:cNvGrpSpPr>
              <p:nvPr/>
            </p:nvGrpSpPr>
            <p:grpSpPr bwMode="auto">
              <a:xfrm rot="8100000">
                <a:off x="2268747" y="4723725"/>
                <a:ext cx="415610" cy="415612"/>
                <a:chOff x="701" y="2170"/>
                <a:chExt cx="587" cy="587"/>
              </a:xfrm>
            </p:grpSpPr>
            <p:sp>
              <p:nvSpPr>
                <p:cNvPr id="1484" name="Oval 65">
                  <a:extLst>
                    <a:ext uri="{FF2B5EF4-FFF2-40B4-BE49-F238E27FC236}">
                      <a16:creationId xmlns:a16="http://schemas.microsoft.com/office/drawing/2014/main" id="{5B8C830B-0537-4BE0-8217-8FE7A36E9D02}"/>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85" name="Line 66">
                  <a:extLst>
                    <a:ext uri="{FF2B5EF4-FFF2-40B4-BE49-F238E27FC236}">
                      <a16:creationId xmlns:a16="http://schemas.microsoft.com/office/drawing/2014/main" id="{C590743E-150D-41E2-9BCE-257A2AF2BEF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86" name="Line 67">
                  <a:extLst>
                    <a:ext uri="{FF2B5EF4-FFF2-40B4-BE49-F238E27FC236}">
                      <a16:creationId xmlns:a16="http://schemas.microsoft.com/office/drawing/2014/main" id="{31F81B37-93FB-40F7-90A2-21935A3F02A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87" name="Line 69">
                  <a:extLst>
                    <a:ext uri="{FF2B5EF4-FFF2-40B4-BE49-F238E27FC236}">
                      <a16:creationId xmlns:a16="http://schemas.microsoft.com/office/drawing/2014/main" id="{EC068D73-FAFC-454F-9289-1806E1B092D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88" name="Line 74">
                  <a:extLst>
                    <a:ext uri="{FF2B5EF4-FFF2-40B4-BE49-F238E27FC236}">
                      <a16:creationId xmlns:a16="http://schemas.microsoft.com/office/drawing/2014/main" id="{92DE72C2-E587-4A4C-9F27-CAF0FC18DAE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89" name="Freeform 78">
                  <a:extLst>
                    <a:ext uri="{FF2B5EF4-FFF2-40B4-BE49-F238E27FC236}">
                      <a16:creationId xmlns:a16="http://schemas.microsoft.com/office/drawing/2014/main" id="{8E6E1D26-95FF-4017-B190-82B2A59F091A}"/>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90" name="Freeform 80">
                  <a:extLst>
                    <a:ext uri="{FF2B5EF4-FFF2-40B4-BE49-F238E27FC236}">
                      <a16:creationId xmlns:a16="http://schemas.microsoft.com/office/drawing/2014/main" id="{66A61354-30CA-4476-9770-9937367C01F7}"/>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470" name="Group 1469">
                <a:extLst>
                  <a:ext uri="{FF2B5EF4-FFF2-40B4-BE49-F238E27FC236}">
                    <a16:creationId xmlns:a16="http://schemas.microsoft.com/office/drawing/2014/main" id="{7E074CEC-66BB-4028-B8F4-22C0D3CA60FA}"/>
                  </a:ext>
                </a:extLst>
              </p:cNvPr>
              <p:cNvGrpSpPr/>
              <p:nvPr/>
            </p:nvGrpSpPr>
            <p:grpSpPr>
              <a:xfrm>
                <a:off x="2318076" y="4830163"/>
                <a:ext cx="313949" cy="233075"/>
                <a:chOff x="3707533" y="2731244"/>
                <a:chExt cx="389644" cy="289271"/>
              </a:xfrm>
            </p:grpSpPr>
            <p:sp>
              <p:nvSpPr>
                <p:cNvPr id="1471" name="Freeform 33">
                  <a:extLst>
                    <a:ext uri="{FF2B5EF4-FFF2-40B4-BE49-F238E27FC236}">
                      <a16:creationId xmlns:a16="http://schemas.microsoft.com/office/drawing/2014/main" id="{624B1E05-0AA0-404C-8898-D06EBE11A69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72" name="Freeform 34">
                  <a:extLst>
                    <a:ext uri="{FF2B5EF4-FFF2-40B4-BE49-F238E27FC236}">
                      <a16:creationId xmlns:a16="http://schemas.microsoft.com/office/drawing/2014/main" id="{A63B3F85-AFC7-4F85-A089-86F2AA9A6D56}"/>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73" name="Freeform 37">
                  <a:extLst>
                    <a:ext uri="{FF2B5EF4-FFF2-40B4-BE49-F238E27FC236}">
                      <a16:creationId xmlns:a16="http://schemas.microsoft.com/office/drawing/2014/main" id="{E59B2FA5-E396-44A5-9AB3-EAFC96956C6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74" name="Freeform 38">
                  <a:extLst>
                    <a:ext uri="{FF2B5EF4-FFF2-40B4-BE49-F238E27FC236}">
                      <a16:creationId xmlns:a16="http://schemas.microsoft.com/office/drawing/2014/main" id="{2804A844-B2C4-4EAA-A7A9-AA1AA8CA6922}"/>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75" name="Freeform 32">
                  <a:extLst>
                    <a:ext uri="{FF2B5EF4-FFF2-40B4-BE49-F238E27FC236}">
                      <a16:creationId xmlns:a16="http://schemas.microsoft.com/office/drawing/2014/main" id="{5BEF0F48-10AC-4976-B195-68EE1BCCF993}"/>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76" name="Freeform 35">
                  <a:extLst>
                    <a:ext uri="{FF2B5EF4-FFF2-40B4-BE49-F238E27FC236}">
                      <a16:creationId xmlns:a16="http://schemas.microsoft.com/office/drawing/2014/main" id="{7F06EBFF-DAB0-4FE5-9CFD-241F41CD963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77" name="Freeform 36">
                  <a:extLst>
                    <a:ext uri="{FF2B5EF4-FFF2-40B4-BE49-F238E27FC236}">
                      <a16:creationId xmlns:a16="http://schemas.microsoft.com/office/drawing/2014/main" id="{3F23472E-D006-4805-BCD8-C7919A34BB45}"/>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78" name="Freeform 25">
                  <a:extLst>
                    <a:ext uri="{FF2B5EF4-FFF2-40B4-BE49-F238E27FC236}">
                      <a16:creationId xmlns:a16="http://schemas.microsoft.com/office/drawing/2014/main" id="{E2A21F89-6CF4-483E-A79F-1527E01F69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79" name="Freeform 39">
                  <a:extLst>
                    <a:ext uri="{FF2B5EF4-FFF2-40B4-BE49-F238E27FC236}">
                      <a16:creationId xmlns:a16="http://schemas.microsoft.com/office/drawing/2014/main" id="{566FF9E9-3CBC-4A52-B23D-CC6E5DA7915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80" name="Freeform 26">
                  <a:extLst>
                    <a:ext uri="{FF2B5EF4-FFF2-40B4-BE49-F238E27FC236}">
                      <a16:creationId xmlns:a16="http://schemas.microsoft.com/office/drawing/2014/main" id="{48B0807A-ADC6-4A15-A827-04D4DE7366B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81" name="Rectangle 27">
                  <a:extLst>
                    <a:ext uri="{FF2B5EF4-FFF2-40B4-BE49-F238E27FC236}">
                      <a16:creationId xmlns:a16="http://schemas.microsoft.com/office/drawing/2014/main" id="{46FED8A1-75AF-4CF2-BB89-C9CA0B164A63}"/>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482" name="Line 29">
                  <a:extLst>
                    <a:ext uri="{FF2B5EF4-FFF2-40B4-BE49-F238E27FC236}">
                      <a16:creationId xmlns:a16="http://schemas.microsoft.com/office/drawing/2014/main" id="{43DFAF3F-BF57-468F-B144-0BA14173F5E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483" name="Line 31">
                  <a:extLst>
                    <a:ext uri="{FF2B5EF4-FFF2-40B4-BE49-F238E27FC236}">
                      <a16:creationId xmlns:a16="http://schemas.microsoft.com/office/drawing/2014/main" id="{9BEF62DF-51A2-48DA-84DC-95DFF63D8C4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1548" name="Group 1547">
            <a:extLst>
              <a:ext uri="{FF2B5EF4-FFF2-40B4-BE49-F238E27FC236}">
                <a16:creationId xmlns:a16="http://schemas.microsoft.com/office/drawing/2014/main" id="{9C67B78D-F757-4CC2-8D0B-B0203472C76D}"/>
              </a:ext>
            </a:extLst>
          </p:cNvPr>
          <p:cNvGrpSpPr/>
          <p:nvPr/>
        </p:nvGrpSpPr>
        <p:grpSpPr>
          <a:xfrm>
            <a:off x="10069943" y="2131578"/>
            <a:ext cx="1723479" cy="3110477"/>
            <a:chOff x="10072567" y="2269503"/>
            <a:chExt cx="1723928" cy="3111287"/>
          </a:xfrm>
        </p:grpSpPr>
        <p:grpSp>
          <p:nvGrpSpPr>
            <p:cNvPr id="1549" name="Group 1548">
              <a:extLst>
                <a:ext uri="{FF2B5EF4-FFF2-40B4-BE49-F238E27FC236}">
                  <a16:creationId xmlns:a16="http://schemas.microsoft.com/office/drawing/2014/main" id="{9F9F21F2-DB63-4DDC-9938-00F3E3B1D67F}"/>
                </a:ext>
              </a:extLst>
            </p:cNvPr>
            <p:cNvGrpSpPr/>
            <p:nvPr/>
          </p:nvGrpSpPr>
          <p:grpSpPr>
            <a:xfrm>
              <a:off x="10075218" y="2269503"/>
              <a:ext cx="1586257" cy="2254230"/>
              <a:chOff x="9895314" y="2107193"/>
              <a:chExt cx="1590306" cy="2259985"/>
            </a:xfrm>
          </p:grpSpPr>
          <p:grpSp>
            <p:nvGrpSpPr>
              <p:cNvPr id="1551" name="Group 1550">
                <a:extLst>
                  <a:ext uri="{FF2B5EF4-FFF2-40B4-BE49-F238E27FC236}">
                    <a16:creationId xmlns:a16="http://schemas.microsoft.com/office/drawing/2014/main" id="{A64FF5D9-88C1-4B5B-B109-2A5F147F0B2B}"/>
                  </a:ext>
                </a:extLst>
              </p:cNvPr>
              <p:cNvGrpSpPr/>
              <p:nvPr/>
            </p:nvGrpSpPr>
            <p:grpSpPr>
              <a:xfrm>
                <a:off x="9895314" y="2107193"/>
                <a:ext cx="1231250" cy="1189486"/>
                <a:chOff x="7839761" y="1053755"/>
                <a:chExt cx="927651" cy="896185"/>
              </a:xfrm>
            </p:grpSpPr>
            <p:sp>
              <p:nvSpPr>
                <p:cNvPr id="1668" name="TextBox 1667">
                  <a:extLst>
                    <a:ext uri="{FF2B5EF4-FFF2-40B4-BE49-F238E27FC236}">
                      <a16:creationId xmlns:a16="http://schemas.microsoft.com/office/drawing/2014/main" id="{F5B97E3C-4A47-4CC6-B828-7DEB7BA056E5}"/>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1669" name="Group 1668">
                  <a:extLst>
                    <a:ext uri="{FF2B5EF4-FFF2-40B4-BE49-F238E27FC236}">
                      <a16:creationId xmlns:a16="http://schemas.microsoft.com/office/drawing/2014/main" id="{1209E769-A18C-4A8A-97A0-4850850B7223}"/>
                    </a:ext>
                  </a:extLst>
                </p:cNvPr>
                <p:cNvGrpSpPr/>
                <p:nvPr/>
              </p:nvGrpSpPr>
              <p:grpSpPr>
                <a:xfrm>
                  <a:off x="7839761" y="1053755"/>
                  <a:ext cx="927651" cy="523122"/>
                  <a:chOff x="7839761" y="1053755"/>
                  <a:chExt cx="927651" cy="523122"/>
                </a:xfrm>
              </p:grpSpPr>
              <p:sp>
                <p:nvSpPr>
                  <p:cNvPr id="1670" name="Line 66">
                    <a:extLst>
                      <a:ext uri="{FF2B5EF4-FFF2-40B4-BE49-F238E27FC236}">
                        <a16:creationId xmlns:a16="http://schemas.microsoft.com/office/drawing/2014/main" id="{1775A66B-0A74-4686-B918-AB4D8B1DE8A6}"/>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71" name="Line 67">
                    <a:extLst>
                      <a:ext uri="{FF2B5EF4-FFF2-40B4-BE49-F238E27FC236}">
                        <a16:creationId xmlns:a16="http://schemas.microsoft.com/office/drawing/2014/main" id="{A1C2E1E9-9A9D-409F-B527-2DB7EBB52720}"/>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72" name="Line 74">
                    <a:extLst>
                      <a:ext uri="{FF2B5EF4-FFF2-40B4-BE49-F238E27FC236}">
                        <a16:creationId xmlns:a16="http://schemas.microsoft.com/office/drawing/2014/main" id="{0DED3A37-FCF1-4557-B6C8-4F49A6CC3EA4}"/>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73" name="Freeform 78">
                    <a:extLst>
                      <a:ext uri="{FF2B5EF4-FFF2-40B4-BE49-F238E27FC236}">
                        <a16:creationId xmlns:a16="http://schemas.microsoft.com/office/drawing/2014/main" id="{929F77D6-FB33-440B-A455-2CF5E066651A}"/>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74" name="Freeform 80">
                    <a:extLst>
                      <a:ext uri="{FF2B5EF4-FFF2-40B4-BE49-F238E27FC236}">
                        <a16:creationId xmlns:a16="http://schemas.microsoft.com/office/drawing/2014/main" id="{64C81F81-CBD7-4F50-B319-88AD788393BE}"/>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75" name="Freeform 1575">
                    <a:extLst>
                      <a:ext uri="{FF2B5EF4-FFF2-40B4-BE49-F238E27FC236}">
                        <a16:creationId xmlns:a16="http://schemas.microsoft.com/office/drawing/2014/main" id="{D58F6145-6B80-4101-AF79-89BE3F06A9F1}"/>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76" name="Freeform 1576">
                    <a:extLst>
                      <a:ext uri="{FF2B5EF4-FFF2-40B4-BE49-F238E27FC236}">
                        <a16:creationId xmlns:a16="http://schemas.microsoft.com/office/drawing/2014/main" id="{6A4287A6-A2B5-46EF-930E-135B0432F340}"/>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77" name="Freeform 1577">
                    <a:extLst>
                      <a:ext uri="{FF2B5EF4-FFF2-40B4-BE49-F238E27FC236}">
                        <a16:creationId xmlns:a16="http://schemas.microsoft.com/office/drawing/2014/main" id="{CA368FC8-95E1-4964-BD87-B8CC7BB03A88}"/>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78" name="Freeform 1578">
                    <a:extLst>
                      <a:ext uri="{FF2B5EF4-FFF2-40B4-BE49-F238E27FC236}">
                        <a16:creationId xmlns:a16="http://schemas.microsoft.com/office/drawing/2014/main" id="{9A53B918-8F39-4FD8-B3CF-1281B60BC369}"/>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79" name="Freeform 1579">
                    <a:extLst>
                      <a:ext uri="{FF2B5EF4-FFF2-40B4-BE49-F238E27FC236}">
                        <a16:creationId xmlns:a16="http://schemas.microsoft.com/office/drawing/2014/main" id="{1125AA8C-2379-43E6-9D0F-22FEC940E71C}"/>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80" name="Freeform 1580">
                    <a:extLst>
                      <a:ext uri="{FF2B5EF4-FFF2-40B4-BE49-F238E27FC236}">
                        <a16:creationId xmlns:a16="http://schemas.microsoft.com/office/drawing/2014/main" id="{312526FF-7066-485D-AB51-6CB8ED58E3EC}"/>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81" name="Freeform 1581">
                    <a:extLst>
                      <a:ext uri="{FF2B5EF4-FFF2-40B4-BE49-F238E27FC236}">
                        <a16:creationId xmlns:a16="http://schemas.microsoft.com/office/drawing/2014/main" id="{02080900-B79D-478E-B0D2-BE477AD4F24F}"/>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82" name="Freeform 1582">
                    <a:extLst>
                      <a:ext uri="{FF2B5EF4-FFF2-40B4-BE49-F238E27FC236}">
                        <a16:creationId xmlns:a16="http://schemas.microsoft.com/office/drawing/2014/main" id="{834532BC-C0E8-426D-A91B-8638302E4966}"/>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83" name="Freeform 1583">
                    <a:extLst>
                      <a:ext uri="{FF2B5EF4-FFF2-40B4-BE49-F238E27FC236}">
                        <a16:creationId xmlns:a16="http://schemas.microsoft.com/office/drawing/2014/main" id="{284F7E91-E62E-4E23-9E87-DD96F1E99480}"/>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84" name="Freeform 1584">
                    <a:extLst>
                      <a:ext uri="{FF2B5EF4-FFF2-40B4-BE49-F238E27FC236}">
                        <a16:creationId xmlns:a16="http://schemas.microsoft.com/office/drawing/2014/main" id="{8DBFF8E6-8827-46F3-98AB-EDDC812B690B}"/>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85" name="Freeform 1585">
                    <a:extLst>
                      <a:ext uri="{FF2B5EF4-FFF2-40B4-BE49-F238E27FC236}">
                        <a16:creationId xmlns:a16="http://schemas.microsoft.com/office/drawing/2014/main" id="{03C6CAB8-AD1D-4EB4-BD1A-D2D95B787A8A}"/>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86" name="Freeform 1586">
                    <a:extLst>
                      <a:ext uri="{FF2B5EF4-FFF2-40B4-BE49-F238E27FC236}">
                        <a16:creationId xmlns:a16="http://schemas.microsoft.com/office/drawing/2014/main" id="{B5025CAD-50D9-4154-9E45-D8D61D9F1FA9}"/>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87" name="Freeform 1587">
                    <a:extLst>
                      <a:ext uri="{FF2B5EF4-FFF2-40B4-BE49-F238E27FC236}">
                        <a16:creationId xmlns:a16="http://schemas.microsoft.com/office/drawing/2014/main" id="{DAC43049-15F7-44AB-B80B-40C7568A18B8}"/>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88" name="Freeform 1588">
                    <a:extLst>
                      <a:ext uri="{FF2B5EF4-FFF2-40B4-BE49-F238E27FC236}">
                        <a16:creationId xmlns:a16="http://schemas.microsoft.com/office/drawing/2014/main" id="{B17094FC-B1CC-4A9B-8B53-C787452C18CF}"/>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89" name="Rectangle 1589">
                    <a:extLst>
                      <a:ext uri="{FF2B5EF4-FFF2-40B4-BE49-F238E27FC236}">
                        <a16:creationId xmlns:a16="http://schemas.microsoft.com/office/drawing/2014/main" id="{22C073C9-F7FF-41C3-8C3B-1DF45F6AC6E9}"/>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0" name="Rectangle 1590">
                    <a:extLst>
                      <a:ext uri="{FF2B5EF4-FFF2-40B4-BE49-F238E27FC236}">
                        <a16:creationId xmlns:a16="http://schemas.microsoft.com/office/drawing/2014/main" id="{F2DC8C09-73A5-4C95-8C85-94590907E35A}"/>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1" name="Freeform 1591">
                    <a:extLst>
                      <a:ext uri="{FF2B5EF4-FFF2-40B4-BE49-F238E27FC236}">
                        <a16:creationId xmlns:a16="http://schemas.microsoft.com/office/drawing/2014/main" id="{10E2E90C-876A-4187-870C-E3CCE80F93AE}"/>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2" name="Freeform 1592">
                    <a:extLst>
                      <a:ext uri="{FF2B5EF4-FFF2-40B4-BE49-F238E27FC236}">
                        <a16:creationId xmlns:a16="http://schemas.microsoft.com/office/drawing/2014/main" id="{D18CB631-8B8C-4263-BA6D-47ADA3AF3C4A}"/>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3" name="Freeform 1593">
                    <a:extLst>
                      <a:ext uri="{FF2B5EF4-FFF2-40B4-BE49-F238E27FC236}">
                        <a16:creationId xmlns:a16="http://schemas.microsoft.com/office/drawing/2014/main" id="{DFA215BB-2125-40B3-AE6E-38E4A5AB9333}"/>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4" name="Freeform 1594">
                    <a:extLst>
                      <a:ext uri="{FF2B5EF4-FFF2-40B4-BE49-F238E27FC236}">
                        <a16:creationId xmlns:a16="http://schemas.microsoft.com/office/drawing/2014/main" id="{B34A2047-EBD4-447C-856D-4AA374F89054}"/>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5" name="Freeform 1595">
                    <a:extLst>
                      <a:ext uri="{FF2B5EF4-FFF2-40B4-BE49-F238E27FC236}">
                        <a16:creationId xmlns:a16="http://schemas.microsoft.com/office/drawing/2014/main" id="{34A45230-3DC8-41B2-BBF0-ADCB2AA8C791}"/>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6" name="Freeform 1596">
                    <a:extLst>
                      <a:ext uri="{FF2B5EF4-FFF2-40B4-BE49-F238E27FC236}">
                        <a16:creationId xmlns:a16="http://schemas.microsoft.com/office/drawing/2014/main" id="{C2F4624B-E3C6-4ADD-B191-29FB6A9BA52E}"/>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7" name="Freeform 1672">
                    <a:extLst>
                      <a:ext uri="{FF2B5EF4-FFF2-40B4-BE49-F238E27FC236}">
                        <a16:creationId xmlns:a16="http://schemas.microsoft.com/office/drawing/2014/main" id="{59E37BAA-0D08-4857-B180-9569B98FB42F}"/>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8" name="Freeform 1673">
                    <a:extLst>
                      <a:ext uri="{FF2B5EF4-FFF2-40B4-BE49-F238E27FC236}">
                        <a16:creationId xmlns:a16="http://schemas.microsoft.com/office/drawing/2014/main" id="{25CA9C7A-31B8-49BB-A3EF-AF42316469F5}"/>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99" name="Freeform 1674">
                    <a:extLst>
                      <a:ext uri="{FF2B5EF4-FFF2-40B4-BE49-F238E27FC236}">
                        <a16:creationId xmlns:a16="http://schemas.microsoft.com/office/drawing/2014/main" id="{09E5F1DB-12FD-4710-961E-8898370C32B8}"/>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0" name="Freeform 1675">
                    <a:extLst>
                      <a:ext uri="{FF2B5EF4-FFF2-40B4-BE49-F238E27FC236}">
                        <a16:creationId xmlns:a16="http://schemas.microsoft.com/office/drawing/2014/main" id="{4E749DAD-0CBC-4CFA-91A3-088187F095E0}"/>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1" name="Freeform 1676">
                    <a:extLst>
                      <a:ext uri="{FF2B5EF4-FFF2-40B4-BE49-F238E27FC236}">
                        <a16:creationId xmlns:a16="http://schemas.microsoft.com/office/drawing/2014/main" id="{E56B46F0-0D3F-4540-BAD7-80F8F95ABD9E}"/>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2" name="Freeform 1677">
                    <a:extLst>
                      <a:ext uri="{FF2B5EF4-FFF2-40B4-BE49-F238E27FC236}">
                        <a16:creationId xmlns:a16="http://schemas.microsoft.com/office/drawing/2014/main" id="{6B1B3BEF-89DE-4598-9564-7FCDBF28513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3" name="Freeform 1678">
                    <a:extLst>
                      <a:ext uri="{FF2B5EF4-FFF2-40B4-BE49-F238E27FC236}">
                        <a16:creationId xmlns:a16="http://schemas.microsoft.com/office/drawing/2014/main" id="{8A28AFD7-B17E-4E86-9BE5-31ED6E8E8B08}"/>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4" name="Freeform 1679">
                    <a:extLst>
                      <a:ext uri="{FF2B5EF4-FFF2-40B4-BE49-F238E27FC236}">
                        <a16:creationId xmlns:a16="http://schemas.microsoft.com/office/drawing/2014/main" id="{D69A98CB-F97D-4D45-B9A3-09D133A500BD}"/>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5" name="Freeform 1680">
                    <a:extLst>
                      <a:ext uri="{FF2B5EF4-FFF2-40B4-BE49-F238E27FC236}">
                        <a16:creationId xmlns:a16="http://schemas.microsoft.com/office/drawing/2014/main" id="{D0D11C3C-10EE-4082-AD0F-AF6DE0BC0705}"/>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6" name="Freeform 1681">
                    <a:extLst>
                      <a:ext uri="{FF2B5EF4-FFF2-40B4-BE49-F238E27FC236}">
                        <a16:creationId xmlns:a16="http://schemas.microsoft.com/office/drawing/2014/main" id="{B900DCED-106D-4285-8D33-A45212A5F4B0}"/>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7" name="Freeform 1682">
                    <a:extLst>
                      <a:ext uri="{FF2B5EF4-FFF2-40B4-BE49-F238E27FC236}">
                        <a16:creationId xmlns:a16="http://schemas.microsoft.com/office/drawing/2014/main" id="{8F7B2A64-28D4-4F0C-B736-A3C093410B47}"/>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8" name="Freeform 1683">
                    <a:extLst>
                      <a:ext uri="{FF2B5EF4-FFF2-40B4-BE49-F238E27FC236}">
                        <a16:creationId xmlns:a16="http://schemas.microsoft.com/office/drawing/2014/main" id="{1D1040FB-B92C-4B8F-B451-9263F408CFB0}"/>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09" name="Freeform 1684">
                    <a:extLst>
                      <a:ext uri="{FF2B5EF4-FFF2-40B4-BE49-F238E27FC236}">
                        <a16:creationId xmlns:a16="http://schemas.microsoft.com/office/drawing/2014/main" id="{243D7A6C-2122-4A9A-BF95-23CB3CC71BBD}"/>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0" name="Freeform 1685">
                    <a:extLst>
                      <a:ext uri="{FF2B5EF4-FFF2-40B4-BE49-F238E27FC236}">
                        <a16:creationId xmlns:a16="http://schemas.microsoft.com/office/drawing/2014/main" id="{A4056360-EA82-4CDF-A18E-5E84727672E2}"/>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1" name="Freeform 1686">
                    <a:extLst>
                      <a:ext uri="{FF2B5EF4-FFF2-40B4-BE49-F238E27FC236}">
                        <a16:creationId xmlns:a16="http://schemas.microsoft.com/office/drawing/2014/main" id="{81C2958C-85C5-4449-9307-A615D0216147}"/>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2" name="Freeform 1687">
                    <a:extLst>
                      <a:ext uri="{FF2B5EF4-FFF2-40B4-BE49-F238E27FC236}">
                        <a16:creationId xmlns:a16="http://schemas.microsoft.com/office/drawing/2014/main" id="{6FF8C8D6-4FF5-4EEC-9FF9-674DA37E638E}"/>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3" name="Freeform 1688">
                    <a:extLst>
                      <a:ext uri="{FF2B5EF4-FFF2-40B4-BE49-F238E27FC236}">
                        <a16:creationId xmlns:a16="http://schemas.microsoft.com/office/drawing/2014/main" id="{7A20F96F-A6C3-46EE-A1E1-4E7DAC484B5F}"/>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4" name="Freeform 1689">
                    <a:extLst>
                      <a:ext uri="{FF2B5EF4-FFF2-40B4-BE49-F238E27FC236}">
                        <a16:creationId xmlns:a16="http://schemas.microsoft.com/office/drawing/2014/main" id="{EC2E7D1D-A7DA-4969-B089-3CB580E2F8F7}"/>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5" name="Freeform 1690">
                    <a:extLst>
                      <a:ext uri="{FF2B5EF4-FFF2-40B4-BE49-F238E27FC236}">
                        <a16:creationId xmlns:a16="http://schemas.microsoft.com/office/drawing/2014/main" id="{8FC1DA6A-12B9-47FC-BB11-35495B418BF4}"/>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6" name="Freeform 1691">
                    <a:extLst>
                      <a:ext uri="{FF2B5EF4-FFF2-40B4-BE49-F238E27FC236}">
                        <a16:creationId xmlns:a16="http://schemas.microsoft.com/office/drawing/2014/main" id="{A4D4F093-050F-4086-82EA-ABAE0B1512EE}"/>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7" name="Freeform 1692">
                    <a:extLst>
                      <a:ext uri="{FF2B5EF4-FFF2-40B4-BE49-F238E27FC236}">
                        <a16:creationId xmlns:a16="http://schemas.microsoft.com/office/drawing/2014/main" id="{6B7FF313-542C-4DF9-94EA-F6E38B16DD6B}"/>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8" name="Freeform 1693">
                    <a:extLst>
                      <a:ext uri="{FF2B5EF4-FFF2-40B4-BE49-F238E27FC236}">
                        <a16:creationId xmlns:a16="http://schemas.microsoft.com/office/drawing/2014/main" id="{277B52B0-CC65-4999-A351-050CB6407466}"/>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19" name="Freeform 1694">
                    <a:extLst>
                      <a:ext uri="{FF2B5EF4-FFF2-40B4-BE49-F238E27FC236}">
                        <a16:creationId xmlns:a16="http://schemas.microsoft.com/office/drawing/2014/main" id="{B6847BF0-DCD0-4F04-A577-92A253065020}"/>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20" name="Freeform 1695">
                    <a:extLst>
                      <a:ext uri="{FF2B5EF4-FFF2-40B4-BE49-F238E27FC236}">
                        <a16:creationId xmlns:a16="http://schemas.microsoft.com/office/drawing/2014/main" id="{19A8BDEC-F890-46EC-8D9B-3FBBBAB853AE}"/>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21" name="Freeform 1696">
                    <a:extLst>
                      <a:ext uri="{FF2B5EF4-FFF2-40B4-BE49-F238E27FC236}">
                        <a16:creationId xmlns:a16="http://schemas.microsoft.com/office/drawing/2014/main" id="{F47161E3-37A6-4B21-A4E4-510919E47A46}"/>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722" name="Freeform 1697">
                    <a:extLst>
                      <a:ext uri="{FF2B5EF4-FFF2-40B4-BE49-F238E27FC236}">
                        <a16:creationId xmlns:a16="http://schemas.microsoft.com/office/drawing/2014/main" id="{D9C8FFD3-7AC6-467F-9735-301E7459ED9B}"/>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1552" name="Group 1551">
                <a:extLst>
                  <a:ext uri="{FF2B5EF4-FFF2-40B4-BE49-F238E27FC236}">
                    <a16:creationId xmlns:a16="http://schemas.microsoft.com/office/drawing/2014/main" id="{0FF1B868-F763-4E16-87F1-472CFD019DE7}"/>
                  </a:ext>
                </a:extLst>
              </p:cNvPr>
              <p:cNvGrpSpPr/>
              <p:nvPr/>
            </p:nvGrpSpPr>
            <p:grpSpPr>
              <a:xfrm>
                <a:off x="10074842" y="2518176"/>
                <a:ext cx="1231250" cy="1313698"/>
                <a:chOff x="12023909" y="2412144"/>
                <a:chExt cx="1231250" cy="1313698"/>
              </a:xfrm>
            </p:grpSpPr>
            <p:sp>
              <p:nvSpPr>
                <p:cNvPr id="1611" name="Rectangle: Rounded Corners 1610">
                  <a:extLst>
                    <a:ext uri="{FF2B5EF4-FFF2-40B4-BE49-F238E27FC236}">
                      <a16:creationId xmlns:a16="http://schemas.microsoft.com/office/drawing/2014/main" id="{CF504164-F4CC-474D-A432-927CE73FEB8D}"/>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1612" name="Group 1611">
                  <a:extLst>
                    <a:ext uri="{FF2B5EF4-FFF2-40B4-BE49-F238E27FC236}">
                      <a16:creationId xmlns:a16="http://schemas.microsoft.com/office/drawing/2014/main" id="{308EC8D5-7EFF-412F-8816-E7F029C52229}"/>
                    </a:ext>
                  </a:extLst>
                </p:cNvPr>
                <p:cNvGrpSpPr/>
                <p:nvPr/>
              </p:nvGrpSpPr>
              <p:grpSpPr>
                <a:xfrm>
                  <a:off x="12023909" y="2526190"/>
                  <a:ext cx="1231250" cy="1189484"/>
                  <a:chOff x="7839761" y="1053755"/>
                  <a:chExt cx="927651" cy="896184"/>
                </a:xfrm>
              </p:grpSpPr>
              <p:sp>
                <p:nvSpPr>
                  <p:cNvPr id="1613" name="TextBox 1612">
                    <a:extLst>
                      <a:ext uri="{FF2B5EF4-FFF2-40B4-BE49-F238E27FC236}">
                        <a16:creationId xmlns:a16="http://schemas.microsoft.com/office/drawing/2014/main" id="{747A508E-2C09-44A7-97E6-BC4DFEEC1DED}"/>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1614" name="Group 1613">
                    <a:extLst>
                      <a:ext uri="{FF2B5EF4-FFF2-40B4-BE49-F238E27FC236}">
                        <a16:creationId xmlns:a16="http://schemas.microsoft.com/office/drawing/2014/main" id="{AA0537DB-F17A-4130-8F9D-6717A6FB7CAF}"/>
                      </a:ext>
                    </a:extLst>
                  </p:cNvPr>
                  <p:cNvGrpSpPr/>
                  <p:nvPr/>
                </p:nvGrpSpPr>
                <p:grpSpPr>
                  <a:xfrm>
                    <a:off x="7839761" y="1053755"/>
                    <a:ext cx="927651" cy="523122"/>
                    <a:chOff x="7839761" y="1053755"/>
                    <a:chExt cx="927651" cy="523122"/>
                  </a:xfrm>
                </p:grpSpPr>
                <p:sp>
                  <p:nvSpPr>
                    <p:cNvPr id="1615" name="Line 66">
                      <a:extLst>
                        <a:ext uri="{FF2B5EF4-FFF2-40B4-BE49-F238E27FC236}">
                          <a16:creationId xmlns:a16="http://schemas.microsoft.com/office/drawing/2014/main" id="{D61365F2-FC7B-4934-AE94-883EDDC7E883}"/>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16" name="Line 67">
                      <a:extLst>
                        <a:ext uri="{FF2B5EF4-FFF2-40B4-BE49-F238E27FC236}">
                          <a16:creationId xmlns:a16="http://schemas.microsoft.com/office/drawing/2014/main" id="{5704604B-747C-4990-B366-F16059A6317F}"/>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17" name="Line 74">
                      <a:extLst>
                        <a:ext uri="{FF2B5EF4-FFF2-40B4-BE49-F238E27FC236}">
                          <a16:creationId xmlns:a16="http://schemas.microsoft.com/office/drawing/2014/main" id="{8E27D8C2-753E-4FB6-B96E-D19EAB4708ED}"/>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18" name="Freeform 78">
                      <a:extLst>
                        <a:ext uri="{FF2B5EF4-FFF2-40B4-BE49-F238E27FC236}">
                          <a16:creationId xmlns:a16="http://schemas.microsoft.com/office/drawing/2014/main" id="{42DE436D-C0BB-4653-B341-4A306861102B}"/>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19" name="Freeform 80">
                      <a:extLst>
                        <a:ext uri="{FF2B5EF4-FFF2-40B4-BE49-F238E27FC236}">
                          <a16:creationId xmlns:a16="http://schemas.microsoft.com/office/drawing/2014/main" id="{77EE011C-4D34-452F-B6A5-8A1A411E7E6C}"/>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20" name="Freeform 1575">
                      <a:extLst>
                        <a:ext uri="{FF2B5EF4-FFF2-40B4-BE49-F238E27FC236}">
                          <a16:creationId xmlns:a16="http://schemas.microsoft.com/office/drawing/2014/main" id="{C285B2BE-D577-4465-A0F4-2FEB662070A9}"/>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21" name="Freeform 1576">
                      <a:extLst>
                        <a:ext uri="{FF2B5EF4-FFF2-40B4-BE49-F238E27FC236}">
                          <a16:creationId xmlns:a16="http://schemas.microsoft.com/office/drawing/2014/main" id="{3C0D2AA6-F0E3-4F5A-B8D5-CEE5462828B2}"/>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22" name="Freeform 1577">
                      <a:extLst>
                        <a:ext uri="{FF2B5EF4-FFF2-40B4-BE49-F238E27FC236}">
                          <a16:creationId xmlns:a16="http://schemas.microsoft.com/office/drawing/2014/main" id="{02034D4F-C3FF-467B-8FFE-B09B1A93A058}"/>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23" name="Freeform 1578">
                      <a:extLst>
                        <a:ext uri="{FF2B5EF4-FFF2-40B4-BE49-F238E27FC236}">
                          <a16:creationId xmlns:a16="http://schemas.microsoft.com/office/drawing/2014/main" id="{88ACB0B2-5629-4454-A2C9-C0E8097929A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24" name="Freeform 1579">
                      <a:extLst>
                        <a:ext uri="{FF2B5EF4-FFF2-40B4-BE49-F238E27FC236}">
                          <a16:creationId xmlns:a16="http://schemas.microsoft.com/office/drawing/2014/main" id="{621C80F4-7430-4AB2-9698-1E13FB027D43}"/>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25" name="Freeform 1580">
                      <a:extLst>
                        <a:ext uri="{FF2B5EF4-FFF2-40B4-BE49-F238E27FC236}">
                          <a16:creationId xmlns:a16="http://schemas.microsoft.com/office/drawing/2014/main" id="{FE9E4132-554D-4EA7-8C89-B5BACC4E2413}"/>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26" name="Freeform 1581">
                      <a:extLst>
                        <a:ext uri="{FF2B5EF4-FFF2-40B4-BE49-F238E27FC236}">
                          <a16:creationId xmlns:a16="http://schemas.microsoft.com/office/drawing/2014/main" id="{4CC3947B-66E3-4C2E-97B9-418A5A14C9AD}"/>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27" name="Freeform 1582">
                      <a:extLst>
                        <a:ext uri="{FF2B5EF4-FFF2-40B4-BE49-F238E27FC236}">
                          <a16:creationId xmlns:a16="http://schemas.microsoft.com/office/drawing/2014/main" id="{57222509-2E22-496F-BF4D-5E0BA7BF470E}"/>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28" name="Freeform 1583">
                      <a:extLst>
                        <a:ext uri="{FF2B5EF4-FFF2-40B4-BE49-F238E27FC236}">
                          <a16:creationId xmlns:a16="http://schemas.microsoft.com/office/drawing/2014/main" id="{8B7F77F1-A8D7-46E5-86DE-AE7254C0E7CE}"/>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629" name="Freeform 1584">
                      <a:extLst>
                        <a:ext uri="{FF2B5EF4-FFF2-40B4-BE49-F238E27FC236}">
                          <a16:creationId xmlns:a16="http://schemas.microsoft.com/office/drawing/2014/main" id="{B73BFF1A-25B0-41CF-8F64-110696F725FE}"/>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30" name="Freeform 1585">
                      <a:extLst>
                        <a:ext uri="{FF2B5EF4-FFF2-40B4-BE49-F238E27FC236}">
                          <a16:creationId xmlns:a16="http://schemas.microsoft.com/office/drawing/2014/main" id="{490F2428-BA0D-46E6-B73C-FAE71B898CB0}"/>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31" name="Freeform 1586">
                      <a:extLst>
                        <a:ext uri="{FF2B5EF4-FFF2-40B4-BE49-F238E27FC236}">
                          <a16:creationId xmlns:a16="http://schemas.microsoft.com/office/drawing/2014/main" id="{ED9BBD1B-2F79-42E9-AF35-B84F13CFB0DA}"/>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32" name="Freeform 1587">
                      <a:extLst>
                        <a:ext uri="{FF2B5EF4-FFF2-40B4-BE49-F238E27FC236}">
                          <a16:creationId xmlns:a16="http://schemas.microsoft.com/office/drawing/2014/main" id="{C9308248-B6EA-4214-B1AE-A11705CE314F}"/>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33" name="Freeform 1588">
                      <a:extLst>
                        <a:ext uri="{FF2B5EF4-FFF2-40B4-BE49-F238E27FC236}">
                          <a16:creationId xmlns:a16="http://schemas.microsoft.com/office/drawing/2014/main" id="{EBA1F2EC-4139-4E15-9B4C-0003A2B49431}"/>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634" name="Rectangle 1589">
                      <a:extLst>
                        <a:ext uri="{FF2B5EF4-FFF2-40B4-BE49-F238E27FC236}">
                          <a16:creationId xmlns:a16="http://schemas.microsoft.com/office/drawing/2014/main" id="{BAE7BA0F-2A1B-43A5-9AF6-1A17F81A2107}"/>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35" name="Rectangle 1590">
                      <a:extLst>
                        <a:ext uri="{FF2B5EF4-FFF2-40B4-BE49-F238E27FC236}">
                          <a16:creationId xmlns:a16="http://schemas.microsoft.com/office/drawing/2014/main" id="{01AA4FDA-5ED2-42EB-B889-E04ADBB71FC8}"/>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36" name="Freeform 1591">
                      <a:extLst>
                        <a:ext uri="{FF2B5EF4-FFF2-40B4-BE49-F238E27FC236}">
                          <a16:creationId xmlns:a16="http://schemas.microsoft.com/office/drawing/2014/main" id="{1B762C6B-1AD2-4039-A644-C19C43CCDE8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37" name="Freeform 1592">
                      <a:extLst>
                        <a:ext uri="{FF2B5EF4-FFF2-40B4-BE49-F238E27FC236}">
                          <a16:creationId xmlns:a16="http://schemas.microsoft.com/office/drawing/2014/main" id="{A052E661-88C1-4C8C-A8AB-16361E641175}"/>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38" name="Freeform 1593">
                      <a:extLst>
                        <a:ext uri="{FF2B5EF4-FFF2-40B4-BE49-F238E27FC236}">
                          <a16:creationId xmlns:a16="http://schemas.microsoft.com/office/drawing/2014/main" id="{7D63E399-84EF-4014-8582-AADCFF666F3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39" name="Freeform 1594">
                      <a:extLst>
                        <a:ext uri="{FF2B5EF4-FFF2-40B4-BE49-F238E27FC236}">
                          <a16:creationId xmlns:a16="http://schemas.microsoft.com/office/drawing/2014/main" id="{B8FD1327-9123-4C06-892D-B0A973FCDC29}"/>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0" name="Freeform 1595">
                      <a:extLst>
                        <a:ext uri="{FF2B5EF4-FFF2-40B4-BE49-F238E27FC236}">
                          <a16:creationId xmlns:a16="http://schemas.microsoft.com/office/drawing/2014/main" id="{54CA84A1-70B5-4C21-9C69-4146464BA873}"/>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1" name="Freeform 1596">
                      <a:extLst>
                        <a:ext uri="{FF2B5EF4-FFF2-40B4-BE49-F238E27FC236}">
                          <a16:creationId xmlns:a16="http://schemas.microsoft.com/office/drawing/2014/main" id="{FA94AF5C-57C6-402D-AFB3-724DA9B5423F}"/>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2" name="Freeform 1672">
                      <a:extLst>
                        <a:ext uri="{FF2B5EF4-FFF2-40B4-BE49-F238E27FC236}">
                          <a16:creationId xmlns:a16="http://schemas.microsoft.com/office/drawing/2014/main" id="{7C061817-11D6-4371-9F57-31B850DA7E57}"/>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3" name="Freeform 1673">
                      <a:extLst>
                        <a:ext uri="{FF2B5EF4-FFF2-40B4-BE49-F238E27FC236}">
                          <a16:creationId xmlns:a16="http://schemas.microsoft.com/office/drawing/2014/main" id="{DBDCCB71-C883-411D-B2CB-231F3702854E}"/>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4" name="Freeform 1674">
                      <a:extLst>
                        <a:ext uri="{FF2B5EF4-FFF2-40B4-BE49-F238E27FC236}">
                          <a16:creationId xmlns:a16="http://schemas.microsoft.com/office/drawing/2014/main" id="{42A26D06-7C9E-4A53-9B43-2D2A81732EAB}"/>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5" name="Freeform 1675">
                      <a:extLst>
                        <a:ext uri="{FF2B5EF4-FFF2-40B4-BE49-F238E27FC236}">
                          <a16:creationId xmlns:a16="http://schemas.microsoft.com/office/drawing/2014/main" id="{F8A3ABC5-282D-4061-A675-FB1ADF7E7ED9}"/>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6" name="Freeform 1676">
                      <a:extLst>
                        <a:ext uri="{FF2B5EF4-FFF2-40B4-BE49-F238E27FC236}">
                          <a16:creationId xmlns:a16="http://schemas.microsoft.com/office/drawing/2014/main" id="{F8A911A3-5742-4CC4-B700-D0AE5B28B0DB}"/>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7" name="Freeform 1677">
                      <a:extLst>
                        <a:ext uri="{FF2B5EF4-FFF2-40B4-BE49-F238E27FC236}">
                          <a16:creationId xmlns:a16="http://schemas.microsoft.com/office/drawing/2014/main" id="{549DF172-FBFA-4215-811E-73B6AAE8533F}"/>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8" name="Freeform 1678">
                      <a:extLst>
                        <a:ext uri="{FF2B5EF4-FFF2-40B4-BE49-F238E27FC236}">
                          <a16:creationId xmlns:a16="http://schemas.microsoft.com/office/drawing/2014/main" id="{193E45FC-6B0C-472B-B49F-8D06F8C09001}"/>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49" name="Freeform 1679">
                      <a:extLst>
                        <a:ext uri="{FF2B5EF4-FFF2-40B4-BE49-F238E27FC236}">
                          <a16:creationId xmlns:a16="http://schemas.microsoft.com/office/drawing/2014/main" id="{F49E7D28-7EBB-46CF-9126-D742D839BF18}"/>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0" name="Freeform 1680">
                      <a:extLst>
                        <a:ext uri="{FF2B5EF4-FFF2-40B4-BE49-F238E27FC236}">
                          <a16:creationId xmlns:a16="http://schemas.microsoft.com/office/drawing/2014/main" id="{D851DE06-EA6E-41A3-96AA-EF1BE07E205F}"/>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1" name="Freeform 1681">
                      <a:extLst>
                        <a:ext uri="{FF2B5EF4-FFF2-40B4-BE49-F238E27FC236}">
                          <a16:creationId xmlns:a16="http://schemas.microsoft.com/office/drawing/2014/main" id="{ED4B41B6-CB66-450A-9ACC-555917565743}"/>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2" name="Freeform 1682">
                      <a:extLst>
                        <a:ext uri="{FF2B5EF4-FFF2-40B4-BE49-F238E27FC236}">
                          <a16:creationId xmlns:a16="http://schemas.microsoft.com/office/drawing/2014/main" id="{502A6A7A-0A7D-4F74-AA0B-07A0A803C7B6}"/>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3" name="Freeform 1683">
                      <a:extLst>
                        <a:ext uri="{FF2B5EF4-FFF2-40B4-BE49-F238E27FC236}">
                          <a16:creationId xmlns:a16="http://schemas.microsoft.com/office/drawing/2014/main" id="{DA4F158D-06A7-4285-B71C-88AEF3979A7B}"/>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4" name="Freeform 1684">
                      <a:extLst>
                        <a:ext uri="{FF2B5EF4-FFF2-40B4-BE49-F238E27FC236}">
                          <a16:creationId xmlns:a16="http://schemas.microsoft.com/office/drawing/2014/main" id="{B651FAFA-0B10-473E-8B2F-1E2686BCD1E2}"/>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5" name="Freeform 1685">
                      <a:extLst>
                        <a:ext uri="{FF2B5EF4-FFF2-40B4-BE49-F238E27FC236}">
                          <a16:creationId xmlns:a16="http://schemas.microsoft.com/office/drawing/2014/main" id="{10DFE0C2-CEFD-403D-B6AE-E86427085711}"/>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6" name="Freeform 1686">
                      <a:extLst>
                        <a:ext uri="{FF2B5EF4-FFF2-40B4-BE49-F238E27FC236}">
                          <a16:creationId xmlns:a16="http://schemas.microsoft.com/office/drawing/2014/main" id="{A0BF1C15-3A21-4823-A336-5E24460F3279}"/>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7" name="Freeform 1687">
                      <a:extLst>
                        <a:ext uri="{FF2B5EF4-FFF2-40B4-BE49-F238E27FC236}">
                          <a16:creationId xmlns:a16="http://schemas.microsoft.com/office/drawing/2014/main" id="{C6A89149-6219-45B4-A7BB-F3585840F4F2}"/>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8" name="Freeform 1688">
                      <a:extLst>
                        <a:ext uri="{FF2B5EF4-FFF2-40B4-BE49-F238E27FC236}">
                          <a16:creationId xmlns:a16="http://schemas.microsoft.com/office/drawing/2014/main" id="{452E0E5D-D1AA-48DF-9948-334EF57F3BFB}"/>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59" name="Freeform 1689">
                      <a:extLst>
                        <a:ext uri="{FF2B5EF4-FFF2-40B4-BE49-F238E27FC236}">
                          <a16:creationId xmlns:a16="http://schemas.microsoft.com/office/drawing/2014/main" id="{03B58672-E5D8-4873-8703-6621C7C9DEE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60" name="Freeform 1690">
                      <a:extLst>
                        <a:ext uri="{FF2B5EF4-FFF2-40B4-BE49-F238E27FC236}">
                          <a16:creationId xmlns:a16="http://schemas.microsoft.com/office/drawing/2014/main" id="{EF752ACB-C0E8-4905-BD20-3836EF46C4EF}"/>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61" name="Freeform 1691">
                      <a:extLst>
                        <a:ext uri="{FF2B5EF4-FFF2-40B4-BE49-F238E27FC236}">
                          <a16:creationId xmlns:a16="http://schemas.microsoft.com/office/drawing/2014/main" id="{B8AF4E18-4FC0-4F5E-B086-5FB7F2E0B2AF}"/>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62" name="Freeform 1692">
                      <a:extLst>
                        <a:ext uri="{FF2B5EF4-FFF2-40B4-BE49-F238E27FC236}">
                          <a16:creationId xmlns:a16="http://schemas.microsoft.com/office/drawing/2014/main" id="{ACCA803D-EF61-4E82-9EA7-DF06778BC3BD}"/>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63" name="Freeform 1693">
                      <a:extLst>
                        <a:ext uri="{FF2B5EF4-FFF2-40B4-BE49-F238E27FC236}">
                          <a16:creationId xmlns:a16="http://schemas.microsoft.com/office/drawing/2014/main" id="{793E5DE9-E247-437A-9D3E-98596E42E33C}"/>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64" name="Freeform 1694">
                      <a:extLst>
                        <a:ext uri="{FF2B5EF4-FFF2-40B4-BE49-F238E27FC236}">
                          <a16:creationId xmlns:a16="http://schemas.microsoft.com/office/drawing/2014/main" id="{8B00B174-10EA-4A53-848A-DF12871D8DBA}"/>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65" name="Freeform 1695">
                      <a:extLst>
                        <a:ext uri="{FF2B5EF4-FFF2-40B4-BE49-F238E27FC236}">
                          <a16:creationId xmlns:a16="http://schemas.microsoft.com/office/drawing/2014/main" id="{F901CAC6-5617-4BE2-90B1-545CA0795B53}"/>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66" name="Freeform 1696">
                      <a:extLst>
                        <a:ext uri="{FF2B5EF4-FFF2-40B4-BE49-F238E27FC236}">
                          <a16:creationId xmlns:a16="http://schemas.microsoft.com/office/drawing/2014/main" id="{C1D87A57-793E-4D81-87A3-FF40039C7E41}"/>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67" name="Freeform 1697">
                      <a:extLst>
                        <a:ext uri="{FF2B5EF4-FFF2-40B4-BE49-F238E27FC236}">
                          <a16:creationId xmlns:a16="http://schemas.microsoft.com/office/drawing/2014/main" id="{BB2C2CBB-18A8-4F99-A8E6-50D476BA5A6D}"/>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1553" name="Group 1552">
                <a:extLst>
                  <a:ext uri="{FF2B5EF4-FFF2-40B4-BE49-F238E27FC236}">
                    <a16:creationId xmlns:a16="http://schemas.microsoft.com/office/drawing/2014/main" id="{06DB65A2-D597-472B-B13C-D4610379523C}"/>
                  </a:ext>
                </a:extLst>
              </p:cNvPr>
              <p:cNvGrpSpPr/>
              <p:nvPr/>
            </p:nvGrpSpPr>
            <p:grpSpPr>
              <a:xfrm>
                <a:off x="10254370" y="3053480"/>
                <a:ext cx="1231250" cy="1313698"/>
                <a:chOff x="12023909" y="2412144"/>
                <a:chExt cx="1231250" cy="1313698"/>
              </a:xfrm>
            </p:grpSpPr>
            <p:sp>
              <p:nvSpPr>
                <p:cNvPr id="1554" name="Rectangle: Rounded Corners 1553">
                  <a:extLst>
                    <a:ext uri="{FF2B5EF4-FFF2-40B4-BE49-F238E27FC236}">
                      <a16:creationId xmlns:a16="http://schemas.microsoft.com/office/drawing/2014/main" id="{BE48132A-906C-41DC-A82A-D16888D4468B}"/>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1555" name="Group 1554">
                  <a:extLst>
                    <a:ext uri="{FF2B5EF4-FFF2-40B4-BE49-F238E27FC236}">
                      <a16:creationId xmlns:a16="http://schemas.microsoft.com/office/drawing/2014/main" id="{A4057C54-9B2B-4762-BEB5-C4E5EA8FE0D2}"/>
                    </a:ext>
                  </a:extLst>
                </p:cNvPr>
                <p:cNvGrpSpPr/>
                <p:nvPr/>
              </p:nvGrpSpPr>
              <p:grpSpPr>
                <a:xfrm>
                  <a:off x="12023909" y="2526190"/>
                  <a:ext cx="1231250" cy="1189484"/>
                  <a:chOff x="7839761" y="1053755"/>
                  <a:chExt cx="927651" cy="896184"/>
                </a:xfrm>
              </p:grpSpPr>
              <p:sp>
                <p:nvSpPr>
                  <p:cNvPr id="1556" name="TextBox 1555">
                    <a:extLst>
                      <a:ext uri="{FF2B5EF4-FFF2-40B4-BE49-F238E27FC236}">
                        <a16:creationId xmlns:a16="http://schemas.microsoft.com/office/drawing/2014/main" id="{D84CFD7E-2A1B-45B0-8424-BD51A5FE2EF3}"/>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1557" name="Group 1556">
                    <a:extLst>
                      <a:ext uri="{FF2B5EF4-FFF2-40B4-BE49-F238E27FC236}">
                        <a16:creationId xmlns:a16="http://schemas.microsoft.com/office/drawing/2014/main" id="{494AD488-7F26-4AE2-A2F6-98DDCEFA080C}"/>
                      </a:ext>
                    </a:extLst>
                  </p:cNvPr>
                  <p:cNvGrpSpPr/>
                  <p:nvPr/>
                </p:nvGrpSpPr>
                <p:grpSpPr>
                  <a:xfrm>
                    <a:off x="7839761" y="1053755"/>
                    <a:ext cx="927651" cy="523122"/>
                    <a:chOff x="7839761" y="1053755"/>
                    <a:chExt cx="927651" cy="523122"/>
                  </a:xfrm>
                </p:grpSpPr>
                <p:sp>
                  <p:nvSpPr>
                    <p:cNvPr id="1558" name="Line 66">
                      <a:extLst>
                        <a:ext uri="{FF2B5EF4-FFF2-40B4-BE49-F238E27FC236}">
                          <a16:creationId xmlns:a16="http://schemas.microsoft.com/office/drawing/2014/main" id="{71267997-3814-4730-8545-3FA4BC755827}"/>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59" name="Line 67">
                      <a:extLst>
                        <a:ext uri="{FF2B5EF4-FFF2-40B4-BE49-F238E27FC236}">
                          <a16:creationId xmlns:a16="http://schemas.microsoft.com/office/drawing/2014/main" id="{DE959375-8453-4AED-9C70-6639D2365F29}"/>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60" name="Line 74">
                      <a:extLst>
                        <a:ext uri="{FF2B5EF4-FFF2-40B4-BE49-F238E27FC236}">
                          <a16:creationId xmlns:a16="http://schemas.microsoft.com/office/drawing/2014/main" id="{C5AF785B-461D-48A2-8206-4BB5C5AD19DE}"/>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61" name="Freeform 78">
                      <a:extLst>
                        <a:ext uri="{FF2B5EF4-FFF2-40B4-BE49-F238E27FC236}">
                          <a16:creationId xmlns:a16="http://schemas.microsoft.com/office/drawing/2014/main" id="{EC85589B-9357-4328-8932-F5165586DF11}"/>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62" name="Freeform 80">
                      <a:extLst>
                        <a:ext uri="{FF2B5EF4-FFF2-40B4-BE49-F238E27FC236}">
                          <a16:creationId xmlns:a16="http://schemas.microsoft.com/office/drawing/2014/main" id="{6D8EB30E-DDD0-48CB-BB62-B5629B26D72C}"/>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63" name="Freeform 1575">
                      <a:extLst>
                        <a:ext uri="{FF2B5EF4-FFF2-40B4-BE49-F238E27FC236}">
                          <a16:creationId xmlns:a16="http://schemas.microsoft.com/office/drawing/2014/main" id="{2861520D-6D24-459D-9E19-B83D41C140BD}"/>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64" name="Freeform 1576">
                      <a:extLst>
                        <a:ext uri="{FF2B5EF4-FFF2-40B4-BE49-F238E27FC236}">
                          <a16:creationId xmlns:a16="http://schemas.microsoft.com/office/drawing/2014/main" id="{B4418604-2424-417B-8B48-25F3258E1691}"/>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65" name="Freeform 1577">
                      <a:extLst>
                        <a:ext uri="{FF2B5EF4-FFF2-40B4-BE49-F238E27FC236}">
                          <a16:creationId xmlns:a16="http://schemas.microsoft.com/office/drawing/2014/main" id="{1845F182-8BC0-4338-9555-303A57EAA435}"/>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66" name="Freeform 1578">
                      <a:extLst>
                        <a:ext uri="{FF2B5EF4-FFF2-40B4-BE49-F238E27FC236}">
                          <a16:creationId xmlns:a16="http://schemas.microsoft.com/office/drawing/2014/main" id="{450BE791-A9D6-46A6-ADF6-03CCB5CF11E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67" name="Freeform 1579">
                      <a:extLst>
                        <a:ext uri="{FF2B5EF4-FFF2-40B4-BE49-F238E27FC236}">
                          <a16:creationId xmlns:a16="http://schemas.microsoft.com/office/drawing/2014/main" id="{CE488A5B-0648-4CE1-BC6C-35DFB39CD534}"/>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68" name="Freeform 1580">
                      <a:extLst>
                        <a:ext uri="{FF2B5EF4-FFF2-40B4-BE49-F238E27FC236}">
                          <a16:creationId xmlns:a16="http://schemas.microsoft.com/office/drawing/2014/main" id="{1A326A83-A443-4BE9-9558-D66CC3C2213A}"/>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69" name="Freeform 1581">
                      <a:extLst>
                        <a:ext uri="{FF2B5EF4-FFF2-40B4-BE49-F238E27FC236}">
                          <a16:creationId xmlns:a16="http://schemas.microsoft.com/office/drawing/2014/main" id="{C12D6B07-EFA5-4EFE-94D4-8455726A2535}"/>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70" name="Freeform 1582">
                      <a:extLst>
                        <a:ext uri="{FF2B5EF4-FFF2-40B4-BE49-F238E27FC236}">
                          <a16:creationId xmlns:a16="http://schemas.microsoft.com/office/drawing/2014/main" id="{3EC55E61-4686-487A-B285-E11DFDD505B8}"/>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71" name="Freeform 1583">
                      <a:extLst>
                        <a:ext uri="{FF2B5EF4-FFF2-40B4-BE49-F238E27FC236}">
                          <a16:creationId xmlns:a16="http://schemas.microsoft.com/office/drawing/2014/main" id="{3E97F749-564F-4BAD-9477-3307FEB35413}"/>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572" name="Freeform 1584">
                      <a:extLst>
                        <a:ext uri="{FF2B5EF4-FFF2-40B4-BE49-F238E27FC236}">
                          <a16:creationId xmlns:a16="http://schemas.microsoft.com/office/drawing/2014/main" id="{781D1646-4457-44B3-B104-824AAA6A2D9F}"/>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73" name="Freeform 1585">
                      <a:extLst>
                        <a:ext uri="{FF2B5EF4-FFF2-40B4-BE49-F238E27FC236}">
                          <a16:creationId xmlns:a16="http://schemas.microsoft.com/office/drawing/2014/main" id="{41C3CEBB-65D2-4F43-98D5-3F34D5C7260A}"/>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74" name="Freeform 1586">
                      <a:extLst>
                        <a:ext uri="{FF2B5EF4-FFF2-40B4-BE49-F238E27FC236}">
                          <a16:creationId xmlns:a16="http://schemas.microsoft.com/office/drawing/2014/main" id="{099DF8AA-E900-48BC-B17D-F83B48F679C7}"/>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75" name="Freeform 1587">
                      <a:extLst>
                        <a:ext uri="{FF2B5EF4-FFF2-40B4-BE49-F238E27FC236}">
                          <a16:creationId xmlns:a16="http://schemas.microsoft.com/office/drawing/2014/main" id="{54B603C6-5331-47A1-A9A9-A64B7CCC1C29}"/>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76" name="Freeform 1588">
                      <a:extLst>
                        <a:ext uri="{FF2B5EF4-FFF2-40B4-BE49-F238E27FC236}">
                          <a16:creationId xmlns:a16="http://schemas.microsoft.com/office/drawing/2014/main" id="{D1B7AAFA-F662-4E8B-9FD2-3CB09156E247}"/>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577" name="Rectangle 1589">
                      <a:extLst>
                        <a:ext uri="{FF2B5EF4-FFF2-40B4-BE49-F238E27FC236}">
                          <a16:creationId xmlns:a16="http://schemas.microsoft.com/office/drawing/2014/main" id="{4002F127-570B-4D82-B367-68B5394D2CE8}"/>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78" name="Rectangle 1590">
                      <a:extLst>
                        <a:ext uri="{FF2B5EF4-FFF2-40B4-BE49-F238E27FC236}">
                          <a16:creationId xmlns:a16="http://schemas.microsoft.com/office/drawing/2014/main" id="{B6EAA4D3-8D8A-4D73-8604-191F24CD0768}"/>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79" name="Freeform 1591">
                      <a:extLst>
                        <a:ext uri="{FF2B5EF4-FFF2-40B4-BE49-F238E27FC236}">
                          <a16:creationId xmlns:a16="http://schemas.microsoft.com/office/drawing/2014/main" id="{C3B8D98B-BAE2-48A5-82B2-95BB8EF5AA5E}"/>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0" name="Freeform 1592">
                      <a:extLst>
                        <a:ext uri="{FF2B5EF4-FFF2-40B4-BE49-F238E27FC236}">
                          <a16:creationId xmlns:a16="http://schemas.microsoft.com/office/drawing/2014/main" id="{A875D0EF-ACCE-45E2-AC43-4A983A78D05B}"/>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1" name="Freeform 1593">
                      <a:extLst>
                        <a:ext uri="{FF2B5EF4-FFF2-40B4-BE49-F238E27FC236}">
                          <a16:creationId xmlns:a16="http://schemas.microsoft.com/office/drawing/2014/main" id="{09E3C920-5015-4FD8-8BA8-2EA595819426}"/>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2" name="Freeform 1594">
                      <a:extLst>
                        <a:ext uri="{FF2B5EF4-FFF2-40B4-BE49-F238E27FC236}">
                          <a16:creationId xmlns:a16="http://schemas.microsoft.com/office/drawing/2014/main" id="{5E31CB12-E4C2-4D0E-82D0-E8925EDF514B}"/>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3" name="Freeform 1595">
                      <a:extLst>
                        <a:ext uri="{FF2B5EF4-FFF2-40B4-BE49-F238E27FC236}">
                          <a16:creationId xmlns:a16="http://schemas.microsoft.com/office/drawing/2014/main" id="{09FA95CF-2103-45C9-8D39-5410539F6E57}"/>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4" name="Freeform 1596">
                      <a:extLst>
                        <a:ext uri="{FF2B5EF4-FFF2-40B4-BE49-F238E27FC236}">
                          <a16:creationId xmlns:a16="http://schemas.microsoft.com/office/drawing/2014/main" id="{97D83657-FF1E-47A2-919C-BDE02AB9ECC8}"/>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5" name="Freeform 1672">
                      <a:extLst>
                        <a:ext uri="{FF2B5EF4-FFF2-40B4-BE49-F238E27FC236}">
                          <a16:creationId xmlns:a16="http://schemas.microsoft.com/office/drawing/2014/main" id="{3C0C77B2-F6EE-46BB-A4A4-FDB68CDE86AB}"/>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6" name="Freeform 1673">
                      <a:extLst>
                        <a:ext uri="{FF2B5EF4-FFF2-40B4-BE49-F238E27FC236}">
                          <a16:creationId xmlns:a16="http://schemas.microsoft.com/office/drawing/2014/main" id="{3DFB2A48-402B-4C3F-A159-2C6F2F1DB923}"/>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7" name="Freeform 1674">
                      <a:extLst>
                        <a:ext uri="{FF2B5EF4-FFF2-40B4-BE49-F238E27FC236}">
                          <a16:creationId xmlns:a16="http://schemas.microsoft.com/office/drawing/2014/main" id="{8ED1026F-7D96-4C9F-ACDB-66886DC2C9B0}"/>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8" name="Freeform 1675">
                      <a:extLst>
                        <a:ext uri="{FF2B5EF4-FFF2-40B4-BE49-F238E27FC236}">
                          <a16:creationId xmlns:a16="http://schemas.microsoft.com/office/drawing/2014/main" id="{99EC1750-7FFE-4E3F-81BA-4015BFD90C39}"/>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89" name="Freeform 1676">
                      <a:extLst>
                        <a:ext uri="{FF2B5EF4-FFF2-40B4-BE49-F238E27FC236}">
                          <a16:creationId xmlns:a16="http://schemas.microsoft.com/office/drawing/2014/main" id="{73BDAB5D-9BBA-4DE5-9843-3451362EC7B1}"/>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0" name="Freeform 1677">
                      <a:extLst>
                        <a:ext uri="{FF2B5EF4-FFF2-40B4-BE49-F238E27FC236}">
                          <a16:creationId xmlns:a16="http://schemas.microsoft.com/office/drawing/2014/main" id="{0904B5E4-8A01-431B-8C36-7FA2D5543478}"/>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1" name="Freeform 1678">
                      <a:extLst>
                        <a:ext uri="{FF2B5EF4-FFF2-40B4-BE49-F238E27FC236}">
                          <a16:creationId xmlns:a16="http://schemas.microsoft.com/office/drawing/2014/main" id="{9ED822C2-2CE2-4AD9-978C-7C794DF2A496}"/>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2" name="Freeform 1679">
                      <a:extLst>
                        <a:ext uri="{FF2B5EF4-FFF2-40B4-BE49-F238E27FC236}">
                          <a16:creationId xmlns:a16="http://schemas.microsoft.com/office/drawing/2014/main" id="{65AC32BB-9328-4FFC-BE67-1C0025F0E943}"/>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3" name="Freeform 1680">
                      <a:extLst>
                        <a:ext uri="{FF2B5EF4-FFF2-40B4-BE49-F238E27FC236}">
                          <a16:creationId xmlns:a16="http://schemas.microsoft.com/office/drawing/2014/main" id="{3C5A2F61-168E-4C49-81D2-7A662FD06CD0}"/>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4" name="Freeform 1681">
                      <a:extLst>
                        <a:ext uri="{FF2B5EF4-FFF2-40B4-BE49-F238E27FC236}">
                          <a16:creationId xmlns:a16="http://schemas.microsoft.com/office/drawing/2014/main" id="{B9C67162-3C1C-47A2-A00A-CD82DBFA0FAB}"/>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5" name="Freeform 1682">
                      <a:extLst>
                        <a:ext uri="{FF2B5EF4-FFF2-40B4-BE49-F238E27FC236}">
                          <a16:creationId xmlns:a16="http://schemas.microsoft.com/office/drawing/2014/main" id="{249CB6A8-52D7-45F2-BF5E-214D6AF239B8}"/>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6" name="Freeform 1683">
                      <a:extLst>
                        <a:ext uri="{FF2B5EF4-FFF2-40B4-BE49-F238E27FC236}">
                          <a16:creationId xmlns:a16="http://schemas.microsoft.com/office/drawing/2014/main" id="{3055733E-BF74-4FB8-823A-14443EABE9C7}"/>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7" name="Freeform 1684">
                      <a:extLst>
                        <a:ext uri="{FF2B5EF4-FFF2-40B4-BE49-F238E27FC236}">
                          <a16:creationId xmlns:a16="http://schemas.microsoft.com/office/drawing/2014/main" id="{BFB9DEA7-73E0-4296-A2F1-148863490951}"/>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8" name="Freeform 1685">
                      <a:extLst>
                        <a:ext uri="{FF2B5EF4-FFF2-40B4-BE49-F238E27FC236}">
                          <a16:creationId xmlns:a16="http://schemas.microsoft.com/office/drawing/2014/main" id="{49BB86EC-1918-4FBD-A647-3CB8C1D434DB}"/>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599" name="Freeform 1686">
                      <a:extLst>
                        <a:ext uri="{FF2B5EF4-FFF2-40B4-BE49-F238E27FC236}">
                          <a16:creationId xmlns:a16="http://schemas.microsoft.com/office/drawing/2014/main" id="{134C90B8-4DB3-4B36-81AB-617FA7489F07}"/>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0" name="Freeform 1687">
                      <a:extLst>
                        <a:ext uri="{FF2B5EF4-FFF2-40B4-BE49-F238E27FC236}">
                          <a16:creationId xmlns:a16="http://schemas.microsoft.com/office/drawing/2014/main" id="{0A5C7161-6EC6-4A5D-83C1-BD4919EAB858}"/>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1" name="Freeform 1688">
                      <a:extLst>
                        <a:ext uri="{FF2B5EF4-FFF2-40B4-BE49-F238E27FC236}">
                          <a16:creationId xmlns:a16="http://schemas.microsoft.com/office/drawing/2014/main" id="{9769745A-BF7C-4C66-8C2A-71920C2F90E5}"/>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2" name="Freeform 1689">
                      <a:extLst>
                        <a:ext uri="{FF2B5EF4-FFF2-40B4-BE49-F238E27FC236}">
                          <a16:creationId xmlns:a16="http://schemas.microsoft.com/office/drawing/2014/main" id="{8CAD6120-DF1A-49C2-A90C-9FD44EBFBBF2}"/>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3" name="Freeform 1690">
                      <a:extLst>
                        <a:ext uri="{FF2B5EF4-FFF2-40B4-BE49-F238E27FC236}">
                          <a16:creationId xmlns:a16="http://schemas.microsoft.com/office/drawing/2014/main" id="{01DB0AE2-E40E-4D29-9F49-391234C4CF57}"/>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4" name="Freeform 1691">
                      <a:extLst>
                        <a:ext uri="{FF2B5EF4-FFF2-40B4-BE49-F238E27FC236}">
                          <a16:creationId xmlns:a16="http://schemas.microsoft.com/office/drawing/2014/main" id="{0C67762E-71B4-4BBF-83A3-06E3468C8615}"/>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5" name="Freeform 1692">
                      <a:extLst>
                        <a:ext uri="{FF2B5EF4-FFF2-40B4-BE49-F238E27FC236}">
                          <a16:creationId xmlns:a16="http://schemas.microsoft.com/office/drawing/2014/main" id="{2C05B3BD-8979-4BB8-8BC4-253A9710124E}"/>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6" name="Freeform 1693">
                      <a:extLst>
                        <a:ext uri="{FF2B5EF4-FFF2-40B4-BE49-F238E27FC236}">
                          <a16:creationId xmlns:a16="http://schemas.microsoft.com/office/drawing/2014/main" id="{4F45CBDA-C939-4174-AA00-8EE1DE241D4D}"/>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7" name="Freeform 1694">
                      <a:extLst>
                        <a:ext uri="{FF2B5EF4-FFF2-40B4-BE49-F238E27FC236}">
                          <a16:creationId xmlns:a16="http://schemas.microsoft.com/office/drawing/2014/main" id="{292A5AFA-3581-4B5A-9B95-991742C975BF}"/>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8" name="Freeform 1695">
                      <a:extLst>
                        <a:ext uri="{FF2B5EF4-FFF2-40B4-BE49-F238E27FC236}">
                          <a16:creationId xmlns:a16="http://schemas.microsoft.com/office/drawing/2014/main" id="{3D04FC71-F409-45B3-B7C3-66D48E1FB3D5}"/>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09" name="Freeform 1696">
                      <a:extLst>
                        <a:ext uri="{FF2B5EF4-FFF2-40B4-BE49-F238E27FC236}">
                          <a16:creationId xmlns:a16="http://schemas.microsoft.com/office/drawing/2014/main" id="{A4E035CD-9066-4A88-AD86-9455167B5404}"/>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610" name="Freeform 1697">
                      <a:extLst>
                        <a:ext uri="{FF2B5EF4-FFF2-40B4-BE49-F238E27FC236}">
                          <a16:creationId xmlns:a16="http://schemas.microsoft.com/office/drawing/2014/main" id="{492BDC92-A68A-489F-BB20-B98DEF328D9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1550" name="Rectangle 1549">
              <a:extLst>
                <a:ext uri="{FF2B5EF4-FFF2-40B4-BE49-F238E27FC236}">
                  <a16:creationId xmlns:a16="http://schemas.microsoft.com/office/drawing/2014/main" id="{F71A2A3F-C72F-47AB-AED0-4D12466A41A1}"/>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1723" name="Group 1722">
            <a:extLst>
              <a:ext uri="{FF2B5EF4-FFF2-40B4-BE49-F238E27FC236}">
                <a16:creationId xmlns:a16="http://schemas.microsoft.com/office/drawing/2014/main" id="{7E5FF73B-D69E-4E40-B8E8-A16AC80505DF}"/>
              </a:ext>
            </a:extLst>
          </p:cNvPr>
          <p:cNvGrpSpPr/>
          <p:nvPr/>
        </p:nvGrpSpPr>
        <p:grpSpPr>
          <a:xfrm>
            <a:off x="3480033" y="3477736"/>
            <a:ext cx="4581486" cy="2892141"/>
            <a:chOff x="3480940" y="3616012"/>
            <a:chExt cx="4582679" cy="2892894"/>
          </a:xfrm>
        </p:grpSpPr>
        <p:grpSp>
          <p:nvGrpSpPr>
            <p:cNvPr id="1724" name="Group 1723">
              <a:extLst>
                <a:ext uri="{FF2B5EF4-FFF2-40B4-BE49-F238E27FC236}">
                  <a16:creationId xmlns:a16="http://schemas.microsoft.com/office/drawing/2014/main" id="{2CBD851A-68DF-4C99-97B2-D451E9CD19E2}"/>
                </a:ext>
              </a:extLst>
            </p:cNvPr>
            <p:cNvGrpSpPr/>
            <p:nvPr/>
          </p:nvGrpSpPr>
          <p:grpSpPr>
            <a:xfrm>
              <a:off x="3480940" y="4590574"/>
              <a:ext cx="2021522" cy="1918332"/>
              <a:chOff x="3480940" y="4590574"/>
              <a:chExt cx="2021522" cy="1918332"/>
            </a:xfrm>
          </p:grpSpPr>
          <p:grpSp>
            <p:nvGrpSpPr>
              <p:cNvPr id="1735" name="Group 1734">
                <a:extLst>
                  <a:ext uri="{FF2B5EF4-FFF2-40B4-BE49-F238E27FC236}">
                    <a16:creationId xmlns:a16="http://schemas.microsoft.com/office/drawing/2014/main" id="{F9DA30A7-21BE-468A-9789-05F2FB1C691E}"/>
                  </a:ext>
                </a:extLst>
              </p:cNvPr>
              <p:cNvGrpSpPr/>
              <p:nvPr/>
            </p:nvGrpSpPr>
            <p:grpSpPr>
              <a:xfrm>
                <a:off x="3480940" y="4590574"/>
                <a:ext cx="2021522" cy="1918332"/>
                <a:chOff x="3489383" y="4562005"/>
                <a:chExt cx="2026683" cy="1923229"/>
              </a:xfrm>
            </p:grpSpPr>
            <p:sp>
              <p:nvSpPr>
                <p:cNvPr id="1739" name="Rectangle 1738">
                  <a:extLst>
                    <a:ext uri="{FF2B5EF4-FFF2-40B4-BE49-F238E27FC236}">
                      <a16:creationId xmlns:a16="http://schemas.microsoft.com/office/drawing/2014/main" id="{5F7124CF-1122-425E-9EEA-FD44F78987C9}"/>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1740" name="Picture 1739">
                  <a:extLst>
                    <a:ext uri="{FF2B5EF4-FFF2-40B4-BE49-F238E27FC236}">
                      <a16:creationId xmlns:a16="http://schemas.microsoft.com/office/drawing/2014/main" id="{37F46CA2-4361-4E93-A50D-0AE6604517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1741" name="Rectangle 1740">
                  <a:extLst>
                    <a:ext uri="{FF2B5EF4-FFF2-40B4-BE49-F238E27FC236}">
                      <a16:creationId xmlns:a16="http://schemas.microsoft.com/office/drawing/2014/main" id="{69FD7A72-E37F-4613-8DDD-B82118748330}"/>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1742" name="Group 1741">
                  <a:extLst>
                    <a:ext uri="{FF2B5EF4-FFF2-40B4-BE49-F238E27FC236}">
                      <a16:creationId xmlns:a16="http://schemas.microsoft.com/office/drawing/2014/main" id="{946871AD-2C10-4CA9-B67C-AC87F5FE8989}"/>
                    </a:ext>
                  </a:extLst>
                </p:cNvPr>
                <p:cNvGrpSpPr/>
                <p:nvPr/>
              </p:nvGrpSpPr>
              <p:grpSpPr>
                <a:xfrm>
                  <a:off x="4439956" y="4676083"/>
                  <a:ext cx="1030675" cy="846880"/>
                  <a:chOff x="10800033" y="2297897"/>
                  <a:chExt cx="1600558" cy="1315140"/>
                </a:xfrm>
              </p:grpSpPr>
              <p:grpSp>
                <p:nvGrpSpPr>
                  <p:cNvPr id="1743" name="Group 1742">
                    <a:extLst>
                      <a:ext uri="{FF2B5EF4-FFF2-40B4-BE49-F238E27FC236}">
                        <a16:creationId xmlns:a16="http://schemas.microsoft.com/office/drawing/2014/main" id="{7AAC69B5-F7F4-41F0-8C1E-677799FBA4CE}"/>
                      </a:ext>
                    </a:extLst>
                  </p:cNvPr>
                  <p:cNvGrpSpPr>
                    <a:grpSpLocks/>
                  </p:cNvGrpSpPr>
                  <p:nvPr/>
                </p:nvGrpSpPr>
                <p:grpSpPr>
                  <a:xfrm>
                    <a:off x="10800033" y="2339037"/>
                    <a:ext cx="613092" cy="613092"/>
                    <a:chOff x="745985" y="4768134"/>
                    <a:chExt cx="368776" cy="368777"/>
                  </a:xfrm>
                </p:grpSpPr>
                <p:grpSp>
                  <p:nvGrpSpPr>
                    <p:cNvPr id="1807" name="Group 64">
                      <a:extLst>
                        <a:ext uri="{FF2B5EF4-FFF2-40B4-BE49-F238E27FC236}">
                          <a16:creationId xmlns:a16="http://schemas.microsoft.com/office/drawing/2014/main" id="{43CB43CF-81FE-4998-86AE-E24FD3E8218B}"/>
                        </a:ext>
                      </a:extLst>
                    </p:cNvPr>
                    <p:cNvGrpSpPr>
                      <a:grpSpLocks noChangeAspect="1"/>
                    </p:cNvGrpSpPr>
                    <p:nvPr/>
                  </p:nvGrpSpPr>
                  <p:grpSpPr bwMode="auto">
                    <a:xfrm rot="8100000">
                      <a:off x="745985" y="4768134"/>
                      <a:ext cx="368776" cy="368777"/>
                      <a:chOff x="701" y="2170"/>
                      <a:chExt cx="587" cy="587"/>
                    </a:xfrm>
                  </p:grpSpPr>
                  <p:sp>
                    <p:nvSpPr>
                      <p:cNvPr id="1818" name="Oval 65">
                        <a:extLst>
                          <a:ext uri="{FF2B5EF4-FFF2-40B4-BE49-F238E27FC236}">
                            <a16:creationId xmlns:a16="http://schemas.microsoft.com/office/drawing/2014/main" id="{209A2879-0B98-4136-AF6C-25F434C64E3D}"/>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19" name="Line 66">
                        <a:extLst>
                          <a:ext uri="{FF2B5EF4-FFF2-40B4-BE49-F238E27FC236}">
                            <a16:creationId xmlns:a16="http://schemas.microsoft.com/office/drawing/2014/main" id="{BD733B70-C347-454D-B425-F797F98FA36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20" name="Line 67">
                        <a:extLst>
                          <a:ext uri="{FF2B5EF4-FFF2-40B4-BE49-F238E27FC236}">
                            <a16:creationId xmlns:a16="http://schemas.microsoft.com/office/drawing/2014/main" id="{59EC135E-DAA8-4DD0-A522-4294266EBCF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21" name="Line 69">
                        <a:extLst>
                          <a:ext uri="{FF2B5EF4-FFF2-40B4-BE49-F238E27FC236}">
                            <a16:creationId xmlns:a16="http://schemas.microsoft.com/office/drawing/2014/main" id="{8ED793E2-415F-4126-8830-DF67FABF19CD}"/>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22" name="Line 74">
                        <a:extLst>
                          <a:ext uri="{FF2B5EF4-FFF2-40B4-BE49-F238E27FC236}">
                            <a16:creationId xmlns:a16="http://schemas.microsoft.com/office/drawing/2014/main" id="{74FD3440-5472-4164-A4A8-3D033B1EDC1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23" name="Freeform 78">
                        <a:extLst>
                          <a:ext uri="{FF2B5EF4-FFF2-40B4-BE49-F238E27FC236}">
                            <a16:creationId xmlns:a16="http://schemas.microsoft.com/office/drawing/2014/main" id="{844CA0E3-0297-4CAB-868A-7AAF96A4FB43}"/>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24" name="Freeform 80">
                        <a:extLst>
                          <a:ext uri="{FF2B5EF4-FFF2-40B4-BE49-F238E27FC236}">
                            <a16:creationId xmlns:a16="http://schemas.microsoft.com/office/drawing/2014/main" id="{04DFC867-3762-4F8C-8441-781ED5A2E2E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808" name="Group 1807">
                      <a:extLst>
                        <a:ext uri="{FF2B5EF4-FFF2-40B4-BE49-F238E27FC236}">
                          <a16:creationId xmlns:a16="http://schemas.microsoft.com/office/drawing/2014/main" id="{DF2A9C5F-0648-4365-82E2-5920A01E9CBD}"/>
                        </a:ext>
                      </a:extLst>
                    </p:cNvPr>
                    <p:cNvGrpSpPr/>
                    <p:nvPr/>
                  </p:nvGrpSpPr>
                  <p:grpSpPr>
                    <a:xfrm>
                      <a:off x="837312" y="4814434"/>
                      <a:ext cx="136805" cy="278689"/>
                      <a:chOff x="2806700" y="2803319"/>
                      <a:chExt cx="433387" cy="882861"/>
                    </a:xfrm>
                  </p:grpSpPr>
                  <p:grpSp>
                    <p:nvGrpSpPr>
                      <p:cNvPr id="1809" name="Group 1808">
                        <a:extLst>
                          <a:ext uri="{FF2B5EF4-FFF2-40B4-BE49-F238E27FC236}">
                            <a16:creationId xmlns:a16="http://schemas.microsoft.com/office/drawing/2014/main" id="{2031FE44-2CEC-4440-83C5-22788948C731}"/>
                          </a:ext>
                        </a:extLst>
                      </p:cNvPr>
                      <p:cNvGrpSpPr>
                        <a:grpSpLocks noChangeAspect="1"/>
                      </p:cNvGrpSpPr>
                      <p:nvPr/>
                    </p:nvGrpSpPr>
                    <p:grpSpPr bwMode="auto">
                      <a:xfrm>
                        <a:off x="2806700" y="3043242"/>
                        <a:ext cx="433387" cy="642938"/>
                        <a:chOff x="1768" y="1917"/>
                        <a:chExt cx="273" cy="405"/>
                      </a:xfrm>
                    </p:grpSpPr>
                    <p:sp>
                      <p:nvSpPr>
                        <p:cNvPr id="1811" name="Freeform 52">
                          <a:extLst>
                            <a:ext uri="{FF2B5EF4-FFF2-40B4-BE49-F238E27FC236}">
                              <a16:creationId xmlns:a16="http://schemas.microsoft.com/office/drawing/2014/main" id="{54A37943-1803-4B48-928D-F8A103802F9A}"/>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12" name="Line 54">
                          <a:extLst>
                            <a:ext uri="{FF2B5EF4-FFF2-40B4-BE49-F238E27FC236}">
                              <a16:creationId xmlns:a16="http://schemas.microsoft.com/office/drawing/2014/main" id="{B0E25205-8534-4CA3-9AE6-263BCDB3212E}"/>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13" name="Line 55">
                          <a:extLst>
                            <a:ext uri="{FF2B5EF4-FFF2-40B4-BE49-F238E27FC236}">
                              <a16:creationId xmlns:a16="http://schemas.microsoft.com/office/drawing/2014/main" id="{46C52D4E-3A79-4C4C-ACD2-A324DB6E73B8}"/>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14" name="Freeform 56">
                          <a:extLst>
                            <a:ext uri="{FF2B5EF4-FFF2-40B4-BE49-F238E27FC236}">
                              <a16:creationId xmlns:a16="http://schemas.microsoft.com/office/drawing/2014/main" id="{0663F69C-8935-4AAB-81B5-B0BF2F64A27E}"/>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15" name="Line 57">
                          <a:extLst>
                            <a:ext uri="{FF2B5EF4-FFF2-40B4-BE49-F238E27FC236}">
                              <a16:creationId xmlns:a16="http://schemas.microsoft.com/office/drawing/2014/main" id="{5F84585B-1ECC-45E5-A427-8B9B49279E00}"/>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16" name="Freeform 58">
                          <a:extLst>
                            <a:ext uri="{FF2B5EF4-FFF2-40B4-BE49-F238E27FC236}">
                              <a16:creationId xmlns:a16="http://schemas.microsoft.com/office/drawing/2014/main" id="{E0385F61-7212-4FE7-B2BA-B9B007D04C3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17" name="Rectangle 1816">
                          <a:extLst>
                            <a:ext uri="{FF2B5EF4-FFF2-40B4-BE49-F238E27FC236}">
                              <a16:creationId xmlns:a16="http://schemas.microsoft.com/office/drawing/2014/main" id="{7C7FDCC3-059B-45C6-AA39-487F8F802B34}"/>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1810" name="Oval 1809">
                        <a:extLst>
                          <a:ext uri="{FF2B5EF4-FFF2-40B4-BE49-F238E27FC236}">
                            <a16:creationId xmlns:a16="http://schemas.microsoft.com/office/drawing/2014/main" id="{4B6F5B8E-1096-48E3-9D4C-9B9646E3CCF5}"/>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1744" name="Group 1743">
                    <a:extLst>
                      <a:ext uri="{FF2B5EF4-FFF2-40B4-BE49-F238E27FC236}">
                        <a16:creationId xmlns:a16="http://schemas.microsoft.com/office/drawing/2014/main" id="{B80F5016-70D7-466A-9B28-8AD2977F5784}"/>
                      </a:ext>
                    </a:extLst>
                  </p:cNvPr>
                  <p:cNvGrpSpPr>
                    <a:grpSpLocks/>
                  </p:cNvGrpSpPr>
                  <p:nvPr/>
                </p:nvGrpSpPr>
                <p:grpSpPr>
                  <a:xfrm>
                    <a:off x="11166615" y="2825631"/>
                    <a:ext cx="787402" cy="787406"/>
                    <a:chOff x="1454941" y="4721722"/>
                    <a:chExt cx="473625" cy="473627"/>
                  </a:xfrm>
                </p:grpSpPr>
                <p:grpSp>
                  <p:nvGrpSpPr>
                    <p:cNvPr id="1768" name="Group 64">
                      <a:extLst>
                        <a:ext uri="{FF2B5EF4-FFF2-40B4-BE49-F238E27FC236}">
                          <a16:creationId xmlns:a16="http://schemas.microsoft.com/office/drawing/2014/main" id="{165C3E28-16DB-4FFC-A6CB-5528B852D240}"/>
                        </a:ext>
                      </a:extLst>
                    </p:cNvPr>
                    <p:cNvGrpSpPr>
                      <a:grpSpLocks noChangeAspect="1"/>
                    </p:cNvGrpSpPr>
                    <p:nvPr/>
                  </p:nvGrpSpPr>
                  <p:grpSpPr bwMode="auto">
                    <a:xfrm rot="8100000">
                      <a:off x="1454941" y="4721722"/>
                      <a:ext cx="473625" cy="473627"/>
                      <a:chOff x="701" y="2170"/>
                      <a:chExt cx="587" cy="587"/>
                    </a:xfrm>
                  </p:grpSpPr>
                  <p:sp>
                    <p:nvSpPr>
                      <p:cNvPr id="1800" name="Oval 65">
                        <a:extLst>
                          <a:ext uri="{FF2B5EF4-FFF2-40B4-BE49-F238E27FC236}">
                            <a16:creationId xmlns:a16="http://schemas.microsoft.com/office/drawing/2014/main" id="{298EA4D7-3517-45CC-B4F9-E47E094859BD}"/>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01" name="Line 66">
                        <a:extLst>
                          <a:ext uri="{FF2B5EF4-FFF2-40B4-BE49-F238E27FC236}">
                            <a16:creationId xmlns:a16="http://schemas.microsoft.com/office/drawing/2014/main" id="{BCF9A2F6-3531-431F-B8AB-4E9B80D4B09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02" name="Line 67">
                        <a:extLst>
                          <a:ext uri="{FF2B5EF4-FFF2-40B4-BE49-F238E27FC236}">
                            <a16:creationId xmlns:a16="http://schemas.microsoft.com/office/drawing/2014/main" id="{EFFC7CCA-7AA3-406B-80A2-739C3E99A57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03" name="Line 69">
                        <a:extLst>
                          <a:ext uri="{FF2B5EF4-FFF2-40B4-BE49-F238E27FC236}">
                            <a16:creationId xmlns:a16="http://schemas.microsoft.com/office/drawing/2014/main" id="{A3D7DC7F-015C-4A18-81F5-C1BD160402B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04" name="Line 74">
                        <a:extLst>
                          <a:ext uri="{FF2B5EF4-FFF2-40B4-BE49-F238E27FC236}">
                            <a16:creationId xmlns:a16="http://schemas.microsoft.com/office/drawing/2014/main" id="{673B878F-072A-49A9-961B-50A57C35FED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05" name="Freeform 78">
                        <a:extLst>
                          <a:ext uri="{FF2B5EF4-FFF2-40B4-BE49-F238E27FC236}">
                            <a16:creationId xmlns:a16="http://schemas.microsoft.com/office/drawing/2014/main" id="{355305C4-935E-496F-9FF9-A70E8A0733E6}"/>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06" name="Freeform 80">
                        <a:extLst>
                          <a:ext uri="{FF2B5EF4-FFF2-40B4-BE49-F238E27FC236}">
                            <a16:creationId xmlns:a16="http://schemas.microsoft.com/office/drawing/2014/main" id="{7C05832B-D863-45A6-90A0-586999586C9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769" name="Group 1768">
                      <a:extLst>
                        <a:ext uri="{FF2B5EF4-FFF2-40B4-BE49-F238E27FC236}">
                          <a16:creationId xmlns:a16="http://schemas.microsoft.com/office/drawing/2014/main" id="{354C9A69-DF8D-4E45-9A4D-C7372AEEC0C3}"/>
                        </a:ext>
                      </a:extLst>
                    </p:cNvPr>
                    <p:cNvGrpSpPr/>
                    <p:nvPr/>
                  </p:nvGrpSpPr>
                  <p:grpSpPr>
                    <a:xfrm>
                      <a:off x="1511214" y="4789508"/>
                      <a:ext cx="356509" cy="349884"/>
                      <a:chOff x="468738" y="2241878"/>
                      <a:chExt cx="1655483" cy="1624719"/>
                    </a:xfrm>
                  </p:grpSpPr>
                  <p:sp>
                    <p:nvSpPr>
                      <p:cNvPr id="1770" name="Freeform 5">
                        <a:extLst>
                          <a:ext uri="{FF2B5EF4-FFF2-40B4-BE49-F238E27FC236}">
                            <a16:creationId xmlns:a16="http://schemas.microsoft.com/office/drawing/2014/main" id="{95227C50-D73F-47D0-9829-E3EFA963E6A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71" name="Freeform 6">
                        <a:extLst>
                          <a:ext uri="{FF2B5EF4-FFF2-40B4-BE49-F238E27FC236}">
                            <a16:creationId xmlns:a16="http://schemas.microsoft.com/office/drawing/2014/main" id="{22CA6FF2-5CCD-49D2-924C-913F73B78F20}"/>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72" name="Line 7">
                        <a:extLst>
                          <a:ext uri="{FF2B5EF4-FFF2-40B4-BE49-F238E27FC236}">
                            <a16:creationId xmlns:a16="http://schemas.microsoft.com/office/drawing/2014/main" id="{9C19F950-BBA2-4C88-BDFA-4717F32C7FB6}"/>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73" name="Freeform 8">
                        <a:extLst>
                          <a:ext uri="{FF2B5EF4-FFF2-40B4-BE49-F238E27FC236}">
                            <a16:creationId xmlns:a16="http://schemas.microsoft.com/office/drawing/2014/main" id="{A1A6C637-CB47-4919-B016-1F145AF078FA}"/>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74" name="Line 9">
                        <a:extLst>
                          <a:ext uri="{FF2B5EF4-FFF2-40B4-BE49-F238E27FC236}">
                            <a16:creationId xmlns:a16="http://schemas.microsoft.com/office/drawing/2014/main" id="{14551884-5C06-4FAE-B57E-ABF8831958CA}"/>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775" name="Group 1774">
                        <a:extLst>
                          <a:ext uri="{FF2B5EF4-FFF2-40B4-BE49-F238E27FC236}">
                            <a16:creationId xmlns:a16="http://schemas.microsoft.com/office/drawing/2014/main" id="{D3A005F5-DC95-48CC-AE72-4FC687617EE5}"/>
                          </a:ext>
                        </a:extLst>
                      </p:cNvPr>
                      <p:cNvGrpSpPr/>
                      <p:nvPr/>
                    </p:nvGrpSpPr>
                    <p:grpSpPr>
                      <a:xfrm>
                        <a:off x="1207113" y="2241878"/>
                        <a:ext cx="178734" cy="348678"/>
                        <a:chOff x="1207113" y="2241878"/>
                        <a:chExt cx="178734" cy="348678"/>
                      </a:xfrm>
                    </p:grpSpPr>
                    <p:sp>
                      <p:nvSpPr>
                        <p:cNvPr id="1798" name="Freeform 10">
                          <a:extLst>
                            <a:ext uri="{FF2B5EF4-FFF2-40B4-BE49-F238E27FC236}">
                              <a16:creationId xmlns:a16="http://schemas.microsoft.com/office/drawing/2014/main" id="{AB88C812-CC49-4E0E-A49A-CBBBAFB551CF}"/>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99" name="Line 11">
                          <a:extLst>
                            <a:ext uri="{FF2B5EF4-FFF2-40B4-BE49-F238E27FC236}">
                              <a16:creationId xmlns:a16="http://schemas.microsoft.com/office/drawing/2014/main" id="{1E4F9648-E1EA-4FC5-8304-E35A64DF1AA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1776" name="Freeform 12">
                        <a:extLst>
                          <a:ext uri="{FF2B5EF4-FFF2-40B4-BE49-F238E27FC236}">
                            <a16:creationId xmlns:a16="http://schemas.microsoft.com/office/drawing/2014/main" id="{F4973C16-2738-45DA-975A-25E36CB29DB9}"/>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77" name="Line 13">
                        <a:extLst>
                          <a:ext uri="{FF2B5EF4-FFF2-40B4-BE49-F238E27FC236}">
                            <a16:creationId xmlns:a16="http://schemas.microsoft.com/office/drawing/2014/main" id="{5362E543-30E0-4441-BD2B-6868B306045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78" name="Freeform 14">
                        <a:extLst>
                          <a:ext uri="{FF2B5EF4-FFF2-40B4-BE49-F238E27FC236}">
                            <a16:creationId xmlns:a16="http://schemas.microsoft.com/office/drawing/2014/main" id="{91798E4B-4DA5-4F80-B3CB-857AE484DAF1}"/>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79" name="Line 15">
                        <a:extLst>
                          <a:ext uri="{FF2B5EF4-FFF2-40B4-BE49-F238E27FC236}">
                            <a16:creationId xmlns:a16="http://schemas.microsoft.com/office/drawing/2014/main" id="{BB473BEE-32C2-412D-800B-C66472787212}"/>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80" name="Freeform 16">
                        <a:extLst>
                          <a:ext uri="{FF2B5EF4-FFF2-40B4-BE49-F238E27FC236}">
                            <a16:creationId xmlns:a16="http://schemas.microsoft.com/office/drawing/2014/main" id="{1869B418-5795-4AD9-BD47-E7A719959973}"/>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81" name="Line 17">
                        <a:extLst>
                          <a:ext uri="{FF2B5EF4-FFF2-40B4-BE49-F238E27FC236}">
                            <a16:creationId xmlns:a16="http://schemas.microsoft.com/office/drawing/2014/main" id="{6E3FF541-CA0A-468A-9607-1AF644F2F335}"/>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82" name="Freeform 18">
                        <a:extLst>
                          <a:ext uri="{FF2B5EF4-FFF2-40B4-BE49-F238E27FC236}">
                            <a16:creationId xmlns:a16="http://schemas.microsoft.com/office/drawing/2014/main" id="{8BABD3B2-8298-4CFC-9583-9661AC7D911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83" name="Line 19">
                        <a:extLst>
                          <a:ext uri="{FF2B5EF4-FFF2-40B4-BE49-F238E27FC236}">
                            <a16:creationId xmlns:a16="http://schemas.microsoft.com/office/drawing/2014/main" id="{C823D63B-94BA-46BB-91E0-16B803C7CAC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84" name="Freeform 35">
                        <a:extLst>
                          <a:ext uri="{FF2B5EF4-FFF2-40B4-BE49-F238E27FC236}">
                            <a16:creationId xmlns:a16="http://schemas.microsoft.com/office/drawing/2014/main" id="{1014D91B-7B53-4258-8085-8D94A4861F1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85" name="Freeform 36">
                        <a:extLst>
                          <a:ext uri="{FF2B5EF4-FFF2-40B4-BE49-F238E27FC236}">
                            <a16:creationId xmlns:a16="http://schemas.microsoft.com/office/drawing/2014/main" id="{AB3C131A-0E87-41AB-B95A-F28D901FE625}"/>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86" name="Freeform 37">
                        <a:extLst>
                          <a:ext uri="{FF2B5EF4-FFF2-40B4-BE49-F238E27FC236}">
                            <a16:creationId xmlns:a16="http://schemas.microsoft.com/office/drawing/2014/main" id="{D1365FA2-D3D4-43B7-BDDE-BFC7544EF0B2}"/>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87" name="Freeform 38">
                        <a:extLst>
                          <a:ext uri="{FF2B5EF4-FFF2-40B4-BE49-F238E27FC236}">
                            <a16:creationId xmlns:a16="http://schemas.microsoft.com/office/drawing/2014/main" id="{2C1001F0-C789-470D-B8C7-C20FE463907D}"/>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88" name="Freeform 39">
                        <a:extLst>
                          <a:ext uri="{FF2B5EF4-FFF2-40B4-BE49-F238E27FC236}">
                            <a16:creationId xmlns:a16="http://schemas.microsoft.com/office/drawing/2014/main" id="{8876A0C1-23A1-48F0-AE57-14F486DC0033}"/>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89" name="Freeform 40">
                        <a:extLst>
                          <a:ext uri="{FF2B5EF4-FFF2-40B4-BE49-F238E27FC236}">
                            <a16:creationId xmlns:a16="http://schemas.microsoft.com/office/drawing/2014/main" id="{012F7712-DEA6-4920-B7D5-4A5A1D735803}"/>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90" name="Freeform 41">
                        <a:extLst>
                          <a:ext uri="{FF2B5EF4-FFF2-40B4-BE49-F238E27FC236}">
                            <a16:creationId xmlns:a16="http://schemas.microsoft.com/office/drawing/2014/main" id="{9E8C5504-0175-4564-A56C-2332B3F2E0A6}"/>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91" name="Line 42">
                        <a:extLst>
                          <a:ext uri="{FF2B5EF4-FFF2-40B4-BE49-F238E27FC236}">
                            <a16:creationId xmlns:a16="http://schemas.microsoft.com/office/drawing/2014/main" id="{12440818-274A-4843-8BBE-49BE893EB3C0}"/>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92" name="Freeform 43">
                        <a:extLst>
                          <a:ext uri="{FF2B5EF4-FFF2-40B4-BE49-F238E27FC236}">
                            <a16:creationId xmlns:a16="http://schemas.microsoft.com/office/drawing/2014/main" id="{30EFC255-EB82-4218-9E91-C594FAD52504}"/>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93" name="Freeform 44">
                        <a:extLst>
                          <a:ext uri="{FF2B5EF4-FFF2-40B4-BE49-F238E27FC236}">
                            <a16:creationId xmlns:a16="http://schemas.microsoft.com/office/drawing/2014/main" id="{966DD2FE-458E-429B-B8DB-87EAAF4B4458}"/>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94" name="Freeform 45">
                        <a:extLst>
                          <a:ext uri="{FF2B5EF4-FFF2-40B4-BE49-F238E27FC236}">
                            <a16:creationId xmlns:a16="http://schemas.microsoft.com/office/drawing/2014/main" id="{6D6AD2AD-3620-45B7-AD8A-C76E50CB0134}"/>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795" name="Group 1794">
                        <a:extLst>
                          <a:ext uri="{FF2B5EF4-FFF2-40B4-BE49-F238E27FC236}">
                            <a16:creationId xmlns:a16="http://schemas.microsoft.com/office/drawing/2014/main" id="{E45D957A-3C8D-46B7-B8CC-53886A941178}"/>
                          </a:ext>
                        </a:extLst>
                      </p:cNvPr>
                      <p:cNvGrpSpPr/>
                      <p:nvPr/>
                    </p:nvGrpSpPr>
                    <p:grpSpPr>
                      <a:xfrm flipV="1">
                        <a:off x="1202047" y="3517919"/>
                        <a:ext cx="178734" cy="348678"/>
                        <a:chOff x="1207113" y="2241878"/>
                        <a:chExt cx="178734" cy="348678"/>
                      </a:xfrm>
                    </p:grpSpPr>
                    <p:sp>
                      <p:nvSpPr>
                        <p:cNvPr id="1796" name="Freeform 10">
                          <a:extLst>
                            <a:ext uri="{FF2B5EF4-FFF2-40B4-BE49-F238E27FC236}">
                              <a16:creationId xmlns:a16="http://schemas.microsoft.com/office/drawing/2014/main" id="{56EAAD33-2FAB-41D6-880E-D93C02A03C10}"/>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97" name="Line 11">
                          <a:extLst>
                            <a:ext uri="{FF2B5EF4-FFF2-40B4-BE49-F238E27FC236}">
                              <a16:creationId xmlns:a16="http://schemas.microsoft.com/office/drawing/2014/main" id="{E92B25AD-9691-4478-9D41-3197E53AF70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1745" name="Group 1744">
                    <a:extLst>
                      <a:ext uri="{FF2B5EF4-FFF2-40B4-BE49-F238E27FC236}">
                        <a16:creationId xmlns:a16="http://schemas.microsoft.com/office/drawing/2014/main" id="{43D3F51D-9D96-4BB6-ADCB-479A188B8380}"/>
                      </a:ext>
                    </a:extLst>
                  </p:cNvPr>
                  <p:cNvGrpSpPr>
                    <a:grpSpLocks/>
                  </p:cNvGrpSpPr>
                  <p:nvPr/>
                </p:nvGrpSpPr>
                <p:grpSpPr>
                  <a:xfrm>
                    <a:off x="11709639" y="2297897"/>
                    <a:ext cx="690952" cy="690956"/>
                    <a:chOff x="2268747" y="4723725"/>
                    <a:chExt cx="415610" cy="415612"/>
                  </a:xfrm>
                </p:grpSpPr>
                <p:grpSp>
                  <p:nvGrpSpPr>
                    <p:cNvPr id="1746" name="Group 64">
                      <a:extLst>
                        <a:ext uri="{FF2B5EF4-FFF2-40B4-BE49-F238E27FC236}">
                          <a16:creationId xmlns:a16="http://schemas.microsoft.com/office/drawing/2014/main" id="{EED00B48-5A4E-428D-9312-EC6E257B65BF}"/>
                        </a:ext>
                      </a:extLst>
                    </p:cNvPr>
                    <p:cNvGrpSpPr>
                      <a:grpSpLocks noChangeAspect="1"/>
                    </p:cNvGrpSpPr>
                    <p:nvPr/>
                  </p:nvGrpSpPr>
                  <p:grpSpPr bwMode="auto">
                    <a:xfrm rot="8100000">
                      <a:off x="2268747" y="4723725"/>
                      <a:ext cx="415610" cy="415612"/>
                      <a:chOff x="701" y="2170"/>
                      <a:chExt cx="587" cy="587"/>
                    </a:xfrm>
                  </p:grpSpPr>
                  <p:sp>
                    <p:nvSpPr>
                      <p:cNvPr id="1761" name="Oval 65">
                        <a:extLst>
                          <a:ext uri="{FF2B5EF4-FFF2-40B4-BE49-F238E27FC236}">
                            <a16:creationId xmlns:a16="http://schemas.microsoft.com/office/drawing/2014/main" id="{1F640484-73F7-4BE5-BB0B-A7BD8B0884B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62" name="Line 66">
                        <a:extLst>
                          <a:ext uri="{FF2B5EF4-FFF2-40B4-BE49-F238E27FC236}">
                            <a16:creationId xmlns:a16="http://schemas.microsoft.com/office/drawing/2014/main" id="{60404DBA-D09A-4B18-937A-465D2F5BBB22}"/>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63" name="Line 67">
                        <a:extLst>
                          <a:ext uri="{FF2B5EF4-FFF2-40B4-BE49-F238E27FC236}">
                            <a16:creationId xmlns:a16="http://schemas.microsoft.com/office/drawing/2014/main" id="{D9E1857E-7E1B-45DC-BF24-DD3CEBC424B4}"/>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64" name="Line 69">
                        <a:extLst>
                          <a:ext uri="{FF2B5EF4-FFF2-40B4-BE49-F238E27FC236}">
                            <a16:creationId xmlns:a16="http://schemas.microsoft.com/office/drawing/2014/main" id="{BB907FD7-CD14-459E-82BF-6ECC3CABCCB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65" name="Line 74">
                        <a:extLst>
                          <a:ext uri="{FF2B5EF4-FFF2-40B4-BE49-F238E27FC236}">
                            <a16:creationId xmlns:a16="http://schemas.microsoft.com/office/drawing/2014/main" id="{C06D2268-6437-4CF1-9839-73BC39C9A87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66" name="Freeform 78">
                        <a:extLst>
                          <a:ext uri="{FF2B5EF4-FFF2-40B4-BE49-F238E27FC236}">
                            <a16:creationId xmlns:a16="http://schemas.microsoft.com/office/drawing/2014/main" id="{CDC453B0-91F8-408D-AF08-DACC79C4124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67" name="Freeform 80">
                        <a:extLst>
                          <a:ext uri="{FF2B5EF4-FFF2-40B4-BE49-F238E27FC236}">
                            <a16:creationId xmlns:a16="http://schemas.microsoft.com/office/drawing/2014/main" id="{472CF6F1-C485-4CA8-A891-A2783984EA4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747" name="Group 1746">
                      <a:extLst>
                        <a:ext uri="{FF2B5EF4-FFF2-40B4-BE49-F238E27FC236}">
                          <a16:creationId xmlns:a16="http://schemas.microsoft.com/office/drawing/2014/main" id="{9CD6BE17-68BA-4070-8A56-80832F0BA88A}"/>
                        </a:ext>
                      </a:extLst>
                    </p:cNvPr>
                    <p:cNvGrpSpPr/>
                    <p:nvPr/>
                  </p:nvGrpSpPr>
                  <p:grpSpPr>
                    <a:xfrm>
                      <a:off x="2318076" y="4830163"/>
                      <a:ext cx="313949" cy="233075"/>
                      <a:chOff x="3707533" y="2731244"/>
                      <a:chExt cx="389644" cy="289271"/>
                    </a:xfrm>
                  </p:grpSpPr>
                  <p:sp>
                    <p:nvSpPr>
                      <p:cNvPr id="1748" name="Freeform 33">
                        <a:extLst>
                          <a:ext uri="{FF2B5EF4-FFF2-40B4-BE49-F238E27FC236}">
                            <a16:creationId xmlns:a16="http://schemas.microsoft.com/office/drawing/2014/main" id="{A6A39F63-F70E-476F-B317-3B120D677562}"/>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49" name="Freeform 34">
                        <a:extLst>
                          <a:ext uri="{FF2B5EF4-FFF2-40B4-BE49-F238E27FC236}">
                            <a16:creationId xmlns:a16="http://schemas.microsoft.com/office/drawing/2014/main" id="{A76D2E31-C42E-4032-AD8B-94A994A4428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0" name="Freeform 37">
                        <a:extLst>
                          <a:ext uri="{FF2B5EF4-FFF2-40B4-BE49-F238E27FC236}">
                            <a16:creationId xmlns:a16="http://schemas.microsoft.com/office/drawing/2014/main" id="{4100F32E-D867-4AF4-B305-00365F4646D1}"/>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1" name="Freeform 38">
                        <a:extLst>
                          <a:ext uri="{FF2B5EF4-FFF2-40B4-BE49-F238E27FC236}">
                            <a16:creationId xmlns:a16="http://schemas.microsoft.com/office/drawing/2014/main" id="{6E481D0B-97BF-47FE-AB05-CC67702A232D}"/>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2" name="Freeform 32">
                        <a:extLst>
                          <a:ext uri="{FF2B5EF4-FFF2-40B4-BE49-F238E27FC236}">
                            <a16:creationId xmlns:a16="http://schemas.microsoft.com/office/drawing/2014/main" id="{EB1EB7EE-82C7-4CCD-A437-1D51D171CF0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3" name="Freeform 35">
                        <a:extLst>
                          <a:ext uri="{FF2B5EF4-FFF2-40B4-BE49-F238E27FC236}">
                            <a16:creationId xmlns:a16="http://schemas.microsoft.com/office/drawing/2014/main" id="{561C4404-8E40-405B-8BB4-E8CD29C6262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4" name="Freeform 36">
                        <a:extLst>
                          <a:ext uri="{FF2B5EF4-FFF2-40B4-BE49-F238E27FC236}">
                            <a16:creationId xmlns:a16="http://schemas.microsoft.com/office/drawing/2014/main" id="{A61A7510-7117-45FF-813A-6C129A574232}"/>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5" name="Freeform 25">
                        <a:extLst>
                          <a:ext uri="{FF2B5EF4-FFF2-40B4-BE49-F238E27FC236}">
                            <a16:creationId xmlns:a16="http://schemas.microsoft.com/office/drawing/2014/main" id="{1B5AE875-A810-4C39-A615-ED970FCB6FB6}"/>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6" name="Freeform 39">
                        <a:extLst>
                          <a:ext uri="{FF2B5EF4-FFF2-40B4-BE49-F238E27FC236}">
                            <a16:creationId xmlns:a16="http://schemas.microsoft.com/office/drawing/2014/main" id="{766D4EAB-FD32-44CF-8B91-D9B017AF117D}"/>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7" name="Freeform 26">
                        <a:extLst>
                          <a:ext uri="{FF2B5EF4-FFF2-40B4-BE49-F238E27FC236}">
                            <a16:creationId xmlns:a16="http://schemas.microsoft.com/office/drawing/2014/main" id="{7249ECCB-E3E7-494E-B2A8-3C4A481CD856}"/>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8" name="Rectangle 27">
                        <a:extLst>
                          <a:ext uri="{FF2B5EF4-FFF2-40B4-BE49-F238E27FC236}">
                            <a16:creationId xmlns:a16="http://schemas.microsoft.com/office/drawing/2014/main" id="{3FD68331-C29D-422E-91F0-3381B67A234E}"/>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759" name="Line 29">
                        <a:extLst>
                          <a:ext uri="{FF2B5EF4-FFF2-40B4-BE49-F238E27FC236}">
                            <a16:creationId xmlns:a16="http://schemas.microsoft.com/office/drawing/2014/main" id="{D7FFFC74-1796-4A32-BD05-B01ABCFE6215}"/>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760" name="Line 31">
                        <a:extLst>
                          <a:ext uri="{FF2B5EF4-FFF2-40B4-BE49-F238E27FC236}">
                            <a16:creationId xmlns:a16="http://schemas.microsoft.com/office/drawing/2014/main" id="{12FB585D-ACFB-462F-9B85-4C0CDFAE9A6B}"/>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1736" name="Group 1735">
                <a:extLst>
                  <a:ext uri="{FF2B5EF4-FFF2-40B4-BE49-F238E27FC236}">
                    <a16:creationId xmlns:a16="http://schemas.microsoft.com/office/drawing/2014/main" id="{EBD5907A-700D-4F29-9D28-55509876AF34}"/>
                  </a:ext>
                </a:extLst>
              </p:cNvPr>
              <p:cNvGrpSpPr/>
              <p:nvPr/>
            </p:nvGrpSpPr>
            <p:grpSpPr>
              <a:xfrm>
                <a:off x="3584215" y="5655005"/>
                <a:ext cx="1001118" cy="830281"/>
                <a:chOff x="3592922" y="5629153"/>
                <a:chExt cx="1003674" cy="832401"/>
              </a:xfrm>
            </p:grpSpPr>
            <p:pic>
              <p:nvPicPr>
                <p:cNvPr id="1737" name="Picture 1">
                  <a:extLst>
                    <a:ext uri="{FF2B5EF4-FFF2-40B4-BE49-F238E27FC236}">
                      <a16:creationId xmlns:a16="http://schemas.microsoft.com/office/drawing/2014/main" id="{A2368D6C-4FB2-4DDD-B0F1-1DF9494E29E6}"/>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38" name="Rectangle 1737">
                  <a:extLst>
                    <a:ext uri="{FF2B5EF4-FFF2-40B4-BE49-F238E27FC236}">
                      <a16:creationId xmlns:a16="http://schemas.microsoft.com/office/drawing/2014/main" id="{FCEC32E8-2E8F-4141-ACF3-4F9D36227346}"/>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1725" name="Group 1724">
              <a:extLst>
                <a:ext uri="{FF2B5EF4-FFF2-40B4-BE49-F238E27FC236}">
                  <a16:creationId xmlns:a16="http://schemas.microsoft.com/office/drawing/2014/main" id="{A93CAD6F-2FD3-4E14-8BC5-52299AD431CD}"/>
                </a:ext>
              </a:extLst>
            </p:cNvPr>
            <p:cNvGrpSpPr/>
            <p:nvPr/>
          </p:nvGrpSpPr>
          <p:grpSpPr>
            <a:xfrm>
              <a:off x="4527697" y="3616012"/>
              <a:ext cx="3535922" cy="312851"/>
              <a:chOff x="4538813" y="3457139"/>
              <a:chExt cx="3544948" cy="313650"/>
            </a:xfrm>
          </p:grpSpPr>
          <p:grpSp>
            <p:nvGrpSpPr>
              <p:cNvPr id="1726" name="Group 1725">
                <a:extLst>
                  <a:ext uri="{FF2B5EF4-FFF2-40B4-BE49-F238E27FC236}">
                    <a16:creationId xmlns:a16="http://schemas.microsoft.com/office/drawing/2014/main" id="{E1F06152-079E-46B1-B73F-62BB2BB44404}"/>
                  </a:ext>
                </a:extLst>
              </p:cNvPr>
              <p:cNvGrpSpPr/>
              <p:nvPr/>
            </p:nvGrpSpPr>
            <p:grpSpPr>
              <a:xfrm>
                <a:off x="4538813" y="3463012"/>
                <a:ext cx="3544948" cy="307777"/>
                <a:chOff x="4538813" y="3463012"/>
                <a:chExt cx="3544948" cy="307777"/>
              </a:xfrm>
            </p:grpSpPr>
            <p:sp>
              <p:nvSpPr>
                <p:cNvPr id="1728" name="Rectangle 1727">
                  <a:extLst>
                    <a:ext uri="{FF2B5EF4-FFF2-40B4-BE49-F238E27FC236}">
                      <a16:creationId xmlns:a16="http://schemas.microsoft.com/office/drawing/2014/main" id="{3810709E-E987-45E6-8057-92159FB85DC3}"/>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1729" name="Rectangle 1728">
                  <a:extLst>
                    <a:ext uri="{FF2B5EF4-FFF2-40B4-BE49-F238E27FC236}">
                      <a16:creationId xmlns:a16="http://schemas.microsoft.com/office/drawing/2014/main" id="{06C9A381-A397-4D38-A86E-0542D6C64C40}"/>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1730" name="Rectangle 1729">
                  <a:extLst>
                    <a:ext uri="{FF2B5EF4-FFF2-40B4-BE49-F238E27FC236}">
                      <a16:creationId xmlns:a16="http://schemas.microsoft.com/office/drawing/2014/main" id="{36CBE90C-40C0-4E24-8933-C51BFCD6ACBD}"/>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1731" name="Rectangle 1730">
                  <a:extLst>
                    <a:ext uri="{FF2B5EF4-FFF2-40B4-BE49-F238E27FC236}">
                      <a16:creationId xmlns:a16="http://schemas.microsoft.com/office/drawing/2014/main" id="{48ED6639-12FA-4F8E-A153-1DC7D4069F65}"/>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1732" name="Rectangle 1731">
                  <a:extLst>
                    <a:ext uri="{FF2B5EF4-FFF2-40B4-BE49-F238E27FC236}">
                      <a16:creationId xmlns:a16="http://schemas.microsoft.com/office/drawing/2014/main" id="{35D64016-970F-43B4-BD79-1B21CBE8F561}"/>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1733" name="Rectangle 1732">
                  <a:extLst>
                    <a:ext uri="{FF2B5EF4-FFF2-40B4-BE49-F238E27FC236}">
                      <a16:creationId xmlns:a16="http://schemas.microsoft.com/office/drawing/2014/main" id="{82BADE2D-5C8C-4228-8B40-EE9B867F4282}"/>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1734" name="Rectangle 1733">
                  <a:extLst>
                    <a:ext uri="{FF2B5EF4-FFF2-40B4-BE49-F238E27FC236}">
                      <a16:creationId xmlns:a16="http://schemas.microsoft.com/office/drawing/2014/main" id="{9CAF51D2-4E91-448C-ABAE-5031412518E5}"/>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1727" name="Rectangle 1726">
                <a:extLst>
                  <a:ext uri="{FF2B5EF4-FFF2-40B4-BE49-F238E27FC236}">
                    <a16:creationId xmlns:a16="http://schemas.microsoft.com/office/drawing/2014/main" id="{4409BEF6-C128-4D8D-AE40-F57210984D77}"/>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1825" name="Group 1824">
            <a:extLst>
              <a:ext uri="{FF2B5EF4-FFF2-40B4-BE49-F238E27FC236}">
                <a16:creationId xmlns:a16="http://schemas.microsoft.com/office/drawing/2014/main" id="{78B635AD-2FDC-4839-8781-45145561EDC9}"/>
              </a:ext>
            </a:extLst>
          </p:cNvPr>
          <p:cNvGrpSpPr/>
          <p:nvPr/>
        </p:nvGrpSpPr>
        <p:grpSpPr>
          <a:xfrm>
            <a:off x="1943243" y="1703763"/>
            <a:ext cx="1530261" cy="1365012"/>
            <a:chOff x="1943749" y="1841576"/>
            <a:chExt cx="1530660" cy="1365368"/>
          </a:xfrm>
        </p:grpSpPr>
        <p:grpSp>
          <p:nvGrpSpPr>
            <p:cNvPr id="1826" name="Group 1825">
              <a:extLst>
                <a:ext uri="{FF2B5EF4-FFF2-40B4-BE49-F238E27FC236}">
                  <a16:creationId xmlns:a16="http://schemas.microsoft.com/office/drawing/2014/main" id="{2CDCC484-24C2-4322-A458-C3F5BC03FF78}"/>
                </a:ext>
              </a:extLst>
            </p:cNvPr>
            <p:cNvGrpSpPr/>
            <p:nvPr/>
          </p:nvGrpSpPr>
          <p:grpSpPr>
            <a:xfrm>
              <a:off x="1943749" y="2407609"/>
              <a:ext cx="1530660" cy="799335"/>
              <a:chOff x="1943749" y="2407609"/>
              <a:chExt cx="1530660" cy="799335"/>
            </a:xfrm>
          </p:grpSpPr>
          <p:cxnSp>
            <p:nvCxnSpPr>
              <p:cNvPr id="1828" name="Elbow Connector 558">
                <a:extLst>
                  <a:ext uri="{FF2B5EF4-FFF2-40B4-BE49-F238E27FC236}">
                    <a16:creationId xmlns:a16="http://schemas.microsoft.com/office/drawing/2014/main" id="{520DA223-7D95-42EE-B034-1BE1990A7D58}"/>
                  </a:ext>
                </a:extLst>
              </p:cNvPr>
              <p:cNvCxnSpPr>
                <a:cxnSpLocks/>
                <a:endCxn id="1830"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1829" name="Elbow Connector 558">
                <a:extLst>
                  <a:ext uri="{FF2B5EF4-FFF2-40B4-BE49-F238E27FC236}">
                    <a16:creationId xmlns:a16="http://schemas.microsoft.com/office/drawing/2014/main" id="{E22ACBC1-B9D1-44F1-937D-64434943F946}"/>
                  </a:ext>
                </a:extLst>
              </p:cNvPr>
              <p:cNvCxnSpPr>
                <a:cxnSpLocks/>
                <a:stCxn id="1830" idx="3"/>
                <a:endCxn id="1963" idx="1"/>
              </p:cNvCxnSpPr>
              <p:nvPr/>
            </p:nvCxnSpPr>
            <p:spPr>
              <a:xfrm flipV="1">
                <a:off x="2543276" y="2407609"/>
                <a:ext cx="931133" cy="374066"/>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1830" name="Picture 1829">
                <a:extLst>
                  <a:ext uri="{FF2B5EF4-FFF2-40B4-BE49-F238E27FC236}">
                    <a16:creationId xmlns:a16="http://schemas.microsoft.com/office/drawing/2014/main" id="{7D7204C2-B91A-4D71-B95B-94C1FD42CC1C}"/>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1827" name="Picture 1826">
              <a:extLst>
                <a:ext uri="{FF2B5EF4-FFF2-40B4-BE49-F238E27FC236}">
                  <a16:creationId xmlns:a16="http://schemas.microsoft.com/office/drawing/2014/main" id="{AA6241B9-AFCD-4032-89AB-EE28C1352FEC}"/>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1831" name="Group 1830">
            <a:extLst>
              <a:ext uri="{FF2B5EF4-FFF2-40B4-BE49-F238E27FC236}">
                <a16:creationId xmlns:a16="http://schemas.microsoft.com/office/drawing/2014/main" id="{05C4C90B-51EA-482D-9153-5C3EF595CD56}"/>
              </a:ext>
            </a:extLst>
          </p:cNvPr>
          <p:cNvGrpSpPr/>
          <p:nvPr/>
        </p:nvGrpSpPr>
        <p:grpSpPr>
          <a:xfrm>
            <a:off x="2965498" y="1615862"/>
            <a:ext cx="6753931" cy="2719939"/>
            <a:chOff x="2966271" y="1753652"/>
            <a:chExt cx="6755690" cy="2720648"/>
          </a:xfrm>
        </p:grpSpPr>
        <p:grpSp>
          <p:nvGrpSpPr>
            <p:cNvPr id="1832" name="Group 1831">
              <a:extLst>
                <a:ext uri="{FF2B5EF4-FFF2-40B4-BE49-F238E27FC236}">
                  <a16:creationId xmlns:a16="http://schemas.microsoft.com/office/drawing/2014/main" id="{55F3B2D4-2BCE-4CD7-B255-AA89A905CF26}"/>
                </a:ext>
              </a:extLst>
            </p:cNvPr>
            <p:cNvGrpSpPr/>
            <p:nvPr/>
          </p:nvGrpSpPr>
          <p:grpSpPr>
            <a:xfrm>
              <a:off x="2966271" y="3623425"/>
              <a:ext cx="5559816" cy="850875"/>
              <a:chOff x="2941193" y="3591455"/>
              <a:chExt cx="5574010" cy="853047"/>
            </a:xfrm>
          </p:grpSpPr>
          <p:grpSp>
            <p:nvGrpSpPr>
              <p:cNvPr id="1949" name="Group 1948">
                <a:extLst>
                  <a:ext uri="{FF2B5EF4-FFF2-40B4-BE49-F238E27FC236}">
                    <a16:creationId xmlns:a16="http://schemas.microsoft.com/office/drawing/2014/main" id="{F34D616D-19AC-48A1-BA2C-6852E65F73EF}"/>
                  </a:ext>
                </a:extLst>
              </p:cNvPr>
              <p:cNvGrpSpPr/>
              <p:nvPr/>
            </p:nvGrpSpPr>
            <p:grpSpPr>
              <a:xfrm>
                <a:off x="2941193" y="3710094"/>
                <a:ext cx="5483474" cy="734408"/>
                <a:chOff x="2941193" y="3710094"/>
                <a:chExt cx="5483474" cy="734408"/>
              </a:xfrm>
            </p:grpSpPr>
            <p:cxnSp>
              <p:nvCxnSpPr>
                <p:cNvPr id="1951" name="Elbow Connector 558">
                  <a:extLst>
                    <a:ext uri="{FF2B5EF4-FFF2-40B4-BE49-F238E27FC236}">
                      <a16:creationId xmlns:a16="http://schemas.microsoft.com/office/drawing/2014/main" id="{1033A21D-9166-459E-ABE2-25B1AE3ADE2D}"/>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1952" name="Rectangle 1951">
                  <a:extLst>
                    <a:ext uri="{FF2B5EF4-FFF2-40B4-BE49-F238E27FC236}">
                      <a16:creationId xmlns:a16="http://schemas.microsoft.com/office/drawing/2014/main" id="{5A740861-3805-402B-B8D3-F65F08CEB17D}"/>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1950" name="Rectangle 1949">
                <a:extLst>
                  <a:ext uri="{FF2B5EF4-FFF2-40B4-BE49-F238E27FC236}">
                    <a16:creationId xmlns:a16="http://schemas.microsoft.com/office/drawing/2014/main" id="{E567B427-180C-4CCF-855F-C9E160A8E790}"/>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1833" name="Group 1832">
              <a:extLst>
                <a:ext uri="{FF2B5EF4-FFF2-40B4-BE49-F238E27FC236}">
                  <a16:creationId xmlns:a16="http://schemas.microsoft.com/office/drawing/2014/main" id="{90AD12C0-3A19-40D2-91CC-0DA4DD7C2593}"/>
                </a:ext>
              </a:extLst>
            </p:cNvPr>
            <p:cNvGrpSpPr/>
            <p:nvPr/>
          </p:nvGrpSpPr>
          <p:grpSpPr>
            <a:xfrm>
              <a:off x="6614264" y="1753652"/>
              <a:ext cx="3107697" cy="1310210"/>
              <a:chOff x="6614264" y="1753652"/>
              <a:chExt cx="3107697" cy="1310210"/>
            </a:xfrm>
          </p:grpSpPr>
          <p:sp>
            <p:nvSpPr>
              <p:cNvPr id="1834" name="Rectangle 1833">
                <a:extLst>
                  <a:ext uri="{FF2B5EF4-FFF2-40B4-BE49-F238E27FC236}">
                    <a16:creationId xmlns:a16="http://schemas.microsoft.com/office/drawing/2014/main" id="{9430C04C-C11E-4607-B1F5-FFC2005F2929}"/>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1835" name="Group 1834">
                <a:extLst>
                  <a:ext uri="{FF2B5EF4-FFF2-40B4-BE49-F238E27FC236}">
                    <a16:creationId xmlns:a16="http://schemas.microsoft.com/office/drawing/2014/main" id="{DB754DCE-D773-4272-9F2E-DF60B022FA2B}"/>
                  </a:ext>
                </a:extLst>
              </p:cNvPr>
              <p:cNvGrpSpPr/>
              <p:nvPr/>
            </p:nvGrpSpPr>
            <p:grpSpPr>
              <a:xfrm>
                <a:off x="6970489" y="2381238"/>
                <a:ext cx="876005" cy="682624"/>
                <a:chOff x="8153924" y="1224949"/>
                <a:chExt cx="927652" cy="722869"/>
              </a:xfrm>
            </p:grpSpPr>
            <p:sp>
              <p:nvSpPr>
                <p:cNvPr id="1926" name="TextBox 1925">
                  <a:extLst>
                    <a:ext uri="{FF2B5EF4-FFF2-40B4-BE49-F238E27FC236}">
                      <a16:creationId xmlns:a16="http://schemas.microsoft.com/office/drawing/2014/main" id="{FC5321D9-E6E6-46EA-9593-836C2345D96A}"/>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1927" name="Group 1926">
                  <a:extLst>
                    <a:ext uri="{FF2B5EF4-FFF2-40B4-BE49-F238E27FC236}">
                      <a16:creationId xmlns:a16="http://schemas.microsoft.com/office/drawing/2014/main" id="{308D58E9-16A1-4362-9E81-141D41D169ED}"/>
                    </a:ext>
                  </a:extLst>
                </p:cNvPr>
                <p:cNvGrpSpPr/>
                <p:nvPr/>
              </p:nvGrpSpPr>
              <p:grpSpPr>
                <a:xfrm>
                  <a:off x="8153924" y="1224949"/>
                  <a:ext cx="927652" cy="402840"/>
                  <a:chOff x="8153924" y="1224949"/>
                  <a:chExt cx="927652" cy="402840"/>
                </a:xfrm>
              </p:grpSpPr>
              <p:sp>
                <p:nvSpPr>
                  <p:cNvPr id="1928" name="Freeform 78">
                    <a:extLst>
                      <a:ext uri="{FF2B5EF4-FFF2-40B4-BE49-F238E27FC236}">
                        <a16:creationId xmlns:a16="http://schemas.microsoft.com/office/drawing/2014/main" id="{B1D6FD19-FF8F-4196-97BA-A2A4FE48A52A}"/>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29" name="Freeform 80">
                    <a:extLst>
                      <a:ext uri="{FF2B5EF4-FFF2-40B4-BE49-F238E27FC236}">
                        <a16:creationId xmlns:a16="http://schemas.microsoft.com/office/drawing/2014/main" id="{58D55BE9-C36E-4871-AF74-B3BEEE5120AA}"/>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30" name="Freeform 1576">
                    <a:extLst>
                      <a:ext uri="{FF2B5EF4-FFF2-40B4-BE49-F238E27FC236}">
                        <a16:creationId xmlns:a16="http://schemas.microsoft.com/office/drawing/2014/main" id="{3576BF89-14E9-49CF-A366-BD11C8DD1551}"/>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31" name="Freeform 1577">
                    <a:extLst>
                      <a:ext uri="{FF2B5EF4-FFF2-40B4-BE49-F238E27FC236}">
                        <a16:creationId xmlns:a16="http://schemas.microsoft.com/office/drawing/2014/main" id="{22A2C2A1-A641-460F-BEF5-A8AEB8AF513C}"/>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32" name="Freeform 1578">
                    <a:extLst>
                      <a:ext uri="{FF2B5EF4-FFF2-40B4-BE49-F238E27FC236}">
                        <a16:creationId xmlns:a16="http://schemas.microsoft.com/office/drawing/2014/main" id="{2FE2C9C3-3B8B-43D7-9F78-6035EACE3F22}"/>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33" name="Freeform 1579">
                    <a:extLst>
                      <a:ext uri="{FF2B5EF4-FFF2-40B4-BE49-F238E27FC236}">
                        <a16:creationId xmlns:a16="http://schemas.microsoft.com/office/drawing/2014/main" id="{FC2C2DB4-3D1E-4647-9814-A98E6C285C49}"/>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34" name="Freeform 1580">
                    <a:extLst>
                      <a:ext uri="{FF2B5EF4-FFF2-40B4-BE49-F238E27FC236}">
                        <a16:creationId xmlns:a16="http://schemas.microsoft.com/office/drawing/2014/main" id="{1423AB7B-4BCF-441B-8A67-5171B3D05932}"/>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35" name="Freeform 1581">
                    <a:extLst>
                      <a:ext uri="{FF2B5EF4-FFF2-40B4-BE49-F238E27FC236}">
                        <a16:creationId xmlns:a16="http://schemas.microsoft.com/office/drawing/2014/main" id="{0C9BAEDA-E8CC-4027-B913-73B973AF1D73}"/>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36" name="Freeform 1582">
                    <a:extLst>
                      <a:ext uri="{FF2B5EF4-FFF2-40B4-BE49-F238E27FC236}">
                        <a16:creationId xmlns:a16="http://schemas.microsoft.com/office/drawing/2014/main" id="{CF76E72B-7006-49DB-B6C5-042B1D8B53A7}"/>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37" name="Freeform 1583">
                    <a:extLst>
                      <a:ext uri="{FF2B5EF4-FFF2-40B4-BE49-F238E27FC236}">
                        <a16:creationId xmlns:a16="http://schemas.microsoft.com/office/drawing/2014/main" id="{F0BE4D3C-D082-4F7F-9823-67E04657A5F3}"/>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38" name="Freeform 1584">
                    <a:extLst>
                      <a:ext uri="{FF2B5EF4-FFF2-40B4-BE49-F238E27FC236}">
                        <a16:creationId xmlns:a16="http://schemas.microsoft.com/office/drawing/2014/main" id="{21BA7562-0EAB-4C0F-A86F-3BE9E056E7CF}"/>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939" name="Freeform 1585">
                    <a:extLst>
                      <a:ext uri="{FF2B5EF4-FFF2-40B4-BE49-F238E27FC236}">
                        <a16:creationId xmlns:a16="http://schemas.microsoft.com/office/drawing/2014/main" id="{EA06F513-F21A-485D-9F3B-46C28FD98CA5}"/>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940" name="Freeform 1586">
                    <a:extLst>
                      <a:ext uri="{FF2B5EF4-FFF2-40B4-BE49-F238E27FC236}">
                        <a16:creationId xmlns:a16="http://schemas.microsoft.com/office/drawing/2014/main" id="{483D81E5-6691-40C9-B336-C191C7FA3FB0}"/>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941" name="Freeform 1587">
                    <a:extLst>
                      <a:ext uri="{FF2B5EF4-FFF2-40B4-BE49-F238E27FC236}">
                        <a16:creationId xmlns:a16="http://schemas.microsoft.com/office/drawing/2014/main" id="{7E895531-9E90-476A-A650-C6D0B5F10D43}"/>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942" name="Freeform 1588">
                    <a:extLst>
                      <a:ext uri="{FF2B5EF4-FFF2-40B4-BE49-F238E27FC236}">
                        <a16:creationId xmlns:a16="http://schemas.microsoft.com/office/drawing/2014/main" id="{192FEFF2-55B5-498F-983B-B9CE2936A3F5}"/>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943" name="Rectangle 1589">
                    <a:extLst>
                      <a:ext uri="{FF2B5EF4-FFF2-40B4-BE49-F238E27FC236}">
                        <a16:creationId xmlns:a16="http://schemas.microsoft.com/office/drawing/2014/main" id="{D24AB9B7-DCB7-49FE-817E-FA446B425FC5}"/>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44" name="Rectangle 1590">
                    <a:extLst>
                      <a:ext uri="{FF2B5EF4-FFF2-40B4-BE49-F238E27FC236}">
                        <a16:creationId xmlns:a16="http://schemas.microsoft.com/office/drawing/2014/main" id="{48484E33-B8B4-4537-8060-29153DB55D52}"/>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45" name="Freeform 1591">
                    <a:extLst>
                      <a:ext uri="{FF2B5EF4-FFF2-40B4-BE49-F238E27FC236}">
                        <a16:creationId xmlns:a16="http://schemas.microsoft.com/office/drawing/2014/main" id="{A6306E62-B737-4D6D-943B-845E66947C85}"/>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46" name="Freeform 1592">
                    <a:extLst>
                      <a:ext uri="{FF2B5EF4-FFF2-40B4-BE49-F238E27FC236}">
                        <a16:creationId xmlns:a16="http://schemas.microsoft.com/office/drawing/2014/main" id="{087342BB-DF7B-4414-B8DA-907C9904FEAF}"/>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47" name="Freeform 1593">
                    <a:extLst>
                      <a:ext uri="{FF2B5EF4-FFF2-40B4-BE49-F238E27FC236}">
                        <a16:creationId xmlns:a16="http://schemas.microsoft.com/office/drawing/2014/main" id="{87F6A54A-7C98-46AD-996E-970A5E5CA74A}"/>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1948" name="Freeform 1596">
                    <a:extLst>
                      <a:ext uri="{FF2B5EF4-FFF2-40B4-BE49-F238E27FC236}">
                        <a16:creationId xmlns:a16="http://schemas.microsoft.com/office/drawing/2014/main" id="{7337756D-4414-47F7-B975-CDAB00AD1FF5}"/>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1836" name="Group 1835">
                <a:extLst>
                  <a:ext uri="{FF2B5EF4-FFF2-40B4-BE49-F238E27FC236}">
                    <a16:creationId xmlns:a16="http://schemas.microsoft.com/office/drawing/2014/main" id="{D95B1408-5DD9-48D2-868F-422F84351B0E}"/>
                  </a:ext>
                </a:extLst>
              </p:cNvPr>
              <p:cNvGrpSpPr/>
              <p:nvPr/>
            </p:nvGrpSpPr>
            <p:grpSpPr>
              <a:xfrm>
                <a:off x="7508988" y="1995190"/>
                <a:ext cx="2049581" cy="1005869"/>
                <a:chOff x="8356478" y="3790294"/>
                <a:chExt cx="3013725" cy="1479041"/>
              </a:xfrm>
            </p:grpSpPr>
            <p:sp>
              <p:nvSpPr>
                <p:cNvPr id="1923" name="Rectangle 1922">
                  <a:extLst>
                    <a:ext uri="{FF2B5EF4-FFF2-40B4-BE49-F238E27FC236}">
                      <a16:creationId xmlns:a16="http://schemas.microsoft.com/office/drawing/2014/main" id="{6880E22D-5560-4EF8-AB7A-326C643F5466}"/>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1924" name="Rectangle 1923">
                  <a:extLst>
                    <a:ext uri="{FF2B5EF4-FFF2-40B4-BE49-F238E27FC236}">
                      <a16:creationId xmlns:a16="http://schemas.microsoft.com/office/drawing/2014/main" id="{C493BA41-D239-4CF4-8044-1EF889B2D316}"/>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1925" name="Straight Arrow Connector 1924">
                  <a:extLst>
                    <a:ext uri="{FF2B5EF4-FFF2-40B4-BE49-F238E27FC236}">
                      <a16:creationId xmlns:a16="http://schemas.microsoft.com/office/drawing/2014/main" id="{3E21752E-9028-407A-B889-81F6B661BEF7}"/>
                    </a:ext>
                  </a:extLst>
                </p:cNvPr>
                <p:cNvCxnSpPr>
                  <a:cxnSpLocks/>
                  <a:stCxn id="1923"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837" name="Group 1836">
                <a:extLst>
                  <a:ext uri="{FF2B5EF4-FFF2-40B4-BE49-F238E27FC236}">
                    <a16:creationId xmlns:a16="http://schemas.microsoft.com/office/drawing/2014/main" id="{E0089485-D04B-4F8E-8E7E-B259EA4F38B4}"/>
                  </a:ext>
                </a:extLst>
              </p:cNvPr>
              <p:cNvGrpSpPr/>
              <p:nvPr/>
            </p:nvGrpSpPr>
            <p:grpSpPr>
              <a:xfrm>
                <a:off x="8556157" y="1876097"/>
                <a:ext cx="1088511" cy="894403"/>
                <a:chOff x="10800033" y="2297897"/>
                <a:chExt cx="1600558" cy="1315140"/>
              </a:xfrm>
            </p:grpSpPr>
            <p:grpSp>
              <p:nvGrpSpPr>
                <p:cNvPr id="1841" name="Group 1840">
                  <a:extLst>
                    <a:ext uri="{FF2B5EF4-FFF2-40B4-BE49-F238E27FC236}">
                      <a16:creationId xmlns:a16="http://schemas.microsoft.com/office/drawing/2014/main" id="{39DB3AF2-10AE-444D-B9BB-4504FB255A54}"/>
                    </a:ext>
                  </a:extLst>
                </p:cNvPr>
                <p:cNvGrpSpPr>
                  <a:grpSpLocks/>
                </p:cNvGrpSpPr>
                <p:nvPr/>
              </p:nvGrpSpPr>
              <p:grpSpPr>
                <a:xfrm>
                  <a:off x="10800033" y="2339037"/>
                  <a:ext cx="613092" cy="613092"/>
                  <a:chOff x="745985" y="4768134"/>
                  <a:chExt cx="368776" cy="368777"/>
                </a:xfrm>
              </p:grpSpPr>
              <p:grpSp>
                <p:nvGrpSpPr>
                  <p:cNvPr id="1905" name="Group 64">
                    <a:extLst>
                      <a:ext uri="{FF2B5EF4-FFF2-40B4-BE49-F238E27FC236}">
                        <a16:creationId xmlns:a16="http://schemas.microsoft.com/office/drawing/2014/main" id="{9165D63C-4E8C-4BC2-B4C5-24F34B6862CD}"/>
                      </a:ext>
                    </a:extLst>
                  </p:cNvPr>
                  <p:cNvGrpSpPr>
                    <a:grpSpLocks noChangeAspect="1"/>
                  </p:cNvGrpSpPr>
                  <p:nvPr/>
                </p:nvGrpSpPr>
                <p:grpSpPr bwMode="auto">
                  <a:xfrm rot="8100000">
                    <a:off x="745985" y="4768134"/>
                    <a:ext cx="368776" cy="368777"/>
                    <a:chOff x="701" y="2170"/>
                    <a:chExt cx="587" cy="587"/>
                  </a:xfrm>
                </p:grpSpPr>
                <p:sp>
                  <p:nvSpPr>
                    <p:cNvPr id="1916" name="Oval 65">
                      <a:extLst>
                        <a:ext uri="{FF2B5EF4-FFF2-40B4-BE49-F238E27FC236}">
                          <a16:creationId xmlns:a16="http://schemas.microsoft.com/office/drawing/2014/main" id="{8F6B5E39-5CC2-4F43-9C79-C303B741E888}"/>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917" name="Line 66">
                      <a:extLst>
                        <a:ext uri="{FF2B5EF4-FFF2-40B4-BE49-F238E27FC236}">
                          <a16:creationId xmlns:a16="http://schemas.microsoft.com/office/drawing/2014/main" id="{19D25887-06DC-4605-B090-F1295726FAB5}"/>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18" name="Line 67">
                      <a:extLst>
                        <a:ext uri="{FF2B5EF4-FFF2-40B4-BE49-F238E27FC236}">
                          <a16:creationId xmlns:a16="http://schemas.microsoft.com/office/drawing/2014/main" id="{8DC21E1F-44F0-4E9D-817D-FED5AED78E8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19" name="Line 69">
                      <a:extLst>
                        <a:ext uri="{FF2B5EF4-FFF2-40B4-BE49-F238E27FC236}">
                          <a16:creationId xmlns:a16="http://schemas.microsoft.com/office/drawing/2014/main" id="{00D2E484-8E53-4C4B-A3AF-479C09657C8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20" name="Line 74">
                      <a:extLst>
                        <a:ext uri="{FF2B5EF4-FFF2-40B4-BE49-F238E27FC236}">
                          <a16:creationId xmlns:a16="http://schemas.microsoft.com/office/drawing/2014/main" id="{32602732-193A-45EB-8F8E-915FB256CD5D}"/>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21" name="Freeform 78">
                      <a:extLst>
                        <a:ext uri="{FF2B5EF4-FFF2-40B4-BE49-F238E27FC236}">
                          <a16:creationId xmlns:a16="http://schemas.microsoft.com/office/drawing/2014/main" id="{6893F50E-3CD5-4190-8526-E56776550FD6}"/>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22" name="Freeform 80">
                      <a:extLst>
                        <a:ext uri="{FF2B5EF4-FFF2-40B4-BE49-F238E27FC236}">
                          <a16:creationId xmlns:a16="http://schemas.microsoft.com/office/drawing/2014/main" id="{FC0F9DD5-4166-47B0-97B8-40CD378E331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906" name="Group 1905">
                    <a:extLst>
                      <a:ext uri="{FF2B5EF4-FFF2-40B4-BE49-F238E27FC236}">
                        <a16:creationId xmlns:a16="http://schemas.microsoft.com/office/drawing/2014/main" id="{6817B897-CFD1-4BA8-9F53-3962309F31D2}"/>
                      </a:ext>
                    </a:extLst>
                  </p:cNvPr>
                  <p:cNvGrpSpPr/>
                  <p:nvPr/>
                </p:nvGrpSpPr>
                <p:grpSpPr>
                  <a:xfrm>
                    <a:off x="837312" y="4814434"/>
                    <a:ext cx="136805" cy="278689"/>
                    <a:chOff x="2806700" y="2803319"/>
                    <a:chExt cx="433387" cy="882861"/>
                  </a:xfrm>
                </p:grpSpPr>
                <p:grpSp>
                  <p:nvGrpSpPr>
                    <p:cNvPr id="1907" name="Group 1906">
                      <a:extLst>
                        <a:ext uri="{FF2B5EF4-FFF2-40B4-BE49-F238E27FC236}">
                          <a16:creationId xmlns:a16="http://schemas.microsoft.com/office/drawing/2014/main" id="{CB504690-4B6B-45AB-BD75-BAC7A0917461}"/>
                        </a:ext>
                      </a:extLst>
                    </p:cNvPr>
                    <p:cNvGrpSpPr>
                      <a:grpSpLocks noChangeAspect="1"/>
                    </p:cNvGrpSpPr>
                    <p:nvPr/>
                  </p:nvGrpSpPr>
                  <p:grpSpPr bwMode="auto">
                    <a:xfrm>
                      <a:off x="2806700" y="3043242"/>
                      <a:ext cx="433387" cy="642938"/>
                      <a:chOff x="1768" y="1917"/>
                      <a:chExt cx="273" cy="405"/>
                    </a:xfrm>
                  </p:grpSpPr>
                  <p:sp>
                    <p:nvSpPr>
                      <p:cNvPr id="1909" name="Freeform 52">
                        <a:extLst>
                          <a:ext uri="{FF2B5EF4-FFF2-40B4-BE49-F238E27FC236}">
                            <a16:creationId xmlns:a16="http://schemas.microsoft.com/office/drawing/2014/main" id="{468BB566-0084-4067-B209-2CE09FA3AD4F}"/>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910" name="Line 54">
                        <a:extLst>
                          <a:ext uri="{FF2B5EF4-FFF2-40B4-BE49-F238E27FC236}">
                            <a16:creationId xmlns:a16="http://schemas.microsoft.com/office/drawing/2014/main" id="{59A2FAEF-57D0-4CC2-85D6-CFE36F3B77F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11" name="Line 55">
                        <a:extLst>
                          <a:ext uri="{FF2B5EF4-FFF2-40B4-BE49-F238E27FC236}">
                            <a16:creationId xmlns:a16="http://schemas.microsoft.com/office/drawing/2014/main" id="{EF4F554F-AD72-46CE-8E40-53335EFC7584}"/>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12" name="Freeform 56">
                        <a:extLst>
                          <a:ext uri="{FF2B5EF4-FFF2-40B4-BE49-F238E27FC236}">
                            <a16:creationId xmlns:a16="http://schemas.microsoft.com/office/drawing/2014/main" id="{31F395C9-3738-4A7B-AC56-F646F60ACB3C}"/>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13" name="Line 57">
                        <a:extLst>
                          <a:ext uri="{FF2B5EF4-FFF2-40B4-BE49-F238E27FC236}">
                            <a16:creationId xmlns:a16="http://schemas.microsoft.com/office/drawing/2014/main" id="{DB3138AA-2370-4CD8-9751-29CF822AA5A5}"/>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14" name="Freeform 58">
                        <a:extLst>
                          <a:ext uri="{FF2B5EF4-FFF2-40B4-BE49-F238E27FC236}">
                            <a16:creationId xmlns:a16="http://schemas.microsoft.com/office/drawing/2014/main" id="{1A5806D6-CF93-434B-9E7B-39F7E39463B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15" name="Rectangle 1914">
                        <a:extLst>
                          <a:ext uri="{FF2B5EF4-FFF2-40B4-BE49-F238E27FC236}">
                            <a16:creationId xmlns:a16="http://schemas.microsoft.com/office/drawing/2014/main" id="{2AB2B1AA-3401-4D00-9108-192ACB874393}"/>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1908" name="Oval 1907">
                      <a:extLst>
                        <a:ext uri="{FF2B5EF4-FFF2-40B4-BE49-F238E27FC236}">
                          <a16:creationId xmlns:a16="http://schemas.microsoft.com/office/drawing/2014/main" id="{066DF002-77E9-4D28-9A3A-48BF5CF5E1C5}"/>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1842" name="Group 1841">
                  <a:extLst>
                    <a:ext uri="{FF2B5EF4-FFF2-40B4-BE49-F238E27FC236}">
                      <a16:creationId xmlns:a16="http://schemas.microsoft.com/office/drawing/2014/main" id="{BECC98FB-0D3C-4FC3-8BE7-76995414445C}"/>
                    </a:ext>
                  </a:extLst>
                </p:cNvPr>
                <p:cNvGrpSpPr>
                  <a:grpSpLocks/>
                </p:cNvGrpSpPr>
                <p:nvPr/>
              </p:nvGrpSpPr>
              <p:grpSpPr>
                <a:xfrm>
                  <a:off x="11166615" y="2825631"/>
                  <a:ext cx="787402" cy="787406"/>
                  <a:chOff x="1454941" y="4721722"/>
                  <a:chExt cx="473625" cy="473627"/>
                </a:xfrm>
              </p:grpSpPr>
              <p:grpSp>
                <p:nvGrpSpPr>
                  <p:cNvPr id="1866" name="Group 64">
                    <a:extLst>
                      <a:ext uri="{FF2B5EF4-FFF2-40B4-BE49-F238E27FC236}">
                        <a16:creationId xmlns:a16="http://schemas.microsoft.com/office/drawing/2014/main" id="{69652E55-7CD5-4AD0-AFE8-12F2D19B4D1D}"/>
                      </a:ext>
                    </a:extLst>
                  </p:cNvPr>
                  <p:cNvGrpSpPr>
                    <a:grpSpLocks noChangeAspect="1"/>
                  </p:cNvGrpSpPr>
                  <p:nvPr/>
                </p:nvGrpSpPr>
                <p:grpSpPr bwMode="auto">
                  <a:xfrm rot="8100000">
                    <a:off x="1454941" y="4721722"/>
                    <a:ext cx="473625" cy="473627"/>
                    <a:chOff x="701" y="2170"/>
                    <a:chExt cx="587" cy="587"/>
                  </a:xfrm>
                </p:grpSpPr>
                <p:sp>
                  <p:nvSpPr>
                    <p:cNvPr id="1898" name="Oval 65">
                      <a:extLst>
                        <a:ext uri="{FF2B5EF4-FFF2-40B4-BE49-F238E27FC236}">
                          <a16:creationId xmlns:a16="http://schemas.microsoft.com/office/drawing/2014/main" id="{29910ECE-4CE4-42CA-A2E4-1576043F5C1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99" name="Line 66">
                      <a:extLst>
                        <a:ext uri="{FF2B5EF4-FFF2-40B4-BE49-F238E27FC236}">
                          <a16:creationId xmlns:a16="http://schemas.microsoft.com/office/drawing/2014/main" id="{2AEDE868-1CC6-4F68-B9A1-559C103EC0B4}"/>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00" name="Line 67">
                      <a:extLst>
                        <a:ext uri="{FF2B5EF4-FFF2-40B4-BE49-F238E27FC236}">
                          <a16:creationId xmlns:a16="http://schemas.microsoft.com/office/drawing/2014/main" id="{85EAF236-77D1-44FD-8A11-C97D1569BD3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01" name="Line 69">
                      <a:extLst>
                        <a:ext uri="{FF2B5EF4-FFF2-40B4-BE49-F238E27FC236}">
                          <a16:creationId xmlns:a16="http://schemas.microsoft.com/office/drawing/2014/main" id="{005ADCCD-A771-421A-B73A-0E16AA46B25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02" name="Line 74">
                      <a:extLst>
                        <a:ext uri="{FF2B5EF4-FFF2-40B4-BE49-F238E27FC236}">
                          <a16:creationId xmlns:a16="http://schemas.microsoft.com/office/drawing/2014/main" id="{7EC70BF4-5DB9-4BB7-8EB1-2BE7738411B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03" name="Freeform 78">
                      <a:extLst>
                        <a:ext uri="{FF2B5EF4-FFF2-40B4-BE49-F238E27FC236}">
                          <a16:creationId xmlns:a16="http://schemas.microsoft.com/office/drawing/2014/main" id="{2B5FCC03-18A5-490E-903B-B537BE5A010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904" name="Freeform 80">
                      <a:extLst>
                        <a:ext uri="{FF2B5EF4-FFF2-40B4-BE49-F238E27FC236}">
                          <a16:creationId xmlns:a16="http://schemas.microsoft.com/office/drawing/2014/main" id="{714886A5-707C-4555-821A-F7BE9F0EC0F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867" name="Group 1866">
                    <a:extLst>
                      <a:ext uri="{FF2B5EF4-FFF2-40B4-BE49-F238E27FC236}">
                        <a16:creationId xmlns:a16="http://schemas.microsoft.com/office/drawing/2014/main" id="{72AE09DB-7679-4747-974E-4D84D881AC62}"/>
                      </a:ext>
                    </a:extLst>
                  </p:cNvPr>
                  <p:cNvGrpSpPr/>
                  <p:nvPr/>
                </p:nvGrpSpPr>
                <p:grpSpPr>
                  <a:xfrm>
                    <a:off x="1511214" y="4789508"/>
                    <a:ext cx="356509" cy="349884"/>
                    <a:chOff x="468738" y="2241878"/>
                    <a:chExt cx="1655483" cy="1624719"/>
                  </a:xfrm>
                </p:grpSpPr>
                <p:sp>
                  <p:nvSpPr>
                    <p:cNvPr id="1868" name="Freeform 5">
                      <a:extLst>
                        <a:ext uri="{FF2B5EF4-FFF2-40B4-BE49-F238E27FC236}">
                          <a16:creationId xmlns:a16="http://schemas.microsoft.com/office/drawing/2014/main" id="{EB138D91-07D9-4FCC-BE4D-363249CE0B92}"/>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69" name="Freeform 6">
                      <a:extLst>
                        <a:ext uri="{FF2B5EF4-FFF2-40B4-BE49-F238E27FC236}">
                          <a16:creationId xmlns:a16="http://schemas.microsoft.com/office/drawing/2014/main" id="{CD9CDDF1-3999-4E09-8158-3C533E1656D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70" name="Line 7">
                      <a:extLst>
                        <a:ext uri="{FF2B5EF4-FFF2-40B4-BE49-F238E27FC236}">
                          <a16:creationId xmlns:a16="http://schemas.microsoft.com/office/drawing/2014/main" id="{1B8406D1-0026-4B0E-B028-9274EB8ED7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71" name="Freeform 8">
                      <a:extLst>
                        <a:ext uri="{FF2B5EF4-FFF2-40B4-BE49-F238E27FC236}">
                          <a16:creationId xmlns:a16="http://schemas.microsoft.com/office/drawing/2014/main" id="{A1593420-BED7-4739-A96E-3AF56D347888}"/>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72" name="Line 9">
                      <a:extLst>
                        <a:ext uri="{FF2B5EF4-FFF2-40B4-BE49-F238E27FC236}">
                          <a16:creationId xmlns:a16="http://schemas.microsoft.com/office/drawing/2014/main" id="{E41B523E-ECD1-4FE9-B593-5FAA9A4811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873" name="Group 1872">
                      <a:extLst>
                        <a:ext uri="{FF2B5EF4-FFF2-40B4-BE49-F238E27FC236}">
                          <a16:creationId xmlns:a16="http://schemas.microsoft.com/office/drawing/2014/main" id="{C5195215-500C-43AC-B231-96FC7BB164B8}"/>
                        </a:ext>
                      </a:extLst>
                    </p:cNvPr>
                    <p:cNvGrpSpPr/>
                    <p:nvPr/>
                  </p:nvGrpSpPr>
                  <p:grpSpPr>
                    <a:xfrm>
                      <a:off x="1207113" y="2241878"/>
                      <a:ext cx="178734" cy="348678"/>
                      <a:chOff x="1207113" y="2241878"/>
                      <a:chExt cx="178734" cy="348678"/>
                    </a:xfrm>
                  </p:grpSpPr>
                  <p:sp>
                    <p:nvSpPr>
                      <p:cNvPr id="1896" name="Freeform 10">
                        <a:extLst>
                          <a:ext uri="{FF2B5EF4-FFF2-40B4-BE49-F238E27FC236}">
                            <a16:creationId xmlns:a16="http://schemas.microsoft.com/office/drawing/2014/main" id="{59150360-F454-406A-834E-7B252A5EB7B3}"/>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97" name="Line 11">
                        <a:extLst>
                          <a:ext uri="{FF2B5EF4-FFF2-40B4-BE49-F238E27FC236}">
                            <a16:creationId xmlns:a16="http://schemas.microsoft.com/office/drawing/2014/main" id="{45FCD744-3029-4582-9980-4364ACF2698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1874" name="Freeform 12">
                      <a:extLst>
                        <a:ext uri="{FF2B5EF4-FFF2-40B4-BE49-F238E27FC236}">
                          <a16:creationId xmlns:a16="http://schemas.microsoft.com/office/drawing/2014/main" id="{045601D7-D74D-424A-AD4E-AA3FD2299B1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75" name="Line 13">
                      <a:extLst>
                        <a:ext uri="{FF2B5EF4-FFF2-40B4-BE49-F238E27FC236}">
                          <a16:creationId xmlns:a16="http://schemas.microsoft.com/office/drawing/2014/main" id="{ACC2C192-64A4-4C57-BE51-936E66980B54}"/>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76" name="Freeform 14">
                      <a:extLst>
                        <a:ext uri="{FF2B5EF4-FFF2-40B4-BE49-F238E27FC236}">
                          <a16:creationId xmlns:a16="http://schemas.microsoft.com/office/drawing/2014/main" id="{83735542-84FD-4441-A4BD-97AF6E375D9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77" name="Line 15">
                      <a:extLst>
                        <a:ext uri="{FF2B5EF4-FFF2-40B4-BE49-F238E27FC236}">
                          <a16:creationId xmlns:a16="http://schemas.microsoft.com/office/drawing/2014/main" id="{98168D56-FA31-453D-A4AF-2D29A7E09B32}"/>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78" name="Freeform 16">
                      <a:extLst>
                        <a:ext uri="{FF2B5EF4-FFF2-40B4-BE49-F238E27FC236}">
                          <a16:creationId xmlns:a16="http://schemas.microsoft.com/office/drawing/2014/main" id="{581662C3-9986-4AA1-BE81-BDA409D166CD}"/>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79" name="Line 17">
                      <a:extLst>
                        <a:ext uri="{FF2B5EF4-FFF2-40B4-BE49-F238E27FC236}">
                          <a16:creationId xmlns:a16="http://schemas.microsoft.com/office/drawing/2014/main" id="{1FA23975-83AA-4973-B235-E900A29C67EF}"/>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80" name="Freeform 18">
                      <a:extLst>
                        <a:ext uri="{FF2B5EF4-FFF2-40B4-BE49-F238E27FC236}">
                          <a16:creationId xmlns:a16="http://schemas.microsoft.com/office/drawing/2014/main" id="{5293DC5C-BD2D-4845-A9A9-C2A5662EB5F7}"/>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81" name="Line 19">
                      <a:extLst>
                        <a:ext uri="{FF2B5EF4-FFF2-40B4-BE49-F238E27FC236}">
                          <a16:creationId xmlns:a16="http://schemas.microsoft.com/office/drawing/2014/main" id="{A503D6BE-41CE-405A-BF70-F377173A244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82" name="Freeform 35">
                      <a:extLst>
                        <a:ext uri="{FF2B5EF4-FFF2-40B4-BE49-F238E27FC236}">
                          <a16:creationId xmlns:a16="http://schemas.microsoft.com/office/drawing/2014/main" id="{C4F94691-5873-47C9-BC41-8685D3318066}"/>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83" name="Freeform 36">
                      <a:extLst>
                        <a:ext uri="{FF2B5EF4-FFF2-40B4-BE49-F238E27FC236}">
                          <a16:creationId xmlns:a16="http://schemas.microsoft.com/office/drawing/2014/main" id="{493084FE-37B5-4E66-9F2A-9AC69770AF6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84" name="Freeform 37">
                      <a:extLst>
                        <a:ext uri="{FF2B5EF4-FFF2-40B4-BE49-F238E27FC236}">
                          <a16:creationId xmlns:a16="http://schemas.microsoft.com/office/drawing/2014/main" id="{808C2361-2E7B-4675-963E-5D4E64531AD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85" name="Freeform 38">
                      <a:extLst>
                        <a:ext uri="{FF2B5EF4-FFF2-40B4-BE49-F238E27FC236}">
                          <a16:creationId xmlns:a16="http://schemas.microsoft.com/office/drawing/2014/main" id="{439469A3-D57C-474B-B21C-75B6DB26FA5B}"/>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86" name="Freeform 39">
                      <a:extLst>
                        <a:ext uri="{FF2B5EF4-FFF2-40B4-BE49-F238E27FC236}">
                          <a16:creationId xmlns:a16="http://schemas.microsoft.com/office/drawing/2014/main" id="{94D06970-A4B3-4F7C-9734-6A92ACCDABB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87" name="Freeform 40">
                      <a:extLst>
                        <a:ext uri="{FF2B5EF4-FFF2-40B4-BE49-F238E27FC236}">
                          <a16:creationId xmlns:a16="http://schemas.microsoft.com/office/drawing/2014/main" id="{B31F07C3-553D-4C29-BABB-FBB9173738E5}"/>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88" name="Freeform 41">
                      <a:extLst>
                        <a:ext uri="{FF2B5EF4-FFF2-40B4-BE49-F238E27FC236}">
                          <a16:creationId xmlns:a16="http://schemas.microsoft.com/office/drawing/2014/main" id="{84727838-1821-4879-8EA9-E13B39DCDC78}"/>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89" name="Line 42">
                      <a:extLst>
                        <a:ext uri="{FF2B5EF4-FFF2-40B4-BE49-F238E27FC236}">
                          <a16:creationId xmlns:a16="http://schemas.microsoft.com/office/drawing/2014/main" id="{D8E24AE4-2EBA-48C2-824E-A78BA821638C}"/>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90" name="Freeform 43">
                      <a:extLst>
                        <a:ext uri="{FF2B5EF4-FFF2-40B4-BE49-F238E27FC236}">
                          <a16:creationId xmlns:a16="http://schemas.microsoft.com/office/drawing/2014/main" id="{F691EF88-EC6B-47D7-A1D2-412E5730F65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91" name="Freeform 44">
                      <a:extLst>
                        <a:ext uri="{FF2B5EF4-FFF2-40B4-BE49-F238E27FC236}">
                          <a16:creationId xmlns:a16="http://schemas.microsoft.com/office/drawing/2014/main" id="{1ABE4E7A-2823-48BA-B468-7B6D87A9C1A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92" name="Freeform 45">
                      <a:extLst>
                        <a:ext uri="{FF2B5EF4-FFF2-40B4-BE49-F238E27FC236}">
                          <a16:creationId xmlns:a16="http://schemas.microsoft.com/office/drawing/2014/main" id="{407A18F0-EF73-4BAC-987A-521022599085}"/>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1893" name="Group 1892">
                      <a:extLst>
                        <a:ext uri="{FF2B5EF4-FFF2-40B4-BE49-F238E27FC236}">
                          <a16:creationId xmlns:a16="http://schemas.microsoft.com/office/drawing/2014/main" id="{0C433253-529F-4D6A-8332-BF0604442AD7}"/>
                        </a:ext>
                      </a:extLst>
                    </p:cNvPr>
                    <p:cNvGrpSpPr/>
                    <p:nvPr/>
                  </p:nvGrpSpPr>
                  <p:grpSpPr>
                    <a:xfrm flipV="1">
                      <a:off x="1202047" y="3517919"/>
                      <a:ext cx="178734" cy="348678"/>
                      <a:chOff x="1207113" y="2241878"/>
                      <a:chExt cx="178734" cy="348678"/>
                    </a:xfrm>
                  </p:grpSpPr>
                  <p:sp>
                    <p:nvSpPr>
                      <p:cNvPr id="1894" name="Freeform 10">
                        <a:extLst>
                          <a:ext uri="{FF2B5EF4-FFF2-40B4-BE49-F238E27FC236}">
                            <a16:creationId xmlns:a16="http://schemas.microsoft.com/office/drawing/2014/main" id="{F5E18749-4223-4E4A-A7DF-DF7D04669D63}"/>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95" name="Line 11">
                        <a:extLst>
                          <a:ext uri="{FF2B5EF4-FFF2-40B4-BE49-F238E27FC236}">
                            <a16:creationId xmlns:a16="http://schemas.microsoft.com/office/drawing/2014/main" id="{E36E7C1E-4658-4230-A691-6C7947F18AA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1843" name="Group 1842">
                  <a:extLst>
                    <a:ext uri="{FF2B5EF4-FFF2-40B4-BE49-F238E27FC236}">
                      <a16:creationId xmlns:a16="http://schemas.microsoft.com/office/drawing/2014/main" id="{20944353-8F63-4EA0-904F-A3BC5BC5B73B}"/>
                    </a:ext>
                  </a:extLst>
                </p:cNvPr>
                <p:cNvGrpSpPr>
                  <a:grpSpLocks/>
                </p:cNvGrpSpPr>
                <p:nvPr/>
              </p:nvGrpSpPr>
              <p:grpSpPr>
                <a:xfrm>
                  <a:off x="11709639" y="2297897"/>
                  <a:ext cx="690952" cy="690956"/>
                  <a:chOff x="2268747" y="4723725"/>
                  <a:chExt cx="415610" cy="415612"/>
                </a:xfrm>
              </p:grpSpPr>
              <p:grpSp>
                <p:nvGrpSpPr>
                  <p:cNvPr id="1844" name="Group 64">
                    <a:extLst>
                      <a:ext uri="{FF2B5EF4-FFF2-40B4-BE49-F238E27FC236}">
                        <a16:creationId xmlns:a16="http://schemas.microsoft.com/office/drawing/2014/main" id="{ECC57BE1-3518-4CA2-BF8B-728277C3B466}"/>
                      </a:ext>
                    </a:extLst>
                  </p:cNvPr>
                  <p:cNvGrpSpPr>
                    <a:grpSpLocks noChangeAspect="1"/>
                  </p:cNvGrpSpPr>
                  <p:nvPr/>
                </p:nvGrpSpPr>
                <p:grpSpPr bwMode="auto">
                  <a:xfrm rot="8100000">
                    <a:off x="2268747" y="4723725"/>
                    <a:ext cx="415610" cy="415612"/>
                    <a:chOff x="701" y="2170"/>
                    <a:chExt cx="587" cy="587"/>
                  </a:xfrm>
                </p:grpSpPr>
                <p:sp>
                  <p:nvSpPr>
                    <p:cNvPr id="1859" name="Oval 65">
                      <a:extLst>
                        <a:ext uri="{FF2B5EF4-FFF2-40B4-BE49-F238E27FC236}">
                          <a16:creationId xmlns:a16="http://schemas.microsoft.com/office/drawing/2014/main" id="{2C0B3FA5-9B53-4372-AF22-A36198C1C02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60" name="Line 66">
                      <a:extLst>
                        <a:ext uri="{FF2B5EF4-FFF2-40B4-BE49-F238E27FC236}">
                          <a16:creationId xmlns:a16="http://schemas.microsoft.com/office/drawing/2014/main" id="{C8AD06EF-DC27-4F0F-AD63-99F8E503276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61" name="Line 67">
                      <a:extLst>
                        <a:ext uri="{FF2B5EF4-FFF2-40B4-BE49-F238E27FC236}">
                          <a16:creationId xmlns:a16="http://schemas.microsoft.com/office/drawing/2014/main" id="{8549F363-3292-4006-A6EC-9A686A89C966}"/>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62" name="Line 69">
                      <a:extLst>
                        <a:ext uri="{FF2B5EF4-FFF2-40B4-BE49-F238E27FC236}">
                          <a16:creationId xmlns:a16="http://schemas.microsoft.com/office/drawing/2014/main" id="{E951EF91-0955-465D-8775-8FEFADD92AF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63" name="Line 74">
                      <a:extLst>
                        <a:ext uri="{FF2B5EF4-FFF2-40B4-BE49-F238E27FC236}">
                          <a16:creationId xmlns:a16="http://schemas.microsoft.com/office/drawing/2014/main" id="{FE0E8A97-0847-41EB-8F9E-00CC02E1975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64" name="Freeform 78">
                      <a:extLst>
                        <a:ext uri="{FF2B5EF4-FFF2-40B4-BE49-F238E27FC236}">
                          <a16:creationId xmlns:a16="http://schemas.microsoft.com/office/drawing/2014/main" id="{C97EF90E-EE91-4561-8DE1-3A1F25716B7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65" name="Freeform 80">
                      <a:extLst>
                        <a:ext uri="{FF2B5EF4-FFF2-40B4-BE49-F238E27FC236}">
                          <a16:creationId xmlns:a16="http://schemas.microsoft.com/office/drawing/2014/main" id="{3E82B64D-DDAF-4E8A-AB0F-18DE4E8B7A0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1845" name="Group 1844">
                    <a:extLst>
                      <a:ext uri="{FF2B5EF4-FFF2-40B4-BE49-F238E27FC236}">
                        <a16:creationId xmlns:a16="http://schemas.microsoft.com/office/drawing/2014/main" id="{474F89F6-5B44-4133-84AC-8E22E0C5776B}"/>
                      </a:ext>
                    </a:extLst>
                  </p:cNvPr>
                  <p:cNvGrpSpPr/>
                  <p:nvPr/>
                </p:nvGrpSpPr>
                <p:grpSpPr>
                  <a:xfrm>
                    <a:off x="2318076" y="4830163"/>
                    <a:ext cx="313949" cy="233075"/>
                    <a:chOff x="3707533" y="2731244"/>
                    <a:chExt cx="389644" cy="289271"/>
                  </a:xfrm>
                </p:grpSpPr>
                <p:sp>
                  <p:nvSpPr>
                    <p:cNvPr id="1846" name="Freeform 33">
                      <a:extLst>
                        <a:ext uri="{FF2B5EF4-FFF2-40B4-BE49-F238E27FC236}">
                          <a16:creationId xmlns:a16="http://schemas.microsoft.com/office/drawing/2014/main" id="{131BD357-3BF5-461F-9D2C-A68B81602BC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47" name="Freeform 34">
                      <a:extLst>
                        <a:ext uri="{FF2B5EF4-FFF2-40B4-BE49-F238E27FC236}">
                          <a16:creationId xmlns:a16="http://schemas.microsoft.com/office/drawing/2014/main" id="{BB60BCAF-B642-45B6-95FF-ADC36986D448}"/>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48" name="Freeform 37">
                      <a:extLst>
                        <a:ext uri="{FF2B5EF4-FFF2-40B4-BE49-F238E27FC236}">
                          <a16:creationId xmlns:a16="http://schemas.microsoft.com/office/drawing/2014/main" id="{014C1A96-4D39-40A8-B8B2-B56BB5CB2E68}"/>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49" name="Freeform 38">
                      <a:extLst>
                        <a:ext uri="{FF2B5EF4-FFF2-40B4-BE49-F238E27FC236}">
                          <a16:creationId xmlns:a16="http://schemas.microsoft.com/office/drawing/2014/main" id="{EE0784FF-A8C4-4D02-8D03-875F42873B17}"/>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50" name="Freeform 32">
                      <a:extLst>
                        <a:ext uri="{FF2B5EF4-FFF2-40B4-BE49-F238E27FC236}">
                          <a16:creationId xmlns:a16="http://schemas.microsoft.com/office/drawing/2014/main" id="{2B3A0E8C-4C80-4E03-A855-30A60C54E456}"/>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51" name="Freeform 35">
                      <a:extLst>
                        <a:ext uri="{FF2B5EF4-FFF2-40B4-BE49-F238E27FC236}">
                          <a16:creationId xmlns:a16="http://schemas.microsoft.com/office/drawing/2014/main" id="{5629CA94-DD74-417E-BBD8-C95D03B5BEAD}"/>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52" name="Freeform 36">
                      <a:extLst>
                        <a:ext uri="{FF2B5EF4-FFF2-40B4-BE49-F238E27FC236}">
                          <a16:creationId xmlns:a16="http://schemas.microsoft.com/office/drawing/2014/main" id="{F5E2A55F-1547-4210-9D06-EFC0521988C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53" name="Freeform 25">
                      <a:extLst>
                        <a:ext uri="{FF2B5EF4-FFF2-40B4-BE49-F238E27FC236}">
                          <a16:creationId xmlns:a16="http://schemas.microsoft.com/office/drawing/2014/main" id="{3D194058-2F19-42A1-AE13-FF40657CE53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54" name="Freeform 39">
                      <a:extLst>
                        <a:ext uri="{FF2B5EF4-FFF2-40B4-BE49-F238E27FC236}">
                          <a16:creationId xmlns:a16="http://schemas.microsoft.com/office/drawing/2014/main" id="{19C1A17E-A4B5-410B-8DCA-62C2AFA98AD8}"/>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55" name="Freeform 26">
                      <a:extLst>
                        <a:ext uri="{FF2B5EF4-FFF2-40B4-BE49-F238E27FC236}">
                          <a16:creationId xmlns:a16="http://schemas.microsoft.com/office/drawing/2014/main" id="{CF975494-62CF-4B79-B944-16D37656D923}"/>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56" name="Rectangle 27">
                      <a:extLst>
                        <a:ext uri="{FF2B5EF4-FFF2-40B4-BE49-F238E27FC236}">
                          <a16:creationId xmlns:a16="http://schemas.microsoft.com/office/drawing/2014/main" id="{EA588334-AA19-40F3-92DB-1A6DE9377C83}"/>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1857" name="Line 29">
                      <a:extLst>
                        <a:ext uri="{FF2B5EF4-FFF2-40B4-BE49-F238E27FC236}">
                          <a16:creationId xmlns:a16="http://schemas.microsoft.com/office/drawing/2014/main" id="{51D5AB7C-1F7C-4D21-88B7-9867BF86028E}"/>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1858" name="Line 31">
                      <a:extLst>
                        <a:ext uri="{FF2B5EF4-FFF2-40B4-BE49-F238E27FC236}">
                          <a16:creationId xmlns:a16="http://schemas.microsoft.com/office/drawing/2014/main" id="{F829D99E-51FF-4253-8AC9-1DCB068513DB}"/>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1838" name="Group 1837">
                <a:extLst>
                  <a:ext uri="{FF2B5EF4-FFF2-40B4-BE49-F238E27FC236}">
                    <a16:creationId xmlns:a16="http://schemas.microsoft.com/office/drawing/2014/main" id="{5748AD10-A652-4EC8-BA88-5726148B31F5}"/>
                  </a:ext>
                </a:extLst>
              </p:cNvPr>
              <p:cNvGrpSpPr/>
              <p:nvPr/>
            </p:nvGrpSpPr>
            <p:grpSpPr>
              <a:xfrm>
                <a:off x="6802541" y="1842565"/>
                <a:ext cx="314357" cy="580832"/>
                <a:chOff x="6355981" y="199813"/>
                <a:chExt cx="314357" cy="580832"/>
              </a:xfrm>
            </p:grpSpPr>
            <p:pic>
              <p:nvPicPr>
                <p:cNvPr id="1839" name="Picture 1838">
                  <a:extLst>
                    <a:ext uri="{FF2B5EF4-FFF2-40B4-BE49-F238E27FC236}">
                      <a16:creationId xmlns:a16="http://schemas.microsoft.com/office/drawing/2014/main" id="{9E062EC6-BC04-4743-9FBD-3E8AF2E28B0F}"/>
                    </a:ext>
                  </a:extLst>
                </p:cNvPr>
                <p:cNvPicPr>
                  <a:picLocks noChangeAspect="1"/>
                </p:cNvPicPr>
                <p:nvPr/>
              </p:nvPicPr>
              <p:blipFill>
                <a:blip r:embed="rId7"/>
                <a:stretch>
                  <a:fillRect/>
                </a:stretch>
              </p:blipFill>
              <p:spPr>
                <a:xfrm>
                  <a:off x="6355981" y="199813"/>
                  <a:ext cx="302738" cy="580832"/>
                </a:xfrm>
                <a:prstGeom prst="rect">
                  <a:avLst/>
                </a:prstGeom>
              </p:spPr>
            </p:pic>
            <p:sp>
              <p:nvSpPr>
                <p:cNvPr id="1840" name="Freeform 152">
                  <a:extLst>
                    <a:ext uri="{FF2B5EF4-FFF2-40B4-BE49-F238E27FC236}">
                      <a16:creationId xmlns:a16="http://schemas.microsoft.com/office/drawing/2014/main" id="{C4076F3B-9155-4012-835A-5069732D537A}"/>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1953" name="Picture 1952">
            <a:extLst>
              <a:ext uri="{FF2B5EF4-FFF2-40B4-BE49-F238E27FC236}">
                <a16:creationId xmlns:a16="http://schemas.microsoft.com/office/drawing/2014/main" id="{2DA7B85A-D7D8-405E-A42C-4C3C1B94C7B7}"/>
              </a:ext>
            </a:extLst>
          </p:cNvPr>
          <p:cNvPicPr>
            <a:picLocks noChangeAspect="1"/>
          </p:cNvPicPr>
          <p:nvPr/>
        </p:nvPicPr>
        <p:blipFill>
          <a:blip r:embed="rId8"/>
          <a:stretch>
            <a:fillRect/>
          </a:stretch>
        </p:blipFill>
        <p:spPr>
          <a:xfrm rot="19800000">
            <a:off x="419512" y="4519337"/>
            <a:ext cx="884802" cy="447298"/>
          </a:xfrm>
          <a:prstGeom prst="rect">
            <a:avLst/>
          </a:prstGeom>
        </p:spPr>
      </p:pic>
      <p:graphicFrame>
        <p:nvGraphicFramePr>
          <p:cNvPr id="1954" name="Table 1953">
            <a:extLst>
              <a:ext uri="{FF2B5EF4-FFF2-40B4-BE49-F238E27FC236}">
                <a16:creationId xmlns:a16="http://schemas.microsoft.com/office/drawing/2014/main" id="{9D78AB25-BC38-439E-BAFE-A235FC2273C9}"/>
              </a:ext>
            </a:extLst>
          </p:cNvPr>
          <p:cNvGraphicFramePr>
            <a:graphicFrameLocks noGrp="1"/>
          </p:cNvGraphicFramePr>
          <p:nvPr>
            <p:extLst>
              <p:ext uri="{D42A27DB-BD31-4B8C-83A1-F6EECF244321}">
                <p14:modId xmlns:p14="http://schemas.microsoft.com/office/powerpoint/2010/main" val="3012880206"/>
              </p:ext>
            </p:extLst>
          </p:nvPr>
        </p:nvGraphicFramePr>
        <p:xfrm>
          <a:off x="498207" y="3068775"/>
          <a:ext cx="2470573" cy="1265161"/>
        </p:xfrm>
        <a:graphic>
          <a:graphicData uri="http://schemas.openxmlformats.org/drawingml/2006/table">
            <a:tbl>
              <a:tblPr firstRow="1" bandRow="1">
                <a:tableStyleId>{5C22544A-7EE6-4342-B048-85BDC9FD1C3A}</a:tableStyleId>
              </a:tblPr>
              <a:tblGrid>
                <a:gridCol w="731520">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1955" name="Group 1954">
            <a:extLst>
              <a:ext uri="{FF2B5EF4-FFF2-40B4-BE49-F238E27FC236}">
                <a16:creationId xmlns:a16="http://schemas.microsoft.com/office/drawing/2014/main" id="{6F021A79-725E-4AC2-AEFF-A5AA14A05A23}"/>
              </a:ext>
            </a:extLst>
          </p:cNvPr>
          <p:cNvGrpSpPr/>
          <p:nvPr/>
        </p:nvGrpSpPr>
        <p:grpSpPr>
          <a:xfrm>
            <a:off x="765376" y="3345522"/>
            <a:ext cx="381241" cy="766727"/>
            <a:chOff x="765576" y="3316088"/>
            <a:chExt cx="381340" cy="766927"/>
          </a:xfrm>
        </p:grpSpPr>
        <p:pic>
          <p:nvPicPr>
            <p:cNvPr id="1956" name="Picture 1955">
              <a:extLst>
                <a:ext uri="{FF2B5EF4-FFF2-40B4-BE49-F238E27FC236}">
                  <a16:creationId xmlns:a16="http://schemas.microsoft.com/office/drawing/2014/main" id="{F9762E4D-8A15-4613-9DF2-A9AE2D7CEF10}"/>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1957" name="Picture 1956">
              <a:extLst>
                <a:ext uri="{FF2B5EF4-FFF2-40B4-BE49-F238E27FC236}">
                  <a16:creationId xmlns:a16="http://schemas.microsoft.com/office/drawing/2014/main" id="{50F11F7A-B683-4063-B843-8002D0C94A4D}"/>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1958" name="Picture 1957">
              <a:extLst>
                <a:ext uri="{FF2B5EF4-FFF2-40B4-BE49-F238E27FC236}">
                  <a16:creationId xmlns:a16="http://schemas.microsoft.com/office/drawing/2014/main" id="{DE4902D3-8808-4844-B7BC-20DFAAFA98B9}"/>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1959" name="Rectangle 1958">
            <a:extLst>
              <a:ext uri="{FF2B5EF4-FFF2-40B4-BE49-F238E27FC236}">
                <a16:creationId xmlns:a16="http://schemas.microsoft.com/office/drawing/2014/main" id="{B3AF9878-FAB6-4B43-AB80-58B19C848BCD}"/>
              </a:ext>
            </a:extLst>
          </p:cNvPr>
          <p:cNvSpPr>
            <a:spLocks/>
          </p:cNvSpPr>
          <p:nvPr/>
        </p:nvSpPr>
        <p:spPr bwMode="gray">
          <a:xfrm>
            <a:off x="390508" y="1551301"/>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1960" name="Group 1959">
            <a:extLst>
              <a:ext uri="{FF2B5EF4-FFF2-40B4-BE49-F238E27FC236}">
                <a16:creationId xmlns:a16="http://schemas.microsoft.com/office/drawing/2014/main" id="{3223349A-920A-4C02-B48F-FF7198B27117}"/>
              </a:ext>
            </a:extLst>
          </p:cNvPr>
          <p:cNvGrpSpPr/>
          <p:nvPr/>
        </p:nvGrpSpPr>
        <p:grpSpPr>
          <a:xfrm>
            <a:off x="3473504" y="1615862"/>
            <a:ext cx="3106888" cy="2174645"/>
            <a:chOff x="3474409" y="1753652"/>
            <a:chExt cx="3107697" cy="2175211"/>
          </a:xfrm>
        </p:grpSpPr>
        <p:sp>
          <p:nvSpPr>
            <p:cNvPr id="1961" name="Rectangle 1960">
              <a:extLst>
                <a:ext uri="{FF2B5EF4-FFF2-40B4-BE49-F238E27FC236}">
                  <a16:creationId xmlns:a16="http://schemas.microsoft.com/office/drawing/2014/main" id="{DB103C90-B438-4ED3-B73B-969900E27BB9}"/>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1962" name="Group 1961">
              <a:extLst>
                <a:ext uri="{FF2B5EF4-FFF2-40B4-BE49-F238E27FC236}">
                  <a16:creationId xmlns:a16="http://schemas.microsoft.com/office/drawing/2014/main" id="{08E94A47-86E0-4B2C-BE09-BB96FE632436}"/>
                </a:ext>
              </a:extLst>
            </p:cNvPr>
            <p:cNvGrpSpPr/>
            <p:nvPr/>
          </p:nvGrpSpPr>
          <p:grpSpPr>
            <a:xfrm>
              <a:off x="3474409" y="1753652"/>
              <a:ext cx="3107697" cy="1338890"/>
              <a:chOff x="3474409" y="1753652"/>
              <a:chExt cx="3107697" cy="1338890"/>
            </a:xfrm>
          </p:grpSpPr>
          <p:sp>
            <p:nvSpPr>
              <p:cNvPr id="1963" name="Rectangle 1962">
                <a:extLst>
                  <a:ext uri="{FF2B5EF4-FFF2-40B4-BE49-F238E27FC236}">
                    <a16:creationId xmlns:a16="http://schemas.microsoft.com/office/drawing/2014/main" id="{6B50CFCF-318E-401D-AD52-55D94ED89D08}"/>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1964" name="Group 1963">
                <a:extLst>
                  <a:ext uri="{FF2B5EF4-FFF2-40B4-BE49-F238E27FC236}">
                    <a16:creationId xmlns:a16="http://schemas.microsoft.com/office/drawing/2014/main" id="{EA90F8BB-6709-4088-9C41-877F7E030EDC}"/>
                  </a:ext>
                </a:extLst>
              </p:cNvPr>
              <p:cNvGrpSpPr/>
              <p:nvPr/>
            </p:nvGrpSpPr>
            <p:grpSpPr>
              <a:xfrm>
                <a:off x="3504077" y="2398698"/>
                <a:ext cx="1559613" cy="693844"/>
                <a:chOff x="3512580" y="2236718"/>
                <a:chExt cx="1563594" cy="695615"/>
              </a:xfrm>
            </p:grpSpPr>
            <p:grpSp>
              <p:nvGrpSpPr>
                <p:cNvPr id="1998" name="Group 1997">
                  <a:extLst>
                    <a:ext uri="{FF2B5EF4-FFF2-40B4-BE49-F238E27FC236}">
                      <a16:creationId xmlns:a16="http://schemas.microsoft.com/office/drawing/2014/main" id="{4E647C87-DBA7-4BCB-ACA2-9B5B52F7758F}"/>
                    </a:ext>
                  </a:extLst>
                </p:cNvPr>
                <p:cNvGrpSpPr>
                  <a:grpSpLocks/>
                </p:cNvGrpSpPr>
                <p:nvPr/>
              </p:nvGrpSpPr>
              <p:grpSpPr>
                <a:xfrm>
                  <a:off x="3512580" y="2240647"/>
                  <a:ext cx="418017" cy="418017"/>
                  <a:chOff x="745985" y="4768134"/>
                  <a:chExt cx="368776" cy="368777"/>
                </a:xfrm>
              </p:grpSpPr>
              <p:grpSp>
                <p:nvGrpSpPr>
                  <p:cNvPr id="2062" name="Group 64">
                    <a:extLst>
                      <a:ext uri="{FF2B5EF4-FFF2-40B4-BE49-F238E27FC236}">
                        <a16:creationId xmlns:a16="http://schemas.microsoft.com/office/drawing/2014/main" id="{DEC187AF-197F-463A-8E7F-0054434F603A}"/>
                      </a:ext>
                    </a:extLst>
                  </p:cNvPr>
                  <p:cNvGrpSpPr>
                    <a:grpSpLocks noChangeAspect="1"/>
                  </p:cNvGrpSpPr>
                  <p:nvPr/>
                </p:nvGrpSpPr>
                <p:grpSpPr bwMode="auto">
                  <a:xfrm rot="8100000">
                    <a:off x="745985" y="4768134"/>
                    <a:ext cx="368776" cy="368777"/>
                    <a:chOff x="701" y="2170"/>
                    <a:chExt cx="587" cy="587"/>
                  </a:xfrm>
                </p:grpSpPr>
                <p:sp>
                  <p:nvSpPr>
                    <p:cNvPr id="2073" name="Oval 65">
                      <a:extLst>
                        <a:ext uri="{FF2B5EF4-FFF2-40B4-BE49-F238E27FC236}">
                          <a16:creationId xmlns:a16="http://schemas.microsoft.com/office/drawing/2014/main" id="{9123FC4F-D0BF-4D30-A7C5-DCD3F474204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4" name="Line 66">
                      <a:extLst>
                        <a:ext uri="{FF2B5EF4-FFF2-40B4-BE49-F238E27FC236}">
                          <a16:creationId xmlns:a16="http://schemas.microsoft.com/office/drawing/2014/main" id="{B14461F1-4634-4DEF-837E-505177C2588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5" name="Line 67">
                      <a:extLst>
                        <a:ext uri="{FF2B5EF4-FFF2-40B4-BE49-F238E27FC236}">
                          <a16:creationId xmlns:a16="http://schemas.microsoft.com/office/drawing/2014/main" id="{CC511916-9459-4074-9BC1-82575A6E494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6" name="Line 69">
                      <a:extLst>
                        <a:ext uri="{FF2B5EF4-FFF2-40B4-BE49-F238E27FC236}">
                          <a16:creationId xmlns:a16="http://schemas.microsoft.com/office/drawing/2014/main" id="{2C66CDE7-BFB4-421A-A4E4-26D5A54E7F7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7" name="Line 74">
                      <a:extLst>
                        <a:ext uri="{FF2B5EF4-FFF2-40B4-BE49-F238E27FC236}">
                          <a16:creationId xmlns:a16="http://schemas.microsoft.com/office/drawing/2014/main" id="{286379F7-E0C3-4AD4-A9B9-C59181E432C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8" name="Freeform 78">
                      <a:extLst>
                        <a:ext uri="{FF2B5EF4-FFF2-40B4-BE49-F238E27FC236}">
                          <a16:creationId xmlns:a16="http://schemas.microsoft.com/office/drawing/2014/main" id="{AF4253E8-78B7-4B5D-8AFD-EA54710B5DA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9" name="Freeform 80">
                      <a:extLst>
                        <a:ext uri="{FF2B5EF4-FFF2-40B4-BE49-F238E27FC236}">
                          <a16:creationId xmlns:a16="http://schemas.microsoft.com/office/drawing/2014/main" id="{349A1C40-BA9C-4FC9-AEEC-5BA4DAACB58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63" name="Group 2062">
                    <a:extLst>
                      <a:ext uri="{FF2B5EF4-FFF2-40B4-BE49-F238E27FC236}">
                        <a16:creationId xmlns:a16="http://schemas.microsoft.com/office/drawing/2014/main" id="{8956F904-CE24-437D-8D19-B74839AF5C00}"/>
                      </a:ext>
                    </a:extLst>
                  </p:cNvPr>
                  <p:cNvGrpSpPr/>
                  <p:nvPr/>
                </p:nvGrpSpPr>
                <p:grpSpPr>
                  <a:xfrm>
                    <a:off x="837312" y="4814434"/>
                    <a:ext cx="136805" cy="278689"/>
                    <a:chOff x="2806700" y="2803319"/>
                    <a:chExt cx="433387" cy="882861"/>
                  </a:xfrm>
                </p:grpSpPr>
                <p:grpSp>
                  <p:nvGrpSpPr>
                    <p:cNvPr id="2064" name="Group 2063">
                      <a:extLst>
                        <a:ext uri="{FF2B5EF4-FFF2-40B4-BE49-F238E27FC236}">
                          <a16:creationId xmlns:a16="http://schemas.microsoft.com/office/drawing/2014/main" id="{0EC9B5C8-5796-458F-9BD0-A4EE73DF1480}"/>
                        </a:ext>
                      </a:extLst>
                    </p:cNvPr>
                    <p:cNvGrpSpPr>
                      <a:grpSpLocks noChangeAspect="1"/>
                    </p:cNvGrpSpPr>
                    <p:nvPr/>
                  </p:nvGrpSpPr>
                  <p:grpSpPr bwMode="auto">
                    <a:xfrm>
                      <a:off x="2806700" y="3043242"/>
                      <a:ext cx="433387" cy="642938"/>
                      <a:chOff x="1768" y="1917"/>
                      <a:chExt cx="273" cy="405"/>
                    </a:xfrm>
                  </p:grpSpPr>
                  <p:sp>
                    <p:nvSpPr>
                      <p:cNvPr id="2066" name="Freeform 52">
                        <a:extLst>
                          <a:ext uri="{FF2B5EF4-FFF2-40B4-BE49-F238E27FC236}">
                            <a16:creationId xmlns:a16="http://schemas.microsoft.com/office/drawing/2014/main" id="{9877F4B0-0373-42E9-94C0-7A0634FE31E2}"/>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7" name="Line 54">
                        <a:extLst>
                          <a:ext uri="{FF2B5EF4-FFF2-40B4-BE49-F238E27FC236}">
                            <a16:creationId xmlns:a16="http://schemas.microsoft.com/office/drawing/2014/main" id="{4CE9C9FC-2FE9-43AB-8147-4BE077EDC3F0}"/>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8" name="Line 55">
                        <a:extLst>
                          <a:ext uri="{FF2B5EF4-FFF2-40B4-BE49-F238E27FC236}">
                            <a16:creationId xmlns:a16="http://schemas.microsoft.com/office/drawing/2014/main" id="{E9E334FF-10C5-450D-A789-4DA4CCFE4FDF}"/>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9" name="Freeform 56">
                        <a:extLst>
                          <a:ext uri="{FF2B5EF4-FFF2-40B4-BE49-F238E27FC236}">
                            <a16:creationId xmlns:a16="http://schemas.microsoft.com/office/drawing/2014/main" id="{48315D33-72F6-4BD7-95A5-15799E236261}"/>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0" name="Line 57">
                        <a:extLst>
                          <a:ext uri="{FF2B5EF4-FFF2-40B4-BE49-F238E27FC236}">
                            <a16:creationId xmlns:a16="http://schemas.microsoft.com/office/drawing/2014/main" id="{961E7960-D776-489A-B32E-B0597562869C}"/>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1" name="Freeform 58">
                        <a:extLst>
                          <a:ext uri="{FF2B5EF4-FFF2-40B4-BE49-F238E27FC236}">
                            <a16:creationId xmlns:a16="http://schemas.microsoft.com/office/drawing/2014/main" id="{31947AAC-5AC2-4D49-AB71-D0D59360CA94}"/>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2" name="Rectangle 2071">
                        <a:extLst>
                          <a:ext uri="{FF2B5EF4-FFF2-40B4-BE49-F238E27FC236}">
                            <a16:creationId xmlns:a16="http://schemas.microsoft.com/office/drawing/2014/main" id="{9F00FA66-F99D-48CF-B928-50CB72540B73}"/>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065" name="Oval 2064">
                      <a:extLst>
                        <a:ext uri="{FF2B5EF4-FFF2-40B4-BE49-F238E27FC236}">
                          <a16:creationId xmlns:a16="http://schemas.microsoft.com/office/drawing/2014/main" id="{13810663-C3CA-4FAD-B532-609F20713A87}"/>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1999" name="Group 1998">
                  <a:extLst>
                    <a:ext uri="{FF2B5EF4-FFF2-40B4-BE49-F238E27FC236}">
                      <a16:creationId xmlns:a16="http://schemas.microsoft.com/office/drawing/2014/main" id="{7828FD72-0971-480C-8139-77D7A8CA8AA7}"/>
                    </a:ext>
                  </a:extLst>
                </p:cNvPr>
                <p:cNvGrpSpPr>
                  <a:grpSpLocks/>
                </p:cNvGrpSpPr>
                <p:nvPr/>
              </p:nvGrpSpPr>
              <p:grpSpPr>
                <a:xfrm>
                  <a:off x="3989965" y="2395465"/>
                  <a:ext cx="536865" cy="536868"/>
                  <a:chOff x="1454941" y="4721722"/>
                  <a:chExt cx="473625" cy="473627"/>
                </a:xfrm>
              </p:grpSpPr>
              <p:grpSp>
                <p:nvGrpSpPr>
                  <p:cNvPr id="2023" name="Group 64">
                    <a:extLst>
                      <a:ext uri="{FF2B5EF4-FFF2-40B4-BE49-F238E27FC236}">
                        <a16:creationId xmlns:a16="http://schemas.microsoft.com/office/drawing/2014/main" id="{898451CF-E5BA-462F-B56C-F347A910271E}"/>
                      </a:ext>
                    </a:extLst>
                  </p:cNvPr>
                  <p:cNvGrpSpPr>
                    <a:grpSpLocks noChangeAspect="1"/>
                  </p:cNvGrpSpPr>
                  <p:nvPr/>
                </p:nvGrpSpPr>
                <p:grpSpPr bwMode="auto">
                  <a:xfrm rot="8100000">
                    <a:off x="1454941" y="4721722"/>
                    <a:ext cx="473625" cy="473627"/>
                    <a:chOff x="701" y="2170"/>
                    <a:chExt cx="587" cy="587"/>
                  </a:xfrm>
                </p:grpSpPr>
                <p:sp>
                  <p:nvSpPr>
                    <p:cNvPr id="2055" name="Oval 65">
                      <a:extLst>
                        <a:ext uri="{FF2B5EF4-FFF2-40B4-BE49-F238E27FC236}">
                          <a16:creationId xmlns:a16="http://schemas.microsoft.com/office/drawing/2014/main" id="{3C703613-7C4B-4CE5-B80B-B734ED60B4A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56" name="Line 66">
                      <a:extLst>
                        <a:ext uri="{FF2B5EF4-FFF2-40B4-BE49-F238E27FC236}">
                          <a16:creationId xmlns:a16="http://schemas.microsoft.com/office/drawing/2014/main" id="{4C9F9BE5-552F-4346-90E1-8614A8A5FFB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7" name="Line 67">
                      <a:extLst>
                        <a:ext uri="{FF2B5EF4-FFF2-40B4-BE49-F238E27FC236}">
                          <a16:creationId xmlns:a16="http://schemas.microsoft.com/office/drawing/2014/main" id="{86C01A9A-4670-44EB-8B84-EBD740E9E31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8" name="Line 69">
                      <a:extLst>
                        <a:ext uri="{FF2B5EF4-FFF2-40B4-BE49-F238E27FC236}">
                          <a16:creationId xmlns:a16="http://schemas.microsoft.com/office/drawing/2014/main" id="{7C7B2B5D-5D3A-4018-B2DF-00BBB73DE43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9" name="Line 74">
                      <a:extLst>
                        <a:ext uri="{FF2B5EF4-FFF2-40B4-BE49-F238E27FC236}">
                          <a16:creationId xmlns:a16="http://schemas.microsoft.com/office/drawing/2014/main" id="{E3ACF0BA-93C0-4204-82F5-BF69F0513FF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0" name="Freeform 78">
                      <a:extLst>
                        <a:ext uri="{FF2B5EF4-FFF2-40B4-BE49-F238E27FC236}">
                          <a16:creationId xmlns:a16="http://schemas.microsoft.com/office/drawing/2014/main" id="{1BC1B337-7A7F-4DD2-99FD-804B0EBE00F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1" name="Freeform 80">
                      <a:extLst>
                        <a:ext uri="{FF2B5EF4-FFF2-40B4-BE49-F238E27FC236}">
                          <a16:creationId xmlns:a16="http://schemas.microsoft.com/office/drawing/2014/main" id="{3A86BF39-C86F-44D3-9930-6B965AACF62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24" name="Group 2023">
                    <a:extLst>
                      <a:ext uri="{FF2B5EF4-FFF2-40B4-BE49-F238E27FC236}">
                        <a16:creationId xmlns:a16="http://schemas.microsoft.com/office/drawing/2014/main" id="{3A14AC56-F2DA-43A4-9496-0980EB9DE14C}"/>
                      </a:ext>
                    </a:extLst>
                  </p:cNvPr>
                  <p:cNvGrpSpPr/>
                  <p:nvPr/>
                </p:nvGrpSpPr>
                <p:grpSpPr>
                  <a:xfrm>
                    <a:off x="1511214" y="4789508"/>
                    <a:ext cx="356509" cy="349884"/>
                    <a:chOff x="468738" y="2241878"/>
                    <a:chExt cx="1655483" cy="1624719"/>
                  </a:xfrm>
                </p:grpSpPr>
                <p:sp>
                  <p:nvSpPr>
                    <p:cNvPr id="2025" name="Freeform 5">
                      <a:extLst>
                        <a:ext uri="{FF2B5EF4-FFF2-40B4-BE49-F238E27FC236}">
                          <a16:creationId xmlns:a16="http://schemas.microsoft.com/office/drawing/2014/main" id="{F4297717-C9DA-4FD0-B1B4-E7761A6FCA52}"/>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26" name="Freeform 6">
                      <a:extLst>
                        <a:ext uri="{FF2B5EF4-FFF2-40B4-BE49-F238E27FC236}">
                          <a16:creationId xmlns:a16="http://schemas.microsoft.com/office/drawing/2014/main" id="{78EA118E-0F5B-4FE8-8A38-89E8326038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27" name="Line 7">
                      <a:extLst>
                        <a:ext uri="{FF2B5EF4-FFF2-40B4-BE49-F238E27FC236}">
                          <a16:creationId xmlns:a16="http://schemas.microsoft.com/office/drawing/2014/main" id="{E59D7272-BCD6-4FE0-AA68-448BABE49B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28" name="Freeform 8">
                      <a:extLst>
                        <a:ext uri="{FF2B5EF4-FFF2-40B4-BE49-F238E27FC236}">
                          <a16:creationId xmlns:a16="http://schemas.microsoft.com/office/drawing/2014/main" id="{08F7DB99-0E5A-4707-941C-2C9594D7D33D}"/>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29" name="Line 9">
                      <a:extLst>
                        <a:ext uri="{FF2B5EF4-FFF2-40B4-BE49-F238E27FC236}">
                          <a16:creationId xmlns:a16="http://schemas.microsoft.com/office/drawing/2014/main" id="{6FD8C853-C79A-464A-BD89-07F7754E5CBD}"/>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30" name="Group 2029">
                      <a:extLst>
                        <a:ext uri="{FF2B5EF4-FFF2-40B4-BE49-F238E27FC236}">
                          <a16:creationId xmlns:a16="http://schemas.microsoft.com/office/drawing/2014/main" id="{E47B47A6-4551-4E6D-8C22-F5CA82BDCC8F}"/>
                        </a:ext>
                      </a:extLst>
                    </p:cNvPr>
                    <p:cNvGrpSpPr/>
                    <p:nvPr/>
                  </p:nvGrpSpPr>
                  <p:grpSpPr>
                    <a:xfrm>
                      <a:off x="1207113" y="2241878"/>
                      <a:ext cx="178734" cy="348678"/>
                      <a:chOff x="1207113" y="2241878"/>
                      <a:chExt cx="178734" cy="348678"/>
                    </a:xfrm>
                  </p:grpSpPr>
                  <p:sp>
                    <p:nvSpPr>
                      <p:cNvPr id="2053" name="Freeform 10">
                        <a:extLst>
                          <a:ext uri="{FF2B5EF4-FFF2-40B4-BE49-F238E27FC236}">
                            <a16:creationId xmlns:a16="http://schemas.microsoft.com/office/drawing/2014/main" id="{53BAC3E1-00C7-4C04-A264-8C3F80A344A4}"/>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4" name="Line 11">
                        <a:extLst>
                          <a:ext uri="{FF2B5EF4-FFF2-40B4-BE49-F238E27FC236}">
                            <a16:creationId xmlns:a16="http://schemas.microsoft.com/office/drawing/2014/main" id="{052D89AA-23B6-4303-BC3A-FDA374C580A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031" name="Freeform 12">
                      <a:extLst>
                        <a:ext uri="{FF2B5EF4-FFF2-40B4-BE49-F238E27FC236}">
                          <a16:creationId xmlns:a16="http://schemas.microsoft.com/office/drawing/2014/main" id="{5FFAD12A-EC31-4AD2-9C21-9AD485011D8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32" name="Line 13">
                      <a:extLst>
                        <a:ext uri="{FF2B5EF4-FFF2-40B4-BE49-F238E27FC236}">
                          <a16:creationId xmlns:a16="http://schemas.microsoft.com/office/drawing/2014/main" id="{4319E230-C409-4902-85D3-B58183E01D3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33" name="Freeform 14">
                      <a:extLst>
                        <a:ext uri="{FF2B5EF4-FFF2-40B4-BE49-F238E27FC236}">
                          <a16:creationId xmlns:a16="http://schemas.microsoft.com/office/drawing/2014/main" id="{E1436666-A270-429B-93AA-7A5CEB063C1A}"/>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34" name="Line 15">
                      <a:extLst>
                        <a:ext uri="{FF2B5EF4-FFF2-40B4-BE49-F238E27FC236}">
                          <a16:creationId xmlns:a16="http://schemas.microsoft.com/office/drawing/2014/main" id="{6B4FBD7F-36AA-4329-8A52-387D9184795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35" name="Freeform 16">
                      <a:extLst>
                        <a:ext uri="{FF2B5EF4-FFF2-40B4-BE49-F238E27FC236}">
                          <a16:creationId xmlns:a16="http://schemas.microsoft.com/office/drawing/2014/main" id="{80B325BC-1A1B-41D6-874E-1FE357FFFD5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36" name="Line 17">
                      <a:extLst>
                        <a:ext uri="{FF2B5EF4-FFF2-40B4-BE49-F238E27FC236}">
                          <a16:creationId xmlns:a16="http://schemas.microsoft.com/office/drawing/2014/main" id="{22E9940F-9E5D-4F26-A7AF-06B22DDBCBA1}"/>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37" name="Freeform 18">
                      <a:extLst>
                        <a:ext uri="{FF2B5EF4-FFF2-40B4-BE49-F238E27FC236}">
                          <a16:creationId xmlns:a16="http://schemas.microsoft.com/office/drawing/2014/main" id="{A4BEEC75-8105-419A-9329-9950A70CF613}"/>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38" name="Line 19">
                      <a:extLst>
                        <a:ext uri="{FF2B5EF4-FFF2-40B4-BE49-F238E27FC236}">
                          <a16:creationId xmlns:a16="http://schemas.microsoft.com/office/drawing/2014/main" id="{4167A558-988F-4142-A1BB-9E86E9412745}"/>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39" name="Freeform 35">
                      <a:extLst>
                        <a:ext uri="{FF2B5EF4-FFF2-40B4-BE49-F238E27FC236}">
                          <a16:creationId xmlns:a16="http://schemas.microsoft.com/office/drawing/2014/main" id="{BE0D3433-9C6F-44D6-A6B4-EE3C5E87A9E0}"/>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0" name="Freeform 36">
                      <a:extLst>
                        <a:ext uri="{FF2B5EF4-FFF2-40B4-BE49-F238E27FC236}">
                          <a16:creationId xmlns:a16="http://schemas.microsoft.com/office/drawing/2014/main" id="{6B560686-6CBE-4BE5-9D6D-C950B6446A9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1" name="Freeform 37">
                      <a:extLst>
                        <a:ext uri="{FF2B5EF4-FFF2-40B4-BE49-F238E27FC236}">
                          <a16:creationId xmlns:a16="http://schemas.microsoft.com/office/drawing/2014/main" id="{AB08D325-0F55-48D0-8E9E-4B7B92CC714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2" name="Freeform 38">
                      <a:extLst>
                        <a:ext uri="{FF2B5EF4-FFF2-40B4-BE49-F238E27FC236}">
                          <a16:creationId xmlns:a16="http://schemas.microsoft.com/office/drawing/2014/main" id="{CD659FB5-088F-4D77-97B2-084F07D6AE9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3" name="Freeform 39">
                      <a:extLst>
                        <a:ext uri="{FF2B5EF4-FFF2-40B4-BE49-F238E27FC236}">
                          <a16:creationId xmlns:a16="http://schemas.microsoft.com/office/drawing/2014/main" id="{8419B469-4A54-496B-97D9-ED61B54C9473}"/>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4" name="Freeform 40">
                      <a:extLst>
                        <a:ext uri="{FF2B5EF4-FFF2-40B4-BE49-F238E27FC236}">
                          <a16:creationId xmlns:a16="http://schemas.microsoft.com/office/drawing/2014/main" id="{2F7D7096-A9A4-4403-9752-9BA7F8C96FF7}"/>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5" name="Freeform 41">
                      <a:extLst>
                        <a:ext uri="{FF2B5EF4-FFF2-40B4-BE49-F238E27FC236}">
                          <a16:creationId xmlns:a16="http://schemas.microsoft.com/office/drawing/2014/main" id="{9DF36C7A-A547-460E-80C3-EE27CAC9239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6" name="Line 42">
                      <a:extLst>
                        <a:ext uri="{FF2B5EF4-FFF2-40B4-BE49-F238E27FC236}">
                          <a16:creationId xmlns:a16="http://schemas.microsoft.com/office/drawing/2014/main" id="{7C87C16C-0BA6-47CC-B4D8-FEEF87DC8542}"/>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7" name="Freeform 43">
                      <a:extLst>
                        <a:ext uri="{FF2B5EF4-FFF2-40B4-BE49-F238E27FC236}">
                          <a16:creationId xmlns:a16="http://schemas.microsoft.com/office/drawing/2014/main" id="{DAD98A71-DFBE-456A-807F-81A689CE2ADF}"/>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8" name="Freeform 44">
                      <a:extLst>
                        <a:ext uri="{FF2B5EF4-FFF2-40B4-BE49-F238E27FC236}">
                          <a16:creationId xmlns:a16="http://schemas.microsoft.com/office/drawing/2014/main" id="{95792C57-E250-4F43-8D3E-CF5B1C958FC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9" name="Freeform 45">
                      <a:extLst>
                        <a:ext uri="{FF2B5EF4-FFF2-40B4-BE49-F238E27FC236}">
                          <a16:creationId xmlns:a16="http://schemas.microsoft.com/office/drawing/2014/main" id="{06A9BCA2-0716-4EE3-BDE7-4D37389D9DB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50" name="Group 2049">
                      <a:extLst>
                        <a:ext uri="{FF2B5EF4-FFF2-40B4-BE49-F238E27FC236}">
                          <a16:creationId xmlns:a16="http://schemas.microsoft.com/office/drawing/2014/main" id="{84B2E81C-F4AE-4EEE-A6E0-60BC0678EB9D}"/>
                        </a:ext>
                      </a:extLst>
                    </p:cNvPr>
                    <p:cNvGrpSpPr/>
                    <p:nvPr/>
                  </p:nvGrpSpPr>
                  <p:grpSpPr>
                    <a:xfrm flipV="1">
                      <a:off x="1202047" y="3517919"/>
                      <a:ext cx="178734" cy="348678"/>
                      <a:chOff x="1207113" y="2241878"/>
                      <a:chExt cx="178734" cy="348678"/>
                    </a:xfrm>
                  </p:grpSpPr>
                  <p:sp>
                    <p:nvSpPr>
                      <p:cNvPr id="2051" name="Freeform 10">
                        <a:extLst>
                          <a:ext uri="{FF2B5EF4-FFF2-40B4-BE49-F238E27FC236}">
                            <a16:creationId xmlns:a16="http://schemas.microsoft.com/office/drawing/2014/main" id="{222FD42F-0F74-477E-A0CF-2116C519BEE0}"/>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2" name="Line 11">
                        <a:extLst>
                          <a:ext uri="{FF2B5EF4-FFF2-40B4-BE49-F238E27FC236}">
                            <a16:creationId xmlns:a16="http://schemas.microsoft.com/office/drawing/2014/main" id="{F4C7D117-282E-4A0A-89DC-6F5856708FD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00" name="Group 1999">
                  <a:extLst>
                    <a:ext uri="{FF2B5EF4-FFF2-40B4-BE49-F238E27FC236}">
                      <a16:creationId xmlns:a16="http://schemas.microsoft.com/office/drawing/2014/main" id="{3F7E066C-AD32-4656-A688-07DD194DDFB6}"/>
                    </a:ext>
                  </a:extLst>
                </p:cNvPr>
                <p:cNvGrpSpPr>
                  <a:grpSpLocks/>
                </p:cNvGrpSpPr>
                <p:nvPr/>
              </p:nvGrpSpPr>
              <p:grpSpPr>
                <a:xfrm>
                  <a:off x="4605070" y="2236718"/>
                  <a:ext cx="471104" cy="471107"/>
                  <a:chOff x="2268747" y="4723725"/>
                  <a:chExt cx="415610" cy="415612"/>
                </a:xfrm>
              </p:grpSpPr>
              <p:grpSp>
                <p:nvGrpSpPr>
                  <p:cNvPr id="2001" name="Group 64">
                    <a:extLst>
                      <a:ext uri="{FF2B5EF4-FFF2-40B4-BE49-F238E27FC236}">
                        <a16:creationId xmlns:a16="http://schemas.microsoft.com/office/drawing/2014/main" id="{699463D3-4699-48D9-9C81-7C27E17EAED6}"/>
                      </a:ext>
                    </a:extLst>
                  </p:cNvPr>
                  <p:cNvGrpSpPr>
                    <a:grpSpLocks noChangeAspect="1"/>
                  </p:cNvGrpSpPr>
                  <p:nvPr/>
                </p:nvGrpSpPr>
                <p:grpSpPr bwMode="auto">
                  <a:xfrm rot="8100000">
                    <a:off x="2268747" y="4723725"/>
                    <a:ext cx="415610" cy="415612"/>
                    <a:chOff x="701" y="2170"/>
                    <a:chExt cx="587" cy="587"/>
                  </a:xfrm>
                </p:grpSpPr>
                <p:sp>
                  <p:nvSpPr>
                    <p:cNvPr id="2016" name="Oval 65">
                      <a:extLst>
                        <a:ext uri="{FF2B5EF4-FFF2-40B4-BE49-F238E27FC236}">
                          <a16:creationId xmlns:a16="http://schemas.microsoft.com/office/drawing/2014/main" id="{3A0CCA49-1A97-4788-A98F-79FE8B5BADD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17" name="Line 66">
                      <a:extLst>
                        <a:ext uri="{FF2B5EF4-FFF2-40B4-BE49-F238E27FC236}">
                          <a16:creationId xmlns:a16="http://schemas.microsoft.com/office/drawing/2014/main" id="{84975D3E-F702-45B2-8242-95A362731A2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18" name="Line 67">
                      <a:extLst>
                        <a:ext uri="{FF2B5EF4-FFF2-40B4-BE49-F238E27FC236}">
                          <a16:creationId xmlns:a16="http://schemas.microsoft.com/office/drawing/2014/main" id="{B981178E-3043-42A1-BF19-8302B91F8E5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19" name="Line 69">
                      <a:extLst>
                        <a:ext uri="{FF2B5EF4-FFF2-40B4-BE49-F238E27FC236}">
                          <a16:creationId xmlns:a16="http://schemas.microsoft.com/office/drawing/2014/main" id="{F6568AC9-616D-419C-BC7E-FC13CD18C30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20" name="Line 74">
                      <a:extLst>
                        <a:ext uri="{FF2B5EF4-FFF2-40B4-BE49-F238E27FC236}">
                          <a16:creationId xmlns:a16="http://schemas.microsoft.com/office/drawing/2014/main" id="{3ADF0138-BBE0-47A9-91B6-7A70E601163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21" name="Freeform 78">
                      <a:extLst>
                        <a:ext uri="{FF2B5EF4-FFF2-40B4-BE49-F238E27FC236}">
                          <a16:creationId xmlns:a16="http://schemas.microsoft.com/office/drawing/2014/main" id="{E471D4E7-DB1E-4889-8159-7C01C8E8C6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22" name="Freeform 80">
                      <a:extLst>
                        <a:ext uri="{FF2B5EF4-FFF2-40B4-BE49-F238E27FC236}">
                          <a16:creationId xmlns:a16="http://schemas.microsoft.com/office/drawing/2014/main" id="{17A64DCE-8670-42A0-832A-F6A705C0D351}"/>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02" name="Group 2001">
                    <a:extLst>
                      <a:ext uri="{FF2B5EF4-FFF2-40B4-BE49-F238E27FC236}">
                        <a16:creationId xmlns:a16="http://schemas.microsoft.com/office/drawing/2014/main" id="{21FE84EF-24F3-4C01-B9B9-0397813D8BD4}"/>
                      </a:ext>
                    </a:extLst>
                  </p:cNvPr>
                  <p:cNvGrpSpPr/>
                  <p:nvPr/>
                </p:nvGrpSpPr>
                <p:grpSpPr>
                  <a:xfrm>
                    <a:off x="2318076" y="4830163"/>
                    <a:ext cx="313949" cy="233075"/>
                    <a:chOff x="3707533" y="2731244"/>
                    <a:chExt cx="389644" cy="289271"/>
                  </a:xfrm>
                </p:grpSpPr>
                <p:sp>
                  <p:nvSpPr>
                    <p:cNvPr id="2003" name="Freeform 33">
                      <a:extLst>
                        <a:ext uri="{FF2B5EF4-FFF2-40B4-BE49-F238E27FC236}">
                          <a16:creationId xmlns:a16="http://schemas.microsoft.com/office/drawing/2014/main" id="{B175C6B2-4CD5-4E76-8197-4C82D751C21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04" name="Freeform 34">
                      <a:extLst>
                        <a:ext uri="{FF2B5EF4-FFF2-40B4-BE49-F238E27FC236}">
                          <a16:creationId xmlns:a16="http://schemas.microsoft.com/office/drawing/2014/main" id="{EC5B5CC4-68AC-40B3-9ABB-4A12FF92086E}"/>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05" name="Freeform 37">
                      <a:extLst>
                        <a:ext uri="{FF2B5EF4-FFF2-40B4-BE49-F238E27FC236}">
                          <a16:creationId xmlns:a16="http://schemas.microsoft.com/office/drawing/2014/main" id="{2193EE72-99C0-4184-A666-2E6DA77F0FA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06" name="Freeform 38">
                      <a:extLst>
                        <a:ext uri="{FF2B5EF4-FFF2-40B4-BE49-F238E27FC236}">
                          <a16:creationId xmlns:a16="http://schemas.microsoft.com/office/drawing/2014/main" id="{9F7A6F6C-3B83-44E3-9D8A-7BD5315534F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07" name="Freeform 32">
                      <a:extLst>
                        <a:ext uri="{FF2B5EF4-FFF2-40B4-BE49-F238E27FC236}">
                          <a16:creationId xmlns:a16="http://schemas.microsoft.com/office/drawing/2014/main" id="{255FD29A-ED04-4A2A-AB94-2CAC5DC51EB4}"/>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08" name="Freeform 35">
                      <a:extLst>
                        <a:ext uri="{FF2B5EF4-FFF2-40B4-BE49-F238E27FC236}">
                          <a16:creationId xmlns:a16="http://schemas.microsoft.com/office/drawing/2014/main" id="{C80C2CFC-FD7A-4546-ADC9-6365BCC7DF05}"/>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09" name="Freeform 36">
                      <a:extLst>
                        <a:ext uri="{FF2B5EF4-FFF2-40B4-BE49-F238E27FC236}">
                          <a16:creationId xmlns:a16="http://schemas.microsoft.com/office/drawing/2014/main" id="{42B112BE-ACCC-4AEF-AD88-B5B19598184C}"/>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10" name="Freeform 25">
                      <a:extLst>
                        <a:ext uri="{FF2B5EF4-FFF2-40B4-BE49-F238E27FC236}">
                          <a16:creationId xmlns:a16="http://schemas.microsoft.com/office/drawing/2014/main" id="{D350A1F1-856D-41F7-8C0A-CB1F874F3FC1}"/>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11" name="Freeform 39">
                      <a:extLst>
                        <a:ext uri="{FF2B5EF4-FFF2-40B4-BE49-F238E27FC236}">
                          <a16:creationId xmlns:a16="http://schemas.microsoft.com/office/drawing/2014/main" id="{8A726AD0-BF82-4582-8BF6-918C1D818D19}"/>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12" name="Freeform 26">
                      <a:extLst>
                        <a:ext uri="{FF2B5EF4-FFF2-40B4-BE49-F238E27FC236}">
                          <a16:creationId xmlns:a16="http://schemas.microsoft.com/office/drawing/2014/main" id="{21F1ABF4-CE92-4226-9FCB-19307927DD7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13" name="Rectangle 27">
                      <a:extLst>
                        <a:ext uri="{FF2B5EF4-FFF2-40B4-BE49-F238E27FC236}">
                          <a16:creationId xmlns:a16="http://schemas.microsoft.com/office/drawing/2014/main" id="{4AE003C1-33F0-4494-9C67-9C9CD565A7CE}"/>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14" name="Line 29">
                      <a:extLst>
                        <a:ext uri="{FF2B5EF4-FFF2-40B4-BE49-F238E27FC236}">
                          <a16:creationId xmlns:a16="http://schemas.microsoft.com/office/drawing/2014/main" id="{192A521C-89EB-463D-945D-C5C2B532144D}"/>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15" name="Line 31">
                      <a:extLst>
                        <a:ext uri="{FF2B5EF4-FFF2-40B4-BE49-F238E27FC236}">
                          <a16:creationId xmlns:a16="http://schemas.microsoft.com/office/drawing/2014/main" id="{CF305BCE-C115-45F2-AF1A-E0407E3D9928}"/>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1965" name="Group 1964">
                <a:extLst>
                  <a:ext uri="{FF2B5EF4-FFF2-40B4-BE49-F238E27FC236}">
                    <a16:creationId xmlns:a16="http://schemas.microsoft.com/office/drawing/2014/main" id="{192CFD52-C1B7-4FB9-8F9E-FB1D1579143C}"/>
                  </a:ext>
                </a:extLst>
              </p:cNvPr>
              <p:cNvGrpSpPr/>
              <p:nvPr/>
            </p:nvGrpSpPr>
            <p:grpSpPr>
              <a:xfrm>
                <a:off x="5261891" y="1974470"/>
                <a:ext cx="1115908" cy="967814"/>
                <a:chOff x="7338624" y="178556"/>
                <a:chExt cx="1115908" cy="967814"/>
              </a:xfrm>
            </p:grpSpPr>
            <p:grpSp>
              <p:nvGrpSpPr>
                <p:cNvPr id="1969" name="Group 1968">
                  <a:extLst>
                    <a:ext uri="{FF2B5EF4-FFF2-40B4-BE49-F238E27FC236}">
                      <a16:creationId xmlns:a16="http://schemas.microsoft.com/office/drawing/2014/main" id="{8172F021-C3A7-47BF-AEC6-18B0437D76EC}"/>
                    </a:ext>
                  </a:extLst>
                </p:cNvPr>
                <p:cNvGrpSpPr/>
                <p:nvPr/>
              </p:nvGrpSpPr>
              <p:grpSpPr>
                <a:xfrm flipH="1">
                  <a:off x="7603032" y="178556"/>
                  <a:ext cx="524442" cy="697246"/>
                  <a:chOff x="8607957" y="605299"/>
                  <a:chExt cx="2806962" cy="3731864"/>
                </a:xfrm>
              </p:grpSpPr>
              <p:sp>
                <p:nvSpPr>
                  <p:cNvPr id="1971" name="iBar:31/138">
                    <a:extLst>
                      <a:ext uri="{FF2B5EF4-FFF2-40B4-BE49-F238E27FC236}">
                        <a16:creationId xmlns:a16="http://schemas.microsoft.com/office/drawing/2014/main" id="{01808EC6-7EE5-4FC4-86F7-4BDD84B25D9C}"/>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72" name="Rectangle 1971">
                    <a:extLst>
                      <a:ext uri="{FF2B5EF4-FFF2-40B4-BE49-F238E27FC236}">
                        <a16:creationId xmlns:a16="http://schemas.microsoft.com/office/drawing/2014/main" id="{62EADBA7-8269-4BF7-BFF8-83A94B822AE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973" name="Group 1972">
                    <a:extLst>
                      <a:ext uri="{FF2B5EF4-FFF2-40B4-BE49-F238E27FC236}">
                        <a16:creationId xmlns:a16="http://schemas.microsoft.com/office/drawing/2014/main" id="{87868CD0-6978-4618-A4C7-E2A28BC1F961}"/>
                      </a:ext>
                    </a:extLst>
                  </p:cNvPr>
                  <p:cNvGrpSpPr/>
                  <p:nvPr/>
                </p:nvGrpSpPr>
                <p:grpSpPr>
                  <a:xfrm>
                    <a:off x="8776645" y="2392984"/>
                    <a:ext cx="2463737" cy="1844316"/>
                    <a:chOff x="8566719" y="2617154"/>
                    <a:chExt cx="2463737" cy="1844316"/>
                  </a:xfrm>
                </p:grpSpPr>
                <p:sp>
                  <p:nvSpPr>
                    <p:cNvPr id="1987" name="Rectangle 1986">
                      <a:extLst>
                        <a:ext uri="{FF2B5EF4-FFF2-40B4-BE49-F238E27FC236}">
                          <a16:creationId xmlns:a16="http://schemas.microsoft.com/office/drawing/2014/main" id="{1C44FF7B-CB4C-4DAF-8771-6ECB333155AA}"/>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1988" name="Group 1987">
                      <a:extLst>
                        <a:ext uri="{FF2B5EF4-FFF2-40B4-BE49-F238E27FC236}">
                          <a16:creationId xmlns:a16="http://schemas.microsoft.com/office/drawing/2014/main" id="{9301ACDA-7D9E-4E2E-B080-98C92C06406A}"/>
                        </a:ext>
                      </a:extLst>
                    </p:cNvPr>
                    <p:cNvGrpSpPr/>
                    <p:nvPr/>
                  </p:nvGrpSpPr>
                  <p:grpSpPr>
                    <a:xfrm>
                      <a:off x="8720849" y="2791577"/>
                      <a:ext cx="2190282" cy="1669893"/>
                      <a:chOff x="5195358" y="4591383"/>
                      <a:chExt cx="1906459" cy="1380076"/>
                    </a:xfrm>
                  </p:grpSpPr>
                  <p:grpSp>
                    <p:nvGrpSpPr>
                      <p:cNvPr id="1989" name="Group 1988">
                        <a:extLst>
                          <a:ext uri="{FF2B5EF4-FFF2-40B4-BE49-F238E27FC236}">
                            <a16:creationId xmlns:a16="http://schemas.microsoft.com/office/drawing/2014/main" id="{574C15B9-26A3-42B4-9B00-005EE4498E0E}"/>
                          </a:ext>
                        </a:extLst>
                      </p:cNvPr>
                      <p:cNvGrpSpPr/>
                      <p:nvPr/>
                    </p:nvGrpSpPr>
                    <p:grpSpPr>
                      <a:xfrm>
                        <a:off x="5195358" y="4591383"/>
                        <a:ext cx="1020183" cy="1224086"/>
                        <a:chOff x="10650533" y="3663550"/>
                        <a:chExt cx="575867" cy="836067"/>
                      </a:xfrm>
                    </p:grpSpPr>
                    <p:grpSp>
                      <p:nvGrpSpPr>
                        <p:cNvPr id="1991" name="Group 1990">
                          <a:extLst>
                            <a:ext uri="{FF2B5EF4-FFF2-40B4-BE49-F238E27FC236}">
                              <a16:creationId xmlns:a16="http://schemas.microsoft.com/office/drawing/2014/main" id="{47E3AC6D-FFE6-4CEE-BE5E-7BB46046AF44}"/>
                            </a:ext>
                          </a:extLst>
                        </p:cNvPr>
                        <p:cNvGrpSpPr/>
                        <p:nvPr/>
                      </p:nvGrpSpPr>
                      <p:grpSpPr>
                        <a:xfrm>
                          <a:off x="10650533" y="3663550"/>
                          <a:ext cx="575867" cy="728623"/>
                          <a:chOff x="5717961" y="2827338"/>
                          <a:chExt cx="282576" cy="387350"/>
                        </a:xfrm>
                      </p:grpSpPr>
                      <p:sp>
                        <p:nvSpPr>
                          <p:cNvPr id="1993" name="Freeform 1754">
                            <a:extLst>
                              <a:ext uri="{FF2B5EF4-FFF2-40B4-BE49-F238E27FC236}">
                                <a16:creationId xmlns:a16="http://schemas.microsoft.com/office/drawing/2014/main" id="{34D1CB92-1EF2-461F-B4F6-27E6A062B155}"/>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1994" name="Freeform 1755">
                            <a:extLst>
                              <a:ext uri="{FF2B5EF4-FFF2-40B4-BE49-F238E27FC236}">
                                <a16:creationId xmlns:a16="http://schemas.microsoft.com/office/drawing/2014/main" id="{FFDB770E-C459-4D24-994A-DBF2FACB1D00}"/>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1995" name="Freeform 1756">
                            <a:extLst>
                              <a:ext uri="{FF2B5EF4-FFF2-40B4-BE49-F238E27FC236}">
                                <a16:creationId xmlns:a16="http://schemas.microsoft.com/office/drawing/2014/main" id="{F28B9BF5-162A-4DE7-9CEB-1CA89CD10679}"/>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1996" name="Freeform 1757">
                            <a:extLst>
                              <a:ext uri="{FF2B5EF4-FFF2-40B4-BE49-F238E27FC236}">
                                <a16:creationId xmlns:a16="http://schemas.microsoft.com/office/drawing/2014/main" id="{645701A2-4BDA-4155-A4EB-7A2435A57940}"/>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1997" name="Freeform 1758">
                            <a:extLst>
                              <a:ext uri="{FF2B5EF4-FFF2-40B4-BE49-F238E27FC236}">
                                <a16:creationId xmlns:a16="http://schemas.microsoft.com/office/drawing/2014/main" id="{365DC0DD-8A10-4387-B761-BCA87258CEB7}"/>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1992" name="TextBox 1991">
                          <a:extLst>
                            <a:ext uri="{FF2B5EF4-FFF2-40B4-BE49-F238E27FC236}">
                              <a16:creationId xmlns:a16="http://schemas.microsoft.com/office/drawing/2014/main" id="{7EBAA787-FD06-4C2A-998B-0F0B0C5DB834}"/>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990" name="TextBox 1989">
                        <a:extLst>
                          <a:ext uri="{FF2B5EF4-FFF2-40B4-BE49-F238E27FC236}">
                            <a16:creationId xmlns:a16="http://schemas.microsoft.com/office/drawing/2014/main" id="{C94902D4-A1D4-4373-B41A-352FC18A175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974" name="Group 1973">
                    <a:extLst>
                      <a:ext uri="{FF2B5EF4-FFF2-40B4-BE49-F238E27FC236}">
                        <a16:creationId xmlns:a16="http://schemas.microsoft.com/office/drawing/2014/main" id="{310BB8DF-BDD3-4BB3-B719-33663FBA6EFB}"/>
                      </a:ext>
                    </a:extLst>
                  </p:cNvPr>
                  <p:cNvGrpSpPr/>
                  <p:nvPr/>
                </p:nvGrpSpPr>
                <p:grpSpPr>
                  <a:xfrm>
                    <a:off x="9538998" y="605299"/>
                    <a:ext cx="944881" cy="858986"/>
                    <a:chOff x="3369813" y="4950013"/>
                    <a:chExt cx="440826" cy="400751"/>
                  </a:xfrm>
                </p:grpSpPr>
                <p:sp>
                  <p:nvSpPr>
                    <p:cNvPr id="1983" name="Oval 1982">
                      <a:extLst>
                        <a:ext uri="{FF2B5EF4-FFF2-40B4-BE49-F238E27FC236}">
                          <a16:creationId xmlns:a16="http://schemas.microsoft.com/office/drawing/2014/main" id="{0FD68FC0-4139-44B3-8E69-FC10E273F6DD}"/>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1984" name="Group 226">
                      <a:extLst>
                        <a:ext uri="{FF2B5EF4-FFF2-40B4-BE49-F238E27FC236}">
                          <a16:creationId xmlns:a16="http://schemas.microsoft.com/office/drawing/2014/main" id="{69F46396-C626-4DC7-A894-D0992C3AD387}"/>
                        </a:ext>
                      </a:extLst>
                    </p:cNvPr>
                    <p:cNvGrpSpPr>
                      <a:grpSpLocks noChangeAspect="1"/>
                    </p:cNvGrpSpPr>
                    <p:nvPr/>
                  </p:nvGrpSpPr>
                  <p:grpSpPr bwMode="auto">
                    <a:xfrm>
                      <a:off x="3437467" y="4997630"/>
                      <a:ext cx="305517" cy="305517"/>
                      <a:chOff x="5048" y="783"/>
                      <a:chExt cx="340" cy="340"/>
                    </a:xfrm>
                    <a:solidFill>
                      <a:schemeClr val="bg1"/>
                    </a:solidFill>
                  </p:grpSpPr>
                  <p:sp>
                    <p:nvSpPr>
                      <p:cNvPr id="1985" name="Freeform 227">
                        <a:extLst>
                          <a:ext uri="{FF2B5EF4-FFF2-40B4-BE49-F238E27FC236}">
                            <a16:creationId xmlns:a16="http://schemas.microsoft.com/office/drawing/2014/main" id="{4DA26B12-DE57-4430-B7C4-3A3121612094}"/>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1986" name="Freeform 228">
                        <a:extLst>
                          <a:ext uri="{FF2B5EF4-FFF2-40B4-BE49-F238E27FC236}">
                            <a16:creationId xmlns:a16="http://schemas.microsoft.com/office/drawing/2014/main" id="{C09BEC60-DB35-48A8-8FB6-CED4FB7AF394}"/>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1975" name="Straight Connector 1974">
                    <a:extLst>
                      <a:ext uri="{FF2B5EF4-FFF2-40B4-BE49-F238E27FC236}">
                        <a16:creationId xmlns:a16="http://schemas.microsoft.com/office/drawing/2014/main" id="{02B61624-0AE0-4343-BCFD-BBB7CF47C4D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6" name="Straight Connector 1975">
                    <a:extLst>
                      <a:ext uri="{FF2B5EF4-FFF2-40B4-BE49-F238E27FC236}">
                        <a16:creationId xmlns:a16="http://schemas.microsoft.com/office/drawing/2014/main" id="{85E166AE-4AFA-4372-89CB-0ACB05DCE8D2}"/>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7" name="Straight Connector 1976">
                    <a:extLst>
                      <a:ext uri="{FF2B5EF4-FFF2-40B4-BE49-F238E27FC236}">
                        <a16:creationId xmlns:a16="http://schemas.microsoft.com/office/drawing/2014/main" id="{D821E39F-3AB2-4DF1-9E55-D388E7B2E240}"/>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8" name="Straight Connector 1977">
                    <a:extLst>
                      <a:ext uri="{FF2B5EF4-FFF2-40B4-BE49-F238E27FC236}">
                        <a16:creationId xmlns:a16="http://schemas.microsoft.com/office/drawing/2014/main" id="{7A975B53-2D31-4497-931E-7105165CE893}"/>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9" name="Straight Connector 1978">
                    <a:extLst>
                      <a:ext uri="{FF2B5EF4-FFF2-40B4-BE49-F238E27FC236}">
                        <a16:creationId xmlns:a16="http://schemas.microsoft.com/office/drawing/2014/main" id="{795AC478-5FD0-42A3-9113-583A6E653247}"/>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80" name="Straight Connector 1979">
                    <a:extLst>
                      <a:ext uri="{FF2B5EF4-FFF2-40B4-BE49-F238E27FC236}">
                        <a16:creationId xmlns:a16="http://schemas.microsoft.com/office/drawing/2014/main" id="{6FAC038E-7ED3-4AF2-B5E1-01ECCC7E8690}"/>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81" name="Straight Connector 1980">
                    <a:extLst>
                      <a:ext uri="{FF2B5EF4-FFF2-40B4-BE49-F238E27FC236}">
                        <a16:creationId xmlns:a16="http://schemas.microsoft.com/office/drawing/2014/main" id="{D42D3563-1755-401E-BA81-7E35BAC42AB0}"/>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82" name="Straight Connector 1981">
                    <a:extLst>
                      <a:ext uri="{FF2B5EF4-FFF2-40B4-BE49-F238E27FC236}">
                        <a16:creationId xmlns:a16="http://schemas.microsoft.com/office/drawing/2014/main" id="{49D74E82-8D8F-4C62-A3B9-FD245445C0BE}"/>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70" name="Rectangle 1969">
                  <a:extLst>
                    <a:ext uri="{FF2B5EF4-FFF2-40B4-BE49-F238E27FC236}">
                      <a16:creationId xmlns:a16="http://schemas.microsoft.com/office/drawing/2014/main" id="{83D4DD87-3402-4849-96DE-50219168082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1966" name="Group 1965">
                <a:extLst>
                  <a:ext uri="{FF2B5EF4-FFF2-40B4-BE49-F238E27FC236}">
                    <a16:creationId xmlns:a16="http://schemas.microsoft.com/office/drawing/2014/main" id="{A307931E-2848-43F2-B0F6-83EFD510F1BE}"/>
                  </a:ext>
                </a:extLst>
              </p:cNvPr>
              <p:cNvGrpSpPr/>
              <p:nvPr/>
            </p:nvGrpSpPr>
            <p:grpSpPr>
              <a:xfrm>
                <a:off x="6189282" y="2207036"/>
                <a:ext cx="309777" cy="570271"/>
                <a:chOff x="6298183" y="258138"/>
                <a:chExt cx="309777" cy="570271"/>
              </a:xfrm>
            </p:grpSpPr>
            <p:pic>
              <p:nvPicPr>
                <p:cNvPr id="1967" name="Picture 1966">
                  <a:extLst>
                    <a:ext uri="{FF2B5EF4-FFF2-40B4-BE49-F238E27FC236}">
                      <a16:creationId xmlns:a16="http://schemas.microsoft.com/office/drawing/2014/main" id="{FABB1077-58A9-475D-8821-78F5C17831FB}"/>
                    </a:ext>
                  </a:extLst>
                </p:cNvPr>
                <p:cNvPicPr>
                  <a:picLocks noChangeAspect="1"/>
                </p:cNvPicPr>
                <p:nvPr/>
              </p:nvPicPr>
              <p:blipFill>
                <a:blip r:embed="rId6"/>
                <a:stretch>
                  <a:fillRect/>
                </a:stretch>
              </p:blipFill>
              <p:spPr>
                <a:xfrm>
                  <a:off x="6298183" y="258138"/>
                  <a:ext cx="309777" cy="570271"/>
                </a:xfrm>
                <a:prstGeom prst="rect">
                  <a:avLst/>
                </a:prstGeom>
              </p:spPr>
            </p:pic>
            <p:sp>
              <p:nvSpPr>
                <p:cNvPr id="1968" name="Freeform 152">
                  <a:extLst>
                    <a:ext uri="{FF2B5EF4-FFF2-40B4-BE49-F238E27FC236}">
                      <a16:creationId xmlns:a16="http://schemas.microsoft.com/office/drawing/2014/main" id="{F9ADCFB2-9C01-41AD-977C-B2931A93F5A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080" name="Rectangle 2079">
            <a:extLst>
              <a:ext uri="{FF2B5EF4-FFF2-40B4-BE49-F238E27FC236}">
                <a16:creationId xmlns:a16="http://schemas.microsoft.com/office/drawing/2014/main" id="{E28105ED-0222-4BFB-8572-1E1E010F03B9}"/>
              </a:ext>
            </a:extLst>
          </p:cNvPr>
          <p:cNvSpPr>
            <a:spLocks/>
          </p:cNvSpPr>
          <p:nvPr/>
        </p:nvSpPr>
        <p:spPr bwMode="gray">
          <a:xfrm>
            <a:off x="3376490" y="1551301"/>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081" name="Group 2080">
            <a:extLst>
              <a:ext uri="{FF2B5EF4-FFF2-40B4-BE49-F238E27FC236}">
                <a16:creationId xmlns:a16="http://schemas.microsoft.com/office/drawing/2014/main" id="{92F0B177-7762-4ECB-9A45-509CC8722FAB}"/>
              </a:ext>
            </a:extLst>
          </p:cNvPr>
          <p:cNvGrpSpPr/>
          <p:nvPr/>
        </p:nvGrpSpPr>
        <p:grpSpPr>
          <a:xfrm>
            <a:off x="411159" y="1081204"/>
            <a:ext cx="11430427" cy="561479"/>
            <a:chOff x="347472" y="1051180"/>
            <a:chExt cx="11667743" cy="561625"/>
          </a:xfrm>
        </p:grpSpPr>
        <p:grpSp>
          <p:nvGrpSpPr>
            <p:cNvPr id="2082" name="Group 2081">
              <a:extLst>
                <a:ext uri="{FF2B5EF4-FFF2-40B4-BE49-F238E27FC236}">
                  <a16:creationId xmlns:a16="http://schemas.microsoft.com/office/drawing/2014/main" id="{28E6238E-B2EF-44C3-947A-1CC64C422398}"/>
                </a:ext>
              </a:extLst>
            </p:cNvPr>
            <p:cNvGrpSpPr/>
            <p:nvPr/>
          </p:nvGrpSpPr>
          <p:grpSpPr>
            <a:xfrm>
              <a:off x="347472" y="1051180"/>
              <a:ext cx="11667743" cy="561625"/>
              <a:chOff x="347472" y="1051180"/>
              <a:chExt cx="11667743" cy="561625"/>
            </a:xfrm>
          </p:grpSpPr>
          <p:grpSp>
            <p:nvGrpSpPr>
              <p:cNvPr id="2084" name="Group 2083">
                <a:extLst>
                  <a:ext uri="{FF2B5EF4-FFF2-40B4-BE49-F238E27FC236}">
                    <a16:creationId xmlns:a16="http://schemas.microsoft.com/office/drawing/2014/main" id="{AA196B49-3B2A-4EF8-A0BD-75D51E5282A5}"/>
                  </a:ext>
                </a:extLst>
              </p:cNvPr>
              <p:cNvGrpSpPr/>
              <p:nvPr/>
            </p:nvGrpSpPr>
            <p:grpSpPr>
              <a:xfrm>
                <a:off x="347472" y="1154250"/>
                <a:ext cx="11667743" cy="458555"/>
                <a:chOff x="390609" y="1132914"/>
                <a:chExt cx="11511569" cy="458555"/>
              </a:xfrm>
            </p:grpSpPr>
            <p:sp>
              <p:nvSpPr>
                <p:cNvPr id="2086" name="Rectangle: Rounded Corners 2085">
                  <a:extLst>
                    <a:ext uri="{FF2B5EF4-FFF2-40B4-BE49-F238E27FC236}">
                      <a16:creationId xmlns:a16="http://schemas.microsoft.com/office/drawing/2014/main" id="{514C265D-23AE-4016-B4E8-57BC27C98486}"/>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087" name="Rectangle 2086">
                  <a:extLst>
                    <a:ext uri="{FF2B5EF4-FFF2-40B4-BE49-F238E27FC236}">
                      <a16:creationId xmlns:a16="http://schemas.microsoft.com/office/drawing/2014/main" id="{C26E414D-F99E-48A5-8825-7A0CB88BCC7D}"/>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088" name="Rectangle 2087">
                  <a:extLst>
                    <a:ext uri="{FF2B5EF4-FFF2-40B4-BE49-F238E27FC236}">
                      <a16:creationId xmlns:a16="http://schemas.microsoft.com/office/drawing/2014/main" id="{599367C3-2254-4A24-B0BD-0B29104531AB}"/>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089" name="Rectangle 2088">
                  <a:extLst>
                    <a:ext uri="{FF2B5EF4-FFF2-40B4-BE49-F238E27FC236}">
                      <a16:creationId xmlns:a16="http://schemas.microsoft.com/office/drawing/2014/main" id="{B72C706C-F11B-4511-B445-8F167F73FDB6}"/>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090" name="Isosceles Triangle 2089">
                  <a:extLst>
                    <a:ext uri="{FF2B5EF4-FFF2-40B4-BE49-F238E27FC236}">
                      <a16:creationId xmlns:a16="http://schemas.microsoft.com/office/drawing/2014/main" id="{786F496C-F7CA-4F98-8DA5-F63241E5DAC7}"/>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091" name="Isosceles Triangle 2090">
                  <a:extLst>
                    <a:ext uri="{FF2B5EF4-FFF2-40B4-BE49-F238E27FC236}">
                      <a16:creationId xmlns:a16="http://schemas.microsoft.com/office/drawing/2014/main" id="{8A866AE0-328D-4C77-9748-0C27A148E317}"/>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085" name="Isosceles Triangle 2084">
                <a:extLst>
                  <a:ext uri="{FF2B5EF4-FFF2-40B4-BE49-F238E27FC236}">
                    <a16:creationId xmlns:a16="http://schemas.microsoft.com/office/drawing/2014/main" id="{A54E03EA-6A8B-427C-8506-8F7B06FFCAEB}"/>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083" name="Isosceles Triangle 2082">
              <a:extLst>
                <a:ext uri="{FF2B5EF4-FFF2-40B4-BE49-F238E27FC236}">
                  <a16:creationId xmlns:a16="http://schemas.microsoft.com/office/drawing/2014/main" id="{D1AC9DCF-ADB1-4E95-A139-AA71CC545278}"/>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092" name="Rectangle 2091">
            <a:extLst>
              <a:ext uri="{FF2B5EF4-FFF2-40B4-BE49-F238E27FC236}">
                <a16:creationId xmlns:a16="http://schemas.microsoft.com/office/drawing/2014/main" id="{217E66E0-4257-41F6-899C-9A333727DF7B}"/>
              </a:ext>
            </a:extLst>
          </p:cNvPr>
          <p:cNvSpPr>
            <a:spLocks/>
          </p:cNvSpPr>
          <p:nvPr/>
        </p:nvSpPr>
        <p:spPr bwMode="gray">
          <a:xfrm>
            <a:off x="3357900" y="1086969"/>
            <a:ext cx="8571637" cy="5349935"/>
          </a:xfrm>
          <a:prstGeom prst="rect">
            <a:avLst/>
          </a:prstGeom>
          <a:solidFill>
            <a:schemeClr val="bg1">
              <a:alpha val="89804"/>
            </a:schemeClr>
          </a:solidFill>
          <a:ln w="38100" algn="ctr">
            <a:noFill/>
            <a:miter lim="800000"/>
            <a:headEnd/>
            <a:tailEnd/>
          </a:ln>
          <a:effectLst/>
        </p:spPr>
        <p:txBody>
          <a:bodyPr wrap="square" lIns="28409" tIns="28409" rIns="28409" bIns="28409" rtlCol="0" anchor="t"/>
          <a:lstStyle/>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p:txBody>
      </p:sp>
      <p:sp>
        <p:nvSpPr>
          <p:cNvPr id="2093" name="Rectangle 2092">
            <a:extLst>
              <a:ext uri="{FF2B5EF4-FFF2-40B4-BE49-F238E27FC236}">
                <a16:creationId xmlns:a16="http://schemas.microsoft.com/office/drawing/2014/main" id="{DBAB9F27-401B-4E10-9FEB-7308C82DC407}"/>
              </a:ext>
            </a:extLst>
          </p:cNvPr>
          <p:cNvSpPr/>
          <p:nvPr/>
        </p:nvSpPr>
        <p:spPr bwMode="gray">
          <a:xfrm>
            <a:off x="3487250" y="1330353"/>
            <a:ext cx="8230517" cy="4981832"/>
          </a:xfrm>
          <a:prstGeom prst="rect">
            <a:avLst/>
          </a:prstGeom>
          <a:solidFill>
            <a:srgbClr val="A0DCFF"/>
          </a:solidFill>
          <a:ln w="28575" algn="ctr">
            <a:noFill/>
            <a:prstDash val="dash"/>
            <a:miter lim="800000"/>
            <a:headEnd/>
            <a:tailEnd/>
          </a:ln>
        </p:spPr>
        <p:txBody>
          <a:bodyPr wrap="square" lIns="46872" tIns="28482" rIns="28482" bIns="28482" rtlCol="0" anchor="t"/>
          <a:lstStyle/>
          <a:p>
            <a:pPr algn="ctr" defTabSz="624960">
              <a:lnSpc>
                <a:spcPct val="106000"/>
              </a:lnSpc>
              <a:defRPr/>
            </a:pPr>
            <a:endParaRPr lang="en-US" sz="1053" b="1" dirty="0">
              <a:solidFill>
                <a:prstClr val="black"/>
              </a:solidFill>
              <a:latin typeface="Verdana"/>
            </a:endParaRPr>
          </a:p>
        </p:txBody>
      </p:sp>
      <p:sp>
        <p:nvSpPr>
          <p:cNvPr id="2097" name="Arrow: Notched Right 2096">
            <a:extLst>
              <a:ext uri="{FF2B5EF4-FFF2-40B4-BE49-F238E27FC236}">
                <a16:creationId xmlns:a16="http://schemas.microsoft.com/office/drawing/2014/main" id="{9CBD4FF4-BAFE-45F5-A1BC-18376C7A52F2}"/>
              </a:ext>
            </a:extLst>
          </p:cNvPr>
          <p:cNvSpPr/>
          <p:nvPr/>
        </p:nvSpPr>
        <p:spPr>
          <a:xfrm>
            <a:off x="3534920" y="5106956"/>
            <a:ext cx="1086116" cy="459710"/>
          </a:xfrm>
          <a:prstGeom prst="notchedRightArrow">
            <a:avLst>
              <a:gd name="adj1" fmla="val 50000"/>
              <a:gd name="adj2" fmla="val 55752"/>
            </a:avLst>
          </a:prstGeom>
          <a:solidFill>
            <a:schemeClr val="bg1"/>
          </a:solidFill>
        </p:spPr>
        <p:txBody>
          <a:bodyPr wrap="square">
            <a:spAutoFit/>
          </a:bodyPr>
          <a:lstStyle/>
          <a:p>
            <a:r>
              <a:rPr lang="en-US" sz="902" i="1" dirty="0">
                <a:solidFill>
                  <a:srgbClr val="000000"/>
                </a:solidFill>
                <a:latin typeface="Verdana" panose="020B0604030504040204" pitchFamily="34" charset="0"/>
                <a:ea typeface="Verdana" panose="020B0604030504040204" pitchFamily="34" charset="0"/>
                <a:cs typeface="Verdana" panose="020B0604030504040204" pitchFamily="34" charset="0"/>
              </a:rPr>
              <a:t>Example</a:t>
            </a:r>
            <a:endParaRPr lang="en-US" sz="902" i="1" dirty="0"/>
          </a:p>
        </p:txBody>
      </p:sp>
      <p:grpSp>
        <p:nvGrpSpPr>
          <p:cNvPr id="2094" name="Group 2093">
            <a:extLst>
              <a:ext uri="{FF2B5EF4-FFF2-40B4-BE49-F238E27FC236}">
                <a16:creationId xmlns:a16="http://schemas.microsoft.com/office/drawing/2014/main" id="{F197E96E-5D71-4ADB-A8C2-F0F5EBFBDF93}"/>
              </a:ext>
            </a:extLst>
          </p:cNvPr>
          <p:cNvGrpSpPr/>
          <p:nvPr/>
        </p:nvGrpSpPr>
        <p:grpSpPr>
          <a:xfrm>
            <a:off x="3950746" y="1858838"/>
            <a:ext cx="1415196" cy="1385877"/>
            <a:chOff x="6225413" y="2498584"/>
            <a:chExt cx="1882368" cy="1843371"/>
          </a:xfrm>
        </p:grpSpPr>
        <p:sp>
          <p:nvSpPr>
            <p:cNvPr id="2095" name="Rectangle 2094">
              <a:extLst>
                <a:ext uri="{FF2B5EF4-FFF2-40B4-BE49-F238E27FC236}">
                  <a16:creationId xmlns:a16="http://schemas.microsoft.com/office/drawing/2014/main" id="{C16E1D36-5897-481E-A5C1-6A48C3879095}"/>
                </a:ext>
              </a:extLst>
            </p:cNvPr>
            <p:cNvSpPr/>
            <p:nvPr/>
          </p:nvSpPr>
          <p:spPr bwMode="gray">
            <a:xfrm>
              <a:off x="6225413" y="2498584"/>
              <a:ext cx="1882368" cy="1843371"/>
            </a:xfrm>
            <a:prstGeom prst="rect">
              <a:avLst/>
            </a:prstGeom>
            <a:solidFill>
              <a:schemeClr val="bg1"/>
            </a:solidFill>
            <a:ln w="28575" algn="ctr">
              <a:solidFill>
                <a:srgbClr val="007680"/>
              </a:solidFill>
              <a:prstDash val="sysDash"/>
              <a:miter lim="800000"/>
              <a:headEnd/>
              <a:tailEnd/>
            </a:ln>
          </p:spPr>
          <p:txBody>
            <a:bodyPr wrap="square" lIns="68746" tIns="68746" rIns="68746" bIns="68746" rtlCol="0" anchor="t">
              <a:noAutofit/>
            </a:bodyPr>
            <a:lstStyle/>
            <a:p>
              <a:pPr algn="ctr">
                <a:lnSpc>
                  <a:spcPct val="106000"/>
                </a:lnSpc>
              </a:pPr>
              <a:r>
                <a:rPr lang="en-US" sz="1354" b="1" dirty="0">
                  <a:latin typeface="Open Sans" panose="020B0606030504020204" pitchFamily="34" charset="0"/>
                  <a:ea typeface="Open Sans" panose="020B0606030504020204" pitchFamily="34" charset="0"/>
                  <a:cs typeface="Open Sans" panose="020B0606030504020204" pitchFamily="34" charset="0"/>
                </a:rPr>
                <a:t>User Stories</a:t>
              </a:r>
            </a:p>
          </p:txBody>
        </p:sp>
        <p:pic>
          <p:nvPicPr>
            <p:cNvPr id="2096" name="Picture 2095">
              <a:extLst>
                <a:ext uri="{FF2B5EF4-FFF2-40B4-BE49-F238E27FC236}">
                  <a16:creationId xmlns:a16="http://schemas.microsoft.com/office/drawing/2014/main" id="{A6DF7234-7A37-42E5-8939-410EEA438A1A}"/>
                </a:ext>
              </a:extLst>
            </p:cNvPr>
            <p:cNvPicPr>
              <a:picLocks noChangeAspect="1"/>
            </p:cNvPicPr>
            <p:nvPr/>
          </p:nvPicPr>
          <p:blipFill>
            <a:blip r:embed="rId9"/>
            <a:stretch>
              <a:fillRect/>
            </a:stretch>
          </p:blipFill>
          <p:spPr>
            <a:xfrm>
              <a:off x="6730257" y="3282227"/>
              <a:ext cx="803030" cy="1003786"/>
            </a:xfrm>
            <a:prstGeom prst="rect">
              <a:avLst/>
            </a:prstGeom>
          </p:spPr>
        </p:pic>
      </p:grpSp>
      <p:grpSp>
        <p:nvGrpSpPr>
          <p:cNvPr id="2098" name="Group 2097">
            <a:extLst>
              <a:ext uri="{FF2B5EF4-FFF2-40B4-BE49-F238E27FC236}">
                <a16:creationId xmlns:a16="http://schemas.microsoft.com/office/drawing/2014/main" id="{F7F9BD11-ABF7-4732-9C59-CAAFFD5B3604}"/>
              </a:ext>
            </a:extLst>
          </p:cNvPr>
          <p:cNvGrpSpPr/>
          <p:nvPr/>
        </p:nvGrpSpPr>
        <p:grpSpPr>
          <a:xfrm>
            <a:off x="5365942" y="1527117"/>
            <a:ext cx="5888329" cy="2065193"/>
            <a:chOff x="6626165" y="1951354"/>
            <a:chExt cx="7832130" cy="2746938"/>
          </a:xfrm>
        </p:grpSpPr>
        <p:sp>
          <p:nvSpPr>
            <p:cNvPr id="2099" name="Rectangle 2098">
              <a:extLst>
                <a:ext uri="{FF2B5EF4-FFF2-40B4-BE49-F238E27FC236}">
                  <a16:creationId xmlns:a16="http://schemas.microsoft.com/office/drawing/2014/main" id="{6203878F-C8B5-4B86-9E2A-09A238F7BE03}"/>
                </a:ext>
              </a:extLst>
            </p:cNvPr>
            <p:cNvSpPr/>
            <p:nvPr/>
          </p:nvSpPr>
          <p:spPr bwMode="gray">
            <a:xfrm>
              <a:off x="8525440" y="1951354"/>
              <a:ext cx="5921319" cy="665568"/>
            </a:xfrm>
            <a:prstGeom prst="rect">
              <a:avLst/>
            </a:prstGeom>
            <a:solidFill>
              <a:schemeClr val="bg1"/>
            </a:solidFill>
            <a:ln w="28575" algn="ctr">
              <a:solidFill>
                <a:srgbClr val="007680"/>
              </a:solidFill>
              <a:prstDash val="sysDash"/>
              <a:miter lim="800000"/>
              <a:headEnd/>
              <a:tailEnd/>
            </a:ln>
          </p:spPr>
          <p:txBody>
            <a:bodyPr wrap="square" lIns="68746" tIns="68746" rIns="68746" bIns="68746" rtlCol="0" anchor="ctr">
              <a:noAutofit/>
            </a:bodyPr>
            <a:lstStyle/>
            <a:p>
              <a:pPr>
                <a:lnSpc>
                  <a:spcPct val="106000"/>
                </a:lnSpc>
              </a:pPr>
              <a:r>
                <a:rPr lang="en-US" sz="1400" dirty="0"/>
                <a:t>Descriptions of desired functionality, told from the perspective of the user</a:t>
              </a:r>
              <a:endParaRPr lang="en-US" sz="1400" b="1" dirty="0">
                <a:ea typeface="Open Sans" panose="020B0606030504020204" pitchFamily="34" charset="0"/>
                <a:cs typeface="Open Sans" panose="020B0606030504020204" pitchFamily="34" charset="0"/>
              </a:endParaRPr>
            </a:p>
          </p:txBody>
        </p:sp>
        <p:sp>
          <p:nvSpPr>
            <p:cNvPr id="2100" name="Rectangle 2099">
              <a:extLst>
                <a:ext uri="{FF2B5EF4-FFF2-40B4-BE49-F238E27FC236}">
                  <a16:creationId xmlns:a16="http://schemas.microsoft.com/office/drawing/2014/main" id="{48061EB8-8348-4502-AA4A-6F85A6B09673}"/>
                </a:ext>
              </a:extLst>
            </p:cNvPr>
            <p:cNvSpPr/>
            <p:nvPr/>
          </p:nvSpPr>
          <p:spPr bwMode="gray">
            <a:xfrm>
              <a:off x="8536974" y="4032724"/>
              <a:ext cx="5921321" cy="665568"/>
            </a:xfrm>
            <a:prstGeom prst="rect">
              <a:avLst/>
            </a:prstGeom>
            <a:solidFill>
              <a:schemeClr val="bg1"/>
            </a:solidFill>
            <a:ln w="28575" algn="ctr">
              <a:solidFill>
                <a:srgbClr val="007680"/>
              </a:solidFill>
              <a:prstDash val="sysDash"/>
              <a:miter lim="800000"/>
              <a:headEnd/>
              <a:tailEnd/>
            </a:ln>
          </p:spPr>
          <p:txBody>
            <a:bodyPr wrap="square" lIns="68746" tIns="68746" rIns="68746" bIns="68746" rtlCol="0" anchor="ctr">
              <a:noAutofit/>
            </a:bodyPr>
            <a:lstStyle/>
            <a:p>
              <a:r>
                <a:rPr lang="en-US" sz="1400" dirty="0">
                  <a:solidFill>
                    <a:srgbClr val="000000"/>
                  </a:solidFill>
                  <a:ea typeface="Verdana" panose="020B0604030504040204" pitchFamily="34" charset="0"/>
                  <a:cs typeface="Verdana" panose="020B0604030504040204" pitchFamily="34" charset="0"/>
                </a:rPr>
                <a:t>Provides essential details for making planning </a:t>
              </a:r>
              <a:r>
                <a:rPr lang="en-US" sz="1400" dirty="0">
                  <a:ea typeface="Verdana" panose="020B0604030504040204" pitchFamily="34" charset="0"/>
                  <a:cs typeface="Verdana" panose="020B0604030504040204" pitchFamily="34" charset="0"/>
                </a:rPr>
                <a:t>decisions</a:t>
              </a:r>
              <a:r>
                <a:rPr lang="en-US" sz="1400" dirty="0">
                  <a:solidFill>
                    <a:srgbClr val="000000"/>
                  </a:solidFill>
                  <a:ea typeface="Verdana" panose="020B0604030504040204" pitchFamily="34" charset="0"/>
                  <a:cs typeface="Verdana" panose="020B0604030504040204" pitchFamily="34" charset="0"/>
                </a:rPr>
                <a:t> </a:t>
              </a:r>
            </a:p>
          </p:txBody>
        </p:sp>
        <p:cxnSp>
          <p:nvCxnSpPr>
            <p:cNvPr id="2101" name="Straight Connector 198">
              <a:extLst>
                <a:ext uri="{FF2B5EF4-FFF2-40B4-BE49-F238E27FC236}">
                  <a16:creationId xmlns:a16="http://schemas.microsoft.com/office/drawing/2014/main" id="{BC81F1E0-F78D-4C02-B5BD-C478AD43E295}"/>
                </a:ext>
              </a:extLst>
            </p:cNvPr>
            <p:cNvCxnSpPr>
              <a:cxnSpLocks/>
              <a:stCxn id="2104" idx="1"/>
              <a:endCxn id="2095" idx="3"/>
            </p:cNvCxnSpPr>
            <p:nvPr/>
          </p:nvCxnSpPr>
          <p:spPr>
            <a:xfrm rot="10800000">
              <a:off x="6626166" y="3314268"/>
              <a:ext cx="1893153" cy="10557"/>
            </a:xfrm>
            <a:prstGeom prst="bentConnector3">
              <a:avLst>
                <a:gd name="adj1" fmla="val 50000"/>
              </a:avLst>
            </a:prstGeom>
            <a:ln w="28575">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2102" name="Connector: Elbow 2101">
              <a:extLst>
                <a:ext uri="{FF2B5EF4-FFF2-40B4-BE49-F238E27FC236}">
                  <a16:creationId xmlns:a16="http://schemas.microsoft.com/office/drawing/2014/main" id="{371EB6EF-0B2D-409F-8D89-0F3BACF1B0AD}"/>
                </a:ext>
              </a:extLst>
            </p:cNvPr>
            <p:cNvCxnSpPr>
              <a:cxnSpLocks/>
              <a:stCxn id="2099" idx="1"/>
              <a:endCxn id="2095" idx="3"/>
            </p:cNvCxnSpPr>
            <p:nvPr/>
          </p:nvCxnSpPr>
          <p:spPr>
            <a:xfrm rot="10800000" flipV="1">
              <a:off x="6626165" y="2284137"/>
              <a:ext cx="1899276" cy="1030128"/>
            </a:xfrm>
            <a:prstGeom prst="bentConnector3">
              <a:avLst>
                <a:gd name="adj1" fmla="val 50000"/>
              </a:avLst>
            </a:prstGeom>
            <a:ln w="28575">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2103" name="Connector: Elbow 2102">
              <a:extLst>
                <a:ext uri="{FF2B5EF4-FFF2-40B4-BE49-F238E27FC236}">
                  <a16:creationId xmlns:a16="http://schemas.microsoft.com/office/drawing/2014/main" id="{99293251-7BE4-48FF-A3A5-C1CA95D312B3}"/>
                </a:ext>
              </a:extLst>
            </p:cNvPr>
            <p:cNvCxnSpPr>
              <a:cxnSpLocks/>
              <a:stCxn id="2100" idx="1"/>
              <a:endCxn id="2095" idx="3"/>
            </p:cNvCxnSpPr>
            <p:nvPr/>
          </p:nvCxnSpPr>
          <p:spPr>
            <a:xfrm rot="10800000">
              <a:off x="6626166" y="3314268"/>
              <a:ext cx="1910809" cy="1051242"/>
            </a:xfrm>
            <a:prstGeom prst="bentConnector3">
              <a:avLst>
                <a:gd name="adj1" fmla="val 50000"/>
              </a:avLst>
            </a:prstGeom>
            <a:ln w="28575">
              <a:solidFill>
                <a:srgbClr val="75787B"/>
              </a:solidFill>
              <a:prstDash val="dash"/>
            </a:ln>
          </p:spPr>
          <p:style>
            <a:lnRef idx="1">
              <a:schemeClr val="accent1"/>
            </a:lnRef>
            <a:fillRef idx="0">
              <a:schemeClr val="accent1"/>
            </a:fillRef>
            <a:effectRef idx="0">
              <a:schemeClr val="accent1"/>
            </a:effectRef>
            <a:fontRef idx="minor">
              <a:schemeClr val="tx1"/>
            </a:fontRef>
          </p:style>
        </p:cxnSp>
        <p:sp>
          <p:nvSpPr>
            <p:cNvPr id="2104" name="Rectangle 2103">
              <a:extLst>
                <a:ext uri="{FF2B5EF4-FFF2-40B4-BE49-F238E27FC236}">
                  <a16:creationId xmlns:a16="http://schemas.microsoft.com/office/drawing/2014/main" id="{BED1952F-143A-487E-BC18-EEC2F25872B4}"/>
                </a:ext>
              </a:extLst>
            </p:cNvPr>
            <p:cNvSpPr/>
            <p:nvPr/>
          </p:nvSpPr>
          <p:spPr bwMode="gray">
            <a:xfrm>
              <a:off x="8519318" y="2992039"/>
              <a:ext cx="5921321" cy="665568"/>
            </a:xfrm>
            <a:prstGeom prst="rect">
              <a:avLst/>
            </a:prstGeom>
            <a:solidFill>
              <a:schemeClr val="bg1"/>
            </a:solidFill>
            <a:ln w="28575" algn="ctr">
              <a:solidFill>
                <a:srgbClr val="007680"/>
              </a:solidFill>
              <a:prstDash val="sysDash"/>
              <a:miter lim="800000"/>
              <a:headEnd/>
              <a:tailEnd/>
            </a:ln>
          </p:spPr>
          <p:txBody>
            <a:bodyPr wrap="square" lIns="68746" tIns="68746" rIns="68746" bIns="68746" rtlCol="0" anchor="ctr">
              <a:noAutofit/>
            </a:bodyPr>
            <a:lstStyle/>
            <a:p>
              <a:pPr>
                <a:lnSpc>
                  <a:spcPct val="106000"/>
                </a:lnSpc>
              </a:pPr>
              <a:r>
                <a:rPr lang="en-US" sz="1400" dirty="0"/>
                <a:t>Includes the user story statement, acceptance criteria, and supporting documentation</a:t>
              </a:r>
              <a:endParaRPr lang="en-US" sz="1400" b="1" dirty="0">
                <a:ea typeface="Open Sans" panose="020B0606030504020204" pitchFamily="34" charset="0"/>
                <a:cs typeface="Open Sans" panose="020B0606030504020204" pitchFamily="34" charset="0"/>
              </a:endParaRPr>
            </a:p>
          </p:txBody>
        </p:sp>
      </p:grpSp>
      <p:grpSp>
        <p:nvGrpSpPr>
          <p:cNvPr id="2105" name="Group 2104">
            <a:extLst>
              <a:ext uri="{FF2B5EF4-FFF2-40B4-BE49-F238E27FC236}">
                <a16:creationId xmlns:a16="http://schemas.microsoft.com/office/drawing/2014/main" id="{C55A10EC-B5D2-4397-A81C-6F1DF0248A79}"/>
              </a:ext>
            </a:extLst>
          </p:cNvPr>
          <p:cNvGrpSpPr/>
          <p:nvPr/>
        </p:nvGrpSpPr>
        <p:grpSpPr>
          <a:xfrm>
            <a:off x="4176115" y="3815398"/>
            <a:ext cx="7132320" cy="249877"/>
            <a:chOff x="2654299" y="4396581"/>
            <a:chExt cx="7114157" cy="249241"/>
          </a:xfrm>
        </p:grpSpPr>
        <p:cxnSp>
          <p:nvCxnSpPr>
            <p:cNvPr id="2106" name="iBar:209/371">
              <a:extLst>
                <a:ext uri="{FF2B5EF4-FFF2-40B4-BE49-F238E27FC236}">
                  <a16:creationId xmlns:a16="http://schemas.microsoft.com/office/drawing/2014/main" id="{51834643-67B8-4F94-9070-5CD7A23C9D20}"/>
                </a:ext>
              </a:extLst>
            </p:cNvPr>
            <p:cNvCxnSpPr/>
            <p:nvPr/>
          </p:nvCxnSpPr>
          <p:spPr>
            <a:xfrm>
              <a:off x="2654299" y="4521200"/>
              <a:ext cx="7114157"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07" name="TxtBox:209/371">
              <a:extLst>
                <a:ext uri="{FF2B5EF4-FFF2-40B4-BE49-F238E27FC236}">
                  <a16:creationId xmlns:a16="http://schemas.microsoft.com/office/drawing/2014/main" id="{7AEBD95E-FDD7-470C-880F-C9CA025F55A2}"/>
                </a:ext>
              </a:extLst>
            </p:cNvPr>
            <p:cNvSpPr/>
            <p:nvPr/>
          </p:nvSpPr>
          <p:spPr bwMode="gray">
            <a:xfrm>
              <a:off x="5229852" y="4396581"/>
              <a:ext cx="1963050" cy="249241"/>
            </a:xfrm>
            <a:prstGeom prst="rect">
              <a:avLst/>
            </a:prstGeom>
            <a:solidFill>
              <a:srgbClr val="A0DCFF"/>
            </a:solidFill>
            <a:ln w="19050" algn="ctr">
              <a:noFill/>
              <a:miter lim="800000"/>
              <a:headEnd/>
              <a:tailEnd/>
            </a:ln>
          </p:spPr>
          <p:txBody>
            <a:bodyPr wrap="none" lIns="91673" tIns="0" rIns="91673" bIns="0" rtlCol="0" anchor="ctr">
              <a:spAutoFit/>
            </a:bodyPr>
            <a:lstStyle/>
            <a:p>
              <a:pPr algn="ctr">
                <a:lnSpc>
                  <a:spcPct val="106000"/>
                </a:lnSpc>
              </a:pPr>
              <a:r>
                <a:rPr lang="en-US" sz="1600" b="1" dirty="0">
                  <a:solidFill>
                    <a:srgbClr val="000000"/>
                  </a:solidFill>
                </a:rPr>
                <a:t>User story statement</a:t>
              </a:r>
            </a:p>
          </p:txBody>
        </p:sp>
      </p:grpSp>
      <p:grpSp>
        <p:nvGrpSpPr>
          <p:cNvPr id="2108" name="Group 2107">
            <a:extLst>
              <a:ext uri="{FF2B5EF4-FFF2-40B4-BE49-F238E27FC236}">
                <a16:creationId xmlns:a16="http://schemas.microsoft.com/office/drawing/2014/main" id="{9003DB10-07EF-4190-B822-14BA24FAFB21}"/>
              </a:ext>
            </a:extLst>
          </p:cNvPr>
          <p:cNvGrpSpPr/>
          <p:nvPr/>
        </p:nvGrpSpPr>
        <p:grpSpPr>
          <a:xfrm>
            <a:off x="4639126" y="4106355"/>
            <a:ext cx="6733328" cy="2069357"/>
            <a:chOff x="2269134" y="1972469"/>
            <a:chExt cx="4500760" cy="1737360"/>
          </a:xfrm>
        </p:grpSpPr>
        <p:grpSp>
          <p:nvGrpSpPr>
            <p:cNvPr id="2109" name="Group 2108">
              <a:extLst>
                <a:ext uri="{FF2B5EF4-FFF2-40B4-BE49-F238E27FC236}">
                  <a16:creationId xmlns:a16="http://schemas.microsoft.com/office/drawing/2014/main" id="{8235779A-EA0E-48D2-A967-E7A3A853ECEC}"/>
                </a:ext>
              </a:extLst>
            </p:cNvPr>
            <p:cNvGrpSpPr/>
            <p:nvPr/>
          </p:nvGrpSpPr>
          <p:grpSpPr>
            <a:xfrm>
              <a:off x="2269134" y="1972469"/>
              <a:ext cx="1452760" cy="1737360"/>
              <a:chOff x="2269134" y="1972469"/>
              <a:chExt cx="1452760" cy="1737360"/>
            </a:xfrm>
          </p:grpSpPr>
          <p:sp>
            <p:nvSpPr>
              <p:cNvPr id="2118" name="Rectangle 107">
                <a:extLst>
                  <a:ext uri="{FF2B5EF4-FFF2-40B4-BE49-F238E27FC236}">
                    <a16:creationId xmlns:a16="http://schemas.microsoft.com/office/drawing/2014/main" id="{605561FF-3F64-45E7-A307-4648D372AC0B}"/>
                  </a:ext>
                </a:extLst>
              </p:cNvPr>
              <p:cNvSpPr/>
              <p:nvPr/>
            </p:nvSpPr>
            <p:spPr bwMode="gray">
              <a:xfrm>
                <a:off x="2274094" y="1972469"/>
                <a:ext cx="1447800" cy="1737360"/>
              </a:xfrm>
              <a:prstGeom prst="roundRect">
                <a:avLst/>
              </a:prstGeom>
              <a:solidFill>
                <a:srgbClr val="007680"/>
              </a:solidFill>
              <a:ln w="19050" algn="ctr">
                <a:noFill/>
                <a:miter lim="800000"/>
                <a:headEnd/>
                <a:tailEnd/>
              </a:ln>
            </p:spPr>
            <p:txBody>
              <a:bodyPr wrap="square" lIns="89127" tIns="89127" rIns="89127" bIns="89127" rtlCol="0" anchor="ctr"/>
              <a:lstStyle/>
              <a:p>
                <a:pPr algn="ctr">
                  <a:lnSpc>
                    <a:spcPct val="106000"/>
                  </a:lnSpc>
                  <a:buFont typeface="Wingdings 2" pitchFamily="18" charset="2"/>
                  <a:buNone/>
                </a:pPr>
                <a:endParaRPr lang="en-US" sz="1400" b="1" dirty="0">
                  <a:solidFill>
                    <a:schemeClr val="bg1"/>
                  </a:solidFill>
                </a:endParaRPr>
              </a:p>
            </p:txBody>
          </p:sp>
          <p:sp>
            <p:nvSpPr>
              <p:cNvPr id="2119" name="Rectangle: Rounded Corners 2118">
                <a:extLst>
                  <a:ext uri="{FF2B5EF4-FFF2-40B4-BE49-F238E27FC236}">
                    <a16:creationId xmlns:a16="http://schemas.microsoft.com/office/drawing/2014/main" id="{E28B901C-4E48-4B51-8708-B59019E22B56}"/>
                  </a:ext>
                </a:extLst>
              </p:cNvPr>
              <p:cNvSpPr/>
              <p:nvPr/>
            </p:nvSpPr>
            <p:spPr bwMode="gray">
              <a:xfrm>
                <a:off x="2362992" y="2045083"/>
                <a:ext cx="1270002" cy="917985"/>
              </a:xfrm>
              <a:prstGeom prst="roundRect">
                <a:avLst/>
              </a:prstGeom>
              <a:solidFill>
                <a:schemeClr val="bg1"/>
              </a:solidFill>
              <a:ln w="19050" algn="ctr">
                <a:noFill/>
                <a:miter lim="800000"/>
                <a:headEnd/>
                <a:tailEnd/>
              </a:ln>
            </p:spPr>
            <p:txBody>
              <a:bodyPr wrap="square" lIns="89127" tIns="89127" rIns="89127" bIns="89127" rtlCol="0" anchor="ctr"/>
              <a:lstStyle/>
              <a:p>
                <a:pPr algn="ctr">
                  <a:lnSpc>
                    <a:spcPct val="106000"/>
                  </a:lnSpc>
                  <a:buFont typeface="Wingdings 2" pitchFamily="18" charset="2"/>
                  <a:buNone/>
                </a:pPr>
                <a:r>
                  <a:rPr lang="en-US" sz="1400" b="1" dirty="0"/>
                  <a:t>As a…</a:t>
                </a:r>
              </a:p>
              <a:p>
                <a:pPr algn="ctr">
                  <a:lnSpc>
                    <a:spcPct val="106000"/>
                  </a:lnSpc>
                  <a:buFont typeface="Wingdings 2" pitchFamily="18" charset="2"/>
                  <a:buNone/>
                </a:pPr>
                <a:r>
                  <a:rPr lang="en-US" sz="1400" dirty="0"/>
                  <a:t>The persona who will be using this story</a:t>
                </a:r>
              </a:p>
            </p:txBody>
          </p:sp>
          <p:sp>
            <p:nvSpPr>
              <p:cNvPr id="2120" name="Rectangle 2119">
                <a:extLst>
                  <a:ext uri="{FF2B5EF4-FFF2-40B4-BE49-F238E27FC236}">
                    <a16:creationId xmlns:a16="http://schemas.microsoft.com/office/drawing/2014/main" id="{4B2F7159-E857-44A2-AE65-CCE9F6660EAC}"/>
                  </a:ext>
                </a:extLst>
              </p:cNvPr>
              <p:cNvSpPr/>
              <p:nvPr/>
            </p:nvSpPr>
            <p:spPr>
              <a:xfrm>
                <a:off x="2269134" y="3099900"/>
                <a:ext cx="1452760" cy="389966"/>
              </a:xfrm>
              <a:prstGeom prst="rect">
                <a:avLst/>
              </a:prstGeom>
              <a:solidFill>
                <a:schemeClr val="bg1"/>
              </a:solidFill>
            </p:spPr>
            <p:txBody>
              <a:bodyPr wrap="square" anchor="ctr">
                <a:spAutoFit/>
              </a:bodyPr>
              <a:lstStyle/>
              <a:p>
                <a:pPr algn="ctr"/>
                <a:r>
                  <a:rPr lang="en-US" sz="1200" dirty="0"/>
                  <a:t>As an Amazon Prime member</a:t>
                </a:r>
              </a:p>
              <a:p>
                <a:pPr algn="ctr">
                  <a:lnSpc>
                    <a:spcPct val="106000"/>
                  </a:lnSpc>
                </a:pPr>
                <a:endParaRPr lang="en-US" sz="1200" dirty="0"/>
              </a:p>
            </p:txBody>
          </p:sp>
        </p:grpSp>
        <p:grpSp>
          <p:nvGrpSpPr>
            <p:cNvPr id="2110" name="Group 2109">
              <a:extLst>
                <a:ext uri="{FF2B5EF4-FFF2-40B4-BE49-F238E27FC236}">
                  <a16:creationId xmlns:a16="http://schemas.microsoft.com/office/drawing/2014/main" id="{5BF2A390-4F74-4ED7-8440-E8C0205159D5}"/>
                </a:ext>
              </a:extLst>
            </p:cNvPr>
            <p:cNvGrpSpPr/>
            <p:nvPr/>
          </p:nvGrpSpPr>
          <p:grpSpPr>
            <a:xfrm>
              <a:off x="3803113" y="1972469"/>
              <a:ext cx="1447800" cy="1737360"/>
              <a:chOff x="2065727" y="1972469"/>
              <a:chExt cx="1447800" cy="1737360"/>
            </a:xfrm>
          </p:grpSpPr>
          <p:sp>
            <p:nvSpPr>
              <p:cNvPr id="2115" name="Rectangle 107">
                <a:extLst>
                  <a:ext uri="{FF2B5EF4-FFF2-40B4-BE49-F238E27FC236}">
                    <a16:creationId xmlns:a16="http://schemas.microsoft.com/office/drawing/2014/main" id="{E906F1BF-D397-4027-A856-9DC623450EBB}"/>
                  </a:ext>
                </a:extLst>
              </p:cNvPr>
              <p:cNvSpPr/>
              <p:nvPr/>
            </p:nvSpPr>
            <p:spPr bwMode="gray">
              <a:xfrm>
                <a:off x="2065727" y="1972469"/>
                <a:ext cx="1447800" cy="1737360"/>
              </a:xfrm>
              <a:prstGeom prst="roundRect">
                <a:avLst/>
              </a:prstGeom>
              <a:solidFill>
                <a:srgbClr val="007680"/>
              </a:solidFill>
              <a:ln w="19050" algn="ctr">
                <a:noFill/>
                <a:miter lim="800000"/>
                <a:headEnd/>
                <a:tailEnd/>
              </a:ln>
            </p:spPr>
            <p:txBody>
              <a:bodyPr wrap="square" lIns="89127" tIns="89127" rIns="89127" bIns="89127" rtlCol="0" anchor="ctr"/>
              <a:lstStyle/>
              <a:p>
                <a:pPr algn="ctr">
                  <a:lnSpc>
                    <a:spcPct val="106000"/>
                  </a:lnSpc>
                  <a:buFont typeface="Wingdings 2" pitchFamily="18" charset="2"/>
                  <a:buNone/>
                </a:pPr>
                <a:endParaRPr lang="en-US" sz="1400" b="1" dirty="0">
                  <a:solidFill>
                    <a:schemeClr val="bg1"/>
                  </a:solidFill>
                </a:endParaRPr>
              </a:p>
            </p:txBody>
          </p:sp>
          <p:sp>
            <p:nvSpPr>
              <p:cNvPr id="2116" name="Rectangle: Rounded Corners 2115">
                <a:extLst>
                  <a:ext uri="{FF2B5EF4-FFF2-40B4-BE49-F238E27FC236}">
                    <a16:creationId xmlns:a16="http://schemas.microsoft.com/office/drawing/2014/main" id="{194E734C-1A07-453A-82AE-A6A92893A8E2}"/>
                  </a:ext>
                </a:extLst>
              </p:cNvPr>
              <p:cNvSpPr/>
              <p:nvPr/>
            </p:nvSpPr>
            <p:spPr bwMode="gray">
              <a:xfrm>
                <a:off x="2154625" y="2045084"/>
                <a:ext cx="1270002" cy="917984"/>
              </a:xfrm>
              <a:prstGeom prst="roundRect">
                <a:avLst/>
              </a:prstGeom>
              <a:solidFill>
                <a:schemeClr val="bg1"/>
              </a:solidFill>
              <a:ln w="19050" algn="ctr">
                <a:noFill/>
                <a:miter lim="800000"/>
                <a:headEnd/>
                <a:tailEnd/>
              </a:ln>
            </p:spPr>
            <p:txBody>
              <a:bodyPr wrap="square" lIns="89127" tIns="89127" rIns="89127" bIns="89127" rtlCol="0" anchor="t"/>
              <a:lstStyle/>
              <a:p>
                <a:pPr algn="ctr" defTabSz="916633">
                  <a:defRPr/>
                </a:pPr>
                <a:r>
                  <a:rPr lang="en-US" sz="1400" b="1" dirty="0"/>
                  <a:t>I want to…</a:t>
                </a:r>
              </a:p>
              <a:p>
                <a:pPr algn="ctr">
                  <a:lnSpc>
                    <a:spcPct val="106000"/>
                  </a:lnSpc>
                  <a:buFont typeface="Wingdings 2" pitchFamily="18" charset="2"/>
                  <a:buNone/>
                </a:pPr>
                <a:r>
                  <a:rPr lang="en-US" sz="1400" dirty="0"/>
                  <a:t>Achieve a goal as a result of using the system</a:t>
                </a:r>
              </a:p>
            </p:txBody>
          </p:sp>
          <p:sp>
            <p:nvSpPr>
              <p:cNvPr id="2117" name="Rectangle 2116">
                <a:extLst>
                  <a:ext uri="{FF2B5EF4-FFF2-40B4-BE49-F238E27FC236}">
                    <a16:creationId xmlns:a16="http://schemas.microsoft.com/office/drawing/2014/main" id="{6C557716-D960-489E-9653-E26C62981715}"/>
                  </a:ext>
                </a:extLst>
              </p:cNvPr>
              <p:cNvSpPr/>
              <p:nvPr/>
            </p:nvSpPr>
            <p:spPr>
              <a:xfrm>
                <a:off x="2065727" y="3099900"/>
                <a:ext cx="1447800" cy="387598"/>
              </a:xfrm>
              <a:prstGeom prst="rect">
                <a:avLst/>
              </a:prstGeom>
              <a:solidFill>
                <a:schemeClr val="bg1"/>
              </a:solidFill>
            </p:spPr>
            <p:txBody>
              <a:bodyPr wrap="square">
                <a:spAutoFit/>
              </a:bodyPr>
              <a:lstStyle/>
              <a:p>
                <a:pPr algn="ctr">
                  <a:buFont typeface="Wingdings 2" pitchFamily="18" charset="2"/>
                  <a:buNone/>
                </a:pPr>
                <a:r>
                  <a:rPr lang="en-US" sz="1200" dirty="0"/>
                  <a:t>I want to search for Prime only deals</a:t>
                </a:r>
              </a:p>
            </p:txBody>
          </p:sp>
        </p:grpSp>
        <p:grpSp>
          <p:nvGrpSpPr>
            <p:cNvPr id="2111" name="Group 2110">
              <a:extLst>
                <a:ext uri="{FF2B5EF4-FFF2-40B4-BE49-F238E27FC236}">
                  <a16:creationId xmlns:a16="http://schemas.microsoft.com/office/drawing/2014/main" id="{6B6EDD5E-B65D-4DE6-AACB-E9263459ADCD}"/>
                </a:ext>
              </a:extLst>
            </p:cNvPr>
            <p:cNvGrpSpPr/>
            <p:nvPr/>
          </p:nvGrpSpPr>
          <p:grpSpPr>
            <a:xfrm>
              <a:off x="5322094" y="1972469"/>
              <a:ext cx="1447800" cy="1737360"/>
              <a:chOff x="2065727" y="1972469"/>
              <a:chExt cx="1447800" cy="1737360"/>
            </a:xfrm>
          </p:grpSpPr>
          <p:sp>
            <p:nvSpPr>
              <p:cNvPr id="2112" name="Rectangle 107">
                <a:extLst>
                  <a:ext uri="{FF2B5EF4-FFF2-40B4-BE49-F238E27FC236}">
                    <a16:creationId xmlns:a16="http://schemas.microsoft.com/office/drawing/2014/main" id="{2DD2AAFF-E1E9-4E62-A1DC-23C515EC3F9A}"/>
                  </a:ext>
                </a:extLst>
              </p:cNvPr>
              <p:cNvSpPr/>
              <p:nvPr/>
            </p:nvSpPr>
            <p:spPr bwMode="gray">
              <a:xfrm>
                <a:off x="2065727" y="1972469"/>
                <a:ext cx="1447800" cy="1737360"/>
              </a:xfrm>
              <a:prstGeom prst="roundRect">
                <a:avLst/>
              </a:prstGeom>
              <a:solidFill>
                <a:srgbClr val="007680"/>
              </a:solidFill>
              <a:ln w="19050" algn="ctr">
                <a:noFill/>
                <a:miter lim="800000"/>
                <a:headEnd/>
                <a:tailEnd/>
              </a:ln>
            </p:spPr>
            <p:txBody>
              <a:bodyPr wrap="square" lIns="89127" tIns="89127" rIns="89127" bIns="89127" rtlCol="0" anchor="ctr"/>
              <a:lstStyle/>
              <a:p>
                <a:pPr algn="ctr">
                  <a:lnSpc>
                    <a:spcPct val="106000"/>
                  </a:lnSpc>
                  <a:buFont typeface="Wingdings 2" pitchFamily="18" charset="2"/>
                  <a:buNone/>
                </a:pPr>
                <a:endParaRPr lang="en-US" sz="1400" b="1" dirty="0">
                  <a:solidFill>
                    <a:schemeClr val="bg1"/>
                  </a:solidFill>
                </a:endParaRPr>
              </a:p>
            </p:txBody>
          </p:sp>
          <p:sp>
            <p:nvSpPr>
              <p:cNvPr id="2113" name="Rectangle: Rounded Corners 2112">
                <a:extLst>
                  <a:ext uri="{FF2B5EF4-FFF2-40B4-BE49-F238E27FC236}">
                    <a16:creationId xmlns:a16="http://schemas.microsoft.com/office/drawing/2014/main" id="{3F94DA1F-1F54-4924-BA73-B1A797267FE4}"/>
                  </a:ext>
                </a:extLst>
              </p:cNvPr>
              <p:cNvSpPr/>
              <p:nvPr/>
            </p:nvSpPr>
            <p:spPr bwMode="gray">
              <a:xfrm>
                <a:off x="2154625" y="2045084"/>
                <a:ext cx="1270002" cy="917984"/>
              </a:xfrm>
              <a:prstGeom prst="roundRect">
                <a:avLst/>
              </a:prstGeom>
              <a:solidFill>
                <a:schemeClr val="bg1"/>
              </a:solidFill>
              <a:ln w="19050" algn="ctr">
                <a:noFill/>
                <a:miter lim="800000"/>
                <a:headEnd/>
                <a:tailEnd/>
              </a:ln>
            </p:spPr>
            <p:txBody>
              <a:bodyPr wrap="square" lIns="89127" tIns="89127" rIns="89127" bIns="89127" rtlCol="0" anchor="ctr"/>
              <a:lstStyle/>
              <a:p>
                <a:pPr algn="ctr" defTabSz="916633">
                  <a:defRPr/>
                </a:pPr>
                <a:r>
                  <a:rPr lang="en-US" sz="1400" b="1" dirty="0"/>
                  <a:t>So that…</a:t>
                </a:r>
              </a:p>
              <a:p>
                <a:pPr algn="ctr">
                  <a:lnSpc>
                    <a:spcPct val="106000"/>
                  </a:lnSpc>
                  <a:buFont typeface="Wingdings 2" pitchFamily="18" charset="2"/>
                  <a:buNone/>
                </a:pPr>
                <a:r>
                  <a:rPr lang="en-US" sz="1400" dirty="0"/>
                  <a:t>Tangible benefits that will be realized after using the system</a:t>
                </a:r>
              </a:p>
            </p:txBody>
          </p:sp>
          <p:sp>
            <p:nvSpPr>
              <p:cNvPr id="2114" name="Rectangle 2113">
                <a:extLst>
                  <a:ext uri="{FF2B5EF4-FFF2-40B4-BE49-F238E27FC236}">
                    <a16:creationId xmlns:a16="http://schemas.microsoft.com/office/drawing/2014/main" id="{9751F111-70DF-48B0-85B0-AC0E81DED60B}"/>
                  </a:ext>
                </a:extLst>
              </p:cNvPr>
              <p:cNvSpPr/>
              <p:nvPr/>
            </p:nvSpPr>
            <p:spPr>
              <a:xfrm>
                <a:off x="2065727" y="3099900"/>
                <a:ext cx="1447800" cy="387598"/>
              </a:xfrm>
              <a:prstGeom prst="rect">
                <a:avLst/>
              </a:prstGeom>
              <a:solidFill>
                <a:schemeClr val="bg1"/>
              </a:solidFill>
            </p:spPr>
            <p:txBody>
              <a:bodyPr wrap="square">
                <a:spAutoFit/>
              </a:bodyPr>
              <a:lstStyle/>
              <a:p>
                <a:pPr algn="ctr">
                  <a:buFont typeface="Wingdings 2" pitchFamily="18" charset="2"/>
                  <a:buNone/>
                </a:pPr>
                <a:r>
                  <a:rPr lang="en-US" sz="1200" dirty="0"/>
                  <a:t>So that I only see deals that qualify for free 2-day shipping</a:t>
                </a:r>
              </a:p>
            </p:txBody>
          </p:sp>
        </p:grpSp>
      </p:grpSp>
    </p:spTree>
    <p:custDataLst>
      <p:tags r:id="rId1"/>
    </p:custDataLst>
    <p:extLst>
      <p:ext uri="{BB962C8B-B14F-4D97-AF65-F5344CB8AC3E}">
        <p14:creationId xmlns:p14="http://schemas.microsoft.com/office/powerpoint/2010/main" val="356640822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1" name="Rectangle 2920">
            <a:extLst>
              <a:ext uri="{FF2B5EF4-FFF2-40B4-BE49-F238E27FC236}">
                <a16:creationId xmlns:a16="http://schemas.microsoft.com/office/drawing/2014/main" id="{C3C0E45A-3BC3-4EC8-8D1B-ACC23D09D86C}"/>
              </a:ext>
            </a:extLst>
          </p:cNvPr>
          <p:cNvSpPr/>
          <p:nvPr/>
        </p:nvSpPr>
        <p:spPr bwMode="gray">
          <a:xfrm>
            <a:off x="598323" y="3265981"/>
            <a:ext cx="629963" cy="912832"/>
          </a:xfrm>
          <a:prstGeom prst="rect">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itle 3">
            <a:extLst>
              <a:ext uri="{FF2B5EF4-FFF2-40B4-BE49-F238E27FC236}">
                <a16:creationId xmlns:a16="http://schemas.microsoft.com/office/drawing/2014/main" id="{A21F36B2-2A37-4842-A8E4-8168BE7C77FB}"/>
              </a:ext>
            </a:extLst>
          </p:cNvPr>
          <p:cNvSpPr>
            <a:spLocks noGrp="1"/>
          </p:cNvSpPr>
          <p:nvPr>
            <p:ph type="title"/>
          </p:nvPr>
        </p:nvSpPr>
        <p:spPr/>
        <p:txBody>
          <a:bodyPr/>
          <a:lstStyle/>
          <a:p>
            <a:r>
              <a:rPr lang="en-US" dirty="0"/>
              <a:t>Discovery: Define User Stories: Acceptance Criteria</a:t>
            </a:r>
          </a:p>
        </p:txBody>
      </p:sp>
      <p:sp>
        <p:nvSpPr>
          <p:cNvPr id="379" name="Text Placeholder 26">
            <a:extLst>
              <a:ext uri="{FF2B5EF4-FFF2-40B4-BE49-F238E27FC236}">
                <a16:creationId xmlns:a16="http://schemas.microsoft.com/office/drawing/2014/main" id="{5AB413F5-343C-4AAA-B9AC-12FE3978929D}"/>
              </a:ext>
            </a:extLst>
          </p:cNvPr>
          <p:cNvSpPr>
            <a:spLocks noGrp="1"/>
          </p:cNvSpPr>
          <p:nvPr>
            <p:ph type="body" sz="quarter" idx="13"/>
          </p:nvPr>
        </p:nvSpPr>
        <p:spPr/>
        <p:txBody>
          <a:bodyPr/>
          <a:lstStyle/>
          <a:p>
            <a:r>
              <a:rPr lang="en-US" dirty="0"/>
              <a:t> </a:t>
            </a:r>
          </a:p>
        </p:txBody>
      </p:sp>
      <p:graphicFrame>
        <p:nvGraphicFramePr>
          <p:cNvPr id="2088" name="Table 2087">
            <a:extLst>
              <a:ext uri="{FF2B5EF4-FFF2-40B4-BE49-F238E27FC236}">
                <a16:creationId xmlns:a16="http://schemas.microsoft.com/office/drawing/2014/main" id="{25698676-5C58-4D35-A8B7-8E336A7551CC}"/>
              </a:ext>
            </a:extLst>
          </p:cNvPr>
          <p:cNvGraphicFramePr>
            <a:graphicFrameLocks noGrp="1"/>
          </p:cNvGraphicFramePr>
          <p:nvPr>
            <p:extLst>
              <p:ext uri="{D42A27DB-BD31-4B8C-83A1-F6EECF244321}">
                <p14:modId xmlns:p14="http://schemas.microsoft.com/office/powerpoint/2010/main" val="1099750606"/>
              </p:ext>
            </p:extLst>
          </p:nvPr>
        </p:nvGraphicFramePr>
        <p:xfrm>
          <a:off x="4178627" y="3158850"/>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089" name="Rectangle 2088">
            <a:extLst>
              <a:ext uri="{FF2B5EF4-FFF2-40B4-BE49-F238E27FC236}">
                <a16:creationId xmlns:a16="http://schemas.microsoft.com/office/drawing/2014/main" id="{538DBED8-B7FE-4836-95D1-D23E7CB3103C}"/>
              </a:ext>
            </a:extLst>
          </p:cNvPr>
          <p:cNvSpPr>
            <a:spLocks/>
          </p:cNvSpPr>
          <p:nvPr/>
        </p:nvSpPr>
        <p:spPr bwMode="gray">
          <a:xfrm>
            <a:off x="9918827" y="1551301"/>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090" name="Table 2089">
            <a:extLst>
              <a:ext uri="{FF2B5EF4-FFF2-40B4-BE49-F238E27FC236}">
                <a16:creationId xmlns:a16="http://schemas.microsoft.com/office/drawing/2014/main" id="{CCD5D59F-617C-4091-9BEC-F2BEDDEF7D01}"/>
              </a:ext>
            </a:extLst>
          </p:cNvPr>
          <p:cNvGraphicFramePr>
            <a:graphicFrameLocks noGrp="1"/>
          </p:cNvGraphicFramePr>
          <p:nvPr>
            <p:extLst>
              <p:ext uri="{D42A27DB-BD31-4B8C-83A1-F6EECF244321}">
                <p14:modId xmlns:p14="http://schemas.microsoft.com/office/powerpoint/2010/main" val="219220386"/>
              </p:ext>
            </p:extLst>
          </p:nvPr>
        </p:nvGraphicFramePr>
        <p:xfrm>
          <a:off x="468615" y="4440018"/>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091" name="Group 2090">
            <a:extLst>
              <a:ext uri="{FF2B5EF4-FFF2-40B4-BE49-F238E27FC236}">
                <a16:creationId xmlns:a16="http://schemas.microsoft.com/office/drawing/2014/main" id="{FA3C1DA5-2A52-4D78-9CB8-5B1ED2BE5D13}"/>
              </a:ext>
            </a:extLst>
          </p:cNvPr>
          <p:cNvGrpSpPr/>
          <p:nvPr/>
        </p:nvGrpSpPr>
        <p:grpSpPr>
          <a:xfrm>
            <a:off x="7902088" y="3305977"/>
            <a:ext cx="1851680" cy="1646153"/>
            <a:chOff x="7893402" y="3412713"/>
            <a:chExt cx="1856890" cy="1650785"/>
          </a:xfrm>
        </p:grpSpPr>
        <p:sp>
          <p:nvSpPr>
            <p:cNvPr id="2092" name="Rectangle 2091">
              <a:extLst>
                <a:ext uri="{FF2B5EF4-FFF2-40B4-BE49-F238E27FC236}">
                  <a16:creationId xmlns:a16="http://schemas.microsoft.com/office/drawing/2014/main" id="{1C669E47-2425-4A9C-B6FA-BCDD9F5F0914}"/>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2093" name="Rectangle 2092">
              <a:extLst>
                <a:ext uri="{FF2B5EF4-FFF2-40B4-BE49-F238E27FC236}">
                  <a16:creationId xmlns:a16="http://schemas.microsoft.com/office/drawing/2014/main" id="{1226DC2C-2BA0-42DD-BAC4-98CD84DB843D}"/>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2094" name="Group 2093">
              <a:extLst>
                <a:ext uri="{FF2B5EF4-FFF2-40B4-BE49-F238E27FC236}">
                  <a16:creationId xmlns:a16="http://schemas.microsoft.com/office/drawing/2014/main" id="{4018B3BA-F4A9-4CB0-A81F-A4E27B5E73DB}"/>
                </a:ext>
              </a:extLst>
            </p:cNvPr>
            <p:cNvGrpSpPr>
              <a:grpSpLocks/>
            </p:cNvGrpSpPr>
            <p:nvPr/>
          </p:nvGrpSpPr>
          <p:grpSpPr>
            <a:xfrm>
              <a:off x="8732469" y="4576554"/>
              <a:ext cx="486942" cy="486944"/>
              <a:chOff x="9882273" y="6953856"/>
              <a:chExt cx="473625" cy="473627"/>
            </a:xfrm>
          </p:grpSpPr>
          <p:grpSp>
            <p:nvGrpSpPr>
              <p:cNvPr id="2118" name="Group 64">
                <a:extLst>
                  <a:ext uri="{FF2B5EF4-FFF2-40B4-BE49-F238E27FC236}">
                    <a16:creationId xmlns:a16="http://schemas.microsoft.com/office/drawing/2014/main" id="{DC979671-E4F1-468E-9C3B-01580A58710E}"/>
                  </a:ext>
                </a:extLst>
              </p:cNvPr>
              <p:cNvGrpSpPr>
                <a:grpSpLocks noChangeAspect="1"/>
              </p:cNvGrpSpPr>
              <p:nvPr/>
            </p:nvGrpSpPr>
            <p:grpSpPr bwMode="auto">
              <a:xfrm rot="8100000">
                <a:off x="9882273" y="6953856"/>
                <a:ext cx="473625" cy="473627"/>
                <a:chOff x="701" y="2170"/>
                <a:chExt cx="587" cy="587"/>
              </a:xfrm>
            </p:grpSpPr>
            <p:sp>
              <p:nvSpPr>
                <p:cNvPr id="2150" name="Oval 65">
                  <a:extLst>
                    <a:ext uri="{FF2B5EF4-FFF2-40B4-BE49-F238E27FC236}">
                      <a16:creationId xmlns:a16="http://schemas.microsoft.com/office/drawing/2014/main" id="{CD508788-B640-40DF-91A5-A3F245D0F39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1" name="Line 66">
                  <a:extLst>
                    <a:ext uri="{FF2B5EF4-FFF2-40B4-BE49-F238E27FC236}">
                      <a16:creationId xmlns:a16="http://schemas.microsoft.com/office/drawing/2014/main" id="{17316FC2-914A-4B92-B759-336E06AC88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2" name="Line 67">
                  <a:extLst>
                    <a:ext uri="{FF2B5EF4-FFF2-40B4-BE49-F238E27FC236}">
                      <a16:creationId xmlns:a16="http://schemas.microsoft.com/office/drawing/2014/main" id="{B11E12E1-EA7C-4ABE-8A24-2DF55E515C8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3" name="Line 69">
                  <a:extLst>
                    <a:ext uri="{FF2B5EF4-FFF2-40B4-BE49-F238E27FC236}">
                      <a16:creationId xmlns:a16="http://schemas.microsoft.com/office/drawing/2014/main" id="{7178D00E-79F4-49D9-862D-ECBC0715D6E2}"/>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4" name="Line 74">
                  <a:extLst>
                    <a:ext uri="{FF2B5EF4-FFF2-40B4-BE49-F238E27FC236}">
                      <a16:creationId xmlns:a16="http://schemas.microsoft.com/office/drawing/2014/main" id="{C489AE26-4BAE-4983-8E24-D960A7FAA69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Freeform 78">
                  <a:extLst>
                    <a:ext uri="{FF2B5EF4-FFF2-40B4-BE49-F238E27FC236}">
                      <a16:creationId xmlns:a16="http://schemas.microsoft.com/office/drawing/2014/main" id="{AF00986A-31DC-4BFC-902E-48818E8388E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80">
                  <a:extLst>
                    <a:ext uri="{FF2B5EF4-FFF2-40B4-BE49-F238E27FC236}">
                      <a16:creationId xmlns:a16="http://schemas.microsoft.com/office/drawing/2014/main" id="{21A42C36-6533-48C9-8BF4-00F522A96D3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9" name="Group 2118">
                <a:extLst>
                  <a:ext uri="{FF2B5EF4-FFF2-40B4-BE49-F238E27FC236}">
                    <a16:creationId xmlns:a16="http://schemas.microsoft.com/office/drawing/2014/main" id="{3093853F-A565-4B6A-A062-79427CC86038}"/>
                  </a:ext>
                </a:extLst>
              </p:cNvPr>
              <p:cNvGrpSpPr/>
              <p:nvPr/>
            </p:nvGrpSpPr>
            <p:grpSpPr>
              <a:xfrm>
                <a:off x="9938546" y="7021642"/>
                <a:ext cx="356509" cy="349884"/>
                <a:chOff x="468738" y="2241878"/>
                <a:chExt cx="1655483" cy="1624719"/>
              </a:xfrm>
            </p:grpSpPr>
            <p:sp>
              <p:nvSpPr>
                <p:cNvPr id="2120" name="Freeform 5">
                  <a:extLst>
                    <a:ext uri="{FF2B5EF4-FFF2-40B4-BE49-F238E27FC236}">
                      <a16:creationId xmlns:a16="http://schemas.microsoft.com/office/drawing/2014/main" id="{DF09CF73-ABB3-40B9-8FBB-D7ED124A0A2A}"/>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6">
                  <a:extLst>
                    <a:ext uri="{FF2B5EF4-FFF2-40B4-BE49-F238E27FC236}">
                      <a16:creationId xmlns:a16="http://schemas.microsoft.com/office/drawing/2014/main" id="{469EF966-E092-499D-B70A-6F772E4289D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2" name="Line 7">
                  <a:extLst>
                    <a:ext uri="{FF2B5EF4-FFF2-40B4-BE49-F238E27FC236}">
                      <a16:creationId xmlns:a16="http://schemas.microsoft.com/office/drawing/2014/main" id="{68424CB0-3822-4E76-959F-68323CDE000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3" name="Freeform 8">
                  <a:extLst>
                    <a:ext uri="{FF2B5EF4-FFF2-40B4-BE49-F238E27FC236}">
                      <a16:creationId xmlns:a16="http://schemas.microsoft.com/office/drawing/2014/main" id="{2C2B8825-FEEA-4EF4-A3A8-EB1ED69B0966}"/>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9">
                  <a:extLst>
                    <a:ext uri="{FF2B5EF4-FFF2-40B4-BE49-F238E27FC236}">
                      <a16:creationId xmlns:a16="http://schemas.microsoft.com/office/drawing/2014/main" id="{DFB0CFB8-48B3-48CA-8AA1-80952C2AE8B1}"/>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25" name="Group 2124">
                  <a:extLst>
                    <a:ext uri="{FF2B5EF4-FFF2-40B4-BE49-F238E27FC236}">
                      <a16:creationId xmlns:a16="http://schemas.microsoft.com/office/drawing/2014/main" id="{1ED2C071-F483-4A41-B8D4-4327750C9BA6}"/>
                    </a:ext>
                  </a:extLst>
                </p:cNvPr>
                <p:cNvGrpSpPr/>
                <p:nvPr/>
              </p:nvGrpSpPr>
              <p:grpSpPr>
                <a:xfrm>
                  <a:off x="1207113" y="2241878"/>
                  <a:ext cx="178734" cy="348678"/>
                  <a:chOff x="1207113" y="2241878"/>
                  <a:chExt cx="178734" cy="348678"/>
                </a:xfrm>
              </p:grpSpPr>
              <p:sp>
                <p:nvSpPr>
                  <p:cNvPr id="2148" name="Freeform 10">
                    <a:extLst>
                      <a:ext uri="{FF2B5EF4-FFF2-40B4-BE49-F238E27FC236}">
                        <a16:creationId xmlns:a16="http://schemas.microsoft.com/office/drawing/2014/main" id="{438CA79C-0E56-4806-A11B-2D07AE2D42C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9" name="Line 11">
                    <a:extLst>
                      <a:ext uri="{FF2B5EF4-FFF2-40B4-BE49-F238E27FC236}">
                        <a16:creationId xmlns:a16="http://schemas.microsoft.com/office/drawing/2014/main" id="{D6580E37-9642-4BAB-A5CC-A13F838A7BC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26" name="Freeform 12">
                  <a:extLst>
                    <a:ext uri="{FF2B5EF4-FFF2-40B4-BE49-F238E27FC236}">
                      <a16:creationId xmlns:a16="http://schemas.microsoft.com/office/drawing/2014/main" id="{EDE422A2-19C8-4FF4-ADF8-74987CA83A4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13">
                  <a:extLst>
                    <a:ext uri="{FF2B5EF4-FFF2-40B4-BE49-F238E27FC236}">
                      <a16:creationId xmlns:a16="http://schemas.microsoft.com/office/drawing/2014/main" id="{C9546F35-D363-43F4-ABA9-C150E6954C9E}"/>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Freeform 14">
                  <a:extLst>
                    <a:ext uri="{FF2B5EF4-FFF2-40B4-BE49-F238E27FC236}">
                      <a16:creationId xmlns:a16="http://schemas.microsoft.com/office/drawing/2014/main" id="{CB8E3185-30C3-470C-B0B3-9F66CD973A8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15">
                  <a:extLst>
                    <a:ext uri="{FF2B5EF4-FFF2-40B4-BE49-F238E27FC236}">
                      <a16:creationId xmlns:a16="http://schemas.microsoft.com/office/drawing/2014/main" id="{13BE7968-3BB6-41FC-BAB8-E1A73691EC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16">
                  <a:extLst>
                    <a:ext uri="{FF2B5EF4-FFF2-40B4-BE49-F238E27FC236}">
                      <a16:creationId xmlns:a16="http://schemas.microsoft.com/office/drawing/2014/main" id="{B0240DB1-129C-4FCF-A019-ED60AC06124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Line 17">
                  <a:extLst>
                    <a:ext uri="{FF2B5EF4-FFF2-40B4-BE49-F238E27FC236}">
                      <a16:creationId xmlns:a16="http://schemas.microsoft.com/office/drawing/2014/main" id="{05D62E0F-2C6B-4925-A5A7-F81B3324A44F}"/>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2" name="Freeform 18">
                  <a:extLst>
                    <a:ext uri="{FF2B5EF4-FFF2-40B4-BE49-F238E27FC236}">
                      <a16:creationId xmlns:a16="http://schemas.microsoft.com/office/drawing/2014/main" id="{7053162F-E754-4060-918F-4D906F46E68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3" name="Line 19">
                  <a:extLst>
                    <a:ext uri="{FF2B5EF4-FFF2-40B4-BE49-F238E27FC236}">
                      <a16:creationId xmlns:a16="http://schemas.microsoft.com/office/drawing/2014/main" id="{08DDFC9B-5D9E-4DD6-8107-D97357B0D6E2}"/>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4" name="Freeform 35">
                  <a:extLst>
                    <a:ext uri="{FF2B5EF4-FFF2-40B4-BE49-F238E27FC236}">
                      <a16:creationId xmlns:a16="http://schemas.microsoft.com/office/drawing/2014/main" id="{6FEC5306-B5F6-4EB8-9EB5-37900CA9141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36">
                  <a:extLst>
                    <a:ext uri="{FF2B5EF4-FFF2-40B4-BE49-F238E27FC236}">
                      <a16:creationId xmlns:a16="http://schemas.microsoft.com/office/drawing/2014/main" id="{2C534636-34FD-42BE-9C36-888A03C22F1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Freeform 37">
                  <a:extLst>
                    <a:ext uri="{FF2B5EF4-FFF2-40B4-BE49-F238E27FC236}">
                      <a16:creationId xmlns:a16="http://schemas.microsoft.com/office/drawing/2014/main" id="{27BCF1F2-3B23-4647-B34D-648D1F4ECA04}"/>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38">
                  <a:extLst>
                    <a:ext uri="{FF2B5EF4-FFF2-40B4-BE49-F238E27FC236}">
                      <a16:creationId xmlns:a16="http://schemas.microsoft.com/office/drawing/2014/main" id="{36CAF972-97C0-44E9-B5A9-59EC880A70AB}"/>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8" name="Freeform 39">
                  <a:extLst>
                    <a:ext uri="{FF2B5EF4-FFF2-40B4-BE49-F238E27FC236}">
                      <a16:creationId xmlns:a16="http://schemas.microsoft.com/office/drawing/2014/main" id="{A08BC316-26DD-41C2-9898-56E0E309D1EF}"/>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9" name="Freeform 40">
                  <a:extLst>
                    <a:ext uri="{FF2B5EF4-FFF2-40B4-BE49-F238E27FC236}">
                      <a16:creationId xmlns:a16="http://schemas.microsoft.com/office/drawing/2014/main" id="{31CD5408-1815-4D3B-B571-D2F2823C3297}"/>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0" name="Freeform 41">
                  <a:extLst>
                    <a:ext uri="{FF2B5EF4-FFF2-40B4-BE49-F238E27FC236}">
                      <a16:creationId xmlns:a16="http://schemas.microsoft.com/office/drawing/2014/main" id="{43FC500F-07FF-4B24-9337-6DB73D7858A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42">
                  <a:extLst>
                    <a:ext uri="{FF2B5EF4-FFF2-40B4-BE49-F238E27FC236}">
                      <a16:creationId xmlns:a16="http://schemas.microsoft.com/office/drawing/2014/main" id="{F4B72077-F12B-4384-9AC7-7FD03D4FF21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43">
                  <a:extLst>
                    <a:ext uri="{FF2B5EF4-FFF2-40B4-BE49-F238E27FC236}">
                      <a16:creationId xmlns:a16="http://schemas.microsoft.com/office/drawing/2014/main" id="{7750E75D-CC56-4175-AE30-04F8CC701AB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Freeform 44">
                  <a:extLst>
                    <a:ext uri="{FF2B5EF4-FFF2-40B4-BE49-F238E27FC236}">
                      <a16:creationId xmlns:a16="http://schemas.microsoft.com/office/drawing/2014/main" id="{1A946C20-548B-46FF-B5CD-65BF1FF000E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45">
                  <a:extLst>
                    <a:ext uri="{FF2B5EF4-FFF2-40B4-BE49-F238E27FC236}">
                      <a16:creationId xmlns:a16="http://schemas.microsoft.com/office/drawing/2014/main" id="{400F5C81-5325-42B2-B211-DB982165927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45" name="Group 2144">
                  <a:extLst>
                    <a:ext uri="{FF2B5EF4-FFF2-40B4-BE49-F238E27FC236}">
                      <a16:creationId xmlns:a16="http://schemas.microsoft.com/office/drawing/2014/main" id="{D46CF3AD-21EF-4637-837D-5939D8D23242}"/>
                    </a:ext>
                  </a:extLst>
                </p:cNvPr>
                <p:cNvGrpSpPr/>
                <p:nvPr/>
              </p:nvGrpSpPr>
              <p:grpSpPr>
                <a:xfrm flipV="1">
                  <a:off x="1202047" y="3517919"/>
                  <a:ext cx="178734" cy="348678"/>
                  <a:chOff x="1207113" y="2241878"/>
                  <a:chExt cx="178734" cy="348678"/>
                </a:xfrm>
              </p:grpSpPr>
              <p:sp>
                <p:nvSpPr>
                  <p:cNvPr id="2146" name="Freeform 10">
                    <a:extLst>
                      <a:ext uri="{FF2B5EF4-FFF2-40B4-BE49-F238E27FC236}">
                        <a16:creationId xmlns:a16="http://schemas.microsoft.com/office/drawing/2014/main" id="{F34AD819-060B-4E0C-A180-6511085434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1">
                    <a:extLst>
                      <a:ext uri="{FF2B5EF4-FFF2-40B4-BE49-F238E27FC236}">
                        <a16:creationId xmlns:a16="http://schemas.microsoft.com/office/drawing/2014/main" id="{0AA11204-94B8-4FC9-96F8-F3AF3A9B70F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95" name="Group 2094">
              <a:extLst>
                <a:ext uri="{FF2B5EF4-FFF2-40B4-BE49-F238E27FC236}">
                  <a16:creationId xmlns:a16="http://schemas.microsoft.com/office/drawing/2014/main" id="{0ED9436C-183E-42D4-B43A-2014C88E39EB}"/>
                </a:ext>
              </a:extLst>
            </p:cNvPr>
            <p:cNvGrpSpPr>
              <a:grpSpLocks/>
            </p:cNvGrpSpPr>
            <p:nvPr/>
          </p:nvGrpSpPr>
          <p:grpSpPr>
            <a:xfrm>
              <a:off x="9270466" y="4594229"/>
              <a:ext cx="427295" cy="427297"/>
              <a:chOff x="10412894" y="6962721"/>
              <a:chExt cx="415610" cy="415612"/>
            </a:xfrm>
          </p:grpSpPr>
          <p:grpSp>
            <p:nvGrpSpPr>
              <p:cNvPr id="2096" name="Group 64">
                <a:extLst>
                  <a:ext uri="{FF2B5EF4-FFF2-40B4-BE49-F238E27FC236}">
                    <a16:creationId xmlns:a16="http://schemas.microsoft.com/office/drawing/2014/main" id="{18AB1D0E-E6DA-4F88-AD8B-0F57D0222A59}"/>
                  </a:ext>
                </a:extLst>
              </p:cNvPr>
              <p:cNvGrpSpPr>
                <a:grpSpLocks noChangeAspect="1"/>
              </p:cNvGrpSpPr>
              <p:nvPr/>
            </p:nvGrpSpPr>
            <p:grpSpPr bwMode="auto">
              <a:xfrm rot="8100000">
                <a:off x="10412894" y="6962721"/>
                <a:ext cx="415610" cy="415612"/>
                <a:chOff x="701" y="2170"/>
                <a:chExt cx="587" cy="587"/>
              </a:xfrm>
            </p:grpSpPr>
            <p:sp>
              <p:nvSpPr>
                <p:cNvPr id="2111" name="Oval 65">
                  <a:extLst>
                    <a:ext uri="{FF2B5EF4-FFF2-40B4-BE49-F238E27FC236}">
                      <a16:creationId xmlns:a16="http://schemas.microsoft.com/office/drawing/2014/main" id="{65B5FA5E-E998-4CEB-A4A4-72026F3663B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2" name="Line 66">
                  <a:extLst>
                    <a:ext uri="{FF2B5EF4-FFF2-40B4-BE49-F238E27FC236}">
                      <a16:creationId xmlns:a16="http://schemas.microsoft.com/office/drawing/2014/main" id="{05F85E74-0E05-47A5-9608-3C1284BE590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3" name="Line 67">
                  <a:extLst>
                    <a:ext uri="{FF2B5EF4-FFF2-40B4-BE49-F238E27FC236}">
                      <a16:creationId xmlns:a16="http://schemas.microsoft.com/office/drawing/2014/main" id="{D5322D42-CFC4-463C-88C1-72670B1112A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4" name="Line 69">
                  <a:extLst>
                    <a:ext uri="{FF2B5EF4-FFF2-40B4-BE49-F238E27FC236}">
                      <a16:creationId xmlns:a16="http://schemas.microsoft.com/office/drawing/2014/main" id="{969B36A9-CDCC-46AA-BAF4-1FC82B21089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5" name="Line 74">
                  <a:extLst>
                    <a:ext uri="{FF2B5EF4-FFF2-40B4-BE49-F238E27FC236}">
                      <a16:creationId xmlns:a16="http://schemas.microsoft.com/office/drawing/2014/main" id="{0050B60D-0A87-487D-B843-7F84A67ABB3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78">
                  <a:extLst>
                    <a:ext uri="{FF2B5EF4-FFF2-40B4-BE49-F238E27FC236}">
                      <a16:creationId xmlns:a16="http://schemas.microsoft.com/office/drawing/2014/main" id="{665E0959-7968-40CE-A68B-11548CEDD17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80">
                  <a:extLst>
                    <a:ext uri="{FF2B5EF4-FFF2-40B4-BE49-F238E27FC236}">
                      <a16:creationId xmlns:a16="http://schemas.microsoft.com/office/drawing/2014/main" id="{9A0D8841-54F6-4583-99A9-C4C39E5FDEF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97" name="Group 2096">
                <a:extLst>
                  <a:ext uri="{FF2B5EF4-FFF2-40B4-BE49-F238E27FC236}">
                    <a16:creationId xmlns:a16="http://schemas.microsoft.com/office/drawing/2014/main" id="{527F3619-7399-42FA-8989-D8DDDB6FA903}"/>
                  </a:ext>
                </a:extLst>
              </p:cNvPr>
              <p:cNvGrpSpPr/>
              <p:nvPr/>
            </p:nvGrpSpPr>
            <p:grpSpPr>
              <a:xfrm>
                <a:off x="10462223" y="7069159"/>
                <a:ext cx="313949" cy="233075"/>
                <a:chOff x="3707533" y="2731244"/>
                <a:chExt cx="389644" cy="289271"/>
              </a:xfrm>
            </p:grpSpPr>
            <p:sp>
              <p:nvSpPr>
                <p:cNvPr id="2098" name="Freeform 33">
                  <a:extLst>
                    <a:ext uri="{FF2B5EF4-FFF2-40B4-BE49-F238E27FC236}">
                      <a16:creationId xmlns:a16="http://schemas.microsoft.com/office/drawing/2014/main" id="{AC3AEB44-05B3-42BA-AE24-50CD2B225FF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Freeform 34">
                  <a:extLst>
                    <a:ext uri="{FF2B5EF4-FFF2-40B4-BE49-F238E27FC236}">
                      <a16:creationId xmlns:a16="http://schemas.microsoft.com/office/drawing/2014/main" id="{E336B930-67A1-4737-949A-E74DE1C5FCC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0" name="Freeform 37">
                  <a:extLst>
                    <a:ext uri="{FF2B5EF4-FFF2-40B4-BE49-F238E27FC236}">
                      <a16:creationId xmlns:a16="http://schemas.microsoft.com/office/drawing/2014/main" id="{14930BF9-4558-4F6C-BDA1-5177AFA7041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1" name="Freeform 38">
                  <a:extLst>
                    <a:ext uri="{FF2B5EF4-FFF2-40B4-BE49-F238E27FC236}">
                      <a16:creationId xmlns:a16="http://schemas.microsoft.com/office/drawing/2014/main" id="{8E506DBE-06A0-48F7-8FC8-FA310CE5DFEF}"/>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2" name="Freeform 32">
                  <a:extLst>
                    <a:ext uri="{FF2B5EF4-FFF2-40B4-BE49-F238E27FC236}">
                      <a16:creationId xmlns:a16="http://schemas.microsoft.com/office/drawing/2014/main" id="{D9FA7C2A-2166-40A4-9F90-C8235166950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35">
                  <a:extLst>
                    <a:ext uri="{FF2B5EF4-FFF2-40B4-BE49-F238E27FC236}">
                      <a16:creationId xmlns:a16="http://schemas.microsoft.com/office/drawing/2014/main" id="{4134E0AC-9C1C-44E1-A6F4-B84FB54CF63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36">
                  <a:extLst>
                    <a:ext uri="{FF2B5EF4-FFF2-40B4-BE49-F238E27FC236}">
                      <a16:creationId xmlns:a16="http://schemas.microsoft.com/office/drawing/2014/main" id="{68072677-8E2F-4B76-9069-90CA4F41394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5" name="Freeform 25">
                  <a:extLst>
                    <a:ext uri="{FF2B5EF4-FFF2-40B4-BE49-F238E27FC236}">
                      <a16:creationId xmlns:a16="http://schemas.microsoft.com/office/drawing/2014/main" id="{461D146A-49BD-4547-967F-FF3854DF9A45}"/>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6" name="Freeform 39">
                  <a:extLst>
                    <a:ext uri="{FF2B5EF4-FFF2-40B4-BE49-F238E27FC236}">
                      <a16:creationId xmlns:a16="http://schemas.microsoft.com/office/drawing/2014/main" id="{B8D0742B-47CA-452F-ADFB-F342B2250B9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7" name="Freeform 26">
                  <a:extLst>
                    <a:ext uri="{FF2B5EF4-FFF2-40B4-BE49-F238E27FC236}">
                      <a16:creationId xmlns:a16="http://schemas.microsoft.com/office/drawing/2014/main" id="{1211F4B3-89CD-4B26-B732-E24F7A16BE1C}"/>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8" name="Rectangle 27">
                  <a:extLst>
                    <a:ext uri="{FF2B5EF4-FFF2-40B4-BE49-F238E27FC236}">
                      <a16:creationId xmlns:a16="http://schemas.microsoft.com/office/drawing/2014/main" id="{2F39C8CD-F370-44E0-B6D0-9FECBB02D298}"/>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9" name="Line 29">
                  <a:extLst>
                    <a:ext uri="{FF2B5EF4-FFF2-40B4-BE49-F238E27FC236}">
                      <a16:creationId xmlns:a16="http://schemas.microsoft.com/office/drawing/2014/main" id="{25235C23-74EF-4BBB-A9C0-21588DCA2AA7}"/>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0" name="Line 31">
                  <a:extLst>
                    <a:ext uri="{FF2B5EF4-FFF2-40B4-BE49-F238E27FC236}">
                      <a16:creationId xmlns:a16="http://schemas.microsoft.com/office/drawing/2014/main" id="{16B95BE2-9458-423B-848C-DEA5FF15EF5A}"/>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57" name="Group 2156">
            <a:extLst>
              <a:ext uri="{FF2B5EF4-FFF2-40B4-BE49-F238E27FC236}">
                <a16:creationId xmlns:a16="http://schemas.microsoft.com/office/drawing/2014/main" id="{A3F53B21-B989-4526-B9D9-3AF585A41521}"/>
              </a:ext>
            </a:extLst>
          </p:cNvPr>
          <p:cNvGrpSpPr/>
          <p:nvPr/>
        </p:nvGrpSpPr>
        <p:grpSpPr>
          <a:xfrm>
            <a:off x="5336641" y="3847678"/>
            <a:ext cx="4367346" cy="2539218"/>
            <a:chOff x="5338031" y="3986050"/>
            <a:chExt cx="4368484" cy="2539879"/>
          </a:xfrm>
        </p:grpSpPr>
        <p:grpSp>
          <p:nvGrpSpPr>
            <p:cNvPr id="2158" name="Group 2157">
              <a:extLst>
                <a:ext uri="{FF2B5EF4-FFF2-40B4-BE49-F238E27FC236}">
                  <a16:creationId xmlns:a16="http://schemas.microsoft.com/office/drawing/2014/main" id="{3816E7BD-500D-4A98-B9E8-FB4D8F1A725E}"/>
                </a:ext>
              </a:extLst>
            </p:cNvPr>
            <p:cNvGrpSpPr/>
            <p:nvPr/>
          </p:nvGrpSpPr>
          <p:grpSpPr>
            <a:xfrm>
              <a:off x="6626435" y="3986050"/>
              <a:ext cx="3080080" cy="2539879"/>
              <a:chOff x="6642908" y="3955938"/>
              <a:chExt cx="3087943" cy="2546363"/>
            </a:xfrm>
          </p:grpSpPr>
          <p:sp>
            <p:nvSpPr>
              <p:cNvPr id="2160" name="Rectangle 2159">
                <a:extLst>
                  <a:ext uri="{FF2B5EF4-FFF2-40B4-BE49-F238E27FC236}">
                    <a16:creationId xmlns:a16="http://schemas.microsoft.com/office/drawing/2014/main" id="{EE33E1DD-D86F-406F-AA75-ECA8B97CF39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161" name="Group 2160">
                <a:extLst>
                  <a:ext uri="{FF2B5EF4-FFF2-40B4-BE49-F238E27FC236}">
                    <a16:creationId xmlns:a16="http://schemas.microsoft.com/office/drawing/2014/main" id="{7B4AEC85-A9CF-42C1-A5D6-A84A74E512AB}"/>
                  </a:ext>
                </a:extLst>
              </p:cNvPr>
              <p:cNvGrpSpPr/>
              <p:nvPr/>
            </p:nvGrpSpPr>
            <p:grpSpPr>
              <a:xfrm>
                <a:off x="8222643" y="5655421"/>
                <a:ext cx="1030675" cy="846880"/>
                <a:chOff x="10800033" y="2297897"/>
                <a:chExt cx="1600558" cy="1315140"/>
              </a:xfrm>
            </p:grpSpPr>
            <p:grpSp>
              <p:nvGrpSpPr>
                <p:cNvPr id="2163" name="Group 2162">
                  <a:extLst>
                    <a:ext uri="{FF2B5EF4-FFF2-40B4-BE49-F238E27FC236}">
                      <a16:creationId xmlns:a16="http://schemas.microsoft.com/office/drawing/2014/main" id="{F488A4EA-6B19-4A29-A51F-11947BEC20E8}"/>
                    </a:ext>
                  </a:extLst>
                </p:cNvPr>
                <p:cNvGrpSpPr>
                  <a:grpSpLocks/>
                </p:cNvGrpSpPr>
                <p:nvPr/>
              </p:nvGrpSpPr>
              <p:grpSpPr>
                <a:xfrm>
                  <a:off x="10800033" y="2339037"/>
                  <a:ext cx="613092" cy="613092"/>
                  <a:chOff x="745985" y="4768134"/>
                  <a:chExt cx="368776" cy="368777"/>
                </a:xfrm>
              </p:grpSpPr>
              <p:grpSp>
                <p:nvGrpSpPr>
                  <p:cNvPr id="2227" name="Group 64">
                    <a:extLst>
                      <a:ext uri="{FF2B5EF4-FFF2-40B4-BE49-F238E27FC236}">
                        <a16:creationId xmlns:a16="http://schemas.microsoft.com/office/drawing/2014/main" id="{D91A28E9-E819-4B33-AAFA-F5B134B3A5E7}"/>
                      </a:ext>
                    </a:extLst>
                  </p:cNvPr>
                  <p:cNvGrpSpPr>
                    <a:grpSpLocks noChangeAspect="1"/>
                  </p:cNvGrpSpPr>
                  <p:nvPr/>
                </p:nvGrpSpPr>
                <p:grpSpPr bwMode="auto">
                  <a:xfrm rot="8100000">
                    <a:off x="745985" y="4768134"/>
                    <a:ext cx="368776" cy="368777"/>
                    <a:chOff x="701" y="2170"/>
                    <a:chExt cx="587" cy="587"/>
                  </a:xfrm>
                </p:grpSpPr>
                <p:sp>
                  <p:nvSpPr>
                    <p:cNvPr id="2238" name="Oval 65">
                      <a:extLst>
                        <a:ext uri="{FF2B5EF4-FFF2-40B4-BE49-F238E27FC236}">
                          <a16:creationId xmlns:a16="http://schemas.microsoft.com/office/drawing/2014/main" id="{710C7CD0-ACC7-47F5-BB17-B72C612A2E1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9" name="Line 66">
                      <a:extLst>
                        <a:ext uri="{FF2B5EF4-FFF2-40B4-BE49-F238E27FC236}">
                          <a16:creationId xmlns:a16="http://schemas.microsoft.com/office/drawing/2014/main" id="{15A62BF2-D8B8-41B3-AC7E-E56578BE5BD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0" name="Line 67">
                      <a:extLst>
                        <a:ext uri="{FF2B5EF4-FFF2-40B4-BE49-F238E27FC236}">
                          <a16:creationId xmlns:a16="http://schemas.microsoft.com/office/drawing/2014/main" id="{1053D753-1A28-4C20-A676-471C2793D4E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1" name="Line 69">
                      <a:extLst>
                        <a:ext uri="{FF2B5EF4-FFF2-40B4-BE49-F238E27FC236}">
                          <a16:creationId xmlns:a16="http://schemas.microsoft.com/office/drawing/2014/main" id="{B0E2D47E-7749-4395-8C1D-88844E97260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2" name="Line 74">
                      <a:extLst>
                        <a:ext uri="{FF2B5EF4-FFF2-40B4-BE49-F238E27FC236}">
                          <a16:creationId xmlns:a16="http://schemas.microsoft.com/office/drawing/2014/main" id="{95E6537A-B125-4F46-840E-7229804DA1D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3" name="Freeform 78">
                      <a:extLst>
                        <a:ext uri="{FF2B5EF4-FFF2-40B4-BE49-F238E27FC236}">
                          <a16:creationId xmlns:a16="http://schemas.microsoft.com/office/drawing/2014/main" id="{40470C41-8FA4-4CD9-B6F6-FA46F0EAEA5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4" name="Freeform 80">
                      <a:extLst>
                        <a:ext uri="{FF2B5EF4-FFF2-40B4-BE49-F238E27FC236}">
                          <a16:creationId xmlns:a16="http://schemas.microsoft.com/office/drawing/2014/main" id="{E34B0C0C-7D50-4ACB-8A43-B80A013ADEFD}"/>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28" name="Group 2227">
                    <a:extLst>
                      <a:ext uri="{FF2B5EF4-FFF2-40B4-BE49-F238E27FC236}">
                        <a16:creationId xmlns:a16="http://schemas.microsoft.com/office/drawing/2014/main" id="{DC7B0C1E-C593-4046-B3C7-EEF440A9906D}"/>
                      </a:ext>
                    </a:extLst>
                  </p:cNvPr>
                  <p:cNvGrpSpPr/>
                  <p:nvPr/>
                </p:nvGrpSpPr>
                <p:grpSpPr>
                  <a:xfrm>
                    <a:off x="837312" y="4814434"/>
                    <a:ext cx="136805" cy="278689"/>
                    <a:chOff x="2806700" y="2803319"/>
                    <a:chExt cx="433387" cy="882861"/>
                  </a:xfrm>
                </p:grpSpPr>
                <p:grpSp>
                  <p:nvGrpSpPr>
                    <p:cNvPr id="2229" name="Group 2228">
                      <a:extLst>
                        <a:ext uri="{FF2B5EF4-FFF2-40B4-BE49-F238E27FC236}">
                          <a16:creationId xmlns:a16="http://schemas.microsoft.com/office/drawing/2014/main" id="{E802251B-916F-4056-918C-34F9F2E305B3}"/>
                        </a:ext>
                      </a:extLst>
                    </p:cNvPr>
                    <p:cNvGrpSpPr>
                      <a:grpSpLocks noChangeAspect="1"/>
                    </p:cNvGrpSpPr>
                    <p:nvPr/>
                  </p:nvGrpSpPr>
                  <p:grpSpPr bwMode="auto">
                    <a:xfrm>
                      <a:off x="2806700" y="3043242"/>
                      <a:ext cx="433387" cy="642938"/>
                      <a:chOff x="1768" y="1917"/>
                      <a:chExt cx="273" cy="405"/>
                    </a:xfrm>
                  </p:grpSpPr>
                  <p:sp>
                    <p:nvSpPr>
                      <p:cNvPr id="2231" name="Freeform 52">
                        <a:extLst>
                          <a:ext uri="{FF2B5EF4-FFF2-40B4-BE49-F238E27FC236}">
                            <a16:creationId xmlns:a16="http://schemas.microsoft.com/office/drawing/2014/main" id="{192C617C-54ED-41D7-BF54-B1191B86290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2" name="Line 54">
                        <a:extLst>
                          <a:ext uri="{FF2B5EF4-FFF2-40B4-BE49-F238E27FC236}">
                            <a16:creationId xmlns:a16="http://schemas.microsoft.com/office/drawing/2014/main" id="{F1D93AA1-C9F5-4CD3-8C84-58E16DD8C70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3" name="Line 55">
                        <a:extLst>
                          <a:ext uri="{FF2B5EF4-FFF2-40B4-BE49-F238E27FC236}">
                            <a16:creationId xmlns:a16="http://schemas.microsoft.com/office/drawing/2014/main" id="{A76C7802-1BDB-493F-B4DE-9244B410BC8E}"/>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4" name="Freeform 56">
                        <a:extLst>
                          <a:ext uri="{FF2B5EF4-FFF2-40B4-BE49-F238E27FC236}">
                            <a16:creationId xmlns:a16="http://schemas.microsoft.com/office/drawing/2014/main" id="{E5574C13-BA7F-496E-BAE8-DA3839AC7C1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5" name="Line 57">
                        <a:extLst>
                          <a:ext uri="{FF2B5EF4-FFF2-40B4-BE49-F238E27FC236}">
                            <a16:creationId xmlns:a16="http://schemas.microsoft.com/office/drawing/2014/main" id="{CA15A088-9F57-47EE-B688-D99FF24C952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6" name="Freeform 58">
                        <a:extLst>
                          <a:ext uri="{FF2B5EF4-FFF2-40B4-BE49-F238E27FC236}">
                            <a16:creationId xmlns:a16="http://schemas.microsoft.com/office/drawing/2014/main" id="{058FE3D1-C0C3-4751-ABBA-B8B392B6A96F}"/>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7" name="Rectangle 2236">
                        <a:extLst>
                          <a:ext uri="{FF2B5EF4-FFF2-40B4-BE49-F238E27FC236}">
                            <a16:creationId xmlns:a16="http://schemas.microsoft.com/office/drawing/2014/main" id="{60D10146-0BB3-45E6-B554-ED8BA9B78FE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230" name="Oval 2229">
                      <a:extLst>
                        <a:ext uri="{FF2B5EF4-FFF2-40B4-BE49-F238E27FC236}">
                          <a16:creationId xmlns:a16="http://schemas.microsoft.com/office/drawing/2014/main" id="{0E89C224-7192-4BCD-9B0A-0A944110F01F}"/>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64" name="Group 2163">
                  <a:extLst>
                    <a:ext uri="{FF2B5EF4-FFF2-40B4-BE49-F238E27FC236}">
                      <a16:creationId xmlns:a16="http://schemas.microsoft.com/office/drawing/2014/main" id="{B10CBD6C-F7C8-4A57-9ACA-D1A199EA9DCF}"/>
                    </a:ext>
                  </a:extLst>
                </p:cNvPr>
                <p:cNvGrpSpPr>
                  <a:grpSpLocks/>
                </p:cNvGrpSpPr>
                <p:nvPr/>
              </p:nvGrpSpPr>
              <p:grpSpPr>
                <a:xfrm>
                  <a:off x="11166615" y="2825631"/>
                  <a:ext cx="787402" cy="787406"/>
                  <a:chOff x="1454941" y="4721722"/>
                  <a:chExt cx="473625" cy="473627"/>
                </a:xfrm>
              </p:grpSpPr>
              <p:grpSp>
                <p:nvGrpSpPr>
                  <p:cNvPr id="2188" name="Group 64">
                    <a:extLst>
                      <a:ext uri="{FF2B5EF4-FFF2-40B4-BE49-F238E27FC236}">
                        <a16:creationId xmlns:a16="http://schemas.microsoft.com/office/drawing/2014/main" id="{ABCE2FB1-37F0-43DF-BD59-2612C72D4837}"/>
                      </a:ext>
                    </a:extLst>
                  </p:cNvPr>
                  <p:cNvGrpSpPr>
                    <a:grpSpLocks noChangeAspect="1"/>
                  </p:cNvGrpSpPr>
                  <p:nvPr/>
                </p:nvGrpSpPr>
                <p:grpSpPr bwMode="auto">
                  <a:xfrm rot="8100000">
                    <a:off x="1454941" y="4721722"/>
                    <a:ext cx="473625" cy="473627"/>
                    <a:chOff x="701" y="2170"/>
                    <a:chExt cx="587" cy="587"/>
                  </a:xfrm>
                </p:grpSpPr>
                <p:sp>
                  <p:nvSpPr>
                    <p:cNvPr id="2220" name="Oval 65">
                      <a:extLst>
                        <a:ext uri="{FF2B5EF4-FFF2-40B4-BE49-F238E27FC236}">
                          <a16:creationId xmlns:a16="http://schemas.microsoft.com/office/drawing/2014/main" id="{15961140-1A10-4BFB-89AC-F38F1D154A0B}"/>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21" name="Line 66">
                      <a:extLst>
                        <a:ext uri="{FF2B5EF4-FFF2-40B4-BE49-F238E27FC236}">
                          <a16:creationId xmlns:a16="http://schemas.microsoft.com/office/drawing/2014/main" id="{006B9D65-8AE7-4509-8B64-FC4D4FC0ADF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2" name="Line 67">
                      <a:extLst>
                        <a:ext uri="{FF2B5EF4-FFF2-40B4-BE49-F238E27FC236}">
                          <a16:creationId xmlns:a16="http://schemas.microsoft.com/office/drawing/2014/main" id="{422739C9-BFEC-4494-9964-A8C5EAD50B9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Line 69">
                      <a:extLst>
                        <a:ext uri="{FF2B5EF4-FFF2-40B4-BE49-F238E27FC236}">
                          <a16:creationId xmlns:a16="http://schemas.microsoft.com/office/drawing/2014/main" id="{58DF49C2-AA2E-484D-8385-4ECF473647B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4" name="Line 74">
                      <a:extLst>
                        <a:ext uri="{FF2B5EF4-FFF2-40B4-BE49-F238E27FC236}">
                          <a16:creationId xmlns:a16="http://schemas.microsoft.com/office/drawing/2014/main" id="{4BD4124B-A4DE-462F-8F88-48258FCF99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5" name="Freeform 78">
                      <a:extLst>
                        <a:ext uri="{FF2B5EF4-FFF2-40B4-BE49-F238E27FC236}">
                          <a16:creationId xmlns:a16="http://schemas.microsoft.com/office/drawing/2014/main" id="{2520C878-1E4A-4B6B-BDFB-B88CEE25C4A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6" name="Freeform 80">
                      <a:extLst>
                        <a:ext uri="{FF2B5EF4-FFF2-40B4-BE49-F238E27FC236}">
                          <a16:creationId xmlns:a16="http://schemas.microsoft.com/office/drawing/2014/main" id="{2F761D6F-C8D8-4C87-983A-3C4B884C532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89" name="Group 2188">
                    <a:extLst>
                      <a:ext uri="{FF2B5EF4-FFF2-40B4-BE49-F238E27FC236}">
                        <a16:creationId xmlns:a16="http://schemas.microsoft.com/office/drawing/2014/main" id="{DEBD9B1D-166D-4170-B078-B2D377479FC6}"/>
                      </a:ext>
                    </a:extLst>
                  </p:cNvPr>
                  <p:cNvGrpSpPr/>
                  <p:nvPr/>
                </p:nvGrpSpPr>
                <p:grpSpPr>
                  <a:xfrm>
                    <a:off x="1511214" y="4789508"/>
                    <a:ext cx="356509" cy="349884"/>
                    <a:chOff x="468738" y="2241878"/>
                    <a:chExt cx="1655483" cy="1624719"/>
                  </a:xfrm>
                </p:grpSpPr>
                <p:sp>
                  <p:nvSpPr>
                    <p:cNvPr id="2190" name="Freeform 5">
                      <a:extLst>
                        <a:ext uri="{FF2B5EF4-FFF2-40B4-BE49-F238E27FC236}">
                          <a16:creationId xmlns:a16="http://schemas.microsoft.com/office/drawing/2014/main" id="{1D9A7314-AB98-4761-8699-586F6357DB6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91" name="Freeform 6">
                      <a:extLst>
                        <a:ext uri="{FF2B5EF4-FFF2-40B4-BE49-F238E27FC236}">
                          <a16:creationId xmlns:a16="http://schemas.microsoft.com/office/drawing/2014/main" id="{A64CF44D-CEA9-4DA5-8182-101680E2A41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2" name="Line 7">
                      <a:extLst>
                        <a:ext uri="{FF2B5EF4-FFF2-40B4-BE49-F238E27FC236}">
                          <a16:creationId xmlns:a16="http://schemas.microsoft.com/office/drawing/2014/main" id="{1C4A0DF9-5457-4922-9056-C7D3B4051B7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3" name="Freeform 8">
                      <a:extLst>
                        <a:ext uri="{FF2B5EF4-FFF2-40B4-BE49-F238E27FC236}">
                          <a16:creationId xmlns:a16="http://schemas.microsoft.com/office/drawing/2014/main" id="{738F72B4-50FB-4505-8A6C-54B5F20EE781}"/>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4" name="Line 9">
                      <a:extLst>
                        <a:ext uri="{FF2B5EF4-FFF2-40B4-BE49-F238E27FC236}">
                          <a16:creationId xmlns:a16="http://schemas.microsoft.com/office/drawing/2014/main" id="{5F21B2A7-081B-495B-B6F4-7E3C88CE811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95" name="Group 2194">
                      <a:extLst>
                        <a:ext uri="{FF2B5EF4-FFF2-40B4-BE49-F238E27FC236}">
                          <a16:creationId xmlns:a16="http://schemas.microsoft.com/office/drawing/2014/main" id="{0A3425A1-A771-4B1A-BA01-B5C61884E4A0}"/>
                        </a:ext>
                      </a:extLst>
                    </p:cNvPr>
                    <p:cNvGrpSpPr/>
                    <p:nvPr/>
                  </p:nvGrpSpPr>
                  <p:grpSpPr>
                    <a:xfrm>
                      <a:off x="1207113" y="2241878"/>
                      <a:ext cx="178734" cy="348678"/>
                      <a:chOff x="1207113" y="2241878"/>
                      <a:chExt cx="178734" cy="348678"/>
                    </a:xfrm>
                  </p:grpSpPr>
                  <p:sp>
                    <p:nvSpPr>
                      <p:cNvPr id="2218" name="Freeform 10">
                        <a:extLst>
                          <a:ext uri="{FF2B5EF4-FFF2-40B4-BE49-F238E27FC236}">
                            <a16:creationId xmlns:a16="http://schemas.microsoft.com/office/drawing/2014/main" id="{25371420-3620-4971-9DE1-63F97042398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Line 11">
                        <a:extLst>
                          <a:ext uri="{FF2B5EF4-FFF2-40B4-BE49-F238E27FC236}">
                            <a16:creationId xmlns:a16="http://schemas.microsoft.com/office/drawing/2014/main" id="{AC1D5B7B-67AB-4978-8205-867EF6E4AD2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96" name="Freeform 12">
                      <a:extLst>
                        <a:ext uri="{FF2B5EF4-FFF2-40B4-BE49-F238E27FC236}">
                          <a16:creationId xmlns:a16="http://schemas.microsoft.com/office/drawing/2014/main" id="{5FA19EC1-1058-4D85-88E9-468EF6D086ED}"/>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7" name="Line 13">
                      <a:extLst>
                        <a:ext uri="{FF2B5EF4-FFF2-40B4-BE49-F238E27FC236}">
                          <a16:creationId xmlns:a16="http://schemas.microsoft.com/office/drawing/2014/main" id="{FA969646-702F-47BD-A0EE-85918BC0E84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8" name="Freeform 14">
                      <a:extLst>
                        <a:ext uri="{FF2B5EF4-FFF2-40B4-BE49-F238E27FC236}">
                          <a16:creationId xmlns:a16="http://schemas.microsoft.com/office/drawing/2014/main" id="{F1B550C5-A998-4C1F-B315-604276039DE5}"/>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9" name="Line 15">
                      <a:extLst>
                        <a:ext uri="{FF2B5EF4-FFF2-40B4-BE49-F238E27FC236}">
                          <a16:creationId xmlns:a16="http://schemas.microsoft.com/office/drawing/2014/main" id="{DF241370-6A53-4766-B73B-14DA40B43B5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0" name="Freeform 16">
                      <a:extLst>
                        <a:ext uri="{FF2B5EF4-FFF2-40B4-BE49-F238E27FC236}">
                          <a16:creationId xmlns:a16="http://schemas.microsoft.com/office/drawing/2014/main" id="{105A38EC-5CE9-4B76-AD85-E8F3D024F71E}"/>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Line 17">
                      <a:extLst>
                        <a:ext uri="{FF2B5EF4-FFF2-40B4-BE49-F238E27FC236}">
                          <a16:creationId xmlns:a16="http://schemas.microsoft.com/office/drawing/2014/main" id="{1BF1C07B-DAF8-4146-BE40-719ED5C2DB33}"/>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2" name="Freeform 18">
                      <a:extLst>
                        <a:ext uri="{FF2B5EF4-FFF2-40B4-BE49-F238E27FC236}">
                          <a16:creationId xmlns:a16="http://schemas.microsoft.com/office/drawing/2014/main" id="{250378F1-E840-46EC-B2E2-05279B9F821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Line 19">
                      <a:extLst>
                        <a:ext uri="{FF2B5EF4-FFF2-40B4-BE49-F238E27FC236}">
                          <a16:creationId xmlns:a16="http://schemas.microsoft.com/office/drawing/2014/main" id="{2B18A366-0440-4FCA-BE1C-4918E42C72A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35">
                      <a:extLst>
                        <a:ext uri="{FF2B5EF4-FFF2-40B4-BE49-F238E27FC236}">
                          <a16:creationId xmlns:a16="http://schemas.microsoft.com/office/drawing/2014/main" id="{C314256A-E020-459A-94BB-CA59309A4CBB}"/>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36">
                      <a:extLst>
                        <a:ext uri="{FF2B5EF4-FFF2-40B4-BE49-F238E27FC236}">
                          <a16:creationId xmlns:a16="http://schemas.microsoft.com/office/drawing/2014/main" id="{60073856-1516-4212-BEAA-3A051DB31F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37">
                      <a:extLst>
                        <a:ext uri="{FF2B5EF4-FFF2-40B4-BE49-F238E27FC236}">
                          <a16:creationId xmlns:a16="http://schemas.microsoft.com/office/drawing/2014/main" id="{16CD7A93-B640-444E-9124-76CD43E0D73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38">
                      <a:extLst>
                        <a:ext uri="{FF2B5EF4-FFF2-40B4-BE49-F238E27FC236}">
                          <a16:creationId xmlns:a16="http://schemas.microsoft.com/office/drawing/2014/main" id="{F3B3FC43-39A3-4B3D-8C16-995C4B732FBE}"/>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39">
                      <a:extLst>
                        <a:ext uri="{FF2B5EF4-FFF2-40B4-BE49-F238E27FC236}">
                          <a16:creationId xmlns:a16="http://schemas.microsoft.com/office/drawing/2014/main" id="{5065377B-057A-4857-A3CD-131B34E2A81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40">
                      <a:extLst>
                        <a:ext uri="{FF2B5EF4-FFF2-40B4-BE49-F238E27FC236}">
                          <a16:creationId xmlns:a16="http://schemas.microsoft.com/office/drawing/2014/main" id="{2395F9BD-C87A-4553-ACF2-0143AFF2E3D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41">
                      <a:extLst>
                        <a:ext uri="{FF2B5EF4-FFF2-40B4-BE49-F238E27FC236}">
                          <a16:creationId xmlns:a16="http://schemas.microsoft.com/office/drawing/2014/main" id="{87AFFDBB-FE77-4963-90EE-7D3C0F8A2BFE}"/>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Line 42">
                      <a:extLst>
                        <a:ext uri="{FF2B5EF4-FFF2-40B4-BE49-F238E27FC236}">
                          <a16:creationId xmlns:a16="http://schemas.microsoft.com/office/drawing/2014/main" id="{E1A3EF65-3462-4F94-9DB7-D17FF1442F51}"/>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43">
                      <a:extLst>
                        <a:ext uri="{FF2B5EF4-FFF2-40B4-BE49-F238E27FC236}">
                          <a16:creationId xmlns:a16="http://schemas.microsoft.com/office/drawing/2014/main" id="{0BA60547-C8B3-4174-BD62-DF1EEBBC417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44">
                      <a:extLst>
                        <a:ext uri="{FF2B5EF4-FFF2-40B4-BE49-F238E27FC236}">
                          <a16:creationId xmlns:a16="http://schemas.microsoft.com/office/drawing/2014/main" id="{819EB172-557D-45B6-B1ED-00A2E71486F3}"/>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45">
                      <a:extLst>
                        <a:ext uri="{FF2B5EF4-FFF2-40B4-BE49-F238E27FC236}">
                          <a16:creationId xmlns:a16="http://schemas.microsoft.com/office/drawing/2014/main" id="{05587E12-F6B4-47EB-988A-8AA4534D8C28}"/>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15" name="Group 2214">
                      <a:extLst>
                        <a:ext uri="{FF2B5EF4-FFF2-40B4-BE49-F238E27FC236}">
                          <a16:creationId xmlns:a16="http://schemas.microsoft.com/office/drawing/2014/main" id="{636468B7-3621-461D-860D-F8C75732E462}"/>
                        </a:ext>
                      </a:extLst>
                    </p:cNvPr>
                    <p:cNvGrpSpPr/>
                    <p:nvPr/>
                  </p:nvGrpSpPr>
                  <p:grpSpPr>
                    <a:xfrm flipV="1">
                      <a:off x="1202047" y="3517919"/>
                      <a:ext cx="178734" cy="348678"/>
                      <a:chOff x="1207113" y="2241878"/>
                      <a:chExt cx="178734" cy="348678"/>
                    </a:xfrm>
                  </p:grpSpPr>
                  <p:sp>
                    <p:nvSpPr>
                      <p:cNvPr id="2216" name="Freeform 10">
                        <a:extLst>
                          <a:ext uri="{FF2B5EF4-FFF2-40B4-BE49-F238E27FC236}">
                            <a16:creationId xmlns:a16="http://schemas.microsoft.com/office/drawing/2014/main" id="{410DF577-895F-4E70-96FE-951F4D56A55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Line 11">
                        <a:extLst>
                          <a:ext uri="{FF2B5EF4-FFF2-40B4-BE49-F238E27FC236}">
                            <a16:creationId xmlns:a16="http://schemas.microsoft.com/office/drawing/2014/main" id="{40A4026E-F1FE-4204-A4A2-17BFAA8891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65" name="Group 2164">
                  <a:extLst>
                    <a:ext uri="{FF2B5EF4-FFF2-40B4-BE49-F238E27FC236}">
                      <a16:creationId xmlns:a16="http://schemas.microsoft.com/office/drawing/2014/main" id="{A4C0D400-C02F-478B-B1B9-2501C058B2EF}"/>
                    </a:ext>
                  </a:extLst>
                </p:cNvPr>
                <p:cNvGrpSpPr>
                  <a:grpSpLocks/>
                </p:cNvGrpSpPr>
                <p:nvPr/>
              </p:nvGrpSpPr>
              <p:grpSpPr>
                <a:xfrm>
                  <a:off x="11709639" y="2297897"/>
                  <a:ext cx="690952" cy="690956"/>
                  <a:chOff x="2268747" y="4723725"/>
                  <a:chExt cx="415610" cy="415612"/>
                </a:xfrm>
              </p:grpSpPr>
              <p:grpSp>
                <p:nvGrpSpPr>
                  <p:cNvPr id="2166" name="Group 64">
                    <a:extLst>
                      <a:ext uri="{FF2B5EF4-FFF2-40B4-BE49-F238E27FC236}">
                        <a16:creationId xmlns:a16="http://schemas.microsoft.com/office/drawing/2014/main" id="{B17BE4DE-5375-442D-93A8-26D9889996D1}"/>
                      </a:ext>
                    </a:extLst>
                  </p:cNvPr>
                  <p:cNvGrpSpPr>
                    <a:grpSpLocks noChangeAspect="1"/>
                  </p:cNvGrpSpPr>
                  <p:nvPr/>
                </p:nvGrpSpPr>
                <p:grpSpPr bwMode="auto">
                  <a:xfrm rot="8100000">
                    <a:off x="2268747" y="4723725"/>
                    <a:ext cx="415610" cy="415612"/>
                    <a:chOff x="701" y="2170"/>
                    <a:chExt cx="587" cy="587"/>
                  </a:xfrm>
                </p:grpSpPr>
                <p:sp>
                  <p:nvSpPr>
                    <p:cNvPr id="2181" name="Oval 65">
                      <a:extLst>
                        <a:ext uri="{FF2B5EF4-FFF2-40B4-BE49-F238E27FC236}">
                          <a16:creationId xmlns:a16="http://schemas.microsoft.com/office/drawing/2014/main" id="{2EA549F0-7DF9-4B97-9922-CE022AD61A9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2" name="Line 66">
                      <a:extLst>
                        <a:ext uri="{FF2B5EF4-FFF2-40B4-BE49-F238E27FC236}">
                          <a16:creationId xmlns:a16="http://schemas.microsoft.com/office/drawing/2014/main" id="{1626D8DC-E5C3-4622-9799-B3F457B33655}"/>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3" name="Line 67">
                      <a:extLst>
                        <a:ext uri="{FF2B5EF4-FFF2-40B4-BE49-F238E27FC236}">
                          <a16:creationId xmlns:a16="http://schemas.microsoft.com/office/drawing/2014/main" id="{8C443901-746E-4E3C-9975-9C7FDAE9584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9">
                      <a:extLst>
                        <a:ext uri="{FF2B5EF4-FFF2-40B4-BE49-F238E27FC236}">
                          <a16:creationId xmlns:a16="http://schemas.microsoft.com/office/drawing/2014/main" id="{DEC89C1E-4381-4EBD-B1C1-2E75571B377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74">
                      <a:extLst>
                        <a:ext uri="{FF2B5EF4-FFF2-40B4-BE49-F238E27FC236}">
                          <a16:creationId xmlns:a16="http://schemas.microsoft.com/office/drawing/2014/main" id="{426BA79C-657F-4D18-AA4C-7F1387458C2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Freeform 78">
                      <a:extLst>
                        <a:ext uri="{FF2B5EF4-FFF2-40B4-BE49-F238E27FC236}">
                          <a16:creationId xmlns:a16="http://schemas.microsoft.com/office/drawing/2014/main" id="{F0B56726-E777-4F0E-9913-AC854618759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80">
                      <a:extLst>
                        <a:ext uri="{FF2B5EF4-FFF2-40B4-BE49-F238E27FC236}">
                          <a16:creationId xmlns:a16="http://schemas.microsoft.com/office/drawing/2014/main" id="{34C04358-9512-4CD4-886E-84CD468CF73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67" name="Group 2166">
                    <a:extLst>
                      <a:ext uri="{FF2B5EF4-FFF2-40B4-BE49-F238E27FC236}">
                        <a16:creationId xmlns:a16="http://schemas.microsoft.com/office/drawing/2014/main" id="{28E34054-7D3B-4D8B-809C-73B1468F8192}"/>
                      </a:ext>
                    </a:extLst>
                  </p:cNvPr>
                  <p:cNvGrpSpPr/>
                  <p:nvPr/>
                </p:nvGrpSpPr>
                <p:grpSpPr>
                  <a:xfrm>
                    <a:off x="2318076" y="4830163"/>
                    <a:ext cx="313949" cy="233075"/>
                    <a:chOff x="3707533" y="2731244"/>
                    <a:chExt cx="389644" cy="289271"/>
                  </a:xfrm>
                </p:grpSpPr>
                <p:sp>
                  <p:nvSpPr>
                    <p:cNvPr id="2168" name="Freeform 33">
                      <a:extLst>
                        <a:ext uri="{FF2B5EF4-FFF2-40B4-BE49-F238E27FC236}">
                          <a16:creationId xmlns:a16="http://schemas.microsoft.com/office/drawing/2014/main" id="{B4FE439A-D777-407F-8F08-0BC6EBC1C2D6}"/>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34">
                      <a:extLst>
                        <a:ext uri="{FF2B5EF4-FFF2-40B4-BE49-F238E27FC236}">
                          <a16:creationId xmlns:a16="http://schemas.microsoft.com/office/drawing/2014/main" id="{A7917E2E-9536-4410-93D6-656EDC14276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37">
                      <a:extLst>
                        <a:ext uri="{FF2B5EF4-FFF2-40B4-BE49-F238E27FC236}">
                          <a16:creationId xmlns:a16="http://schemas.microsoft.com/office/drawing/2014/main" id="{7418AC65-96AB-48C2-A3DC-C781B6A5601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1" name="Freeform 38">
                      <a:extLst>
                        <a:ext uri="{FF2B5EF4-FFF2-40B4-BE49-F238E27FC236}">
                          <a16:creationId xmlns:a16="http://schemas.microsoft.com/office/drawing/2014/main" id="{557D2715-D97B-4738-98D4-E23F68AE6988}"/>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2" name="Freeform 32">
                      <a:extLst>
                        <a:ext uri="{FF2B5EF4-FFF2-40B4-BE49-F238E27FC236}">
                          <a16:creationId xmlns:a16="http://schemas.microsoft.com/office/drawing/2014/main" id="{DEC47B83-3F1C-4953-A0B9-C3D43DFC4F0E}"/>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3" name="Freeform 35">
                      <a:extLst>
                        <a:ext uri="{FF2B5EF4-FFF2-40B4-BE49-F238E27FC236}">
                          <a16:creationId xmlns:a16="http://schemas.microsoft.com/office/drawing/2014/main" id="{14C3980E-5D17-42A2-9AF6-DF0BD721DAB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4" name="Freeform 36">
                      <a:extLst>
                        <a:ext uri="{FF2B5EF4-FFF2-40B4-BE49-F238E27FC236}">
                          <a16:creationId xmlns:a16="http://schemas.microsoft.com/office/drawing/2014/main" id="{E2126AF0-F9CB-46E6-B4B5-C82F0087B75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5" name="Freeform 25">
                      <a:extLst>
                        <a:ext uri="{FF2B5EF4-FFF2-40B4-BE49-F238E27FC236}">
                          <a16:creationId xmlns:a16="http://schemas.microsoft.com/office/drawing/2014/main" id="{11D152C7-7F05-49D9-80E9-C5D5E192028C}"/>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Freeform 39">
                      <a:extLst>
                        <a:ext uri="{FF2B5EF4-FFF2-40B4-BE49-F238E27FC236}">
                          <a16:creationId xmlns:a16="http://schemas.microsoft.com/office/drawing/2014/main" id="{3E5E4F9B-F62E-4CFC-8045-EA707BEB219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7" name="Freeform 26">
                      <a:extLst>
                        <a:ext uri="{FF2B5EF4-FFF2-40B4-BE49-F238E27FC236}">
                          <a16:creationId xmlns:a16="http://schemas.microsoft.com/office/drawing/2014/main" id="{1FB77C3F-FFFA-4A3E-84CC-B47EE967B735}"/>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8" name="Rectangle 27">
                      <a:extLst>
                        <a:ext uri="{FF2B5EF4-FFF2-40B4-BE49-F238E27FC236}">
                          <a16:creationId xmlns:a16="http://schemas.microsoft.com/office/drawing/2014/main" id="{3EED932C-C3FE-4DAC-BA81-3C9564ECF7CC}"/>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9" name="Line 29">
                      <a:extLst>
                        <a:ext uri="{FF2B5EF4-FFF2-40B4-BE49-F238E27FC236}">
                          <a16:creationId xmlns:a16="http://schemas.microsoft.com/office/drawing/2014/main" id="{22E7952B-986D-4EF6-9D90-4EB2570B4F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Line 31">
                      <a:extLst>
                        <a:ext uri="{FF2B5EF4-FFF2-40B4-BE49-F238E27FC236}">
                          <a16:creationId xmlns:a16="http://schemas.microsoft.com/office/drawing/2014/main" id="{2E09664D-FC2E-4C7B-BD8B-EB6B09534C71}"/>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162" name="Rectangle 2161">
                <a:extLst>
                  <a:ext uri="{FF2B5EF4-FFF2-40B4-BE49-F238E27FC236}">
                    <a16:creationId xmlns:a16="http://schemas.microsoft.com/office/drawing/2014/main" id="{AE3A9622-2C3B-4723-82C0-04A11F7A67D5}"/>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159" name="Rectangle 2158">
              <a:extLst>
                <a:ext uri="{FF2B5EF4-FFF2-40B4-BE49-F238E27FC236}">
                  <a16:creationId xmlns:a16="http://schemas.microsoft.com/office/drawing/2014/main" id="{7B1DC118-2B61-4544-A6B5-CE5166EAF1B2}"/>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245" name="Group 2244">
            <a:extLst>
              <a:ext uri="{FF2B5EF4-FFF2-40B4-BE49-F238E27FC236}">
                <a16:creationId xmlns:a16="http://schemas.microsoft.com/office/drawing/2014/main" id="{596718D9-B325-4276-BE50-22747C501F7B}"/>
              </a:ext>
            </a:extLst>
          </p:cNvPr>
          <p:cNvGrpSpPr/>
          <p:nvPr/>
        </p:nvGrpSpPr>
        <p:grpSpPr>
          <a:xfrm>
            <a:off x="5581513" y="3847679"/>
            <a:ext cx="2022711" cy="2582790"/>
            <a:chOff x="5596776" y="3955938"/>
            <a:chExt cx="2028403" cy="2590058"/>
          </a:xfrm>
        </p:grpSpPr>
        <p:sp>
          <p:nvSpPr>
            <p:cNvPr id="2246" name="Rectangle 2245">
              <a:extLst>
                <a:ext uri="{FF2B5EF4-FFF2-40B4-BE49-F238E27FC236}">
                  <a16:creationId xmlns:a16="http://schemas.microsoft.com/office/drawing/2014/main" id="{03BB922D-F8C3-47FC-AA81-6A5C008CECFB}"/>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247" name="Group 2246">
              <a:extLst>
                <a:ext uri="{FF2B5EF4-FFF2-40B4-BE49-F238E27FC236}">
                  <a16:creationId xmlns:a16="http://schemas.microsoft.com/office/drawing/2014/main" id="{AB14F307-12B8-4AE9-92BB-F70CE51DB976}"/>
                </a:ext>
              </a:extLst>
            </p:cNvPr>
            <p:cNvGrpSpPr/>
            <p:nvPr/>
          </p:nvGrpSpPr>
          <p:grpSpPr>
            <a:xfrm>
              <a:off x="5596776" y="4804677"/>
              <a:ext cx="2028403" cy="1741319"/>
              <a:chOff x="5596776" y="4804677"/>
              <a:chExt cx="2028403" cy="1741319"/>
            </a:xfrm>
          </p:grpSpPr>
          <p:sp>
            <p:nvSpPr>
              <p:cNvPr id="2248" name="Rectangle 2247">
                <a:extLst>
                  <a:ext uri="{FF2B5EF4-FFF2-40B4-BE49-F238E27FC236}">
                    <a16:creationId xmlns:a16="http://schemas.microsoft.com/office/drawing/2014/main" id="{B5C15643-696C-4B68-B4F3-27F9B158E634}"/>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249" name="Rectangle 2248">
                <a:extLst>
                  <a:ext uri="{FF2B5EF4-FFF2-40B4-BE49-F238E27FC236}">
                    <a16:creationId xmlns:a16="http://schemas.microsoft.com/office/drawing/2014/main" id="{824E8C0B-7301-415E-927C-E31738F8E963}"/>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250" name="Picture 2249">
                <a:extLst>
                  <a:ext uri="{FF2B5EF4-FFF2-40B4-BE49-F238E27FC236}">
                    <a16:creationId xmlns:a16="http://schemas.microsoft.com/office/drawing/2014/main" id="{C0A13450-F53F-471B-AEB9-B117E07C02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251" name="Group 2250">
                <a:extLst>
                  <a:ext uri="{FF2B5EF4-FFF2-40B4-BE49-F238E27FC236}">
                    <a16:creationId xmlns:a16="http://schemas.microsoft.com/office/drawing/2014/main" id="{0E61A0F9-5D07-4172-B2BE-F9802232F912}"/>
                  </a:ext>
                </a:extLst>
              </p:cNvPr>
              <p:cNvGrpSpPr>
                <a:grpSpLocks/>
              </p:cNvGrpSpPr>
              <p:nvPr/>
            </p:nvGrpSpPr>
            <p:grpSpPr>
              <a:xfrm>
                <a:off x="6916019" y="5876745"/>
                <a:ext cx="476834" cy="476835"/>
                <a:chOff x="7895435" y="7917966"/>
                <a:chExt cx="473625" cy="473627"/>
              </a:xfrm>
            </p:grpSpPr>
            <p:grpSp>
              <p:nvGrpSpPr>
                <p:cNvPr id="2252" name="Group 64">
                  <a:extLst>
                    <a:ext uri="{FF2B5EF4-FFF2-40B4-BE49-F238E27FC236}">
                      <a16:creationId xmlns:a16="http://schemas.microsoft.com/office/drawing/2014/main" id="{C72A6242-D538-4F2C-B3CA-7E31CC7B97BA}"/>
                    </a:ext>
                  </a:extLst>
                </p:cNvPr>
                <p:cNvGrpSpPr>
                  <a:grpSpLocks noChangeAspect="1"/>
                </p:cNvGrpSpPr>
                <p:nvPr/>
              </p:nvGrpSpPr>
              <p:grpSpPr bwMode="auto">
                <a:xfrm rot="8100000">
                  <a:off x="7895435" y="7917966"/>
                  <a:ext cx="473625" cy="473627"/>
                  <a:chOff x="701" y="2170"/>
                  <a:chExt cx="587" cy="587"/>
                </a:xfrm>
              </p:grpSpPr>
              <p:sp>
                <p:nvSpPr>
                  <p:cNvPr id="2284" name="Oval 65">
                    <a:extLst>
                      <a:ext uri="{FF2B5EF4-FFF2-40B4-BE49-F238E27FC236}">
                        <a16:creationId xmlns:a16="http://schemas.microsoft.com/office/drawing/2014/main" id="{72CD75EB-BF3E-4603-8B5F-76E6AAA1404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5" name="Line 66">
                    <a:extLst>
                      <a:ext uri="{FF2B5EF4-FFF2-40B4-BE49-F238E27FC236}">
                        <a16:creationId xmlns:a16="http://schemas.microsoft.com/office/drawing/2014/main" id="{C2ABC0FA-E95F-4846-8E5B-60C4FBF614A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67">
                    <a:extLst>
                      <a:ext uri="{FF2B5EF4-FFF2-40B4-BE49-F238E27FC236}">
                        <a16:creationId xmlns:a16="http://schemas.microsoft.com/office/drawing/2014/main" id="{78BD8519-5A33-45C0-8EAD-7490E9E31E7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7" name="Line 69">
                    <a:extLst>
                      <a:ext uri="{FF2B5EF4-FFF2-40B4-BE49-F238E27FC236}">
                        <a16:creationId xmlns:a16="http://schemas.microsoft.com/office/drawing/2014/main" id="{4F6079F1-90DE-4314-9807-A9534643861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8" name="Line 74">
                    <a:extLst>
                      <a:ext uri="{FF2B5EF4-FFF2-40B4-BE49-F238E27FC236}">
                        <a16:creationId xmlns:a16="http://schemas.microsoft.com/office/drawing/2014/main" id="{6D38F3F5-61E8-41D1-90C0-8623D31AB56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Freeform 78">
                    <a:extLst>
                      <a:ext uri="{FF2B5EF4-FFF2-40B4-BE49-F238E27FC236}">
                        <a16:creationId xmlns:a16="http://schemas.microsoft.com/office/drawing/2014/main" id="{4FFF2C2E-7700-46EE-8D2B-4A891EB9A263}"/>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80">
                    <a:extLst>
                      <a:ext uri="{FF2B5EF4-FFF2-40B4-BE49-F238E27FC236}">
                        <a16:creationId xmlns:a16="http://schemas.microsoft.com/office/drawing/2014/main" id="{1122B5A9-3C84-4127-BD29-A75546B1522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3" name="Group 2252">
                  <a:extLst>
                    <a:ext uri="{FF2B5EF4-FFF2-40B4-BE49-F238E27FC236}">
                      <a16:creationId xmlns:a16="http://schemas.microsoft.com/office/drawing/2014/main" id="{BD6D89E2-0839-4366-A46C-1684A8249CCE}"/>
                    </a:ext>
                  </a:extLst>
                </p:cNvPr>
                <p:cNvGrpSpPr/>
                <p:nvPr/>
              </p:nvGrpSpPr>
              <p:grpSpPr>
                <a:xfrm>
                  <a:off x="7951708" y="7985752"/>
                  <a:ext cx="356509" cy="349884"/>
                  <a:chOff x="468738" y="2241878"/>
                  <a:chExt cx="1655483" cy="1624719"/>
                </a:xfrm>
              </p:grpSpPr>
              <p:sp>
                <p:nvSpPr>
                  <p:cNvPr id="2254" name="Freeform 5">
                    <a:extLst>
                      <a:ext uri="{FF2B5EF4-FFF2-40B4-BE49-F238E27FC236}">
                        <a16:creationId xmlns:a16="http://schemas.microsoft.com/office/drawing/2014/main" id="{0653FA21-B855-4F64-ABA6-8F7F26150D5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55" name="Freeform 6">
                    <a:extLst>
                      <a:ext uri="{FF2B5EF4-FFF2-40B4-BE49-F238E27FC236}">
                        <a16:creationId xmlns:a16="http://schemas.microsoft.com/office/drawing/2014/main" id="{3EEE02F6-99B8-44B6-A1AB-129B9A2D36D1}"/>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6" name="Line 7">
                    <a:extLst>
                      <a:ext uri="{FF2B5EF4-FFF2-40B4-BE49-F238E27FC236}">
                        <a16:creationId xmlns:a16="http://schemas.microsoft.com/office/drawing/2014/main" id="{90AE3C5E-3F0F-4BE2-9E91-F0C330609DA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7" name="Freeform 8">
                    <a:extLst>
                      <a:ext uri="{FF2B5EF4-FFF2-40B4-BE49-F238E27FC236}">
                        <a16:creationId xmlns:a16="http://schemas.microsoft.com/office/drawing/2014/main" id="{E22ACE02-9420-4BCC-8D52-9BE7FC9D81D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8" name="Line 9">
                    <a:extLst>
                      <a:ext uri="{FF2B5EF4-FFF2-40B4-BE49-F238E27FC236}">
                        <a16:creationId xmlns:a16="http://schemas.microsoft.com/office/drawing/2014/main" id="{9D6358CD-970F-4D04-8F13-9E65006FDE4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59" name="Group 2258">
                    <a:extLst>
                      <a:ext uri="{FF2B5EF4-FFF2-40B4-BE49-F238E27FC236}">
                        <a16:creationId xmlns:a16="http://schemas.microsoft.com/office/drawing/2014/main" id="{4647B62F-46AC-4F4F-8170-2E739DB9CFBE}"/>
                      </a:ext>
                    </a:extLst>
                  </p:cNvPr>
                  <p:cNvGrpSpPr/>
                  <p:nvPr/>
                </p:nvGrpSpPr>
                <p:grpSpPr>
                  <a:xfrm>
                    <a:off x="1207113" y="2241878"/>
                    <a:ext cx="178734" cy="348678"/>
                    <a:chOff x="1207113" y="2241878"/>
                    <a:chExt cx="178734" cy="348678"/>
                  </a:xfrm>
                </p:grpSpPr>
                <p:sp>
                  <p:nvSpPr>
                    <p:cNvPr id="2282" name="Freeform 10">
                      <a:extLst>
                        <a:ext uri="{FF2B5EF4-FFF2-40B4-BE49-F238E27FC236}">
                          <a16:creationId xmlns:a16="http://schemas.microsoft.com/office/drawing/2014/main" id="{46854A5F-4070-4A86-9B3D-060898EF8DA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3" name="Line 11">
                      <a:extLst>
                        <a:ext uri="{FF2B5EF4-FFF2-40B4-BE49-F238E27FC236}">
                          <a16:creationId xmlns:a16="http://schemas.microsoft.com/office/drawing/2014/main" id="{49AB5A88-DEE1-42E4-85D7-0ECD6FE40B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60" name="Freeform 12">
                    <a:extLst>
                      <a:ext uri="{FF2B5EF4-FFF2-40B4-BE49-F238E27FC236}">
                        <a16:creationId xmlns:a16="http://schemas.microsoft.com/office/drawing/2014/main" id="{2300F74C-6849-42A6-AB6A-692104E3665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1" name="Line 13">
                    <a:extLst>
                      <a:ext uri="{FF2B5EF4-FFF2-40B4-BE49-F238E27FC236}">
                        <a16:creationId xmlns:a16="http://schemas.microsoft.com/office/drawing/2014/main" id="{27BBF1D8-6172-4BE0-A288-26B9081155B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14">
                    <a:extLst>
                      <a:ext uri="{FF2B5EF4-FFF2-40B4-BE49-F238E27FC236}">
                        <a16:creationId xmlns:a16="http://schemas.microsoft.com/office/drawing/2014/main" id="{1A0E8633-E13B-41E8-B429-1F58A35142A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3" name="Line 15">
                    <a:extLst>
                      <a:ext uri="{FF2B5EF4-FFF2-40B4-BE49-F238E27FC236}">
                        <a16:creationId xmlns:a16="http://schemas.microsoft.com/office/drawing/2014/main" id="{7C25BDBF-306B-4FF3-A2C0-3FFF40E99EAD}"/>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16">
                    <a:extLst>
                      <a:ext uri="{FF2B5EF4-FFF2-40B4-BE49-F238E27FC236}">
                        <a16:creationId xmlns:a16="http://schemas.microsoft.com/office/drawing/2014/main" id="{0D3617B8-E7D3-4E1A-9A38-846DF11C0CB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5" name="Line 17">
                    <a:extLst>
                      <a:ext uri="{FF2B5EF4-FFF2-40B4-BE49-F238E27FC236}">
                        <a16:creationId xmlns:a16="http://schemas.microsoft.com/office/drawing/2014/main" id="{6306F9CC-64AE-417A-A2EA-C4A7146711B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18">
                    <a:extLst>
                      <a:ext uri="{FF2B5EF4-FFF2-40B4-BE49-F238E27FC236}">
                        <a16:creationId xmlns:a16="http://schemas.microsoft.com/office/drawing/2014/main" id="{E72E4136-DDFA-4084-8228-ADA12BE42C9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7" name="Line 19">
                    <a:extLst>
                      <a:ext uri="{FF2B5EF4-FFF2-40B4-BE49-F238E27FC236}">
                        <a16:creationId xmlns:a16="http://schemas.microsoft.com/office/drawing/2014/main" id="{E7619B44-B2C5-4FCF-ABA8-178E9BE2E79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5">
                    <a:extLst>
                      <a:ext uri="{FF2B5EF4-FFF2-40B4-BE49-F238E27FC236}">
                        <a16:creationId xmlns:a16="http://schemas.microsoft.com/office/drawing/2014/main" id="{30FC848C-A264-4C36-AA77-5BA5B0D0C18C}"/>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36">
                    <a:extLst>
                      <a:ext uri="{FF2B5EF4-FFF2-40B4-BE49-F238E27FC236}">
                        <a16:creationId xmlns:a16="http://schemas.microsoft.com/office/drawing/2014/main" id="{0436AAF8-A9E1-4FCE-9DC6-EBB2FD0588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0" name="Freeform 37">
                    <a:extLst>
                      <a:ext uri="{FF2B5EF4-FFF2-40B4-BE49-F238E27FC236}">
                        <a16:creationId xmlns:a16="http://schemas.microsoft.com/office/drawing/2014/main" id="{10F2FB4B-92A9-45AB-9CE1-9AD50732BD2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1" name="Freeform 38">
                    <a:extLst>
                      <a:ext uri="{FF2B5EF4-FFF2-40B4-BE49-F238E27FC236}">
                        <a16:creationId xmlns:a16="http://schemas.microsoft.com/office/drawing/2014/main" id="{FE722393-6BB9-4A5A-98BF-D4876777A2E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2" name="Freeform 39">
                    <a:extLst>
                      <a:ext uri="{FF2B5EF4-FFF2-40B4-BE49-F238E27FC236}">
                        <a16:creationId xmlns:a16="http://schemas.microsoft.com/office/drawing/2014/main" id="{88CADD58-5B4A-476A-BE4A-D2CCF9D15BE6}"/>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3" name="Freeform 40">
                    <a:extLst>
                      <a:ext uri="{FF2B5EF4-FFF2-40B4-BE49-F238E27FC236}">
                        <a16:creationId xmlns:a16="http://schemas.microsoft.com/office/drawing/2014/main" id="{152C18AC-19C3-4697-A15C-F43B6A61509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Freeform 41">
                    <a:extLst>
                      <a:ext uri="{FF2B5EF4-FFF2-40B4-BE49-F238E27FC236}">
                        <a16:creationId xmlns:a16="http://schemas.microsoft.com/office/drawing/2014/main" id="{4639A05C-6087-4E97-A772-E66E85C37A8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42">
                    <a:extLst>
                      <a:ext uri="{FF2B5EF4-FFF2-40B4-BE49-F238E27FC236}">
                        <a16:creationId xmlns:a16="http://schemas.microsoft.com/office/drawing/2014/main" id="{0D27C245-CE15-435D-9C25-F3E9D1F2B87B}"/>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Freeform 43">
                    <a:extLst>
                      <a:ext uri="{FF2B5EF4-FFF2-40B4-BE49-F238E27FC236}">
                        <a16:creationId xmlns:a16="http://schemas.microsoft.com/office/drawing/2014/main" id="{9C165DC9-3DC0-4651-B883-E82F608DBDC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Freeform 44">
                    <a:extLst>
                      <a:ext uri="{FF2B5EF4-FFF2-40B4-BE49-F238E27FC236}">
                        <a16:creationId xmlns:a16="http://schemas.microsoft.com/office/drawing/2014/main" id="{8BAE83BE-3698-4C26-9575-E546490E770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45">
                    <a:extLst>
                      <a:ext uri="{FF2B5EF4-FFF2-40B4-BE49-F238E27FC236}">
                        <a16:creationId xmlns:a16="http://schemas.microsoft.com/office/drawing/2014/main" id="{A310B445-8B7A-44EF-B972-9BDBC2819AD6}"/>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79" name="Group 2278">
                    <a:extLst>
                      <a:ext uri="{FF2B5EF4-FFF2-40B4-BE49-F238E27FC236}">
                        <a16:creationId xmlns:a16="http://schemas.microsoft.com/office/drawing/2014/main" id="{359AA665-FA51-45A6-8CC9-B36FB28042EE}"/>
                      </a:ext>
                    </a:extLst>
                  </p:cNvPr>
                  <p:cNvGrpSpPr/>
                  <p:nvPr/>
                </p:nvGrpSpPr>
                <p:grpSpPr>
                  <a:xfrm flipV="1">
                    <a:off x="1202047" y="3517919"/>
                    <a:ext cx="178734" cy="348678"/>
                    <a:chOff x="1207113" y="2241878"/>
                    <a:chExt cx="178734" cy="348678"/>
                  </a:xfrm>
                </p:grpSpPr>
                <p:sp>
                  <p:nvSpPr>
                    <p:cNvPr id="2280" name="Freeform 10">
                      <a:extLst>
                        <a:ext uri="{FF2B5EF4-FFF2-40B4-BE49-F238E27FC236}">
                          <a16:creationId xmlns:a16="http://schemas.microsoft.com/office/drawing/2014/main" id="{79C2BAE8-234E-43FE-9122-B0E1DF14BEA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1" name="Line 11">
                      <a:extLst>
                        <a:ext uri="{FF2B5EF4-FFF2-40B4-BE49-F238E27FC236}">
                          <a16:creationId xmlns:a16="http://schemas.microsoft.com/office/drawing/2014/main" id="{C8E41F0F-82EB-44DB-B172-26F6FCDB907D}"/>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291" name="Group 2290">
            <a:extLst>
              <a:ext uri="{FF2B5EF4-FFF2-40B4-BE49-F238E27FC236}">
                <a16:creationId xmlns:a16="http://schemas.microsoft.com/office/drawing/2014/main" id="{82D36B90-9FCA-46DF-B916-C7EFFF1AF0DE}"/>
              </a:ext>
            </a:extLst>
          </p:cNvPr>
          <p:cNvGrpSpPr/>
          <p:nvPr/>
        </p:nvGrpSpPr>
        <p:grpSpPr>
          <a:xfrm>
            <a:off x="495092" y="1726072"/>
            <a:ext cx="1451488" cy="649270"/>
            <a:chOff x="1688915" y="1573673"/>
            <a:chExt cx="1455572" cy="651097"/>
          </a:xfrm>
        </p:grpSpPr>
        <p:sp>
          <p:nvSpPr>
            <p:cNvPr id="2292" name="Right Arrow 551">
              <a:extLst>
                <a:ext uri="{FF2B5EF4-FFF2-40B4-BE49-F238E27FC236}">
                  <a16:creationId xmlns:a16="http://schemas.microsoft.com/office/drawing/2014/main" id="{08704D7F-A011-42E6-A7D1-539040737BB7}"/>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293" name="Group 2292">
              <a:extLst>
                <a:ext uri="{FF2B5EF4-FFF2-40B4-BE49-F238E27FC236}">
                  <a16:creationId xmlns:a16="http://schemas.microsoft.com/office/drawing/2014/main" id="{43A29FF4-15CE-4DB9-8823-A6C1C1E7E670}"/>
                </a:ext>
              </a:extLst>
            </p:cNvPr>
            <p:cNvGrpSpPr>
              <a:grpSpLocks/>
            </p:cNvGrpSpPr>
            <p:nvPr/>
          </p:nvGrpSpPr>
          <p:grpSpPr>
            <a:xfrm>
              <a:off x="1688915" y="1795002"/>
              <a:ext cx="418017" cy="418017"/>
              <a:chOff x="745985" y="4768134"/>
              <a:chExt cx="368776" cy="368777"/>
            </a:xfrm>
          </p:grpSpPr>
          <p:grpSp>
            <p:nvGrpSpPr>
              <p:cNvPr id="2357" name="Group 64">
                <a:extLst>
                  <a:ext uri="{FF2B5EF4-FFF2-40B4-BE49-F238E27FC236}">
                    <a16:creationId xmlns:a16="http://schemas.microsoft.com/office/drawing/2014/main" id="{45A4255D-24C3-4932-A718-372CFFEBB6E2}"/>
                  </a:ext>
                </a:extLst>
              </p:cNvPr>
              <p:cNvGrpSpPr>
                <a:grpSpLocks noChangeAspect="1"/>
              </p:cNvGrpSpPr>
              <p:nvPr/>
            </p:nvGrpSpPr>
            <p:grpSpPr bwMode="auto">
              <a:xfrm rot="8100000">
                <a:off x="745985" y="4768134"/>
                <a:ext cx="368776" cy="368777"/>
                <a:chOff x="701" y="2170"/>
                <a:chExt cx="587" cy="587"/>
              </a:xfrm>
            </p:grpSpPr>
            <p:sp>
              <p:nvSpPr>
                <p:cNvPr id="2368" name="Oval 65">
                  <a:extLst>
                    <a:ext uri="{FF2B5EF4-FFF2-40B4-BE49-F238E27FC236}">
                      <a16:creationId xmlns:a16="http://schemas.microsoft.com/office/drawing/2014/main" id="{2D23E31A-0A0D-49B9-A7F6-0C9E38714AB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Line 66">
                  <a:extLst>
                    <a:ext uri="{FF2B5EF4-FFF2-40B4-BE49-F238E27FC236}">
                      <a16:creationId xmlns:a16="http://schemas.microsoft.com/office/drawing/2014/main" id="{9EA35FC4-364F-4A50-B75D-30BDD4396C3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67">
                  <a:extLst>
                    <a:ext uri="{FF2B5EF4-FFF2-40B4-BE49-F238E27FC236}">
                      <a16:creationId xmlns:a16="http://schemas.microsoft.com/office/drawing/2014/main" id="{C49546F8-F738-4BD3-9506-8A0B5B18C2E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Line 69">
                  <a:extLst>
                    <a:ext uri="{FF2B5EF4-FFF2-40B4-BE49-F238E27FC236}">
                      <a16:creationId xmlns:a16="http://schemas.microsoft.com/office/drawing/2014/main" id="{33DD8474-3860-4B59-A872-07B4D9FC499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74">
                  <a:extLst>
                    <a:ext uri="{FF2B5EF4-FFF2-40B4-BE49-F238E27FC236}">
                      <a16:creationId xmlns:a16="http://schemas.microsoft.com/office/drawing/2014/main" id="{B884B2EF-C60D-4AC4-843F-0569CEDF3CF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3" name="Freeform 78">
                  <a:extLst>
                    <a:ext uri="{FF2B5EF4-FFF2-40B4-BE49-F238E27FC236}">
                      <a16:creationId xmlns:a16="http://schemas.microsoft.com/office/drawing/2014/main" id="{9D8480CE-14F9-43F1-920C-CE5D992350C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4" name="Freeform 80">
                  <a:extLst>
                    <a:ext uri="{FF2B5EF4-FFF2-40B4-BE49-F238E27FC236}">
                      <a16:creationId xmlns:a16="http://schemas.microsoft.com/office/drawing/2014/main" id="{999CD18A-8B73-434F-900C-B58352709B6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58" name="Group 2357">
                <a:extLst>
                  <a:ext uri="{FF2B5EF4-FFF2-40B4-BE49-F238E27FC236}">
                    <a16:creationId xmlns:a16="http://schemas.microsoft.com/office/drawing/2014/main" id="{5AD2B93D-D908-4824-991D-178CBD7C459F}"/>
                  </a:ext>
                </a:extLst>
              </p:cNvPr>
              <p:cNvGrpSpPr/>
              <p:nvPr/>
            </p:nvGrpSpPr>
            <p:grpSpPr>
              <a:xfrm>
                <a:off x="837312" y="4814434"/>
                <a:ext cx="136805" cy="278689"/>
                <a:chOff x="2806700" y="2803319"/>
                <a:chExt cx="433387" cy="882861"/>
              </a:xfrm>
            </p:grpSpPr>
            <p:grpSp>
              <p:nvGrpSpPr>
                <p:cNvPr id="2359" name="Group 2358">
                  <a:extLst>
                    <a:ext uri="{FF2B5EF4-FFF2-40B4-BE49-F238E27FC236}">
                      <a16:creationId xmlns:a16="http://schemas.microsoft.com/office/drawing/2014/main" id="{094EAC7A-68D6-4343-B795-E6802C043629}"/>
                    </a:ext>
                  </a:extLst>
                </p:cNvPr>
                <p:cNvGrpSpPr>
                  <a:grpSpLocks noChangeAspect="1"/>
                </p:cNvGrpSpPr>
                <p:nvPr/>
              </p:nvGrpSpPr>
              <p:grpSpPr bwMode="auto">
                <a:xfrm>
                  <a:off x="2806700" y="3043242"/>
                  <a:ext cx="433387" cy="642938"/>
                  <a:chOff x="1768" y="1917"/>
                  <a:chExt cx="273" cy="405"/>
                </a:xfrm>
              </p:grpSpPr>
              <p:sp>
                <p:nvSpPr>
                  <p:cNvPr id="2361" name="Freeform 52">
                    <a:extLst>
                      <a:ext uri="{FF2B5EF4-FFF2-40B4-BE49-F238E27FC236}">
                        <a16:creationId xmlns:a16="http://schemas.microsoft.com/office/drawing/2014/main" id="{61882AED-B320-4541-ABFA-ECBCDF06A81C}"/>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2" name="Line 54">
                    <a:extLst>
                      <a:ext uri="{FF2B5EF4-FFF2-40B4-BE49-F238E27FC236}">
                        <a16:creationId xmlns:a16="http://schemas.microsoft.com/office/drawing/2014/main" id="{C0BF3190-6367-4893-9EC5-442228A3957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55">
                    <a:extLst>
                      <a:ext uri="{FF2B5EF4-FFF2-40B4-BE49-F238E27FC236}">
                        <a16:creationId xmlns:a16="http://schemas.microsoft.com/office/drawing/2014/main" id="{5B012137-BCE2-4577-B554-0EB39837BB4B}"/>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56">
                    <a:extLst>
                      <a:ext uri="{FF2B5EF4-FFF2-40B4-BE49-F238E27FC236}">
                        <a16:creationId xmlns:a16="http://schemas.microsoft.com/office/drawing/2014/main" id="{CCAE48A1-B818-4BF8-BDC6-2231C6C2B2A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Line 57">
                    <a:extLst>
                      <a:ext uri="{FF2B5EF4-FFF2-40B4-BE49-F238E27FC236}">
                        <a16:creationId xmlns:a16="http://schemas.microsoft.com/office/drawing/2014/main" id="{4991A450-651C-417B-A147-07F9E4EA1717}"/>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6" name="Freeform 58">
                    <a:extLst>
                      <a:ext uri="{FF2B5EF4-FFF2-40B4-BE49-F238E27FC236}">
                        <a16:creationId xmlns:a16="http://schemas.microsoft.com/office/drawing/2014/main" id="{6C8FEB99-5345-4159-9A98-FFA24784928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7" name="Rectangle 2366">
                    <a:extLst>
                      <a:ext uri="{FF2B5EF4-FFF2-40B4-BE49-F238E27FC236}">
                        <a16:creationId xmlns:a16="http://schemas.microsoft.com/office/drawing/2014/main" id="{DEBC5C6D-D290-4A5F-8769-F00AF636459D}"/>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60" name="Oval 2359">
                  <a:extLst>
                    <a:ext uri="{FF2B5EF4-FFF2-40B4-BE49-F238E27FC236}">
                      <a16:creationId xmlns:a16="http://schemas.microsoft.com/office/drawing/2014/main" id="{D16194F5-2761-4126-B6C7-633AF88C2D2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94" name="Group 2293">
              <a:extLst>
                <a:ext uri="{FF2B5EF4-FFF2-40B4-BE49-F238E27FC236}">
                  <a16:creationId xmlns:a16="http://schemas.microsoft.com/office/drawing/2014/main" id="{C6E701D3-58D6-44E9-8590-405ED74DA4E8}"/>
                </a:ext>
              </a:extLst>
            </p:cNvPr>
            <p:cNvGrpSpPr>
              <a:grpSpLocks/>
            </p:cNvGrpSpPr>
            <p:nvPr/>
          </p:nvGrpSpPr>
          <p:grpSpPr>
            <a:xfrm>
              <a:off x="2196256" y="1795002"/>
              <a:ext cx="429139" cy="429142"/>
              <a:chOff x="1454941" y="4721722"/>
              <a:chExt cx="473625" cy="473627"/>
            </a:xfrm>
          </p:grpSpPr>
          <p:grpSp>
            <p:nvGrpSpPr>
              <p:cNvPr id="2318" name="Group 64">
                <a:extLst>
                  <a:ext uri="{FF2B5EF4-FFF2-40B4-BE49-F238E27FC236}">
                    <a16:creationId xmlns:a16="http://schemas.microsoft.com/office/drawing/2014/main" id="{E42FB29D-11B6-4ACE-8370-FCF72A23499A}"/>
                  </a:ext>
                </a:extLst>
              </p:cNvPr>
              <p:cNvGrpSpPr>
                <a:grpSpLocks noChangeAspect="1"/>
              </p:cNvGrpSpPr>
              <p:nvPr/>
            </p:nvGrpSpPr>
            <p:grpSpPr bwMode="auto">
              <a:xfrm rot="8100000">
                <a:off x="1454941" y="4721722"/>
                <a:ext cx="473625" cy="473627"/>
                <a:chOff x="701" y="2170"/>
                <a:chExt cx="587" cy="587"/>
              </a:xfrm>
            </p:grpSpPr>
            <p:sp>
              <p:nvSpPr>
                <p:cNvPr id="2350" name="Oval 65">
                  <a:extLst>
                    <a:ext uri="{FF2B5EF4-FFF2-40B4-BE49-F238E27FC236}">
                      <a16:creationId xmlns:a16="http://schemas.microsoft.com/office/drawing/2014/main" id="{51AD352E-7942-4665-93B7-56D7C3F831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Line 66">
                  <a:extLst>
                    <a:ext uri="{FF2B5EF4-FFF2-40B4-BE49-F238E27FC236}">
                      <a16:creationId xmlns:a16="http://schemas.microsoft.com/office/drawing/2014/main" id="{09145D1F-66AC-47C0-B404-99C578980C1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2" name="Line 67">
                  <a:extLst>
                    <a:ext uri="{FF2B5EF4-FFF2-40B4-BE49-F238E27FC236}">
                      <a16:creationId xmlns:a16="http://schemas.microsoft.com/office/drawing/2014/main" id="{D9D32373-D080-46A7-8230-5D041A6E78A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3" name="Line 69">
                  <a:extLst>
                    <a:ext uri="{FF2B5EF4-FFF2-40B4-BE49-F238E27FC236}">
                      <a16:creationId xmlns:a16="http://schemas.microsoft.com/office/drawing/2014/main" id="{0739E971-762E-4507-BA96-7237A9C7DD14}"/>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4" name="Line 74">
                  <a:extLst>
                    <a:ext uri="{FF2B5EF4-FFF2-40B4-BE49-F238E27FC236}">
                      <a16:creationId xmlns:a16="http://schemas.microsoft.com/office/drawing/2014/main" id="{7786D655-8BBE-4232-8E68-0B9FA9D1C34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78">
                  <a:extLst>
                    <a:ext uri="{FF2B5EF4-FFF2-40B4-BE49-F238E27FC236}">
                      <a16:creationId xmlns:a16="http://schemas.microsoft.com/office/drawing/2014/main" id="{508966EE-9159-4DD8-A751-43B8EC978B3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6" name="Freeform 80">
                  <a:extLst>
                    <a:ext uri="{FF2B5EF4-FFF2-40B4-BE49-F238E27FC236}">
                      <a16:creationId xmlns:a16="http://schemas.microsoft.com/office/drawing/2014/main" id="{EAC26E66-685D-4608-89A1-F10A153C057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19" name="Group 2318">
                <a:extLst>
                  <a:ext uri="{FF2B5EF4-FFF2-40B4-BE49-F238E27FC236}">
                    <a16:creationId xmlns:a16="http://schemas.microsoft.com/office/drawing/2014/main" id="{6F9AA22B-1F65-4B1E-9C87-47E987F3582B}"/>
                  </a:ext>
                </a:extLst>
              </p:cNvPr>
              <p:cNvGrpSpPr/>
              <p:nvPr/>
            </p:nvGrpSpPr>
            <p:grpSpPr>
              <a:xfrm>
                <a:off x="1511214" y="4789508"/>
                <a:ext cx="356509" cy="349884"/>
                <a:chOff x="468738" y="2241878"/>
                <a:chExt cx="1655483" cy="1624719"/>
              </a:xfrm>
            </p:grpSpPr>
            <p:sp>
              <p:nvSpPr>
                <p:cNvPr id="2320" name="Freeform 5">
                  <a:extLst>
                    <a:ext uri="{FF2B5EF4-FFF2-40B4-BE49-F238E27FC236}">
                      <a16:creationId xmlns:a16="http://schemas.microsoft.com/office/drawing/2014/main" id="{1C70A36E-B1CC-4DD6-A684-14D84C901A8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1" name="Freeform 6">
                  <a:extLst>
                    <a:ext uri="{FF2B5EF4-FFF2-40B4-BE49-F238E27FC236}">
                      <a16:creationId xmlns:a16="http://schemas.microsoft.com/office/drawing/2014/main" id="{B8A9288D-C7ED-47AF-9C98-F0E7435DB36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2" name="Line 7">
                  <a:extLst>
                    <a:ext uri="{FF2B5EF4-FFF2-40B4-BE49-F238E27FC236}">
                      <a16:creationId xmlns:a16="http://schemas.microsoft.com/office/drawing/2014/main" id="{28BC763E-5E35-41A4-8F3E-1C73DC7B621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3" name="Freeform 8">
                  <a:extLst>
                    <a:ext uri="{FF2B5EF4-FFF2-40B4-BE49-F238E27FC236}">
                      <a16:creationId xmlns:a16="http://schemas.microsoft.com/office/drawing/2014/main" id="{255B6E54-53F0-427C-814C-AD758D88341A}"/>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4" name="Line 9">
                  <a:extLst>
                    <a:ext uri="{FF2B5EF4-FFF2-40B4-BE49-F238E27FC236}">
                      <a16:creationId xmlns:a16="http://schemas.microsoft.com/office/drawing/2014/main" id="{E2EFB0AE-A008-4A6F-B850-9D235074B9C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25" name="Group 2324">
                  <a:extLst>
                    <a:ext uri="{FF2B5EF4-FFF2-40B4-BE49-F238E27FC236}">
                      <a16:creationId xmlns:a16="http://schemas.microsoft.com/office/drawing/2014/main" id="{CA6B4872-FF48-46AD-AD78-2FE32E26FFBA}"/>
                    </a:ext>
                  </a:extLst>
                </p:cNvPr>
                <p:cNvGrpSpPr/>
                <p:nvPr/>
              </p:nvGrpSpPr>
              <p:grpSpPr>
                <a:xfrm>
                  <a:off x="1207113" y="2241878"/>
                  <a:ext cx="178734" cy="348678"/>
                  <a:chOff x="1207113" y="2241878"/>
                  <a:chExt cx="178734" cy="348678"/>
                </a:xfrm>
              </p:grpSpPr>
              <p:sp>
                <p:nvSpPr>
                  <p:cNvPr id="2348" name="Freeform 10">
                    <a:extLst>
                      <a:ext uri="{FF2B5EF4-FFF2-40B4-BE49-F238E27FC236}">
                        <a16:creationId xmlns:a16="http://schemas.microsoft.com/office/drawing/2014/main" id="{B6049F59-9585-439A-98AE-C481AB994BD3}"/>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9" name="Line 11">
                    <a:extLst>
                      <a:ext uri="{FF2B5EF4-FFF2-40B4-BE49-F238E27FC236}">
                        <a16:creationId xmlns:a16="http://schemas.microsoft.com/office/drawing/2014/main" id="{91028E61-AAA0-4B52-960C-ECBD1EAB48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26" name="Freeform 12">
                  <a:extLst>
                    <a:ext uri="{FF2B5EF4-FFF2-40B4-BE49-F238E27FC236}">
                      <a16:creationId xmlns:a16="http://schemas.microsoft.com/office/drawing/2014/main" id="{15652DC4-9FAD-4402-A83B-7ABB09328EF8}"/>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13">
                  <a:extLst>
                    <a:ext uri="{FF2B5EF4-FFF2-40B4-BE49-F238E27FC236}">
                      <a16:creationId xmlns:a16="http://schemas.microsoft.com/office/drawing/2014/main" id="{3B771E34-142A-45F7-A0BE-53871E5BBDD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14">
                  <a:extLst>
                    <a:ext uri="{FF2B5EF4-FFF2-40B4-BE49-F238E27FC236}">
                      <a16:creationId xmlns:a16="http://schemas.microsoft.com/office/drawing/2014/main" id="{1910D1C8-9CD2-4D26-AF1D-54712413296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Line 15">
                  <a:extLst>
                    <a:ext uri="{FF2B5EF4-FFF2-40B4-BE49-F238E27FC236}">
                      <a16:creationId xmlns:a16="http://schemas.microsoft.com/office/drawing/2014/main" id="{3C5869CB-8033-4DF3-AD20-8E76D21BEE2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0" name="Freeform 16">
                  <a:extLst>
                    <a:ext uri="{FF2B5EF4-FFF2-40B4-BE49-F238E27FC236}">
                      <a16:creationId xmlns:a16="http://schemas.microsoft.com/office/drawing/2014/main" id="{A9777979-CA6B-49D7-8708-0F818E3E934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1" name="Line 17">
                  <a:extLst>
                    <a:ext uri="{FF2B5EF4-FFF2-40B4-BE49-F238E27FC236}">
                      <a16:creationId xmlns:a16="http://schemas.microsoft.com/office/drawing/2014/main" id="{9AA4284B-34A2-4FCA-81E9-C5BBCD088B6A}"/>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Freeform 18">
                  <a:extLst>
                    <a:ext uri="{FF2B5EF4-FFF2-40B4-BE49-F238E27FC236}">
                      <a16:creationId xmlns:a16="http://schemas.microsoft.com/office/drawing/2014/main" id="{7CE2602E-C266-4BD5-9CA2-9CC95C4B3104}"/>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19">
                  <a:extLst>
                    <a:ext uri="{FF2B5EF4-FFF2-40B4-BE49-F238E27FC236}">
                      <a16:creationId xmlns:a16="http://schemas.microsoft.com/office/drawing/2014/main" id="{B3EF2A59-24DC-4423-BEF3-B355E0DBCBD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Freeform 35">
                  <a:extLst>
                    <a:ext uri="{FF2B5EF4-FFF2-40B4-BE49-F238E27FC236}">
                      <a16:creationId xmlns:a16="http://schemas.microsoft.com/office/drawing/2014/main" id="{ED2FC11D-E6EC-4642-846A-1FC71C044ED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36">
                  <a:extLst>
                    <a:ext uri="{FF2B5EF4-FFF2-40B4-BE49-F238E27FC236}">
                      <a16:creationId xmlns:a16="http://schemas.microsoft.com/office/drawing/2014/main" id="{3DE502E9-5516-42A0-B366-6020E34545C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37">
                  <a:extLst>
                    <a:ext uri="{FF2B5EF4-FFF2-40B4-BE49-F238E27FC236}">
                      <a16:creationId xmlns:a16="http://schemas.microsoft.com/office/drawing/2014/main" id="{13AED33A-73B0-4CF8-8E7C-E482AE8BD17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7" name="Freeform 38">
                  <a:extLst>
                    <a:ext uri="{FF2B5EF4-FFF2-40B4-BE49-F238E27FC236}">
                      <a16:creationId xmlns:a16="http://schemas.microsoft.com/office/drawing/2014/main" id="{21902428-6C16-4A53-9563-2CBD6383F088}"/>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8" name="Freeform 39">
                  <a:extLst>
                    <a:ext uri="{FF2B5EF4-FFF2-40B4-BE49-F238E27FC236}">
                      <a16:creationId xmlns:a16="http://schemas.microsoft.com/office/drawing/2014/main" id="{0C865A20-7E53-4608-93A9-10895C127E8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9" name="Freeform 40">
                  <a:extLst>
                    <a:ext uri="{FF2B5EF4-FFF2-40B4-BE49-F238E27FC236}">
                      <a16:creationId xmlns:a16="http://schemas.microsoft.com/office/drawing/2014/main" id="{4D93FEB6-AF6E-4977-8D00-9BFA689C51B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0" name="Freeform 41">
                  <a:extLst>
                    <a:ext uri="{FF2B5EF4-FFF2-40B4-BE49-F238E27FC236}">
                      <a16:creationId xmlns:a16="http://schemas.microsoft.com/office/drawing/2014/main" id="{68168044-3829-4FA8-B699-C1B96DE71BD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1" name="Line 42">
                  <a:extLst>
                    <a:ext uri="{FF2B5EF4-FFF2-40B4-BE49-F238E27FC236}">
                      <a16:creationId xmlns:a16="http://schemas.microsoft.com/office/drawing/2014/main" id="{13642081-49EB-46BD-A80A-5D9DC278693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2" name="Freeform 43">
                  <a:extLst>
                    <a:ext uri="{FF2B5EF4-FFF2-40B4-BE49-F238E27FC236}">
                      <a16:creationId xmlns:a16="http://schemas.microsoft.com/office/drawing/2014/main" id="{98C32E50-A6DA-44F7-BA5C-60135F45E7E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3" name="Freeform 44">
                  <a:extLst>
                    <a:ext uri="{FF2B5EF4-FFF2-40B4-BE49-F238E27FC236}">
                      <a16:creationId xmlns:a16="http://schemas.microsoft.com/office/drawing/2014/main" id="{1D298466-73F9-4CC0-AFAA-564C7B233608}"/>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4" name="Freeform 45">
                  <a:extLst>
                    <a:ext uri="{FF2B5EF4-FFF2-40B4-BE49-F238E27FC236}">
                      <a16:creationId xmlns:a16="http://schemas.microsoft.com/office/drawing/2014/main" id="{4F65E722-66AD-4D1A-A032-EBFE199D92D7}"/>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45" name="Group 2344">
                  <a:extLst>
                    <a:ext uri="{FF2B5EF4-FFF2-40B4-BE49-F238E27FC236}">
                      <a16:creationId xmlns:a16="http://schemas.microsoft.com/office/drawing/2014/main" id="{A5666C53-80FF-46F0-8DB8-A3070D538240}"/>
                    </a:ext>
                  </a:extLst>
                </p:cNvPr>
                <p:cNvGrpSpPr/>
                <p:nvPr/>
              </p:nvGrpSpPr>
              <p:grpSpPr>
                <a:xfrm flipV="1">
                  <a:off x="1202047" y="3517919"/>
                  <a:ext cx="178734" cy="348678"/>
                  <a:chOff x="1207113" y="2241878"/>
                  <a:chExt cx="178734" cy="348678"/>
                </a:xfrm>
              </p:grpSpPr>
              <p:sp>
                <p:nvSpPr>
                  <p:cNvPr id="2346" name="Freeform 10">
                    <a:extLst>
                      <a:ext uri="{FF2B5EF4-FFF2-40B4-BE49-F238E27FC236}">
                        <a16:creationId xmlns:a16="http://schemas.microsoft.com/office/drawing/2014/main" id="{8D484941-D0F1-4EEA-B0F7-66A92F5D8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7" name="Line 11">
                    <a:extLst>
                      <a:ext uri="{FF2B5EF4-FFF2-40B4-BE49-F238E27FC236}">
                        <a16:creationId xmlns:a16="http://schemas.microsoft.com/office/drawing/2014/main" id="{7E75D629-CDE5-45AB-BBF7-7830060F70C1}"/>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95" name="Group 2294">
              <a:extLst>
                <a:ext uri="{FF2B5EF4-FFF2-40B4-BE49-F238E27FC236}">
                  <a16:creationId xmlns:a16="http://schemas.microsoft.com/office/drawing/2014/main" id="{977426F9-49D7-4246-AE29-753723C23D83}"/>
                </a:ext>
              </a:extLst>
            </p:cNvPr>
            <p:cNvGrpSpPr>
              <a:grpSpLocks/>
            </p:cNvGrpSpPr>
            <p:nvPr/>
          </p:nvGrpSpPr>
          <p:grpSpPr>
            <a:xfrm>
              <a:off x="2714719" y="1795002"/>
              <a:ext cx="429768" cy="429768"/>
              <a:chOff x="2268747" y="4723725"/>
              <a:chExt cx="415610" cy="415612"/>
            </a:xfrm>
          </p:grpSpPr>
          <p:grpSp>
            <p:nvGrpSpPr>
              <p:cNvPr id="2296" name="Group 64">
                <a:extLst>
                  <a:ext uri="{FF2B5EF4-FFF2-40B4-BE49-F238E27FC236}">
                    <a16:creationId xmlns:a16="http://schemas.microsoft.com/office/drawing/2014/main" id="{CD61BC95-5205-4CB6-964A-F0F93DB65C76}"/>
                  </a:ext>
                </a:extLst>
              </p:cNvPr>
              <p:cNvGrpSpPr>
                <a:grpSpLocks noChangeAspect="1"/>
              </p:cNvGrpSpPr>
              <p:nvPr/>
            </p:nvGrpSpPr>
            <p:grpSpPr bwMode="auto">
              <a:xfrm rot="8100000">
                <a:off x="2268747" y="4723725"/>
                <a:ext cx="415610" cy="415612"/>
                <a:chOff x="701" y="2170"/>
                <a:chExt cx="587" cy="587"/>
              </a:xfrm>
            </p:grpSpPr>
            <p:sp>
              <p:nvSpPr>
                <p:cNvPr id="2311" name="Oval 65">
                  <a:extLst>
                    <a:ext uri="{FF2B5EF4-FFF2-40B4-BE49-F238E27FC236}">
                      <a16:creationId xmlns:a16="http://schemas.microsoft.com/office/drawing/2014/main" id="{E95E76F0-0DBD-4756-8AB1-41BCFDAEDC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2" name="Line 66">
                  <a:extLst>
                    <a:ext uri="{FF2B5EF4-FFF2-40B4-BE49-F238E27FC236}">
                      <a16:creationId xmlns:a16="http://schemas.microsoft.com/office/drawing/2014/main" id="{0EEA7B7F-BD33-4319-AFC7-A41FA6A00FF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3" name="Line 67">
                  <a:extLst>
                    <a:ext uri="{FF2B5EF4-FFF2-40B4-BE49-F238E27FC236}">
                      <a16:creationId xmlns:a16="http://schemas.microsoft.com/office/drawing/2014/main" id="{7ED66836-5179-4300-93A5-28396A1DD6C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9">
                  <a:extLst>
                    <a:ext uri="{FF2B5EF4-FFF2-40B4-BE49-F238E27FC236}">
                      <a16:creationId xmlns:a16="http://schemas.microsoft.com/office/drawing/2014/main" id="{201622C1-FF4C-4153-A72D-CC7D5F56D7D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74">
                  <a:extLst>
                    <a:ext uri="{FF2B5EF4-FFF2-40B4-BE49-F238E27FC236}">
                      <a16:creationId xmlns:a16="http://schemas.microsoft.com/office/drawing/2014/main" id="{1B885A0B-596D-4FBE-8011-DA86161A063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Freeform 78">
                  <a:extLst>
                    <a:ext uri="{FF2B5EF4-FFF2-40B4-BE49-F238E27FC236}">
                      <a16:creationId xmlns:a16="http://schemas.microsoft.com/office/drawing/2014/main" id="{DD59343D-6E88-4C6E-9314-7DDD16E7292F}"/>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80">
                  <a:extLst>
                    <a:ext uri="{FF2B5EF4-FFF2-40B4-BE49-F238E27FC236}">
                      <a16:creationId xmlns:a16="http://schemas.microsoft.com/office/drawing/2014/main" id="{47F407BB-6515-4E34-8EB6-220377727C1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97" name="Group 2296">
                <a:extLst>
                  <a:ext uri="{FF2B5EF4-FFF2-40B4-BE49-F238E27FC236}">
                    <a16:creationId xmlns:a16="http://schemas.microsoft.com/office/drawing/2014/main" id="{77D76966-B393-434A-9AC0-21C7B86AB209}"/>
                  </a:ext>
                </a:extLst>
              </p:cNvPr>
              <p:cNvGrpSpPr/>
              <p:nvPr/>
            </p:nvGrpSpPr>
            <p:grpSpPr>
              <a:xfrm>
                <a:off x="2318076" y="4830163"/>
                <a:ext cx="313949" cy="233075"/>
                <a:chOff x="3707533" y="2731244"/>
                <a:chExt cx="389644" cy="289271"/>
              </a:xfrm>
            </p:grpSpPr>
            <p:sp>
              <p:nvSpPr>
                <p:cNvPr id="2298" name="Freeform 33">
                  <a:extLst>
                    <a:ext uri="{FF2B5EF4-FFF2-40B4-BE49-F238E27FC236}">
                      <a16:creationId xmlns:a16="http://schemas.microsoft.com/office/drawing/2014/main" id="{774588ED-2271-4B77-BAC5-D55E19C4A39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4">
                  <a:extLst>
                    <a:ext uri="{FF2B5EF4-FFF2-40B4-BE49-F238E27FC236}">
                      <a16:creationId xmlns:a16="http://schemas.microsoft.com/office/drawing/2014/main" id="{642E7CBC-1697-411B-A358-1CB4FAEF63FA}"/>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7">
                  <a:extLst>
                    <a:ext uri="{FF2B5EF4-FFF2-40B4-BE49-F238E27FC236}">
                      <a16:creationId xmlns:a16="http://schemas.microsoft.com/office/drawing/2014/main" id="{AB19BBF7-2FE0-472B-A633-84A022D19486}"/>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38">
                  <a:extLst>
                    <a:ext uri="{FF2B5EF4-FFF2-40B4-BE49-F238E27FC236}">
                      <a16:creationId xmlns:a16="http://schemas.microsoft.com/office/drawing/2014/main" id="{EF579692-8DB5-47C7-BAB4-9EF0B4B72E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32">
                  <a:extLst>
                    <a:ext uri="{FF2B5EF4-FFF2-40B4-BE49-F238E27FC236}">
                      <a16:creationId xmlns:a16="http://schemas.microsoft.com/office/drawing/2014/main" id="{B0568587-49BB-428D-919D-1DF5BAFE8060}"/>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3" name="Freeform 35">
                  <a:extLst>
                    <a:ext uri="{FF2B5EF4-FFF2-40B4-BE49-F238E27FC236}">
                      <a16:creationId xmlns:a16="http://schemas.microsoft.com/office/drawing/2014/main" id="{F9A7F40F-92CB-4549-8790-2ECF4EC0086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36">
                  <a:extLst>
                    <a:ext uri="{FF2B5EF4-FFF2-40B4-BE49-F238E27FC236}">
                      <a16:creationId xmlns:a16="http://schemas.microsoft.com/office/drawing/2014/main" id="{ABED669A-4D6E-41E1-B2BA-8D2B66428BD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25">
                  <a:extLst>
                    <a:ext uri="{FF2B5EF4-FFF2-40B4-BE49-F238E27FC236}">
                      <a16:creationId xmlns:a16="http://schemas.microsoft.com/office/drawing/2014/main" id="{CC1542F3-A8A5-4B6B-953F-87E430F7E12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39">
                  <a:extLst>
                    <a:ext uri="{FF2B5EF4-FFF2-40B4-BE49-F238E27FC236}">
                      <a16:creationId xmlns:a16="http://schemas.microsoft.com/office/drawing/2014/main" id="{0E4F895C-7C44-4F2A-BBD4-24B5DE12A968}"/>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7" name="Freeform 26">
                  <a:extLst>
                    <a:ext uri="{FF2B5EF4-FFF2-40B4-BE49-F238E27FC236}">
                      <a16:creationId xmlns:a16="http://schemas.microsoft.com/office/drawing/2014/main" id="{34264F60-E1DA-444D-B773-40F79BF1757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8" name="Rectangle 27">
                  <a:extLst>
                    <a:ext uri="{FF2B5EF4-FFF2-40B4-BE49-F238E27FC236}">
                      <a16:creationId xmlns:a16="http://schemas.microsoft.com/office/drawing/2014/main" id="{1C993D86-94AA-40E6-B90F-9C0FA4859551}"/>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9" name="Line 29">
                  <a:extLst>
                    <a:ext uri="{FF2B5EF4-FFF2-40B4-BE49-F238E27FC236}">
                      <a16:creationId xmlns:a16="http://schemas.microsoft.com/office/drawing/2014/main" id="{D7CB9835-A7A9-42E4-86E0-2B9606048DA9}"/>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0" name="Line 31">
                  <a:extLst>
                    <a:ext uri="{FF2B5EF4-FFF2-40B4-BE49-F238E27FC236}">
                      <a16:creationId xmlns:a16="http://schemas.microsoft.com/office/drawing/2014/main" id="{CF312B08-C71C-4D3C-8BF2-8B8E56C9381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75" name="Group 2374">
            <a:extLst>
              <a:ext uri="{FF2B5EF4-FFF2-40B4-BE49-F238E27FC236}">
                <a16:creationId xmlns:a16="http://schemas.microsoft.com/office/drawing/2014/main" id="{6F1467A9-02D8-4628-8E0A-231D5AA2C62B}"/>
              </a:ext>
            </a:extLst>
          </p:cNvPr>
          <p:cNvGrpSpPr/>
          <p:nvPr/>
        </p:nvGrpSpPr>
        <p:grpSpPr>
          <a:xfrm>
            <a:off x="10069943" y="2131578"/>
            <a:ext cx="1723479" cy="3110477"/>
            <a:chOff x="10072567" y="2269503"/>
            <a:chExt cx="1723928" cy="3111287"/>
          </a:xfrm>
        </p:grpSpPr>
        <p:grpSp>
          <p:nvGrpSpPr>
            <p:cNvPr id="2376" name="Group 2375">
              <a:extLst>
                <a:ext uri="{FF2B5EF4-FFF2-40B4-BE49-F238E27FC236}">
                  <a16:creationId xmlns:a16="http://schemas.microsoft.com/office/drawing/2014/main" id="{1DC8F8AB-AE6B-433A-A8B6-B8D11DEB0C6C}"/>
                </a:ext>
              </a:extLst>
            </p:cNvPr>
            <p:cNvGrpSpPr/>
            <p:nvPr/>
          </p:nvGrpSpPr>
          <p:grpSpPr>
            <a:xfrm>
              <a:off x="10075218" y="2269503"/>
              <a:ext cx="1586257" cy="2254230"/>
              <a:chOff x="9895314" y="2107193"/>
              <a:chExt cx="1590306" cy="2259985"/>
            </a:xfrm>
          </p:grpSpPr>
          <p:grpSp>
            <p:nvGrpSpPr>
              <p:cNvPr id="2378" name="Group 2377">
                <a:extLst>
                  <a:ext uri="{FF2B5EF4-FFF2-40B4-BE49-F238E27FC236}">
                    <a16:creationId xmlns:a16="http://schemas.microsoft.com/office/drawing/2014/main" id="{623370E1-0EE5-47AB-8332-21F6C5A14921}"/>
                  </a:ext>
                </a:extLst>
              </p:cNvPr>
              <p:cNvGrpSpPr/>
              <p:nvPr/>
            </p:nvGrpSpPr>
            <p:grpSpPr>
              <a:xfrm>
                <a:off x="9895314" y="2107193"/>
                <a:ext cx="1231250" cy="1189486"/>
                <a:chOff x="7839761" y="1053755"/>
                <a:chExt cx="927651" cy="896185"/>
              </a:xfrm>
            </p:grpSpPr>
            <p:sp>
              <p:nvSpPr>
                <p:cNvPr id="2495" name="TextBox 2494">
                  <a:extLst>
                    <a:ext uri="{FF2B5EF4-FFF2-40B4-BE49-F238E27FC236}">
                      <a16:creationId xmlns:a16="http://schemas.microsoft.com/office/drawing/2014/main" id="{2B5C86AA-9CC3-4F04-ACEF-B1D5B6EC2660}"/>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96" name="Group 2495">
                  <a:extLst>
                    <a:ext uri="{FF2B5EF4-FFF2-40B4-BE49-F238E27FC236}">
                      <a16:creationId xmlns:a16="http://schemas.microsoft.com/office/drawing/2014/main" id="{8C26EEF5-93D4-4A65-B29B-EC31AAC0809F}"/>
                    </a:ext>
                  </a:extLst>
                </p:cNvPr>
                <p:cNvGrpSpPr/>
                <p:nvPr/>
              </p:nvGrpSpPr>
              <p:grpSpPr>
                <a:xfrm>
                  <a:off x="7839761" y="1053755"/>
                  <a:ext cx="927651" cy="523122"/>
                  <a:chOff x="7839761" y="1053755"/>
                  <a:chExt cx="927651" cy="523122"/>
                </a:xfrm>
              </p:grpSpPr>
              <p:sp>
                <p:nvSpPr>
                  <p:cNvPr id="2497" name="Line 66">
                    <a:extLst>
                      <a:ext uri="{FF2B5EF4-FFF2-40B4-BE49-F238E27FC236}">
                        <a16:creationId xmlns:a16="http://schemas.microsoft.com/office/drawing/2014/main" id="{0E224E35-D40B-455A-AFEE-E49F9072283B}"/>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8" name="Line 67">
                    <a:extLst>
                      <a:ext uri="{FF2B5EF4-FFF2-40B4-BE49-F238E27FC236}">
                        <a16:creationId xmlns:a16="http://schemas.microsoft.com/office/drawing/2014/main" id="{A03376AC-A659-4F26-8483-005FC5AE5A93}"/>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9" name="Line 74">
                    <a:extLst>
                      <a:ext uri="{FF2B5EF4-FFF2-40B4-BE49-F238E27FC236}">
                        <a16:creationId xmlns:a16="http://schemas.microsoft.com/office/drawing/2014/main" id="{B113259C-5FF6-49BF-AC35-2173978239E0}"/>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0" name="Freeform 78">
                    <a:extLst>
                      <a:ext uri="{FF2B5EF4-FFF2-40B4-BE49-F238E27FC236}">
                        <a16:creationId xmlns:a16="http://schemas.microsoft.com/office/drawing/2014/main" id="{5BD90649-4991-47E5-B8F3-F8037F170692}"/>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1" name="Freeform 80">
                    <a:extLst>
                      <a:ext uri="{FF2B5EF4-FFF2-40B4-BE49-F238E27FC236}">
                        <a16:creationId xmlns:a16="http://schemas.microsoft.com/office/drawing/2014/main" id="{D1CAD3D0-0D25-40C2-A571-37DE7AC28529}"/>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2" name="Freeform 1575">
                    <a:extLst>
                      <a:ext uri="{FF2B5EF4-FFF2-40B4-BE49-F238E27FC236}">
                        <a16:creationId xmlns:a16="http://schemas.microsoft.com/office/drawing/2014/main" id="{E6E84BBC-EFDA-4D72-A9BF-F47A363D42FD}"/>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3" name="Freeform 1576">
                    <a:extLst>
                      <a:ext uri="{FF2B5EF4-FFF2-40B4-BE49-F238E27FC236}">
                        <a16:creationId xmlns:a16="http://schemas.microsoft.com/office/drawing/2014/main" id="{0C3B113C-0F6E-4C13-A033-92217B0A1095}"/>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4" name="Freeform 1577">
                    <a:extLst>
                      <a:ext uri="{FF2B5EF4-FFF2-40B4-BE49-F238E27FC236}">
                        <a16:creationId xmlns:a16="http://schemas.microsoft.com/office/drawing/2014/main" id="{906AA8A8-61F8-406E-86B6-9E0C936E1928}"/>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5" name="Freeform 1578">
                    <a:extLst>
                      <a:ext uri="{FF2B5EF4-FFF2-40B4-BE49-F238E27FC236}">
                        <a16:creationId xmlns:a16="http://schemas.microsoft.com/office/drawing/2014/main" id="{FD189EDA-48F5-453D-8537-3BD14ADB6F13}"/>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6" name="Freeform 1579">
                    <a:extLst>
                      <a:ext uri="{FF2B5EF4-FFF2-40B4-BE49-F238E27FC236}">
                        <a16:creationId xmlns:a16="http://schemas.microsoft.com/office/drawing/2014/main" id="{987BD3C4-011F-4DC5-9256-BC3588BE125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7" name="Freeform 1580">
                    <a:extLst>
                      <a:ext uri="{FF2B5EF4-FFF2-40B4-BE49-F238E27FC236}">
                        <a16:creationId xmlns:a16="http://schemas.microsoft.com/office/drawing/2014/main" id="{C38B3F0C-BEE2-49FE-91AA-85DF9E9CF6B7}"/>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1581">
                    <a:extLst>
                      <a:ext uri="{FF2B5EF4-FFF2-40B4-BE49-F238E27FC236}">
                        <a16:creationId xmlns:a16="http://schemas.microsoft.com/office/drawing/2014/main" id="{A6A4202D-3106-45AB-8DB8-2AA74310A335}"/>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Freeform 1582">
                    <a:extLst>
                      <a:ext uri="{FF2B5EF4-FFF2-40B4-BE49-F238E27FC236}">
                        <a16:creationId xmlns:a16="http://schemas.microsoft.com/office/drawing/2014/main" id="{F19890FB-8396-4D00-A965-D64B63D8DAA4}"/>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1583">
                    <a:extLst>
                      <a:ext uri="{FF2B5EF4-FFF2-40B4-BE49-F238E27FC236}">
                        <a16:creationId xmlns:a16="http://schemas.microsoft.com/office/drawing/2014/main" id="{066D9041-8CA4-4BC1-9BF9-776CB6CEEF6B}"/>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Freeform 1584">
                    <a:extLst>
                      <a:ext uri="{FF2B5EF4-FFF2-40B4-BE49-F238E27FC236}">
                        <a16:creationId xmlns:a16="http://schemas.microsoft.com/office/drawing/2014/main" id="{B7ACFD54-9997-428F-9FF7-A05FB26DAD68}"/>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2" name="Freeform 1585">
                    <a:extLst>
                      <a:ext uri="{FF2B5EF4-FFF2-40B4-BE49-F238E27FC236}">
                        <a16:creationId xmlns:a16="http://schemas.microsoft.com/office/drawing/2014/main" id="{7E524910-857F-4B0C-81B8-18455967030C}"/>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3" name="Freeform 1586">
                    <a:extLst>
                      <a:ext uri="{FF2B5EF4-FFF2-40B4-BE49-F238E27FC236}">
                        <a16:creationId xmlns:a16="http://schemas.microsoft.com/office/drawing/2014/main" id="{F4CDAA51-7536-491C-A8AD-92C85B25BBCF}"/>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4" name="Freeform 1587">
                    <a:extLst>
                      <a:ext uri="{FF2B5EF4-FFF2-40B4-BE49-F238E27FC236}">
                        <a16:creationId xmlns:a16="http://schemas.microsoft.com/office/drawing/2014/main" id="{DE24308F-F7A4-46A9-8BCA-1E51617EF7F1}"/>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588">
                    <a:extLst>
                      <a:ext uri="{FF2B5EF4-FFF2-40B4-BE49-F238E27FC236}">
                        <a16:creationId xmlns:a16="http://schemas.microsoft.com/office/drawing/2014/main" id="{76DA9D8C-3ED5-4B0D-B245-088818574980}"/>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6" name="Rectangle 1589">
                    <a:extLst>
                      <a:ext uri="{FF2B5EF4-FFF2-40B4-BE49-F238E27FC236}">
                        <a16:creationId xmlns:a16="http://schemas.microsoft.com/office/drawing/2014/main" id="{C14E9EAF-EF9F-4819-950B-7295F7DB2A0D}"/>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Rectangle 1590">
                    <a:extLst>
                      <a:ext uri="{FF2B5EF4-FFF2-40B4-BE49-F238E27FC236}">
                        <a16:creationId xmlns:a16="http://schemas.microsoft.com/office/drawing/2014/main" id="{5508DBB9-AD3D-437A-8278-15DEA1E525D4}"/>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Freeform 1591">
                    <a:extLst>
                      <a:ext uri="{FF2B5EF4-FFF2-40B4-BE49-F238E27FC236}">
                        <a16:creationId xmlns:a16="http://schemas.microsoft.com/office/drawing/2014/main" id="{2440E61C-F620-413F-BB77-CFA9A52F4F3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592">
                    <a:extLst>
                      <a:ext uri="{FF2B5EF4-FFF2-40B4-BE49-F238E27FC236}">
                        <a16:creationId xmlns:a16="http://schemas.microsoft.com/office/drawing/2014/main" id="{7057E6AA-F9D0-44DE-AB10-A4A38C36FC68}"/>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Freeform 1593">
                    <a:extLst>
                      <a:ext uri="{FF2B5EF4-FFF2-40B4-BE49-F238E27FC236}">
                        <a16:creationId xmlns:a16="http://schemas.microsoft.com/office/drawing/2014/main" id="{35E71B75-4768-4FE9-872F-A274CF9261A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1594">
                    <a:extLst>
                      <a:ext uri="{FF2B5EF4-FFF2-40B4-BE49-F238E27FC236}">
                        <a16:creationId xmlns:a16="http://schemas.microsoft.com/office/drawing/2014/main" id="{EF528B88-3CD9-44E2-9CD9-C01C473590E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1595">
                    <a:extLst>
                      <a:ext uri="{FF2B5EF4-FFF2-40B4-BE49-F238E27FC236}">
                        <a16:creationId xmlns:a16="http://schemas.microsoft.com/office/drawing/2014/main" id="{6CE53CB9-B37D-4FAC-B97F-6CB6C32EEDD7}"/>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1596">
                    <a:extLst>
                      <a:ext uri="{FF2B5EF4-FFF2-40B4-BE49-F238E27FC236}">
                        <a16:creationId xmlns:a16="http://schemas.microsoft.com/office/drawing/2014/main" id="{406DA41B-327E-428A-B582-B847772A731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1672">
                    <a:extLst>
                      <a:ext uri="{FF2B5EF4-FFF2-40B4-BE49-F238E27FC236}">
                        <a16:creationId xmlns:a16="http://schemas.microsoft.com/office/drawing/2014/main" id="{EEB6D1B7-F3A3-4CBA-AA02-F7111F0C72A3}"/>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1673">
                    <a:extLst>
                      <a:ext uri="{FF2B5EF4-FFF2-40B4-BE49-F238E27FC236}">
                        <a16:creationId xmlns:a16="http://schemas.microsoft.com/office/drawing/2014/main" id="{5DA7DB5A-278D-4824-95B5-A875DCE53CF4}"/>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1674">
                    <a:extLst>
                      <a:ext uri="{FF2B5EF4-FFF2-40B4-BE49-F238E27FC236}">
                        <a16:creationId xmlns:a16="http://schemas.microsoft.com/office/drawing/2014/main" id="{1C08B6AF-5978-466D-AB6F-519B8F01DF2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1675">
                    <a:extLst>
                      <a:ext uri="{FF2B5EF4-FFF2-40B4-BE49-F238E27FC236}">
                        <a16:creationId xmlns:a16="http://schemas.microsoft.com/office/drawing/2014/main" id="{0ED064DC-5FD5-4FD4-B5B6-E7BE9F213E3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Freeform 1676">
                    <a:extLst>
                      <a:ext uri="{FF2B5EF4-FFF2-40B4-BE49-F238E27FC236}">
                        <a16:creationId xmlns:a16="http://schemas.microsoft.com/office/drawing/2014/main" id="{606C1274-9CF4-4E82-9E39-9DBD4E01FD2F}"/>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1677">
                    <a:extLst>
                      <a:ext uri="{FF2B5EF4-FFF2-40B4-BE49-F238E27FC236}">
                        <a16:creationId xmlns:a16="http://schemas.microsoft.com/office/drawing/2014/main" id="{120B60DA-7145-4E84-A5FB-1A6ED91742A6}"/>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1678">
                    <a:extLst>
                      <a:ext uri="{FF2B5EF4-FFF2-40B4-BE49-F238E27FC236}">
                        <a16:creationId xmlns:a16="http://schemas.microsoft.com/office/drawing/2014/main" id="{2F3C57A9-149C-4186-82D2-0DC34FABBD0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1679">
                    <a:extLst>
                      <a:ext uri="{FF2B5EF4-FFF2-40B4-BE49-F238E27FC236}">
                        <a16:creationId xmlns:a16="http://schemas.microsoft.com/office/drawing/2014/main" id="{6F19BB5F-DF1A-4C17-9A44-A37C9E2BACBD}"/>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2" name="Freeform 1680">
                    <a:extLst>
                      <a:ext uri="{FF2B5EF4-FFF2-40B4-BE49-F238E27FC236}">
                        <a16:creationId xmlns:a16="http://schemas.microsoft.com/office/drawing/2014/main" id="{C006D238-3871-4A33-8ECC-85C842037FA0}"/>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3" name="Freeform 1681">
                    <a:extLst>
                      <a:ext uri="{FF2B5EF4-FFF2-40B4-BE49-F238E27FC236}">
                        <a16:creationId xmlns:a16="http://schemas.microsoft.com/office/drawing/2014/main" id="{7DB52A53-C52A-49D8-AB62-5B1D875DAD0E}"/>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Freeform 1682">
                    <a:extLst>
                      <a:ext uri="{FF2B5EF4-FFF2-40B4-BE49-F238E27FC236}">
                        <a16:creationId xmlns:a16="http://schemas.microsoft.com/office/drawing/2014/main" id="{DFADAF61-ED1C-4D69-BFA7-B1CE935D06D5}"/>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5" name="Freeform 1683">
                    <a:extLst>
                      <a:ext uri="{FF2B5EF4-FFF2-40B4-BE49-F238E27FC236}">
                        <a16:creationId xmlns:a16="http://schemas.microsoft.com/office/drawing/2014/main" id="{1B19035F-772E-41B6-AC46-B68359E2381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Freeform 1684">
                    <a:extLst>
                      <a:ext uri="{FF2B5EF4-FFF2-40B4-BE49-F238E27FC236}">
                        <a16:creationId xmlns:a16="http://schemas.microsoft.com/office/drawing/2014/main" id="{24CC6228-E00E-4974-A16B-DF6291FF7CEA}"/>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7" name="Freeform 1685">
                    <a:extLst>
                      <a:ext uri="{FF2B5EF4-FFF2-40B4-BE49-F238E27FC236}">
                        <a16:creationId xmlns:a16="http://schemas.microsoft.com/office/drawing/2014/main" id="{0AB8C672-7589-4662-9568-C9026C70150B}"/>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8" name="Freeform 1686">
                    <a:extLst>
                      <a:ext uri="{FF2B5EF4-FFF2-40B4-BE49-F238E27FC236}">
                        <a16:creationId xmlns:a16="http://schemas.microsoft.com/office/drawing/2014/main" id="{137E2898-2856-4E69-A9B8-E6A773010EB4}"/>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Freeform 1687">
                    <a:extLst>
                      <a:ext uri="{FF2B5EF4-FFF2-40B4-BE49-F238E27FC236}">
                        <a16:creationId xmlns:a16="http://schemas.microsoft.com/office/drawing/2014/main" id="{0B3AE3E3-E30E-48D8-955D-200133453EE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Freeform 1688">
                    <a:extLst>
                      <a:ext uri="{FF2B5EF4-FFF2-40B4-BE49-F238E27FC236}">
                        <a16:creationId xmlns:a16="http://schemas.microsoft.com/office/drawing/2014/main" id="{A03D8CE0-AC06-434A-B4F0-DD1CC2DB12D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Freeform 1689">
                    <a:extLst>
                      <a:ext uri="{FF2B5EF4-FFF2-40B4-BE49-F238E27FC236}">
                        <a16:creationId xmlns:a16="http://schemas.microsoft.com/office/drawing/2014/main" id="{A1FC801A-06A8-4A68-A010-ED5D9059BFFB}"/>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1690">
                    <a:extLst>
                      <a:ext uri="{FF2B5EF4-FFF2-40B4-BE49-F238E27FC236}">
                        <a16:creationId xmlns:a16="http://schemas.microsoft.com/office/drawing/2014/main" id="{940E5F70-E120-4DC4-A6BA-A6C5EBB76A3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1691">
                    <a:extLst>
                      <a:ext uri="{FF2B5EF4-FFF2-40B4-BE49-F238E27FC236}">
                        <a16:creationId xmlns:a16="http://schemas.microsoft.com/office/drawing/2014/main" id="{5801D90A-78A1-461A-8281-0DAC5E59FC39}"/>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4" name="Freeform 1692">
                    <a:extLst>
                      <a:ext uri="{FF2B5EF4-FFF2-40B4-BE49-F238E27FC236}">
                        <a16:creationId xmlns:a16="http://schemas.microsoft.com/office/drawing/2014/main" id="{8DEDFF0A-AA68-4F37-BF22-AC5D76E6203C}"/>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5" name="Freeform 1693">
                    <a:extLst>
                      <a:ext uri="{FF2B5EF4-FFF2-40B4-BE49-F238E27FC236}">
                        <a16:creationId xmlns:a16="http://schemas.microsoft.com/office/drawing/2014/main" id="{8A2D3678-EA8F-43D6-883B-78F9A6F214CF}"/>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6" name="Freeform 1694">
                    <a:extLst>
                      <a:ext uri="{FF2B5EF4-FFF2-40B4-BE49-F238E27FC236}">
                        <a16:creationId xmlns:a16="http://schemas.microsoft.com/office/drawing/2014/main" id="{00C644A8-0EAA-459D-A99A-0A8D02C4043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7" name="Freeform 1695">
                    <a:extLst>
                      <a:ext uri="{FF2B5EF4-FFF2-40B4-BE49-F238E27FC236}">
                        <a16:creationId xmlns:a16="http://schemas.microsoft.com/office/drawing/2014/main" id="{2D063084-7BD1-490F-9EFA-026B81E8E93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8" name="Freeform 1696">
                    <a:extLst>
                      <a:ext uri="{FF2B5EF4-FFF2-40B4-BE49-F238E27FC236}">
                        <a16:creationId xmlns:a16="http://schemas.microsoft.com/office/drawing/2014/main" id="{8AA07749-EDF2-4D1E-B769-62D70B52FF61}"/>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9" name="Freeform 1697">
                    <a:extLst>
                      <a:ext uri="{FF2B5EF4-FFF2-40B4-BE49-F238E27FC236}">
                        <a16:creationId xmlns:a16="http://schemas.microsoft.com/office/drawing/2014/main" id="{B8E4AEED-E90F-471B-80BD-F209EA7E695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79" name="Group 2378">
                <a:extLst>
                  <a:ext uri="{FF2B5EF4-FFF2-40B4-BE49-F238E27FC236}">
                    <a16:creationId xmlns:a16="http://schemas.microsoft.com/office/drawing/2014/main" id="{E969343E-FE02-4A98-A837-76C025B194A4}"/>
                  </a:ext>
                </a:extLst>
              </p:cNvPr>
              <p:cNvGrpSpPr/>
              <p:nvPr/>
            </p:nvGrpSpPr>
            <p:grpSpPr>
              <a:xfrm>
                <a:off x="10074842" y="2518176"/>
                <a:ext cx="1231250" cy="1313698"/>
                <a:chOff x="12023909" y="2412144"/>
                <a:chExt cx="1231250" cy="1313698"/>
              </a:xfrm>
            </p:grpSpPr>
            <p:sp>
              <p:nvSpPr>
                <p:cNvPr id="2438" name="Rectangle: Rounded Corners 2437">
                  <a:extLst>
                    <a:ext uri="{FF2B5EF4-FFF2-40B4-BE49-F238E27FC236}">
                      <a16:creationId xmlns:a16="http://schemas.microsoft.com/office/drawing/2014/main" id="{AF1D7B56-D8AF-48E0-B06C-43FADC544F4A}"/>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439" name="Group 2438">
                  <a:extLst>
                    <a:ext uri="{FF2B5EF4-FFF2-40B4-BE49-F238E27FC236}">
                      <a16:creationId xmlns:a16="http://schemas.microsoft.com/office/drawing/2014/main" id="{F3F64A8B-8607-4FB2-B715-FEFF086181DD}"/>
                    </a:ext>
                  </a:extLst>
                </p:cNvPr>
                <p:cNvGrpSpPr/>
                <p:nvPr/>
              </p:nvGrpSpPr>
              <p:grpSpPr>
                <a:xfrm>
                  <a:off x="12023909" y="2526190"/>
                  <a:ext cx="1231250" cy="1189484"/>
                  <a:chOff x="7839761" y="1053755"/>
                  <a:chExt cx="927651" cy="896184"/>
                </a:xfrm>
              </p:grpSpPr>
              <p:sp>
                <p:nvSpPr>
                  <p:cNvPr id="2440" name="TextBox 2439">
                    <a:extLst>
                      <a:ext uri="{FF2B5EF4-FFF2-40B4-BE49-F238E27FC236}">
                        <a16:creationId xmlns:a16="http://schemas.microsoft.com/office/drawing/2014/main" id="{3327D23B-27C1-421E-99D4-C1A996F7657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41" name="Group 2440">
                    <a:extLst>
                      <a:ext uri="{FF2B5EF4-FFF2-40B4-BE49-F238E27FC236}">
                        <a16:creationId xmlns:a16="http://schemas.microsoft.com/office/drawing/2014/main" id="{4B634D41-D14B-40C1-BB74-499871B2FC76}"/>
                      </a:ext>
                    </a:extLst>
                  </p:cNvPr>
                  <p:cNvGrpSpPr/>
                  <p:nvPr/>
                </p:nvGrpSpPr>
                <p:grpSpPr>
                  <a:xfrm>
                    <a:off x="7839761" y="1053755"/>
                    <a:ext cx="927651" cy="523122"/>
                    <a:chOff x="7839761" y="1053755"/>
                    <a:chExt cx="927651" cy="523122"/>
                  </a:xfrm>
                </p:grpSpPr>
                <p:sp>
                  <p:nvSpPr>
                    <p:cNvPr id="2442" name="Line 66">
                      <a:extLst>
                        <a:ext uri="{FF2B5EF4-FFF2-40B4-BE49-F238E27FC236}">
                          <a16:creationId xmlns:a16="http://schemas.microsoft.com/office/drawing/2014/main" id="{F5E51A6D-3E23-497F-960D-91F3100205FC}"/>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3" name="Line 67">
                      <a:extLst>
                        <a:ext uri="{FF2B5EF4-FFF2-40B4-BE49-F238E27FC236}">
                          <a16:creationId xmlns:a16="http://schemas.microsoft.com/office/drawing/2014/main" id="{9A1084EF-6AC6-46D1-ADB8-0959755A978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4" name="Line 74">
                      <a:extLst>
                        <a:ext uri="{FF2B5EF4-FFF2-40B4-BE49-F238E27FC236}">
                          <a16:creationId xmlns:a16="http://schemas.microsoft.com/office/drawing/2014/main" id="{E8DF8C03-69F7-47B6-B324-97B05FD1F52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5" name="Freeform 78">
                      <a:extLst>
                        <a:ext uri="{FF2B5EF4-FFF2-40B4-BE49-F238E27FC236}">
                          <a16:creationId xmlns:a16="http://schemas.microsoft.com/office/drawing/2014/main" id="{65C78AE3-8C32-4749-B291-0C436B3C6571}"/>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6" name="Freeform 80">
                      <a:extLst>
                        <a:ext uri="{FF2B5EF4-FFF2-40B4-BE49-F238E27FC236}">
                          <a16:creationId xmlns:a16="http://schemas.microsoft.com/office/drawing/2014/main" id="{290E3A86-DD1C-48B6-8F04-11482055EB9A}"/>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7" name="Freeform 1575">
                      <a:extLst>
                        <a:ext uri="{FF2B5EF4-FFF2-40B4-BE49-F238E27FC236}">
                          <a16:creationId xmlns:a16="http://schemas.microsoft.com/office/drawing/2014/main" id="{4D25363C-0392-40A4-8E92-E9105D07319B}"/>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8" name="Freeform 1576">
                      <a:extLst>
                        <a:ext uri="{FF2B5EF4-FFF2-40B4-BE49-F238E27FC236}">
                          <a16:creationId xmlns:a16="http://schemas.microsoft.com/office/drawing/2014/main" id="{372228A8-2FAD-46C2-967D-53DA75D225D6}"/>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9" name="Freeform 1577">
                      <a:extLst>
                        <a:ext uri="{FF2B5EF4-FFF2-40B4-BE49-F238E27FC236}">
                          <a16:creationId xmlns:a16="http://schemas.microsoft.com/office/drawing/2014/main" id="{9001955B-529A-4328-9727-B4E94AB0CCF4}"/>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0" name="Freeform 1578">
                      <a:extLst>
                        <a:ext uri="{FF2B5EF4-FFF2-40B4-BE49-F238E27FC236}">
                          <a16:creationId xmlns:a16="http://schemas.microsoft.com/office/drawing/2014/main" id="{367FED26-485B-44A7-AFB0-3D07A0991A44}"/>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1" name="Freeform 1579">
                      <a:extLst>
                        <a:ext uri="{FF2B5EF4-FFF2-40B4-BE49-F238E27FC236}">
                          <a16:creationId xmlns:a16="http://schemas.microsoft.com/office/drawing/2014/main" id="{79A14E87-7915-484B-8ECA-E9E33B3FCB7F}"/>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2" name="Freeform 1580">
                      <a:extLst>
                        <a:ext uri="{FF2B5EF4-FFF2-40B4-BE49-F238E27FC236}">
                          <a16:creationId xmlns:a16="http://schemas.microsoft.com/office/drawing/2014/main" id="{DF3D1265-054C-44D6-B385-F87F62B6D3E1}"/>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3" name="Freeform 1581">
                      <a:extLst>
                        <a:ext uri="{FF2B5EF4-FFF2-40B4-BE49-F238E27FC236}">
                          <a16:creationId xmlns:a16="http://schemas.microsoft.com/office/drawing/2014/main" id="{70EE5B1B-F9C2-4E19-9A49-1F8B6A40B9B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4" name="Freeform 1582">
                      <a:extLst>
                        <a:ext uri="{FF2B5EF4-FFF2-40B4-BE49-F238E27FC236}">
                          <a16:creationId xmlns:a16="http://schemas.microsoft.com/office/drawing/2014/main" id="{8EEEA3AD-BA02-474E-A2D4-4E79F4AB7E9F}"/>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5" name="Freeform 1583">
                      <a:extLst>
                        <a:ext uri="{FF2B5EF4-FFF2-40B4-BE49-F238E27FC236}">
                          <a16:creationId xmlns:a16="http://schemas.microsoft.com/office/drawing/2014/main" id="{C83DF9B3-EEB3-4B7A-ADB7-247B6F43CB5C}"/>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6" name="Freeform 1584">
                      <a:extLst>
                        <a:ext uri="{FF2B5EF4-FFF2-40B4-BE49-F238E27FC236}">
                          <a16:creationId xmlns:a16="http://schemas.microsoft.com/office/drawing/2014/main" id="{7DBFC115-239D-46BC-8476-CDF3CBC4F242}"/>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7" name="Freeform 1585">
                      <a:extLst>
                        <a:ext uri="{FF2B5EF4-FFF2-40B4-BE49-F238E27FC236}">
                          <a16:creationId xmlns:a16="http://schemas.microsoft.com/office/drawing/2014/main" id="{FBAAAA0E-0BD0-4052-87C1-C3DF25B1A12B}"/>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8" name="Freeform 1586">
                      <a:extLst>
                        <a:ext uri="{FF2B5EF4-FFF2-40B4-BE49-F238E27FC236}">
                          <a16:creationId xmlns:a16="http://schemas.microsoft.com/office/drawing/2014/main" id="{3933F2A8-7231-4F1B-9C7E-36B3799E9F4B}"/>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9" name="Freeform 1587">
                      <a:extLst>
                        <a:ext uri="{FF2B5EF4-FFF2-40B4-BE49-F238E27FC236}">
                          <a16:creationId xmlns:a16="http://schemas.microsoft.com/office/drawing/2014/main" id="{BAFB11BC-52C2-436A-9077-F649BD16CF75}"/>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0" name="Freeform 1588">
                      <a:extLst>
                        <a:ext uri="{FF2B5EF4-FFF2-40B4-BE49-F238E27FC236}">
                          <a16:creationId xmlns:a16="http://schemas.microsoft.com/office/drawing/2014/main" id="{EABE68F3-BCB1-4041-91B3-FBEA389EC54E}"/>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1" name="Rectangle 1589">
                      <a:extLst>
                        <a:ext uri="{FF2B5EF4-FFF2-40B4-BE49-F238E27FC236}">
                          <a16:creationId xmlns:a16="http://schemas.microsoft.com/office/drawing/2014/main" id="{6CB652D6-C859-453B-BE90-EC3CCE2F1199}"/>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2" name="Rectangle 1590">
                      <a:extLst>
                        <a:ext uri="{FF2B5EF4-FFF2-40B4-BE49-F238E27FC236}">
                          <a16:creationId xmlns:a16="http://schemas.microsoft.com/office/drawing/2014/main" id="{3F5C6005-5BF3-43EC-AAB3-B090C234307F}"/>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3" name="Freeform 1591">
                      <a:extLst>
                        <a:ext uri="{FF2B5EF4-FFF2-40B4-BE49-F238E27FC236}">
                          <a16:creationId xmlns:a16="http://schemas.microsoft.com/office/drawing/2014/main" id="{447DD01B-7F71-4ED5-BD98-28B7C8389FFD}"/>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4" name="Freeform 1592">
                      <a:extLst>
                        <a:ext uri="{FF2B5EF4-FFF2-40B4-BE49-F238E27FC236}">
                          <a16:creationId xmlns:a16="http://schemas.microsoft.com/office/drawing/2014/main" id="{91FF6244-B972-4656-8AF5-251EBC11F35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5" name="Freeform 1593">
                      <a:extLst>
                        <a:ext uri="{FF2B5EF4-FFF2-40B4-BE49-F238E27FC236}">
                          <a16:creationId xmlns:a16="http://schemas.microsoft.com/office/drawing/2014/main" id="{3D5419D9-F8A1-4D29-AC50-8AFB43383C42}"/>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6" name="Freeform 1594">
                      <a:extLst>
                        <a:ext uri="{FF2B5EF4-FFF2-40B4-BE49-F238E27FC236}">
                          <a16:creationId xmlns:a16="http://schemas.microsoft.com/office/drawing/2014/main" id="{405EEF72-27B4-4E31-BB01-550DAAE44DDD}"/>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7" name="Freeform 1595">
                      <a:extLst>
                        <a:ext uri="{FF2B5EF4-FFF2-40B4-BE49-F238E27FC236}">
                          <a16:creationId xmlns:a16="http://schemas.microsoft.com/office/drawing/2014/main" id="{368D6F56-D422-4CFA-AD1F-D235E7D84DC9}"/>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8" name="Freeform 1596">
                      <a:extLst>
                        <a:ext uri="{FF2B5EF4-FFF2-40B4-BE49-F238E27FC236}">
                          <a16:creationId xmlns:a16="http://schemas.microsoft.com/office/drawing/2014/main" id="{C735E8E0-ACEB-41EA-BBF4-5E69AC3B4B1E}"/>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9" name="Freeform 1672">
                      <a:extLst>
                        <a:ext uri="{FF2B5EF4-FFF2-40B4-BE49-F238E27FC236}">
                          <a16:creationId xmlns:a16="http://schemas.microsoft.com/office/drawing/2014/main" id="{025C8503-9480-42F8-88F9-3BDB42B929EB}"/>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0" name="Freeform 1673">
                      <a:extLst>
                        <a:ext uri="{FF2B5EF4-FFF2-40B4-BE49-F238E27FC236}">
                          <a16:creationId xmlns:a16="http://schemas.microsoft.com/office/drawing/2014/main" id="{B4AADBD9-1F84-49EA-969A-DBA7F4EBE787}"/>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1" name="Freeform 1674">
                      <a:extLst>
                        <a:ext uri="{FF2B5EF4-FFF2-40B4-BE49-F238E27FC236}">
                          <a16:creationId xmlns:a16="http://schemas.microsoft.com/office/drawing/2014/main" id="{0CDB8C3D-FF11-44B0-8D44-6F89F2923628}"/>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2" name="Freeform 1675">
                      <a:extLst>
                        <a:ext uri="{FF2B5EF4-FFF2-40B4-BE49-F238E27FC236}">
                          <a16:creationId xmlns:a16="http://schemas.microsoft.com/office/drawing/2014/main" id="{C6331B20-B547-44C9-A78B-4A58170187EE}"/>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3" name="Freeform 1676">
                      <a:extLst>
                        <a:ext uri="{FF2B5EF4-FFF2-40B4-BE49-F238E27FC236}">
                          <a16:creationId xmlns:a16="http://schemas.microsoft.com/office/drawing/2014/main" id="{C2EB9BEC-836E-4DA9-AB08-5FBD1CEAB4BE}"/>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4" name="Freeform 1677">
                      <a:extLst>
                        <a:ext uri="{FF2B5EF4-FFF2-40B4-BE49-F238E27FC236}">
                          <a16:creationId xmlns:a16="http://schemas.microsoft.com/office/drawing/2014/main" id="{147C919C-61E7-45F9-B412-FA216C18E83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5" name="Freeform 1678">
                      <a:extLst>
                        <a:ext uri="{FF2B5EF4-FFF2-40B4-BE49-F238E27FC236}">
                          <a16:creationId xmlns:a16="http://schemas.microsoft.com/office/drawing/2014/main" id="{822E146F-A8A0-40EE-A439-5F00E90CFD6C}"/>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6" name="Freeform 1679">
                      <a:extLst>
                        <a:ext uri="{FF2B5EF4-FFF2-40B4-BE49-F238E27FC236}">
                          <a16:creationId xmlns:a16="http://schemas.microsoft.com/office/drawing/2014/main" id="{C5FB7257-596D-4586-8FF2-6792E533A7E7}"/>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7" name="Freeform 1680">
                      <a:extLst>
                        <a:ext uri="{FF2B5EF4-FFF2-40B4-BE49-F238E27FC236}">
                          <a16:creationId xmlns:a16="http://schemas.microsoft.com/office/drawing/2014/main" id="{D3B8E644-AAF4-4A9D-9F52-D1BA042A38EA}"/>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8" name="Freeform 1681">
                      <a:extLst>
                        <a:ext uri="{FF2B5EF4-FFF2-40B4-BE49-F238E27FC236}">
                          <a16:creationId xmlns:a16="http://schemas.microsoft.com/office/drawing/2014/main" id="{2C94F140-481A-4267-B496-6DC7E874F8EB}"/>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9" name="Freeform 1682">
                      <a:extLst>
                        <a:ext uri="{FF2B5EF4-FFF2-40B4-BE49-F238E27FC236}">
                          <a16:creationId xmlns:a16="http://schemas.microsoft.com/office/drawing/2014/main" id="{7A1A22FB-94D1-4011-A1BD-7DBE818657A3}"/>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0" name="Freeform 1683">
                      <a:extLst>
                        <a:ext uri="{FF2B5EF4-FFF2-40B4-BE49-F238E27FC236}">
                          <a16:creationId xmlns:a16="http://schemas.microsoft.com/office/drawing/2014/main" id="{4D49E035-DD5F-4B62-A2FC-712AA0185418}"/>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1" name="Freeform 1684">
                      <a:extLst>
                        <a:ext uri="{FF2B5EF4-FFF2-40B4-BE49-F238E27FC236}">
                          <a16:creationId xmlns:a16="http://schemas.microsoft.com/office/drawing/2014/main" id="{361BA7F0-ADE8-45FD-BCBE-F73C2409B516}"/>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2" name="Freeform 1685">
                      <a:extLst>
                        <a:ext uri="{FF2B5EF4-FFF2-40B4-BE49-F238E27FC236}">
                          <a16:creationId xmlns:a16="http://schemas.microsoft.com/office/drawing/2014/main" id="{CE34B47B-7244-40D6-B58B-295046EBBF98}"/>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3" name="Freeform 1686">
                      <a:extLst>
                        <a:ext uri="{FF2B5EF4-FFF2-40B4-BE49-F238E27FC236}">
                          <a16:creationId xmlns:a16="http://schemas.microsoft.com/office/drawing/2014/main" id="{93797A41-D47B-498E-9B2D-5DCAA2B1ECC7}"/>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4" name="Freeform 1687">
                      <a:extLst>
                        <a:ext uri="{FF2B5EF4-FFF2-40B4-BE49-F238E27FC236}">
                          <a16:creationId xmlns:a16="http://schemas.microsoft.com/office/drawing/2014/main" id="{22EE044E-15F8-45C5-8DD4-884BD5AF7EF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5" name="Freeform 1688">
                      <a:extLst>
                        <a:ext uri="{FF2B5EF4-FFF2-40B4-BE49-F238E27FC236}">
                          <a16:creationId xmlns:a16="http://schemas.microsoft.com/office/drawing/2014/main" id="{9C1C1FB1-94F0-4DCF-85B2-7F28C74F39F7}"/>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6" name="Freeform 1689">
                      <a:extLst>
                        <a:ext uri="{FF2B5EF4-FFF2-40B4-BE49-F238E27FC236}">
                          <a16:creationId xmlns:a16="http://schemas.microsoft.com/office/drawing/2014/main" id="{44B2BC52-481D-4BC2-AA13-688AEB818B3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7" name="Freeform 1690">
                      <a:extLst>
                        <a:ext uri="{FF2B5EF4-FFF2-40B4-BE49-F238E27FC236}">
                          <a16:creationId xmlns:a16="http://schemas.microsoft.com/office/drawing/2014/main" id="{7373923F-BB79-40E9-8FD6-FAF3462007B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8" name="Freeform 1691">
                      <a:extLst>
                        <a:ext uri="{FF2B5EF4-FFF2-40B4-BE49-F238E27FC236}">
                          <a16:creationId xmlns:a16="http://schemas.microsoft.com/office/drawing/2014/main" id="{1FA89372-8393-49B4-A4B7-F0EE8583833E}"/>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9" name="Freeform 1692">
                      <a:extLst>
                        <a:ext uri="{FF2B5EF4-FFF2-40B4-BE49-F238E27FC236}">
                          <a16:creationId xmlns:a16="http://schemas.microsoft.com/office/drawing/2014/main" id="{E2FE1CC5-EDA9-466F-9657-697E2989079F}"/>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0" name="Freeform 1693">
                      <a:extLst>
                        <a:ext uri="{FF2B5EF4-FFF2-40B4-BE49-F238E27FC236}">
                          <a16:creationId xmlns:a16="http://schemas.microsoft.com/office/drawing/2014/main" id="{1D8E0D90-624F-4B91-A019-E567EE3164FB}"/>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1" name="Freeform 1694">
                      <a:extLst>
                        <a:ext uri="{FF2B5EF4-FFF2-40B4-BE49-F238E27FC236}">
                          <a16:creationId xmlns:a16="http://schemas.microsoft.com/office/drawing/2014/main" id="{44691AC3-40FE-4CEA-8FD1-8E075B57347C}"/>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2" name="Freeform 1695">
                      <a:extLst>
                        <a:ext uri="{FF2B5EF4-FFF2-40B4-BE49-F238E27FC236}">
                          <a16:creationId xmlns:a16="http://schemas.microsoft.com/office/drawing/2014/main" id="{25E8A13D-101E-4201-BEFC-465EF69CF386}"/>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3" name="Freeform 1696">
                      <a:extLst>
                        <a:ext uri="{FF2B5EF4-FFF2-40B4-BE49-F238E27FC236}">
                          <a16:creationId xmlns:a16="http://schemas.microsoft.com/office/drawing/2014/main" id="{0B80BB4C-1B57-4208-840C-A999CDC93970}"/>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4" name="Freeform 1697">
                      <a:extLst>
                        <a:ext uri="{FF2B5EF4-FFF2-40B4-BE49-F238E27FC236}">
                          <a16:creationId xmlns:a16="http://schemas.microsoft.com/office/drawing/2014/main" id="{ACD61306-296C-4AB1-8A52-42D96A2BB5E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80" name="Group 2379">
                <a:extLst>
                  <a:ext uri="{FF2B5EF4-FFF2-40B4-BE49-F238E27FC236}">
                    <a16:creationId xmlns:a16="http://schemas.microsoft.com/office/drawing/2014/main" id="{FFC3E585-1D13-4787-9027-5919714AB77F}"/>
                  </a:ext>
                </a:extLst>
              </p:cNvPr>
              <p:cNvGrpSpPr/>
              <p:nvPr/>
            </p:nvGrpSpPr>
            <p:grpSpPr>
              <a:xfrm>
                <a:off x="10254370" y="3053480"/>
                <a:ext cx="1231250" cy="1313698"/>
                <a:chOff x="12023909" y="2412144"/>
                <a:chExt cx="1231250" cy="1313698"/>
              </a:xfrm>
            </p:grpSpPr>
            <p:sp>
              <p:nvSpPr>
                <p:cNvPr id="2381" name="Rectangle: Rounded Corners 2380">
                  <a:extLst>
                    <a:ext uri="{FF2B5EF4-FFF2-40B4-BE49-F238E27FC236}">
                      <a16:creationId xmlns:a16="http://schemas.microsoft.com/office/drawing/2014/main" id="{05A5F541-CE7B-43F6-A3F4-9FCF0AA52083}"/>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382" name="Group 2381">
                  <a:extLst>
                    <a:ext uri="{FF2B5EF4-FFF2-40B4-BE49-F238E27FC236}">
                      <a16:creationId xmlns:a16="http://schemas.microsoft.com/office/drawing/2014/main" id="{7A52E961-1A67-4779-9FDF-90FF0A6DD9C6}"/>
                    </a:ext>
                  </a:extLst>
                </p:cNvPr>
                <p:cNvGrpSpPr/>
                <p:nvPr/>
              </p:nvGrpSpPr>
              <p:grpSpPr>
                <a:xfrm>
                  <a:off x="12023909" y="2526190"/>
                  <a:ext cx="1231250" cy="1189484"/>
                  <a:chOff x="7839761" y="1053755"/>
                  <a:chExt cx="927651" cy="896184"/>
                </a:xfrm>
              </p:grpSpPr>
              <p:sp>
                <p:nvSpPr>
                  <p:cNvPr id="2383" name="TextBox 2382">
                    <a:extLst>
                      <a:ext uri="{FF2B5EF4-FFF2-40B4-BE49-F238E27FC236}">
                        <a16:creationId xmlns:a16="http://schemas.microsoft.com/office/drawing/2014/main" id="{10475F5B-D473-4244-814D-777D208FC63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384" name="Group 2383">
                    <a:extLst>
                      <a:ext uri="{FF2B5EF4-FFF2-40B4-BE49-F238E27FC236}">
                        <a16:creationId xmlns:a16="http://schemas.microsoft.com/office/drawing/2014/main" id="{D85A5810-A0B7-4727-ADE1-D432A8FD09BF}"/>
                      </a:ext>
                    </a:extLst>
                  </p:cNvPr>
                  <p:cNvGrpSpPr/>
                  <p:nvPr/>
                </p:nvGrpSpPr>
                <p:grpSpPr>
                  <a:xfrm>
                    <a:off x="7839761" y="1053755"/>
                    <a:ext cx="927651" cy="523122"/>
                    <a:chOff x="7839761" y="1053755"/>
                    <a:chExt cx="927651" cy="523122"/>
                  </a:xfrm>
                </p:grpSpPr>
                <p:sp>
                  <p:nvSpPr>
                    <p:cNvPr id="2385" name="Line 66">
                      <a:extLst>
                        <a:ext uri="{FF2B5EF4-FFF2-40B4-BE49-F238E27FC236}">
                          <a16:creationId xmlns:a16="http://schemas.microsoft.com/office/drawing/2014/main" id="{4D5BDF05-8AB9-4D0C-9936-6E5221701357}"/>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6" name="Line 67">
                      <a:extLst>
                        <a:ext uri="{FF2B5EF4-FFF2-40B4-BE49-F238E27FC236}">
                          <a16:creationId xmlns:a16="http://schemas.microsoft.com/office/drawing/2014/main" id="{EEE70E7D-E88D-4730-B591-9151AAF6AEFC}"/>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7" name="Line 74">
                      <a:extLst>
                        <a:ext uri="{FF2B5EF4-FFF2-40B4-BE49-F238E27FC236}">
                          <a16:creationId xmlns:a16="http://schemas.microsoft.com/office/drawing/2014/main" id="{AF24F0B3-60B5-4555-994D-83D496662726}"/>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78">
                      <a:extLst>
                        <a:ext uri="{FF2B5EF4-FFF2-40B4-BE49-F238E27FC236}">
                          <a16:creationId xmlns:a16="http://schemas.microsoft.com/office/drawing/2014/main" id="{48DE2164-D559-4B14-BD4D-4E4F2C15B217}"/>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Freeform 80">
                      <a:extLst>
                        <a:ext uri="{FF2B5EF4-FFF2-40B4-BE49-F238E27FC236}">
                          <a16:creationId xmlns:a16="http://schemas.microsoft.com/office/drawing/2014/main" id="{6E57422F-86DC-4AE2-90E2-5FE1DD5FF2D7}"/>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1575">
                      <a:extLst>
                        <a:ext uri="{FF2B5EF4-FFF2-40B4-BE49-F238E27FC236}">
                          <a16:creationId xmlns:a16="http://schemas.microsoft.com/office/drawing/2014/main" id="{3247854F-01BC-44F5-9741-9C1E250D2657}"/>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1576">
                      <a:extLst>
                        <a:ext uri="{FF2B5EF4-FFF2-40B4-BE49-F238E27FC236}">
                          <a16:creationId xmlns:a16="http://schemas.microsoft.com/office/drawing/2014/main" id="{59D4CB40-2F18-4509-8B19-A6F5998A7153}"/>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1577">
                      <a:extLst>
                        <a:ext uri="{FF2B5EF4-FFF2-40B4-BE49-F238E27FC236}">
                          <a16:creationId xmlns:a16="http://schemas.microsoft.com/office/drawing/2014/main" id="{8875CFCC-F6A3-488A-B4FC-E5665A339A6D}"/>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3" name="Freeform 1578">
                      <a:extLst>
                        <a:ext uri="{FF2B5EF4-FFF2-40B4-BE49-F238E27FC236}">
                          <a16:creationId xmlns:a16="http://schemas.microsoft.com/office/drawing/2014/main" id="{2A8A8D95-C870-432C-A5E6-BB7355198482}"/>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4" name="Freeform 1579">
                      <a:extLst>
                        <a:ext uri="{FF2B5EF4-FFF2-40B4-BE49-F238E27FC236}">
                          <a16:creationId xmlns:a16="http://schemas.microsoft.com/office/drawing/2014/main" id="{E7B8E060-68B2-4080-B658-6BE76D84DEA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Freeform 1580">
                      <a:extLst>
                        <a:ext uri="{FF2B5EF4-FFF2-40B4-BE49-F238E27FC236}">
                          <a16:creationId xmlns:a16="http://schemas.microsoft.com/office/drawing/2014/main" id="{007187D5-1B56-4D50-AF29-45393CFBBFC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6" name="Freeform 1581">
                      <a:extLst>
                        <a:ext uri="{FF2B5EF4-FFF2-40B4-BE49-F238E27FC236}">
                          <a16:creationId xmlns:a16="http://schemas.microsoft.com/office/drawing/2014/main" id="{87FC41A0-BBC5-4952-9B8F-223A5CD10F74}"/>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Freeform 1582">
                      <a:extLst>
                        <a:ext uri="{FF2B5EF4-FFF2-40B4-BE49-F238E27FC236}">
                          <a16:creationId xmlns:a16="http://schemas.microsoft.com/office/drawing/2014/main" id="{62E19466-3A2D-4D15-AD75-B8EF5D94F40A}"/>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8" name="Freeform 1583">
                      <a:extLst>
                        <a:ext uri="{FF2B5EF4-FFF2-40B4-BE49-F238E27FC236}">
                          <a16:creationId xmlns:a16="http://schemas.microsoft.com/office/drawing/2014/main" id="{543017A5-5BB1-4C0A-BC6A-89ADE55B90D4}"/>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9" name="Freeform 1584">
                      <a:extLst>
                        <a:ext uri="{FF2B5EF4-FFF2-40B4-BE49-F238E27FC236}">
                          <a16:creationId xmlns:a16="http://schemas.microsoft.com/office/drawing/2014/main" id="{0B5A2709-EAB6-42C2-AC81-A75ACE2D6290}"/>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0" name="Freeform 1585">
                      <a:extLst>
                        <a:ext uri="{FF2B5EF4-FFF2-40B4-BE49-F238E27FC236}">
                          <a16:creationId xmlns:a16="http://schemas.microsoft.com/office/drawing/2014/main" id="{EFA2B0B4-1714-4B51-A790-3E14DE418220}"/>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1" name="Freeform 1586">
                      <a:extLst>
                        <a:ext uri="{FF2B5EF4-FFF2-40B4-BE49-F238E27FC236}">
                          <a16:creationId xmlns:a16="http://schemas.microsoft.com/office/drawing/2014/main" id="{37A02652-D95B-4A32-A8FF-A18666DB6B2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2" name="Freeform 1587">
                      <a:extLst>
                        <a:ext uri="{FF2B5EF4-FFF2-40B4-BE49-F238E27FC236}">
                          <a16:creationId xmlns:a16="http://schemas.microsoft.com/office/drawing/2014/main" id="{D674FEAD-2C3F-4CD9-9A09-46DAB1EB91B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1588">
                      <a:extLst>
                        <a:ext uri="{FF2B5EF4-FFF2-40B4-BE49-F238E27FC236}">
                          <a16:creationId xmlns:a16="http://schemas.microsoft.com/office/drawing/2014/main" id="{161E3166-7BAB-4F0B-8039-A1325AA6F3D1}"/>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4" name="Rectangle 1589">
                      <a:extLst>
                        <a:ext uri="{FF2B5EF4-FFF2-40B4-BE49-F238E27FC236}">
                          <a16:creationId xmlns:a16="http://schemas.microsoft.com/office/drawing/2014/main" id="{CA7A642B-23AF-4FB6-8A19-446BB3179BAF}"/>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5" name="Rectangle 1590">
                      <a:extLst>
                        <a:ext uri="{FF2B5EF4-FFF2-40B4-BE49-F238E27FC236}">
                          <a16:creationId xmlns:a16="http://schemas.microsoft.com/office/drawing/2014/main" id="{26E6A0EA-4C1A-42AE-A015-0565599540B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6" name="Freeform 1591">
                      <a:extLst>
                        <a:ext uri="{FF2B5EF4-FFF2-40B4-BE49-F238E27FC236}">
                          <a16:creationId xmlns:a16="http://schemas.microsoft.com/office/drawing/2014/main" id="{D7C31A1F-7DEE-49CD-90BF-F6D3973DD215}"/>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7" name="Freeform 1592">
                      <a:extLst>
                        <a:ext uri="{FF2B5EF4-FFF2-40B4-BE49-F238E27FC236}">
                          <a16:creationId xmlns:a16="http://schemas.microsoft.com/office/drawing/2014/main" id="{6E89F0EB-FB54-4C2D-8FF3-75AA8BFF110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8" name="Freeform 1593">
                      <a:extLst>
                        <a:ext uri="{FF2B5EF4-FFF2-40B4-BE49-F238E27FC236}">
                          <a16:creationId xmlns:a16="http://schemas.microsoft.com/office/drawing/2014/main" id="{46B295E8-BDEB-4C2D-9527-00B194A9421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9" name="Freeform 1594">
                      <a:extLst>
                        <a:ext uri="{FF2B5EF4-FFF2-40B4-BE49-F238E27FC236}">
                          <a16:creationId xmlns:a16="http://schemas.microsoft.com/office/drawing/2014/main" id="{99A978CF-70B6-41A9-B7D6-D9DCFAE69B8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0" name="Freeform 1595">
                      <a:extLst>
                        <a:ext uri="{FF2B5EF4-FFF2-40B4-BE49-F238E27FC236}">
                          <a16:creationId xmlns:a16="http://schemas.microsoft.com/office/drawing/2014/main" id="{95DF9872-F96F-4DEE-8E9E-99167FFE230D}"/>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Freeform 1596">
                      <a:extLst>
                        <a:ext uri="{FF2B5EF4-FFF2-40B4-BE49-F238E27FC236}">
                          <a16:creationId xmlns:a16="http://schemas.microsoft.com/office/drawing/2014/main" id="{F974AF27-C210-4DEE-B2B8-04ED139DB68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1672">
                      <a:extLst>
                        <a:ext uri="{FF2B5EF4-FFF2-40B4-BE49-F238E27FC236}">
                          <a16:creationId xmlns:a16="http://schemas.microsoft.com/office/drawing/2014/main" id="{21FE80A1-55FF-4F03-B5E4-5C2FDCAFCCD9}"/>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Freeform 1673">
                      <a:extLst>
                        <a:ext uri="{FF2B5EF4-FFF2-40B4-BE49-F238E27FC236}">
                          <a16:creationId xmlns:a16="http://schemas.microsoft.com/office/drawing/2014/main" id="{8466F4B9-1DF6-4CDA-819A-0625023BCE22}"/>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1674">
                      <a:extLst>
                        <a:ext uri="{FF2B5EF4-FFF2-40B4-BE49-F238E27FC236}">
                          <a16:creationId xmlns:a16="http://schemas.microsoft.com/office/drawing/2014/main" id="{13DC24B5-1D95-482D-9F59-EDCA018AEF5B}"/>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Freeform 1675">
                      <a:extLst>
                        <a:ext uri="{FF2B5EF4-FFF2-40B4-BE49-F238E27FC236}">
                          <a16:creationId xmlns:a16="http://schemas.microsoft.com/office/drawing/2014/main" id="{1B1C6715-3E36-4764-B8C7-A710A0DBB42A}"/>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6" name="Freeform 1676">
                      <a:extLst>
                        <a:ext uri="{FF2B5EF4-FFF2-40B4-BE49-F238E27FC236}">
                          <a16:creationId xmlns:a16="http://schemas.microsoft.com/office/drawing/2014/main" id="{164C8603-4592-4205-A845-F3CFBCE350FB}"/>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7" name="Freeform 1677">
                      <a:extLst>
                        <a:ext uri="{FF2B5EF4-FFF2-40B4-BE49-F238E27FC236}">
                          <a16:creationId xmlns:a16="http://schemas.microsoft.com/office/drawing/2014/main" id="{6294573F-4EAA-4EFF-98AB-D8C3F866A52E}"/>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Freeform 1678">
                      <a:extLst>
                        <a:ext uri="{FF2B5EF4-FFF2-40B4-BE49-F238E27FC236}">
                          <a16:creationId xmlns:a16="http://schemas.microsoft.com/office/drawing/2014/main" id="{85F4228C-E266-458E-9740-4874A0A936A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Freeform 1679">
                      <a:extLst>
                        <a:ext uri="{FF2B5EF4-FFF2-40B4-BE49-F238E27FC236}">
                          <a16:creationId xmlns:a16="http://schemas.microsoft.com/office/drawing/2014/main" id="{7ED44B2C-862F-40EA-9169-FA7B5F33977F}"/>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Freeform 1680">
                      <a:extLst>
                        <a:ext uri="{FF2B5EF4-FFF2-40B4-BE49-F238E27FC236}">
                          <a16:creationId xmlns:a16="http://schemas.microsoft.com/office/drawing/2014/main" id="{762AD06F-CC23-42EF-AF53-804137CB20EB}"/>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1681">
                      <a:extLst>
                        <a:ext uri="{FF2B5EF4-FFF2-40B4-BE49-F238E27FC236}">
                          <a16:creationId xmlns:a16="http://schemas.microsoft.com/office/drawing/2014/main" id="{D9DC93CD-A908-459D-8179-11A71A2EA65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1682">
                      <a:extLst>
                        <a:ext uri="{FF2B5EF4-FFF2-40B4-BE49-F238E27FC236}">
                          <a16:creationId xmlns:a16="http://schemas.microsoft.com/office/drawing/2014/main" id="{D8FD2FBD-1657-4AC2-B08B-258028AB1E9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3" name="Freeform 1683">
                      <a:extLst>
                        <a:ext uri="{FF2B5EF4-FFF2-40B4-BE49-F238E27FC236}">
                          <a16:creationId xmlns:a16="http://schemas.microsoft.com/office/drawing/2014/main" id="{4142D5DB-DF42-488D-8EAA-349EE691496B}"/>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4" name="Freeform 1684">
                      <a:extLst>
                        <a:ext uri="{FF2B5EF4-FFF2-40B4-BE49-F238E27FC236}">
                          <a16:creationId xmlns:a16="http://schemas.microsoft.com/office/drawing/2014/main" id="{1D498592-86F6-41D7-B042-50B49D34B67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5" name="Freeform 1685">
                      <a:extLst>
                        <a:ext uri="{FF2B5EF4-FFF2-40B4-BE49-F238E27FC236}">
                          <a16:creationId xmlns:a16="http://schemas.microsoft.com/office/drawing/2014/main" id="{84E9F0CF-8D9F-4C14-A045-10C218E42B8A}"/>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6" name="Freeform 1686">
                      <a:extLst>
                        <a:ext uri="{FF2B5EF4-FFF2-40B4-BE49-F238E27FC236}">
                          <a16:creationId xmlns:a16="http://schemas.microsoft.com/office/drawing/2014/main" id="{AE38F2F4-D701-4A2A-81DF-A06076D4FFE8}"/>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7" name="Freeform 1687">
                      <a:extLst>
                        <a:ext uri="{FF2B5EF4-FFF2-40B4-BE49-F238E27FC236}">
                          <a16:creationId xmlns:a16="http://schemas.microsoft.com/office/drawing/2014/main" id="{461E1B31-489A-4C36-AF4C-EA35FD50D573}"/>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8" name="Freeform 1688">
                      <a:extLst>
                        <a:ext uri="{FF2B5EF4-FFF2-40B4-BE49-F238E27FC236}">
                          <a16:creationId xmlns:a16="http://schemas.microsoft.com/office/drawing/2014/main" id="{7734DE4E-535C-478A-9A26-DE04B89EEF2C}"/>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9" name="Freeform 1689">
                      <a:extLst>
                        <a:ext uri="{FF2B5EF4-FFF2-40B4-BE49-F238E27FC236}">
                          <a16:creationId xmlns:a16="http://schemas.microsoft.com/office/drawing/2014/main" id="{FECB615F-B614-4B52-B6DA-8652986BB48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0" name="Freeform 1690">
                      <a:extLst>
                        <a:ext uri="{FF2B5EF4-FFF2-40B4-BE49-F238E27FC236}">
                          <a16:creationId xmlns:a16="http://schemas.microsoft.com/office/drawing/2014/main" id="{C564DE4A-EC4B-4D6A-9F7B-DF417087A253}"/>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1" name="Freeform 1691">
                      <a:extLst>
                        <a:ext uri="{FF2B5EF4-FFF2-40B4-BE49-F238E27FC236}">
                          <a16:creationId xmlns:a16="http://schemas.microsoft.com/office/drawing/2014/main" id="{2B5035C6-4A58-4CBD-AB05-E0BACEC8105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2" name="Freeform 1692">
                      <a:extLst>
                        <a:ext uri="{FF2B5EF4-FFF2-40B4-BE49-F238E27FC236}">
                          <a16:creationId xmlns:a16="http://schemas.microsoft.com/office/drawing/2014/main" id="{5505ABC9-578A-4ED0-AD77-0B3177D4301E}"/>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3" name="Freeform 1693">
                      <a:extLst>
                        <a:ext uri="{FF2B5EF4-FFF2-40B4-BE49-F238E27FC236}">
                          <a16:creationId xmlns:a16="http://schemas.microsoft.com/office/drawing/2014/main" id="{86181943-C0A9-440A-B2D8-02AA9243763D}"/>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4" name="Freeform 1694">
                      <a:extLst>
                        <a:ext uri="{FF2B5EF4-FFF2-40B4-BE49-F238E27FC236}">
                          <a16:creationId xmlns:a16="http://schemas.microsoft.com/office/drawing/2014/main" id="{0F02ACD1-10A8-4BEF-A44F-73B915E2B6BF}"/>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5" name="Freeform 1695">
                      <a:extLst>
                        <a:ext uri="{FF2B5EF4-FFF2-40B4-BE49-F238E27FC236}">
                          <a16:creationId xmlns:a16="http://schemas.microsoft.com/office/drawing/2014/main" id="{C3511B33-6FC4-4AC0-8C93-74E6F1E10503}"/>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6" name="Freeform 1696">
                      <a:extLst>
                        <a:ext uri="{FF2B5EF4-FFF2-40B4-BE49-F238E27FC236}">
                          <a16:creationId xmlns:a16="http://schemas.microsoft.com/office/drawing/2014/main" id="{D56A2DC5-6B64-44F4-B662-82FF8A3E271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7" name="Freeform 1697">
                      <a:extLst>
                        <a:ext uri="{FF2B5EF4-FFF2-40B4-BE49-F238E27FC236}">
                          <a16:creationId xmlns:a16="http://schemas.microsoft.com/office/drawing/2014/main" id="{50CAF6CB-134D-40C6-BC8B-8F2A7A229B88}"/>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377" name="Rectangle 2376">
              <a:extLst>
                <a:ext uri="{FF2B5EF4-FFF2-40B4-BE49-F238E27FC236}">
                  <a16:creationId xmlns:a16="http://schemas.microsoft.com/office/drawing/2014/main" id="{99E5C539-D3F8-4075-B6A5-08257CF9C719}"/>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2550" name="Group 2549">
            <a:extLst>
              <a:ext uri="{FF2B5EF4-FFF2-40B4-BE49-F238E27FC236}">
                <a16:creationId xmlns:a16="http://schemas.microsoft.com/office/drawing/2014/main" id="{3E0AE51B-14D6-48BC-BAF6-C84022DF070C}"/>
              </a:ext>
            </a:extLst>
          </p:cNvPr>
          <p:cNvGrpSpPr/>
          <p:nvPr/>
        </p:nvGrpSpPr>
        <p:grpSpPr>
          <a:xfrm>
            <a:off x="3480033" y="3477736"/>
            <a:ext cx="4581486" cy="2892141"/>
            <a:chOff x="3480940" y="3616012"/>
            <a:chExt cx="4582679" cy="2892894"/>
          </a:xfrm>
        </p:grpSpPr>
        <p:grpSp>
          <p:nvGrpSpPr>
            <p:cNvPr id="2551" name="Group 2550">
              <a:extLst>
                <a:ext uri="{FF2B5EF4-FFF2-40B4-BE49-F238E27FC236}">
                  <a16:creationId xmlns:a16="http://schemas.microsoft.com/office/drawing/2014/main" id="{D799E28B-E475-4C47-90DA-CF772C21780F}"/>
                </a:ext>
              </a:extLst>
            </p:cNvPr>
            <p:cNvGrpSpPr/>
            <p:nvPr/>
          </p:nvGrpSpPr>
          <p:grpSpPr>
            <a:xfrm>
              <a:off x="3480940" y="4590574"/>
              <a:ext cx="2021522" cy="1918332"/>
              <a:chOff x="3480940" y="4590574"/>
              <a:chExt cx="2021522" cy="1918332"/>
            </a:xfrm>
          </p:grpSpPr>
          <p:grpSp>
            <p:nvGrpSpPr>
              <p:cNvPr id="2562" name="Group 2561">
                <a:extLst>
                  <a:ext uri="{FF2B5EF4-FFF2-40B4-BE49-F238E27FC236}">
                    <a16:creationId xmlns:a16="http://schemas.microsoft.com/office/drawing/2014/main" id="{9C0AB398-29FB-436D-B480-1E17D6E49F46}"/>
                  </a:ext>
                </a:extLst>
              </p:cNvPr>
              <p:cNvGrpSpPr/>
              <p:nvPr/>
            </p:nvGrpSpPr>
            <p:grpSpPr>
              <a:xfrm>
                <a:off x="3480940" y="4590574"/>
                <a:ext cx="2021522" cy="1918332"/>
                <a:chOff x="3489383" y="4562005"/>
                <a:chExt cx="2026683" cy="1923229"/>
              </a:xfrm>
            </p:grpSpPr>
            <p:sp>
              <p:nvSpPr>
                <p:cNvPr id="2566" name="Rectangle 2565">
                  <a:extLst>
                    <a:ext uri="{FF2B5EF4-FFF2-40B4-BE49-F238E27FC236}">
                      <a16:creationId xmlns:a16="http://schemas.microsoft.com/office/drawing/2014/main" id="{19DC4D5A-2DE1-463A-A079-CC6CE96D890F}"/>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567" name="Picture 2566">
                  <a:extLst>
                    <a:ext uri="{FF2B5EF4-FFF2-40B4-BE49-F238E27FC236}">
                      <a16:creationId xmlns:a16="http://schemas.microsoft.com/office/drawing/2014/main" id="{833C0D28-A695-4844-A456-4D19FF1DFB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568" name="Rectangle 2567">
                  <a:extLst>
                    <a:ext uri="{FF2B5EF4-FFF2-40B4-BE49-F238E27FC236}">
                      <a16:creationId xmlns:a16="http://schemas.microsoft.com/office/drawing/2014/main" id="{E9152862-B2BB-4998-8C8E-5DF1F6870987}"/>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569" name="Group 2568">
                  <a:extLst>
                    <a:ext uri="{FF2B5EF4-FFF2-40B4-BE49-F238E27FC236}">
                      <a16:creationId xmlns:a16="http://schemas.microsoft.com/office/drawing/2014/main" id="{9F2740F3-1EED-444A-B76A-1B59C458AB57}"/>
                    </a:ext>
                  </a:extLst>
                </p:cNvPr>
                <p:cNvGrpSpPr/>
                <p:nvPr/>
              </p:nvGrpSpPr>
              <p:grpSpPr>
                <a:xfrm>
                  <a:off x="4439956" y="4676083"/>
                  <a:ext cx="1030675" cy="846880"/>
                  <a:chOff x="10800033" y="2297897"/>
                  <a:chExt cx="1600558" cy="1315140"/>
                </a:xfrm>
              </p:grpSpPr>
              <p:grpSp>
                <p:nvGrpSpPr>
                  <p:cNvPr id="2570" name="Group 2569">
                    <a:extLst>
                      <a:ext uri="{FF2B5EF4-FFF2-40B4-BE49-F238E27FC236}">
                        <a16:creationId xmlns:a16="http://schemas.microsoft.com/office/drawing/2014/main" id="{F075F749-BE74-495A-A0E4-2FA1DFBC139D}"/>
                      </a:ext>
                    </a:extLst>
                  </p:cNvPr>
                  <p:cNvGrpSpPr>
                    <a:grpSpLocks/>
                  </p:cNvGrpSpPr>
                  <p:nvPr/>
                </p:nvGrpSpPr>
                <p:grpSpPr>
                  <a:xfrm>
                    <a:off x="10800033" y="2339037"/>
                    <a:ext cx="613092" cy="613092"/>
                    <a:chOff x="745985" y="4768134"/>
                    <a:chExt cx="368776" cy="368777"/>
                  </a:xfrm>
                </p:grpSpPr>
                <p:grpSp>
                  <p:nvGrpSpPr>
                    <p:cNvPr id="2634" name="Group 64">
                      <a:extLst>
                        <a:ext uri="{FF2B5EF4-FFF2-40B4-BE49-F238E27FC236}">
                          <a16:creationId xmlns:a16="http://schemas.microsoft.com/office/drawing/2014/main" id="{394FBB97-BB17-4076-BA7F-6E44C259DA31}"/>
                        </a:ext>
                      </a:extLst>
                    </p:cNvPr>
                    <p:cNvGrpSpPr>
                      <a:grpSpLocks noChangeAspect="1"/>
                    </p:cNvGrpSpPr>
                    <p:nvPr/>
                  </p:nvGrpSpPr>
                  <p:grpSpPr bwMode="auto">
                    <a:xfrm rot="8100000">
                      <a:off x="745985" y="4768134"/>
                      <a:ext cx="368776" cy="368777"/>
                      <a:chOff x="701" y="2170"/>
                      <a:chExt cx="587" cy="587"/>
                    </a:xfrm>
                  </p:grpSpPr>
                  <p:sp>
                    <p:nvSpPr>
                      <p:cNvPr id="2645" name="Oval 65">
                        <a:extLst>
                          <a:ext uri="{FF2B5EF4-FFF2-40B4-BE49-F238E27FC236}">
                            <a16:creationId xmlns:a16="http://schemas.microsoft.com/office/drawing/2014/main" id="{D99513BE-F489-472D-AD4C-35876DF37983}"/>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46" name="Line 66">
                        <a:extLst>
                          <a:ext uri="{FF2B5EF4-FFF2-40B4-BE49-F238E27FC236}">
                            <a16:creationId xmlns:a16="http://schemas.microsoft.com/office/drawing/2014/main" id="{A6362BC5-7C70-4C28-9301-F5F860A5ACD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Line 67">
                        <a:extLst>
                          <a:ext uri="{FF2B5EF4-FFF2-40B4-BE49-F238E27FC236}">
                            <a16:creationId xmlns:a16="http://schemas.microsoft.com/office/drawing/2014/main" id="{8BEBF1E1-7017-469E-B1FF-3766FB6F81F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Line 69">
                        <a:extLst>
                          <a:ext uri="{FF2B5EF4-FFF2-40B4-BE49-F238E27FC236}">
                            <a16:creationId xmlns:a16="http://schemas.microsoft.com/office/drawing/2014/main" id="{593E4B9B-67E2-4823-B463-BCBF04373F9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Line 74">
                        <a:extLst>
                          <a:ext uri="{FF2B5EF4-FFF2-40B4-BE49-F238E27FC236}">
                            <a16:creationId xmlns:a16="http://schemas.microsoft.com/office/drawing/2014/main" id="{CBE50248-C269-4141-AEDB-BF932F1D71E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78">
                        <a:extLst>
                          <a:ext uri="{FF2B5EF4-FFF2-40B4-BE49-F238E27FC236}">
                            <a16:creationId xmlns:a16="http://schemas.microsoft.com/office/drawing/2014/main" id="{F8AAD8A0-3AD4-4D1C-8596-F992645987A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80">
                        <a:extLst>
                          <a:ext uri="{FF2B5EF4-FFF2-40B4-BE49-F238E27FC236}">
                            <a16:creationId xmlns:a16="http://schemas.microsoft.com/office/drawing/2014/main" id="{B8C6B84D-C717-420F-BC0B-FDF51ABB1ED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35" name="Group 2634">
                      <a:extLst>
                        <a:ext uri="{FF2B5EF4-FFF2-40B4-BE49-F238E27FC236}">
                          <a16:creationId xmlns:a16="http://schemas.microsoft.com/office/drawing/2014/main" id="{A6FE112D-A35B-4672-A6BF-C91082FDA1D8}"/>
                        </a:ext>
                      </a:extLst>
                    </p:cNvPr>
                    <p:cNvGrpSpPr/>
                    <p:nvPr/>
                  </p:nvGrpSpPr>
                  <p:grpSpPr>
                    <a:xfrm>
                      <a:off x="837312" y="4814434"/>
                      <a:ext cx="136805" cy="278689"/>
                      <a:chOff x="2806700" y="2803319"/>
                      <a:chExt cx="433387" cy="882861"/>
                    </a:xfrm>
                  </p:grpSpPr>
                  <p:grpSp>
                    <p:nvGrpSpPr>
                      <p:cNvPr id="2636" name="Group 2635">
                        <a:extLst>
                          <a:ext uri="{FF2B5EF4-FFF2-40B4-BE49-F238E27FC236}">
                            <a16:creationId xmlns:a16="http://schemas.microsoft.com/office/drawing/2014/main" id="{7958D822-9A07-41A1-964F-F3A3741CC56E}"/>
                          </a:ext>
                        </a:extLst>
                      </p:cNvPr>
                      <p:cNvGrpSpPr>
                        <a:grpSpLocks noChangeAspect="1"/>
                      </p:cNvGrpSpPr>
                      <p:nvPr/>
                    </p:nvGrpSpPr>
                    <p:grpSpPr bwMode="auto">
                      <a:xfrm>
                        <a:off x="2806700" y="3043242"/>
                        <a:ext cx="433387" cy="642938"/>
                        <a:chOff x="1768" y="1917"/>
                        <a:chExt cx="273" cy="405"/>
                      </a:xfrm>
                    </p:grpSpPr>
                    <p:sp>
                      <p:nvSpPr>
                        <p:cNvPr id="2638" name="Freeform 52">
                          <a:extLst>
                            <a:ext uri="{FF2B5EF4-FFF2-40B4-BE49-F238E27FC236}">
                              <a16:creationId xmlns:a16="http://schemas.microsoft.com/office/drawing/2014/main" id="{FBC7DF40-042D-488A-AB36-6052EC556E96}"/>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39" name="Line 54">
                          <a:extLst>
                            <a:ext uri="{FF2B5EF4-FFF2-40B4-BE49-F238E27FC236}">
                              <a16:creationId xmlns:a16="http://schemas.microsoft.com/office/drawing/2014/main" id="{883F93AB-C3A3-4B5F-A1CF-456068BC767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Line 55">
                          <a:extLst>
                            <a:ext uri="{FF2B5EF4-FFF2-40B4-BE49-F238E27FC236}">
                              <a16:creationId xmlns:a16="http://schemas.microsoft.com/office/drawing/2014/main" id="{D87EFF51-6855-44CF-A79C-2DF4A98D1D78}"/>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56">
                          <a:extLst>
                            <a:ext uri="{FF2B5EF4-FFF2-40B4-BE49-F238E27FC236}">
                              <a16:creationId xmlns:a16="http://schemas.microsoft.com/office/drawing/2014/main" id="{D134498A-294A-4A10-B100-9F8D5A91E25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Line 57">
                          <a:extLst>
                            <a:ext uri="{FF2B5EF4-FFF2-40B4-BE49-F238E27FC236}">
                              <a16:creationId xmlns:a16="http://schemas.microsoft.com/office/drawing/2014/main" id="{6654C4FD-F40F-41F0-B8CE-017936FC13D9}"/>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58">
                          <a:extLst>
                            <a:ext uri="{FF2B5EF4-FFF2-40B4-BE49-F238E27FC236}">
                              <a16:creationId xmlns:a16="http://schemas.microsoft.com/office/drawing/2014/main" id="{19555386-5E67-4B2F-B94C-AFDC1B0461F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Rectangle 2643">
                          <a:extLst>
                            <a:ext uri="{FF2B5EF4-FFF2-40B4-BE49-F238E27FC236}">
                              <a16:creationId xmlns:a16="http://schemas.microsoft.com/office/drawing/2014/main" id="{EFBD8C20-5250-432C-AC66-0060310B0E5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37" name="Oval 2636">
                        <a:extLst>
                          <a:ext uri="{FF2B5EF4-FFF2-40B4-BE49-F238E27FC236}">
                            <a16:creationId xmlns:a16="http://schemas.microsoft.com/office/drawing/2014/main" id="{9A6CA460-C797-4F41-BE4D-49D8B5015723}"/>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71" name="Group 2570">
                    <a:extLst>
                      <a:ext uri="{FF2B5EF4-FFF2-40B4-BE49-F238E27FC236}">
                        <a16:creationId xmlns:a16="http://schemas.microsoft.com/office/drawing/2014/main" id="{5306A91F-CF42-4203-8ED0-4140C16B11AE}"/>
                      </a:ext>
                    </a:extLst>
                  </p:cNvPr>
                  <p:cNvGrpSpPr>
                    <a:grpSpLocks/>
                  </p:cNvGrpSpPr>
                  <p:nvPr/>
                </p:nvGrpSpPr>
                <p:grpSpPr>
                  <a:xfrm>
                    <a:off x="11166615" y="2825631"/>
                    <a:ext cx="787402" cy="787406"/>
                    <a:chOff x="1454941" y="4721722"/>
                    <a:chExt cx="473625" cy="473627"/>
                  </a:xfrm>
                </p:grpSpPr>
                <p:grpSp>
                  <p:nvGrpSpPr>
                    <p:cNvPr id="2595" name="Group 64">
                      <a:extLst>
                        <a:ext uri="{FF2B5EF4-FFF2-40B4-BE49-F238E27FC236}">
                          <a16:creationId xmlns:a16="http://schemas.microsoft.com/office/drawing/2014/main" id="{68666D46-D43D-46E1-909D-AF14B0BBDAA3}"/>
                        </a:ext>
                      </a:extLst>
                    </p:cNvPr>
                    <p:cNvGrpSpPr>
                      <a:grpSpLocks noChangeAspect="1"/>
                    </p:cNvGrpSpPr>
                    <p:nvPr/>
                  </p:nvGrpSpPr>
                  <p:grpSpPr bwMode="auto">
                    <a:xfrm rot="8100000">
                      <a:off x="1454941" y="4721722"/>
                      <a:ext cx="473625" cy="473627"/>
                      <a:chOff x="701" y="2170"/>
                      <a:chExt cx="587" cy="587"/>
                    </a:xfrm>
                  </p:grpSpPr>
                  <p:sp>
                    <p:nvSpPr>
                      <p:cNvPr id="2627" name="Oval 65">
                        <a:extLst>
                          <a:ext uri="{FF2B5EF4-FFF2-40B4-BE49-F238E27FC236}">
                            <a16:creationId xmlns:a16="http://schemas.microsoft.com/office/drawing/2014/main" id="{48017EDA-3C29-4CEA-BC0B-80A8BD0796C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8" name="Line 66">
                        <a:extLst>
                          <a:ext uri="{FF2B5EF4-FFF2-40B4-BE49-F238E27FC236}">
                            <a16:creationId xmlns:a16="http://schemas.microsoft.com/office/drawing/2014/main" id="{ECC64540-7134-4AED-B8DC-42AEAAC639A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9" name="Line 67">
                        <a:extLst>
                          <a:ext uri="{FF2B5EF4-FFF2-40B4-BE49-F238E27FC236}">
                            <a16:creationId xmlns:a16="http://schemas.microsoft.com/office/drawing/2014/main" id="{EBC0855D-C2AD-4CE4-A679-0D1CEE5DFE8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0" name="Line 69">
                        <a:extLst>
                          <a:ext uri="{FF2B5EF4-FFF2-40B4-BE49-F238E27FC236}">
                            <a16:creationId xmlns:a16="http://schemas.microsoft.com/office/drawing/2014/main" id="{7B34E0DF-7FC3-43DD-A1D6-182D7FDAC5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1" name="Line 74">
                        <a:extLst>
                          <a:ext uri="{FF2B5EF4-FFF2-40B4-BE49-F238E27FC236}">
                            <a16:creationId xmlns:a16="http://schemas.microsoft.com/office/drawing/2014/main" id="{770634F6-E1B0-440B-AFDC-6D0B459927B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2" name="Freeform 78">
                        <a:extLst>
                          <a:ext uri="{FF2B5EF4-FFF2-40B4-BE49-F238E27FC236}">
                            <a16:creationId xmlns:a16="http://schemas.microsoft.com/office/drawing/2014/main" id="{300F9431-A749-4C71-AD48-AD88F20713B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3" name="Freeform 80">
                        <a:extLst>
                          <a:ext uri="{FF2B5EF4-FFF2-40B4-BE49-F238E27FC236}">
                            <a16:creationId xmlns:a16="http://schemas.microsoft.com/office/drawing/2014/main" id="{9E0FD27F-6C1B-400F-9C1B-00F54ADC628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96" name="Group 2595">
                      <a:extLst>
                        <a:ext uri="{FF2B5EF4-FFF2-40B4-BE49-F238E27FC236}">
                          <a16:creationId xmlns:a16="http://schemas.microsoft.com/office/drawing/2014/main" id="{CE1C56D1-BF2E-456A-8742-E449CE5B6954}"/>
                        </a:ext>
                      </a:extLst>
                    </p:cNvPr>
                    <p:cNvGrpSpPr/>
                    <p:nvPr/>
                  </p:nvGrpSpPr>
                  <p:grpSpPr>
                    <a:xfrm>
                      <a:off x="1511214" y="4789508"/>
                      <a:ext cx="356509" cy="349884"/>
                      <a:chOff x="468738" y="2241878"/>
                      <a:chExt cx="1655483" cy="1624719"/>
                    </a:xfrm>
                  </p:grpSpPr>
                  <p:sp>
                    <p:nvSpPr>
                      <p:cNvPr id="2597" name="Freeform 5">
                        <a:extLst>
                          <a:ext uri="{FF2B5EF4-FFF2-40B4-BE49-F238E27FC236}">
                            <a16:creationId xmlns:a16="http://schemas.microsoft.com/office/drawing/2014/main" id="{079EC6CC-9435-45FB-99C1-4DA947F1C1D5}"/>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8" name="Freeform 6">
                        <a:extLst>
                          <a:ext uri="{FF2B5EF4-FFF2-40B4-BE49-F238E27FC236}">
                            <a16:creationId xmlns:a16="http://schemas.microsoft.com/office/drawing/2014/main" id="{67DED1AC-696F-4863-88E4-DC7BF1B7AFC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9" name="Line 7">
                        <a:extLst>
                          <a:ext uri="{FF2B5EF4-FFF2-40B4-BE49-F238E27FC236}">
                            <a16:creationId xmlns:a16="http://schemas.microsoft.com/office/drawing/2014/main" id="{96B13123-371D-44BC-BB70-7C4F8079D61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Freeform 8">
                        <a:extLst>
                          <a:ext uri="{FF2B5EF4-FFF2-40B4-BE49-F238E27FC236}">
                            <a16:creationId xmlns:a16="http://schemas.microsoft.com/office/drawing/2014/main" id="{B3A07210-1401-48E3-A8BF-B23886CB466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1" name="Line 9">
                        <a:extLst>
                          <a:ext uri="{FF2B5EF4-FFF2-40B4-BE49-F238E27FC236}">
                            <a16:creationId xmlns:a16="http://schemas.microsoft.com/office/drawing/2014/main" id="{4FEE55D0-43F0-43C7-8DAD-C5DD766DADCD}"/>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02" name="Group 2601">
                        <a:extLst>
                          <a:ext uri="{FF2B5EF4-FFF2-40B4-BE49-F238E27FC236}">
                            <a16:creationId xmlns:a16="http://schemas.microsoft.com/office/drawing/2014/main" id="{577664B5-37A8-493E-B365-0E0ACC7C6DA7}"/>
                          </a:ext>
                        </a:extLst>
                      </p:cNvPr>
                      <p:cNvGrpSpPr/>
                      <p:nvPr/>
                    </p:nvGrpSpPr>
                    <p:grpSpPr>
                      <a:xfrm>
                        <a:off x="1207113" y="2241878"/>
                        <a:ext cx="178734" cy="348678"/>
                        <a:chOff x="1207113" y="2241878"/>
                        <a:chExt cx="178734" cy="348678"/>
                      </a:xfrm>
                    </p:grpSpPr>
                    <p:sp>
                      <p:nvSpPr>
                        <p:cNvPr id="2625" name="Freeform 10">
                          <a:extLst>
                            <a:ext uri="{FF2B5EF4-FFF2-40B4-BE49-F238E27FC236}">
                              <a16:creationId xmlns:a16="http://schemas.microsoft.com/office/drawing/2014/main" id="{E9CB101F-2595-44CC-AD60-3A73F43F42F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Line 11">
                          <a:extLst>
                            <a:ext uri="{FF2B5EF4-FFF2-40B4-BE49-F238E27FC236}">
                              <a16:creationId xmlns:a16="http://schemas.microsoft.com/office/drawing/2014/main" id="{23C1F688-8311-46B8-8B85-E7E7D6E8483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603" name="Freeform 12">
                        <a:extLst>
                          <a:ext uri="{FF2B5EF4-FFF2-40B4-BE49-F238E27FC236}">
                            <a16:creationId xmlns:a16="http://schemas.microsoft.com/office/drawing/2014/main" id="{F1354873-BD82-41AF-80DC-D721DDAC4F8A}"/>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4" name="Line 13">
                        <a:extLst>
                          <a:ext uri="{FF2B5EF4-FFF2-40B4-BE49-F238E27FC236}">
                            <a16:creationId xmlns:a16="http://schemas.microsoft.com/office/drawing/2014/main" id="{4A9B55B8-5062-4C04-BDB6-BD30FA45C77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Freeform 14">
                        <a:extLst>
                          <a:ext uri="{FF2B5EF4-FFF2-40B4-BE49-F238E27FC236}">
                            <a16:creationId xmlns:a16="http://schemas.microsoft.com/office/drawing/2014/main" id="{3D292B1F-307D-43C6-A918-7788D68A170A}"/>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15">
                        <a:extLst>
                          <a:ext uri="{FF2B5EF4-FFF2-40B4-BE49-F238E27FC236}">
                            <a16:creationId xmlns:a16="http://schemas.microsoft.com/office/drawing/2014/main" id="{F68ABD0A-ED29-43E2-8441-4741D68A0EEB}"/>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Freeform 16">
                        <a:extLst>
                          <a:ext uri="{FF2B5EF4-FFF2-40B4-BE49-F238E27FC236}">
                            <a16:creationId xmlns:a16="http://schemas.microsoft.com/office/drawing/2014/main" id="{B09506B1-ED45-4096-9E3D-87566CD29B6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Line 17">
                        <a:extLst>
                          <a:ext uri="{FF2B5EF4-FFF2-40B4-BE49-F238E27FC236}">
                            <a16:creationId xmlns:a16="http://schemas.microsoft.com/office/drawing/2014/main" id="{FD44C52F-0896-4DC8-A573-F8CB9574C9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18">
                        <a:extLst>
                          <a:ext uri="{FF2B5EF4-FFF2-40B4-BE49-F238E27FC236}">
                            <a16:creationId xmlns:a16="http://schemas.microsoft.com/office/drawing/2014/main" id="{8B280140-F2C2-406D-8F12-93B0BF8169F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0" name="Line 19">
                        <a:extLst>
                          <a:ext uri="{FF2B5EF4-FFF2-40B4-BE49-F238E27FC236}">
                            <a16:creationId xmlns:a16="http://schemas.microsoft.com/office/drawing/2014/main" id="{83F8B07E-AAC4-429D-815C-600BDC67EDC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1" name="Freeform 35">
                        <a:extLst>
                          <a:ext uri="{FF2B5EF4-FFF2-40B4-BE49-F238E27FC236}">
                            <a16:creationId xmlns:a16="http://schemas.microsoft.com/office/drawing/2014/main" id="{97B06452-C058-4055-A778-3D273FF5AD9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2" name="Freeform 36">
                        <a:extLst>
                          <a:ext uri="{FF2B5EF4-FFF2-40B4-BE49-F238E27FC236}">
                            <a16:creationId xmlns:a16="http://schemas.microsoft.com/office/drawing/2014/main" id="{D7B94512-5B7D-4E49-8A20-B7E0C59BA32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3" name="Freeform 37">
                        <a:extLst>
                          <a:ext uri="{FF2B5EF4-FFF2-40B4-BE49-F238E27FC236}">
                            <a16:creationId xmlns:a16="http://schemas.microsoft.com/office/drawing/2014/main" id="{1E9CFF19-0920-4C18-BFB6-4FA99EFAAE4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4" name="Freeform 38">
                        <a:extLst>
                          <a:ext uri="{FF2B5EF4-FFF2-40B4-BE49-F238E27FC236}">
                            <a16:creationId xmlns:a16="http://schemas.microsoft.com/office/drawing/2014/main" id="{2192574F-D87E-4799-8617-9A8269FBF2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Freeform 39">
                        <a:extLst>
                          <a:ext uri="{FF2B5EF4-FFF2-40B4-BE49-F238E27FC236}">
                            <a16:creationId xmlns:a16="http://schemas.microsoft.com/office/drawing/2014/main" id="{9FA83DBA-16E9-4E67-B605-610342F2FBB7}"/>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6" name="Freeform 40">
                        <a:extLst>
                          <a:ext uri="{FF2B5EF4-FFF2-40B4-BE49-F238E27FC236}">
                            <a16:creationId xmlns:a16="http://schemas.microsoft.com/office/drawing/2014/main" id="{794D13CB-1AC0-4D12-AEFA-19F35871F8B2}"/>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41">
                        <a:extLst>
                          <a:ext uri="{FF2B5EF4-FFF2-40B4-BE49-F238E27FC236}">
                            <a16:creationId xmlns:a16="http://schemas.microsoft.com/office/drawing/2014/main" id="{3CA60CD9-2A9F-491F-8D32-DDBDC4302D7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42">
                        <a:extLst>
                          <a:ext uri="{FF2B5EF4-FFF2-40B4-BE49-F238E27FC236}">
                            <a16:creationId xmlns:a16="http://schemas.microsoft.com/office/drawing/2014/main" id="{AC0B106E-7CF1-42EC-AAD0-953B1807B0E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43">
                        <a:extLst>
                          <a:ext uri="{FF2B5EF4-FFF2-40B4-BE49-F238E27FC236}">
                            <a16:creationId xmlns:a16="http://schemas.microsoft.com/office/drawing/2014/main" id="{60BD6986-D4CD-4ADE-9B50-18E17A0C999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Freeform 44">
                        <a:extLst>
                          <a:ext uri="{FF2B5EF4-FFF2-40B4-BE49-F238E27FC236}">
                            <a16:creationId xmlns:a16="http://schemas.microsoft.com/office/drawing/2014/main" id="{0FA51F8C-4D65-4873-A054-070A6C457B6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1" name="Freeform 45">
                        <a:extLst>
                          <a:ext uri="{FF2B5EF4-FFF2-40B4-BE49-F238E27FC236}">
                            <a16:creationId xmlns:a16="http://schemas.microsoft.com/office/drawing/2014/main" id="{E9F5D74C-2F8B-4F52-8D34-E92E4468010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22" name="Group 2621">
                        <a:extLst>
                          <a:ext uri="{FF2B5EF4-FFF2-40B4-BE49-F238E27FC236}">
                            <a16:creationId xmlns:a16="http://schemas.microsoft.com/office/drawing/2014/main" id="{4FF9ADDA-1468-4D45-AEA1-96EB78A9EE70}"/>
                          </a:ext>
                        </a:extLst>
                      </p:cNvPr>
                      <p:cNvGrpSpPr/>
                      <p:nvPr/>
                    </p:nvGrpSpPr>
                    <p:grpSpPr>
                      <a:xfrm flipV="1">
                        <a:off x="1202047" y="3517919"/>
                        <a:ext cx="178734" cy="348678"/>
                        <a:chOff x="1207113" y="2241878"/>
                        <a:chExt cx="178734" cy="348678"/>
                      </a:xfrm>
                    </p:grpSpPr>
                    <p:sp>
                      <p:nvSpPr>
                        <p:cNvPr id="2623" name="Freeform 10">
                          <a:extLst>
                            <a:ext uri="{FF2B5EF4-FFF2-40B4-BE49-F238E27FC236}">
                              <a16:creationId xmlns:a16="http://schemas.microsoft.com/office/drawing/2014/main" id="{5A6D455D-656C-4F54-B11B-755FBDCF70F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11">
                          <a:extLst>
                            <a:ext uri="{FF2B5EF4-FFF2-40B4-BE49-F238E27FC236}">
                              <a16:creationId xmlns:a16="http://schemas.microsoft.com/office/drawing/2014/main" id="{33810577-77C5-4BB1-8A88-CC1A2075B6D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72" name="Group 2571">
                    <a:extLst>
                      <a:ext uri="{FF2B5EF4-FFF2-40B4-BE49-F238E27FC236}">
                        <a16:creationId xmlns:a16="http://schemas.microsoft.com/office/drawing/2014/main" id="{C61809E5-62A9-440A-A401-E1007C351F86}"/>
                      </a:ext>
                    </a:extLst>
                  </p:cNvPr>
                  <p:cNvGrpSpPr>
                    <a:grpSpLocks/>
                  </p:cNvGrpSpPr>
                  <p:nvPr/>
                </p:nvGrpSpPr>
                <p:grpSpPr>
                  <a:xfrm>
                    <a:off x="11709639" y="2297897"/>
                    <a:ext cx="690952" cy="690956"/>
                    <a:chOff x="2268747" y="4723725"/>
                    <a:chExt cx="415610" cy="415612"/>
                  </a:xfrm>
                </p:grpSpPr>
                <p:grpSp>
                  <p:nvGrpSpPr>
                    <p:cNvPr id="2573" name="Group 64">
                      <a:extLst>
                        <a:ext uri="{FF2B5EF4-FFF2-40B4-BE49-F238E27FC236}">
                          <a16:creationId xmlns:a16="http://schemas.microsoft.com/office/drawing/2014/main" id="{9DBB6DAD-A6C6-40EE-9D11-4FDDF7A94CC3}"/>
                        </a:ext>
                      </a:extLst>
                    </p:cNvPr>
                    <p:cNvGrpSpPr>
                      <a:grpSpLocks noChangeAspect="1"/>
                    </p:cNvGrpSpPr>
                    <p:nvPr/>
                  </p:nvGrpSpPr>
                  <p:grpSpPr bwMode="auto">
                    <a:xfrm rot="8100000">
                      <a:off x="2268747" y="4723725"/>
                      <a:ext cx="415610" cy="415612"/>
                      <a:chOff x="701" y="2170"/>
                      <a:chExt cx="587" cy="587"/>
                    </a:xfrm>
                  </p:grpSpPr>
                  <p:sp>
                    <p:nvSpPr>
                      <p:cNvPr id="2588" name="Oval 65">
                        <a:extLst>
                          <a:ext uri="{FF2B5EF4-FFF2-40B4-BE49-F238E27FC236}">
                            <a16:creationId xmlns:a16="http://schemas.microsoft.com/office/drawing/2014/main" id="{2F93913E-9239-4896-982E-D4D3A9AFE9C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9" name="Line 66">
                        <a:extLst>
                          <a:ext uri="{FF2B5EF4-FFF2-40B4-BE49-F238E27FC236}">
                            <a16:creationId xmlns:a16="http://schemas.microsoft.com/office/drawing/2014/main" id="{D516032C-314F-477F-8498-CF760CA9C2A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Line 67">
                        <a:extLst>
                          <a:ext uri="{FF2B5EF4-FFF2-40B4-BE49-F238E27FC236}">
                            <a16:creationId xmlns:a16="http://schemas.microsoft.com/office/drawing/2014/main" id="{85B0E08B-5F9E-46EF-A67C-8D3A7A7AA95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1" name="Line 69">
                        <a:extLst>
                          <a:ext uri="{FF2B5EF4-FFF2-40B4-BE49-F238E27FC236}">
                            <a16:creationId xmlns:a16="http://schemas.microsoft.com/office/drawing/2014/main" id="{0664106A-4AB4-44F0-A49A-B05E83868C8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2" name="Line 74">
                        <a:extLst>
                          <a:ext uri="{FF2B5EF4-FFF2-40B4-BE49-F238E27FC236}">
                            <a16:creationId xmlns:a16="http://schemas.microsoft.com/office/drawing/2014/main" id="{8D41BA7D-C67A-4F1F-B524-BCA54A80431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78">
                        <a:extLst>
                          <a:ext uri="{FF2B5EF4-FFF2-40B4-BE49-F238E27FC236}">
                            <a16:creationId xmlns:a16="http://schemas.microsoft.com/office/drawing/2014/main" id="{4DCCC22E-3471-4F39-BEA9-CFA0AEAFC8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Freeform 80">
                        <a:extLst>
                          <a:ext uri="{FF2B5EF4-FFF2-40B4-BE49-F238E27FC236}">
                            <a16:creationId xmlns:a16="http://schemas.microsoft.com/office/drawing/2014/main" id="{14AD47E3-0647-4EC9-8616-F585647C93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4" name="Group 2573">
                      <a:extLst>
                        <a:ext uri="{FF2B5EF4-FFF2-40B4-BE49-F238E27FC236}">
                          <a16:creationId xmlns:a16="http://schemas.microsoft.com/office/drawing/2014/main" id="{BA6D1D58-9EF5-4F3D-9C9A-D92D4231AB5E}"/>
                        </a:ext>
                      </a:extLst>
                    </p:cNvPr>
                    <p:cNvGrpSpPr/>
                    <p:nvPr/>
                  </p:nvGrpSpPr>
                  <p:grpSpPr>
                    <a:xfrm>
                      <a:off x="2318076" y="4830163"/>
                      <a:ext cx="313949" cy="233075"/>
                      <a:chOff x="3707533" y="2731244"/>
                      <a:chExt cx="389644" cy="289271"/>
                    </a:xfrm>
                  </p:grpSpPr>
                  <p:sp>
                    <p:nvSpPr>
                      <p:cNvPr id="2575" name="Freeform 33">
                        <a:extLst>
                          <a:ext uri="{FF2B5EF4-FFF2-40B4-BE49-F238E27FC236}">
                            <a16:creationId xmlns:a16="http://schemas.microsoft.com/office/drawing/2014/main" id="{80A16413-CD19-4E27-B19D-1876E3D9E01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34">
                        <a:extLst>
                          <a:ext uri="{FF2B5EF4-FFF2-40B4-BE49-F238E27FC236}">
                            <a16:creationId xmlns:a16="http://schemas.microsoft.com/office/drawing/2014/main" id="{EEC10E00-0779-42FA-BA1F-124206B4AEC3}"/>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7" name="Freeform 37">
                        <a:extLst>
                          <a:ext uri="{FF2B5EF4-FFF2-40B4-BE49-F238E27FC236}">
                            <a16:creationId xmlns:a16="http://schemas.microsoft.com/office/drawing/2014/main" id="{963E082D-F51E-4420-8A3F-38B60DC37A31}"/>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8" name="Freeform 38">
                        <a:extLst>
                          <a:ext uri="{FF2B5EF4-FFF2-40B4-BE49-F238E27FC236}">
                            <a16:creationId xmlns:a16="http://schemas.microsoft.com/office/drawing/2014/main" id="{2229CE04-704A-4F27-9E8C-4699B60CF8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9" name="Freeform 32">
                        <a:extLst>
                          <a:ext uri="{FF2B5EF4-FFF2-40B4-BE49-F238E27FC236}">
                            <a16:creationId xmlns:a16="http://schemas.microsoft.com/office/drawing/2014/main" id="{16FA405E-767F-4D26-BF6E-C576C2E17C78}"/>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0" name="Freeform 35">
                        <a:extLst>
                          <a:ext uri="{FF2B5EF4-FFF2-40B4-BE49-F238E27FC236}">
                            <a16:creationId xmlns:a16="http://schemas.microsoft.com/office/drawing/2014/main" id="{0F88731B-778E-480E-900A-9228C1157CD7}"/>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36">
                        <a:extLst>
                          <a:ext uri="{FF2B5EF4-FFF2-40B4-BE49-F238E27FC236}">
                            <a16:creationId xmlns:a16="http://schemas.microsoft.com/office/drawing/2014/main" id="{F25F84DB-8F4E-415C-BB36-DB2CD3B65E6C}"/>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2" name="Freeform 25">
                        <a:extLst>
                          <a:ext uri="{FF2B5EF4-FFF2-40B4-BE49-F238E27FC236}">
                            <a16:creationId xmlns:a16="http://schemas.microsoft.com/office/drawing/2014/main" id="{02BBD59A-2CF4-40AE-95A7-FDDEB8F965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39">
                        <a:extLst>
                          <a:ext uri="{FF2B5EF4-FFF2-40B4-BE49-F238E27FC236}">
                            <a16:creationId xmlns:a16="http://schemas.microsoft.com/office/drawing/2014/main" id="{14FD731D-AF94-44C5-AA74-3DB4EBA6A96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4" name="Freeform 26">
                        <a:extLst>
                          <a:ext uri="{FF2B5EF4-FFF2-40B4-BE49-F238E27FC236}">
                            <a16:creationId xmlns:a16="http://schemas.microsoft.com/office/drawing/2014/main" id="{C9E194B8-9DAD-40BE-B56F-801BDAE7113F}"/>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5" name="Rectangle 27">
                        <a:extLst>
                          <a:ext uri="{FF2B5EF4-FFF2-40B4-BE49-F238E27FC236}">
                            <a16:creationId xmlns:a16="http://schemas.microsoft.com/office/drawing/2014/main" id="{1BF09F81-C3A8-46B8-9D87-D52CC9D3D467}"/>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6" name="Line 29">
                        <a:extLst>
                          <a:ext uri="{FF2B5EF4-FFF2-40B4-BE49-F238E27FC236}">
                            <a16:creationId xmlns:a16="http://schemas.microsoft.com/office/drawing/2014/main" id="{796B5EC7-95AE-4638-B151-4AD5F6E603C5}"/>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Line 31">
                        <a:extLst>
                          <a:ext uri="{FF2B5EF4-FFF2-40B4-BE49-F238E27FC236}">
                            <a16:creationId xmlns:a16="http://schemas.microsoft.com/office/drawing/2014/main" id="{D74D1B5A-4088-48FD-BA39-A25E047F6E5B}"/>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563" name="Group 2562">
                <a:extLst>
                  <a:ext uri="{FF2B5EF4-FFF2-40B4-BE49-F238E27FC236}">
                    <a16:creationId xmlns:a16="http://schemas.microsoft.com/office/drawing/2014/main" id="{AAF30ECC-6547-47B1-87A6-A8AAD991517A}"/>
                  </a:ext>
                </a:extLst>
              </p:cNvPr>
              <p:cNvGrpSpPr/>
              <p:nvPr/>
            </p:nvGrpSpPr>
            <p:grpSpPr>
              <a:xfrm>
                <a:off x="3584215" y="5655005"/>
                <a:ext cx="1001118" cy="830281"/>
                <a:chOff x="3592922" y="5629153"/>
                <a:chExt cx="1003674" cy="832401"/>
              </a:xfrm>
            </p:grpSpPr>
            <p:pic>
              <p:nvPicPr>
                <p:cNvPr id="2564" name="Picture 1">
                  <a:extLst>
                    <a:ext uri="{FF2B5EF4-FFF2-40B4-BE49-F238E27FC236}">
                      <a16:creationId xmlns:a16="http://schemas.microsoft.com/office/drawing/2014/main" id="{75AF8220-8A57-4FDB-B139-F9D621D94305}"/>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5" name="Rectangle 2564">
                  <a:extLst>
                    <a:ext uri="{FF2B5EF4-FFF2-40B4-BE49-F238E27FC236}">
                      <a16:creationId xmlns:a16="http://schemas.microsoft.com/office/drawing/2014/main" id="{4929924E-CEF7-4D8B-86DF-DF00A77B72EA}"/>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552" name="Group 2551">
              <a:extLst>
                <a:ext uri="{FF2B5EF4-FFF2-40B4-BE49-F238E27FC236}">
                  <a16:creationId xmlns:a16="http://schemas.microsoft.com/office/drawing/2014/main" id="{51D29E4F-03A2-4BAC-8059-D5DCBDD11A12}"/>
                </a:ext>
              </a:extLst>
            </p:cNvPr>
            <p:cNvGrpSpPr/>
            <p:nvPr/>
          </p:nvGrpSpPr>
          <p:grpSpPr>
            <a:xfrm>
              <a:off x="4527697" y="3616012"/>
              <a:ext cx="3535922" cy="312851"/>
              <a:chOff x="4538813" y="3457139"/>
              <a:chExt cx="3544948" cy="313650"/>
            </a:xfrm>
          </p:grpSpPr>
          <p:grpSp>
            <p:nvGrpSpPr>
              <p:cNvPr id="2553" name="Group 2552">
                <a:extLst>
                  <a:ext uri="{FF2B5EF4-FFF2-40B4-BE49-F238E27FC236}">
                    <a16:creationId xmlns:a16="http://schemas.microsoft.com/office/drawing/2014/main" id="{E6379E1F-991C-4636-B00D-F1EA2FB6A8A6}"/>
                  </a:ext>
                </a:extLst>
              </p:cNvPr>
              <p:cNvGrpSpPr/>
              <p:nvPr/>
            </p:nvGrpSpPr>
            <p:grpSpPr>
              <a:xfrm>
                <a:off x="4538813" y="3463012"/>
                <a:ext cx="3544948" cy="307777"/>
                <a:chOff x="4538813" y="3463012"/>
                <a:chExt cx="3544948" cy="307777"/>
              </a:xfrm>
            </p:grpSpPr>
            <p:sp>
              <p:nvSpPr>
                <p:cNvPr id="2555" name="Rectangle 2554">
                  <a:extLst>
                    <a:ext uri="{FF2B5EF4-FFF2-40B4-BE49-F238E27FC236}">
                      <a16:creationId xmlns:a16="http://schemas.microsoft.com/office/drawing/2014/main" id="{7750E31C-C095-4F8A-9D86-212FAC5C5A8D}"/>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6" name="Rectangle 2555">
                  <a:extLst>
                    <a:ext uri="{FF2B5EF4-FFF2-40B4-BE49-F238E27FC236}">
                      <a16:creationId xmlns:a16="http://schemas.microsoft.com/office/drawing/2014/main" id="{1F2EFAF6-495E-421C-9B59-459A62399704}"/>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7" name="Rectangle 2556">
                  <a:extLst>
                    <a:ext uri="{FF2B5EF4-FFF2-40B4-BE49-F238E27FC236}">
                      <a16:creationId xmlns:a16="http://schemas.microsoft.com/office/drawing/2014/main" id="{C6DF208E-6FED-42D9-975F-7FBD667FFE52}"/>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8" name="Rectangle 2557">
                  <a:extLst>
                    <a:ext uri="{FF2B5EF4-FFF2-40B4-BE49-F238E27FC236}">
                      <a16:creationId xmlns:a16="http://schemas.microsoft.com/office/drawing/2014/main" id="{5F78BF88-FDAC-42E0-A249-8550DAA3715B}"/>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9" name="Rectangle 2558">
                  <a:extLst>
                    <a:ext uri="{FF2B5EF4-FFF2-40B4-BE49-F238E27FC236}">
                      <a16:creationId xmlns:a16="http://schemas.microsoft.com/office/drawing/2014/main" id="{5C62A79A-F215-4467-88C4-C7C5AEB53BA9}"/>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0" name="Rectangle 2559">
                  <a:extLst>
                    <a:ext uri="{FF2B5EF4-FFF2-40B4-BE49-F238E27FC236}">
                      <a16:creationId xmlns:a16="http://schemas.microsoft.com/office/drawing/2014/main" id="{37B94D35-6F11-4577-80FF-BCFEF99FDF82}"/>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1" name="Rectangle 2560">
                  <a:extLst>
                    <a:ext uri="{FF2B5EF4-FFF2-40B4-BE49-F238E27FC236}">
                      <a16:creationId xmlns:a16="http://schemas.microsoft.com/office/drawing/2014/main" id="{221BF5B3-2BFB-4332-90AF-579C99572C34}"/>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554" name="Rectangle 2553">
                <a:extLst>
                  <a:ext uri="{FF2B5EF4-FFF2-40B4-BE49-F238E27FC236}">
                    <a16:creationId xmlns:a16="http://schemas.microsoft.com/office/drawing/2014/main" id="{A0ED15A4-6FBB-4630-817C-E5CA8C0D42EE}"/>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2652" name="Group 2651">
            <a:extLst>
              <a:ext uri="{FF2B5EF4-FFF2-40B4-BE49-F238E27FC236}">
                <a16:creationId xmlns:a16="http://schemas.microsoft.com/office/drawing/2014/main" id="{C21894EF-8D81-47AF-94A0-45D68D6932EE}"/>
              </a:ext>
            </a:extLst>
          </p:cNvPr>
          <p:cNvGrpSpPr/>
          <p:nvPr/>
        </p:nvGrpSpPr>
        <p:grpSpPr>
          <a:xfrm>
            <a:off x="1943243" y="1703763"/>
            <a:ext cx="1530261" cy="1365012"/>
            <a:chOff x="1943749" y="1841576"/>
            <a:chExt cx="1530660" cy="1365368"/>
          </a:xfrm>
        </p:grpSpPr>
        <p:grpSp>
          <p:nvGrpSpPr>
            <p:cNvPr id="2653" name="Group 2652">
              <a:extLst>
                <a:ext uri="{FF2B5EF4-FFF2-40B4-BE49-F238E27FC236}">
                  <a16:creationId xmlns:a16="http://schemas.microsoft.com/office/drawing/2014/main" id="{9D43AD93-F054-4F22-9C47-031FF358F2A0}"/>
                </a:ext>
              </a:extLst>
            </p:cNvPr>
            <p:cNvGrpSpPr/>
            <p:nvPr/>
          </p:nvGrpSpPr>
          <p:grpSpPr>
            <a:xfrm>
              <a:off x="1943749" y="2407609"/>
              <a:ext cx="1530660" cy="799335"/>
              <a:chOff x="1943749" y="2407609"/>
              <a:chExt cx="1530660" cy="799335"/>
            </a:xfrm>
          </p:grpSpPr>
          <p:cxnSp>
            <p:nvCxnSpPr>
              <p:cNvPr id="2655" name="Elbow Connector 558">
                <a:extLst>
                  <a:ext uri="{FF2B5EF4-FFF2-40B4-BE49-F238E27FC236}">
                    <a16:creationId xmlns:a16="http://schemas.microsoft.com/office/drawing/2014/main" id="{DEC905F3-34A7-4164-8DD6-65C69465FB24}"/>
                  </a:ext>
                </a:extLst>
              </p:cNvPr>
              <p:cNvCxnSpPr>
                <a:cxnSpLocks/>
                <a:endCxn id="2657"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656" name="Elbow Connector 558">
                <a:extLst>
                  <a:ext uri="{FF2B5EF4-FFF2-40B4-BE49-F238E27FC236}">
                    <a16:creationId xmlns:a16="http://schemas.microsoft.com/office/drawing/2014/main" id="{EF5ED769-8942-4EF3-A434-ED135F9CA3BD}"/>
                  </a:ext>
                </a:extLst>
              </p:cNvPr>
              <p:cNvCxnSpPr>
                <a:cxnSpLocks/>
                <a:stCxn id="2657" idx="3"/>
                <a:endCxn id="2790" idx="1"/>
              </p:cNvCxnSpPr>
              <p:nvPr/>
            </p:nvCxnSpPr>
            <p:spPr>
              <a:xfrm flipV="1">
                <a:off x="2543276" y="2407609"/>
                <a:ext cx="931133" cy="374066"/>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657" name="Picture 2656">
                <a:extLst>
                  <a:ext uri="{FF2B5EF4-FFF2-40B4-BE49-F238E27FC236}">
                    <a16:creationId xmlns:a16="http://schemas.microsoft.com/office/drawing/2014/main" id="{D5403F6B-3C67-477E-9311-B8DE5513186C}"/>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654" name="Picture 2653">
              <a:extLst>
                <a:ext uri="{FF2B5EF4-FFF2-40B4-BE49-F238E27FC236}">
                  <a16:creationId xmlns:a16="http://schemas.microsoft.com/office/drawing/2014/main" id="{63FFDBFE-9326-4209-A7C2-ABBAC504C2DC}"/>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2658" name="Group 2657">
            <a:extLst>
              <a:ext uri="{FF2B5EF4-FFF2-40B4-BE49-F238E27FC236}">
                <a16:creationId xmlns:a16="http://schemas.microsoft.com/office/drawing/2014/main" id="{D7FB6158-CC12-4760-BB82-DF90F7E182B9}"/>
              </a:ext>
            </a:extLst>
          </p:cNvPr>
          <p:cNvGrpSpPr/>
          <p:nvPr/>
        </p:nvGrpSpPr>
        <p:grpSpPr>
          <a:xfrm>
            <a:off x="2965498" y="1615862"/>
            <a:ext cx="6753931" cy="2719939"/>
            <a:chOff x="2966271" y="1753652"/>
            <a:chExt cx="6755690" cy="2720648"/>
          </a:xfrm>
        </p:grpSpPr>
        <p:grpSp>
          <p:nvGrpSpPr>
            <p:cNvPr id="2659" name="Group 2658">
              <a:extLst>
                <a:ext uri="{FF2B5EF4-FFF2-40B4-BE49-F238E27FC236}">
                  <a16:creationId xmlns:a16="http://schemas.microsoft.com/office/drawing/2014/main" id="{9D3D52D7-2776-44E8-9120-6174062C6346}"/>
                </a:ext>
              </a:extLst>
            </p:cNvPr>
            <p:cNvGrpSpPr/>
            <p:nvPr/>
          </p:nvGrpSpPr>
          <p:grpSpPr>
            <a:xfrm>
              <a:off x="2966271" y="3623425"/>
              <a:ext cx="5559816" cy="850875"/>
              <a:chOff x="2941193" y="3591455"/>
              <a:chExt cx="5574010" cy="853047"/>
            </a:xfrm>
          </p:grpSpPr>
          <p:grpSp>
            <p:nvGrpSpPr>
              <p:cNvPr id="2776" name="Group 2775">
                <a:extLst>
                  <a:ext uri="{FF2B5EF4-FFF2-40B4-BE49-F238E27FC236}">
                    <a16:creationId xmlns:a16="http://schemas.microsoft.com/office/drawing/2014/main" id="{00BA3D5E-4095-42F0-BD41-468FFB7C4EF9}"/>
                  </a:ext>
                </a:extLst>
              </p:cNvPr>
              <p:cNvGrpSpPr/>
              <p:nvPr/>
            </p:nvGrpSpPr>
            <p:grpSpPr>
              <a:xfrm>
                <a:off x="2941193" y="3710094"/>
                <a:ext cx="5483474" cy="734408"/>
                <a:chOff x="2941193" y="3710094"/>
                <a:chExt cx="5483474" cy="734408"/>
              </a:xfrm>
            </p:grpSpPr>
            <p:cxnSp>
              <p:nvCxnSpPr>
                <p:cNvPr id="2778" name="Elbow Connector 558">
                  <a:extLst>
                    <a:ext uri="{FF2B5EF4-FFF2-40B4-BE49-F238E27FC236}">
                      <a16:creationId xmlns:a16="http://schemas.microsoft.com/office/drawing/2014/main" id="{8B9029C7-DF2B-4965-B1E5-F32D76C0DE15}"/>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779" name="Rectangle 2778">
                  <a:extLst>
                    <a:ext uri="{FF2B5EF4-FFF2-40B4-BE49-F238E27FC236}">
                      <a16:creationId xmlns:a16="http://schemas.microsoft.com/office/drawing/2014/main" id="{C3FD32AE-1C38-473F-8AD8-C33FE8424978}"/>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777" name="Rectangle 2776">
                <a:extLst>
                  <a:ext uri="{FF2B5EF4-FFF2-40B4-BE49-F238E27FC236}">
                    <a16:creationId xmlns:a16="http://schemas.microsoft.com/office/drawing/2014/main" id="{37017EB8-7285-4A76-B7F5-C589DB18F416}"/>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2660" name="Group 2659">
              <a:extLst>
                <a:ext uri="{FF2B5EF4-FFF2-40B4-BE49-F238E27FC236}">
                  <a16:creationId xmlns:a16="http://schemas.microsoft.com/office/drawing/2014/main" id="{EBC6F251-C2B6-409D-9525-3993D71F99B9}"/>
                </a:ext>
              </a:extLst>
            </p:cNvPr>
            <p:cNvGrpSpPr/>
            <p:nvPr/>
          </p:nvGrpSpPr>
          <p:grpSpPr>
            <a:xfrm>
              <a:off x="6614264" y="1753652"/>
              <a:ext cx="3107697" cy="1310210"/>
              <a:chOff x="6614264" y="1753652"/>
              <a:chExt cx="3107697" cy="1310210"/>
            </a:xfrm>
          </p:grpSpPr>
          <p:sp>
            <p:nvSpPr>
              <p:cNvPr id="2661" name="Rectangle 2660">
                <a:extLst>
                  <a:ext uri="{FF2B5EF4-FFF2-40B4-BE49-F238E27FC236}">
                    <a16:creationId xmlns:a16="http://schemas.microsoft.com/office/drawing/2014/main" id="{58B19519-A64D-4A41-BFC7-F8F1687A412A}"/>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662" name="Group 2661">
                <a:extLst>
                  <a:ext uri="{FF2B5EF4-FFF2-40B4-BE49-F238E27FC236}">
                    <a16:creationId xmlns:a16="http://schemas.microsoft.com/office/drawing/2014/main" id="{AFA6B6C5-A4D0-4D13-B8DE-6F93B38DBBDC}"/>
                  </a:ext>
                </a:extLst>
              </p:cNvPr>
              <p:cNvGrpSpPr/>
              <p:nvPr/>
            </p:nvGrpSpPr>
            <p:grpSpPr>
              <a:xfrm>
                <a:off x="6970489" y="2381238"/>
                <a:ext cx="876005" cy="682624"/>
                <a:chOff x="8153924" y="1224949"/>
                <a:chExt cx="927652" cy="722869"/>
              </a:xfrm>
            </p:grpSpPr>
            <p:sp>
              <p:nvSpPr>
                <p:cNvPr id="2753" name="TextBox 2752">
                  <a:extLst>
                    <a:ext uri="{FF2B5EF4-FFF2-40B4-BE49-F238E27FC236}">
                      <a16:creationId xmlns:a16="http://schemas.microsoft.com/office/drawing/2014/main" id="{C7B62840-6B49-4D3C-B0B7-8DD09C4C9724}"/>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54" name="Group 2753">
                  <a:extLst>
                    <a:ext uri="{FF2B5EF4-FFF2-40B4-BE49-F238E27FC236}">
                      <a16:creationId xmlns:a16="http://schemas.microsoft.com/office/drawing/2014/main" id="{EBAC9032-D93E-4DF9-ACD6-5C6E695C1759}"/>
                    </a:ext>
                  </a:extLst>
                </p:cNvPr>
                <p:cNvGrpSpPr/>
                <p:nvPr/>
              </p:nvGrpSpPr>
              <p:grpSpPr>
                <a:xfrm>
                  <a:off x="8153924" y="1224949"/>
                  <a:ext cx="927652" cy="402840"/>
                  <a:chOff x="8153924" y="1224949"/>
                  <a:chExt cx="927652" cy="402840"/>
                </a:xfrm>
              </p:grpSpPr>
              <p:sp>
                <p:nvSpPr>
                  <p:cNvPr id="2755" name="Freeform 78">
                    <a:extLst>
                      <a:ext uri="{FF2B5EF4-FFF2-40B4-BE49-F238E27FC236}">
                        <a16:creationId xmlns:a16="http://schemas.microsoft.com/office/drawing/2014/main" id="{C95E63B4-AF85-45C6-A9BB-F7A877B6F491}"/>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80">
                    <a:extLst>
                      <a:ext uri="{FF2B5EF4-FFF2-40B4-BE49-F238E27FC236}">
                        <a16:creationId xmlns:a16="http://schemas.microsoft.com/office/drawing/2014/main" id="{37E56A3A-47CC-4041-BC53-ED875003051C}"/>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6">
                    <a:extLst>
                      <a:ext uri="{FF2B5EF4-FFF2-40B4-BE49-F238E27FC236}">
                        <a16:creationId xmlns:a16="http://schemas.microsoft.com/office/drawing/2014/main" id="{BF58212D-DAB0-4907-A2B2-605A1B054179}"/>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77">
                    <a:extLst>
                      <a:ext uri="{FF2B5EF4-FFF2-40B4-BE49-F238E27FC236}">
                        <a16:creationId xmlns:a16="http://schemas.microsoft.com/office/drawing/2014/main" id="{C1ED7B0C-DE80-402D-9DA8-E34757242AC5}"/>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78">
                    <a:extLst>
                      <a:ext uri="{FF2B5EF4-FFF2-40B4-BE49-F238E27FC236}">
                        <a16:creationId xmlns:a16="http://schemas.microsoft.com/office/drawing/2014/main" id="{FA0C0EBC-99E6-4A23-A533-F624D74AC910}"/>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79">
                    <a:extLst>
                      <a:ext uri="{FF2B5EF4-FFF2-40B4-BE49-F238E27FC236}">
                        <a16:creationId xmlns:a16="http://schemas.microsoft.com/office/drawing/2014/main" id="{1BA6C2CD-E217-41A1-9A03-C0DB70994B3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0">
                    <a:extLst>
                      <a:ext uri="{FF2B5EF4-FFF2-40B4-BE49-F238E27FC236}">
                        <a16:creationId xmlns:a16="http://schemas.microsoft.com/office/drawing/2014/main" id="{644BA3A1-EFF9-4C2F-B941-0C41E0C640E7}"/>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1">
                    <a:extLst>
                      <a:ext uri="{FF2B5EF4-FFF2-40B4-BE49-F238E27FC236}">
                        <a16:creationId xmlns:a16="http://schemas.microsoft.com/office/drawing/2014/main" id="{7AD40BE7-DD64-432C-8995-644E2ED5570F}"/>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2">
                    <a:extLst>
                      <a:ext uri="{FF2B5EF4-FFF2-40B4-BE49-F238E27FC236}">
                        <a16:creationId xmlns:a16="http://schemas.microsoft.com/office/drawing/2014/main" id="{A84BD5C3-DE9C-4B5C-8B28-08847EC28688}"/>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3">
                    <a:extLst>
                      <a:ext uri="{FF2B5EF4-FFF2-40B4-BE49-F238E27FC236}">
                        <a16:creationId xmlns:a16="http://schemas.microsoft.com/office/drawing/2014/main" id="{F3740F3E-6E6B-431E-AC8A-044920E38A4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4">
                    <a:extLst>
                      <a:ext uri="{FF2B5EF4-FFF2-40B4-BE49-F238E27FC236}">
                        <a16:creationId xmlns:a16="http://schemas.microsoft.com/office/drawing/2014/main" id="{3B0730A7-0E85-4092-8154-864C5E6AF9DB}"/>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5">
                    <a:extLst>
                      <a:ext uri="{FF2B5EF4-FFF2-40B4-BE49-F238E27FC236}">
                        <a16:creationId xmlns:a16="http://schemas.microsoft.com/office/drawing/2014/main" id="{9841AD02-BEBD-48C8-859D-6AAB2D8FAFD6}"/>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Freeform 1586">
                    <a:extLst>
                      <a:ext uri="{FF2B5EF4-FFF2-40B4-BE49-F238E27FC236}">
                        <a16:creationId xmlns:a16="http://schemas.microsoft.com/office/drawing/2014/main" id="{F22DD2CC-B909-41AD-9089-DAC533B5FCD0}"/>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8" name="Freeform 1587">
                    <a:extLst>
                      <a:ext uri="{FF2B5EF4-FFF2-40B4-BE49-F238E27FC236}">
                        <a16:creationId xmlns:a16="http://schemas.microsoft.com/office/drawing/2014/main" id="{B5E6EB29-C7FD-47A9-A155-9793CF7BADF5}"/>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88">
                    <a:extLst>
                      <a:ext uri="{FF2B5EF4-FFF2-40B4-BE49-F238E27FC236}">
                        <a16:creationId xmlns:a16="http://schemas.microsoft.com/office/drawing/2014/main" id="{B09F64A5-2CF0-4BCE-8915-568DBA810F99}"/>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70" name="Rectangle 1589">
                    <a:extLst>
                      <a:ext uri="{FF2B5EF4-FFF2-40B4-BE49-F238E27FC236}">
                        <a16:creationId xmlns:a16="http://schemas.microsoft.com/office/drawing/2014/main" id="{C587525C-9E28-4791-A95C-E4197AF35C94}"/>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Rectangle 1590">
                    <a:extLst>
                      <a:ext uri="{FF2B5EF4-FFF2-40B4-BE49-F238E27FC236}">
                        <a16:creationId xmlns:a16="http://schemas.microsoft.com/office/drawing/2014/main" id="{A8DC3B47-C25B-4C91-B65E-7653E20D7B19}"/>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1">
                    <a:extLst>
                      <a:ext uri="{FF2B5EF4-FFF2-40B4-BE49-F238E27FC236}">
                        <a16:creationId xmlns:a16="http://schemas.microsoft.com/office/drawing/2014/main" id="{58D1F62C-9D0E-4AF3-ABE5-CB540355F92E}"/>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2">
                    <a:extLst>
                      <a:ext uri="{FF2B5EF4-FFF2-40B4-BE49-F238E27FC236}">
                        <a16:creationId xmlns:a16="http://schemas.microsoft.com/office/drawing/2014/main" id="{B1704352-C657-42D7-A344-265CAB328E20}"/>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3">
                    <a:extLst>
                      <a:ext uri="{FF2B5EF4-FFF2-40B4-BE49-F238E27FC236}">
                        <a16:creationId xmlns:a16="http://schemas.microsoft.com/office/drawing/2014/main" id="{6744E02A-2C07-43E6-8F15-0C91B735199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596">
                    <a:extLst>
                      <a:ext uri="{FF2B5EF4-FFF2-40B4-BE49-F238E27FC236}">
                        <a16:creationId xmlns:a16="http://schemas.microsoft.com/office/drawing/2014/main" id="{06B55468-31C3-4A1B-AED6-04C9FD5DFD67}"/>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3" name="Group 2662">
                <a:extLst>
                  <a:ext uri="{FF2B5EF4-FFF2-40B4-BE49-F238E27FC236}">
                    <a16:creationId xmlns:a16="http://schemas.microsoft.com/office/drawing/2014/main" id="{779806AD-6C25-4083-8E5B-C4C1E9CEB9A3}"/>
                  </a:ext>
                </a:extLst>
              </p:cNvPr>
              <p:cNvGrpSpPr/>
              <p:nvPr/>
            </p:nvGrpSpPr>
            <p:grpSpPr>
              <a:xfrm>
                <a:off x="7508988" y="1995190"/>
                <a:ext cx="2049581" cy="1005869"/>
                <a:chOff x="8356478" y="3790294"/>
                <a:chExt cx="3013725" cy="1479041"/>
              </a:xfrm>
            </p:grpSpPr>
            <p:sp>
              <p:nvSpPr>
                <p:cNvPr id="2750" name="Rectangle 2749">
                  <a:extLst>
                    <a:ext uri="{FF2B5EF4-FFF2-40B4-BE49-F238E27FC236}">
                      <a16:creationId xmlns:a16="http://schemas.microsoft.com/office/drawing/2014/main" id="{19AAA109-BC3C-4168-96DB-23409C54A3BD}"/>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751" name="Rectangle 2750">
                  <a:extLst>
                    <a:ext uri="{FF2B5EF4-FFF2-40B4-BE49-F238E27FC236}">
                      <a16:creationId xmlns:a16="http://schemas.microsoft.com/office/drawing/2014/main" id="{2B12BF84-9D64-4E09-ABC0-4838CF5E0BFC}"/>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752" name="Straight Arrow Connector 2751">
                  <a:extLst>
                    <a:ext uri="{FF2B5EF4-FFF2-40B4-BE49-F238E27FC236}">
                      <a16:creationId xmlns:a16="http://schemas.microsoft.com/office/drawing/2014/main" id="{BE4AEDCD-7CEE-4BA3-B06E-521F2FC114F7}"/>
                    </a:ext>
                  </a:extLst>
                </p:cNvPr>
                <p:cNvCxnSpPr>
                  <a:cxnSpLocks/>
                  <a:stCxn id="2750"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664" name="Group 2663">
                <a:extLst>
                  <a:ext uri="{FF2B5EF4-FFF2-40B4-BE49-F238E27FC236}">
                    <a16:creationId xmlns:a16="http://schemas.microsoft.com/office/drawing/2014/main" id="{DC04D586-E1D8-4E5C-B99B-C6BBFFDFAB46}"/>
                  </a:ext>
                </a:extLst>
              </p:cNvPr>
              <p:cNvGrpSpPr/>
              <p:nvPr/>
            </p:nvGrpSpPr>
            <p:grpSpPr>
              <a:xfrm>
                <a:off x="8556157" y="1876097"/>
                <a:ext cx="1088511" cy="894403"/>
                <a:chOff x="10800033" y="2297897"/>
                <a:chExt cx="1600558" cy="1315140"/>
              </a:xfrm>
            </p:grpSpPr>
            <p:grpSp>
              <p:nvGrpSpPr>
                <p:cNvPr id="2668" name="Group 2667">
                  <a:extLst>
                    <a:ext uri="{FF2B5EF4-FFF2-40B4-BE49-F238E27FC236}">
                      <a16:creationId xmlns:a16="http://schemas.microsoft.com/office/drawing/2014/main" id="{A89E69C7-49A1-4000-9950-EBAC8CA1B09F}"/>
                    </a:ext>
                  </a:extLst>
                </p:cNvPr>
                <p:cNvGrpSpPr>
                  <a:grpSpLocks/>
                </p:cNvGrpSpPr>
                <p:nvPr/>
              </p:nvGrpSpPr>
              <p:grpSpPr>
                <a:xfrm>
                  <a:off x="10800033" y="2339037"/>
                  <a:ext cx="613092" cy="613092"/>
                  <a:chOff x="745985" y="4768134"/>
                  <a:chExt cx="368776" cy="368777"/>
                </a:xfrm>
              </p:grpSpPr>
              <p:grpSp>
                <p:nvGrpSpPr>
                  <p:cNvPr id="2732" name="Group 64">
                    <a:extLst>
                      <a:ext uri="{FF2B5EF4-FFF2-40B4-BE49-F238E27FC236}">
                        <a16:creationId xmlns:a16="http://schemas.microsoft.com/office/drawing/2014/main" id="{270653EB-1221-4E55-A872-07DA6A4D5469}"/>
                      </a:ext>
                    </a:extLst>
                  </p:cNvPr>
                  <p:cNvGrpSpPr>
                    <a:grpSpLocks noChangeAspect="1"/>
                  </p:cNvGrpSpPr>
                  <p:nvPr/>
                </p:nvGrpSpPr>
                <p:grpSpPr bwMode="auto">
                  <a:xfrm rot="8100000">
                    <a:off x="745985" y="4768134"/>
                    <a:ext cx="368776" cy="368777"/>
                    <a:chOff x="701" y="2170"/>
                    <a:chExt cx="587" cy="587"/>
                  </a:xfrm>
                </p:grpSpPr>
                <p:sp>
                  <p:nvSpPr>
                    <p:cNvPr id="2743" name="Oval 65">
                      <a:extLst>
                        <a:ext uri="{FF2B5EF4-FFF2-40B4-BE49-F238E27FC236}">
                          <a16:creationId xmlns:a16="http://schemas.microsoft.com/office/drawing/2014/main" id="{CAB198EC-B8A8-4765-909A-393BA373DEB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44" name="Line 66">
                      <a:extLst>
                        <a:ext uri="{FF2B5EF4-FFF2-40B4-BE49-F238E27FC236}">
                          <a16:creationId xmlns:a16="http://schemas.microsoft.com/office/drawing/2014/main" id="{B127D925-037B-47B9-9F5C-0A0B3BA42522}"/>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Line 67">
                      <a:extLst>
                        <a:ext uri="{FF2B5EF4-FFF2-40B4-BE49-F238E27FC236}">
                          <a16:creationId xmlns:a16="http://schemas.microsoft.com/office/drawing/2014/main" id="{D8E099BD-6EA4-4293-B259-5EC0543ED26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6" name="Line 69">
                      <a:extLst>
                        <a:ext uri="{FF2B5EF4-FFF2-40B4-BE49-F238E27FC236}">
                          <a16:creationId xmlns:a16="http://schemas.microsoft.com/office/drawing/2014/main" id="{E6195BBB-229C-47DF-931A-384F8FBD362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7" name="Line 74">
                      <a:extLst>
                        <a:ext uri="{FF2B5EF4-FFF2-40B4-BE49-F238E27FC236}">
                          <a16:creationId xmlns:a16="http://schemas.microsoft.com/office/drawing/2014/main" id="{00850C55-42A3-4B9F-A529-D1A195F627E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8" name="Freeform 78">
                      <a:extLst>
                        <a:ext uri="{FF2B5EF4-FFF2-40B4-BE49-F238E27FC236}">
                          <a16:creationId xmlns:a16="http://schemas.microsoft.com/office/drawing/2014/main" id="{559D4D9C-1C19-49C7-A407-957B1E078F3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Freeform 80">
                      <a:extLst>
                        <a:ext uri="{FF2B5EF4-FFF2-40B4-BE49-F238E27FC236}">
                          <a16:creationId xmlns:a16="http://schemas.microsoft.com/office/drawing/2014/main" id="{AD492F38-689B-4129-AD47-B76A2E16A5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733" name="Group 2732">
                    <a:extLst>
                      <a:ext uri="{FF2B5EF4-FFF2-40B4-BE49-F238E27FC236}">
                        <a16:creationId xmlns:a16="http://schemas.microsoft.com/office/drawing/2014/main" id="{C243F852-F7C4-4AF7-8C67-26676BA9EC55}"/>
                      </a:ext>
                    </a:extLst>
                  </p:cNvPr>
                  <p:cNvGrpSpPr/>
                  <p:nvPr/>
                </p:nvGrpSpPr>
                <p:grpSpPr>
                  <a:xfrm>
                    <a:off x="837312" y="4814434"/>
                    <a:ext cx="136805" cy="278689"/>
                    <a:chOff x="2806700" y="2803319"/>
                    <a:chExt cx="433387" cy="882861"/>
                  </a:xfrm>
                </p:grpSpPr>
                <p:grpSp>
                  <p:nvGrpSpPr>
                    <p:cNvPr id="2734" name="Group 2733">
                      <a:extLst>
                        <a:ext uri="{FF2B5EF4-FFF2-40B4-BE49-F238E27FC236}">
                          <a16:creationId xmlns:a16="http://schemas.microsoft.com/office/drawing/2014/main" id="{97A60284-DE98-44D1-B913-D3B198EF8409}"/>
                        </a:ext>
                      </a:extLst>
                    </p:cNvPr>
                    <p:cNvGrpSpPr>
                      <a:grpSpLocks noChangeAspect="1"/>
                    </p:cNvGrpSpPr>
                    <p:nvPr/>
                  </p:nvGrpSpPr>
                  <p:grpSpPr bwMode="auto">
                    <a:xfrm>
                      <a:off x="2806700" y="3043242"/>
                      <a:ext cx="433387" cy="642938"/>
                      <a:chOff x="1768" y="1917"/>
                      <a:chExt cx="273" cy="405"/>
                    </a:xfrm>
                  </p:grpSpPr>
                  <p:sp>
                    <p:nvSpPr>
                      <p:cNvPr id="2736" name="Freeform 52">
                        <a:extLst>
                          <a:ext uri="{FF2B5EF4-FFF2-40B4-BE49-F238E27FC236}">
                            <a16:creationId xmlns:a16="http://schemas.microsoft.com/office/drawing/2014/main" id="{1B98D386-940A-465C-9452-B8EF67E676E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37" name="Line 54">
                        <a:extLst>
                          <a:ext uri="{FF2B5EF4-FFF2-40B4-BE49-F238E27FC236}">
                            <a16:creationId xmlns:a16="http://schemas.microsoft.com/office/drawing/2014/main" id="{E3D69D3E-4F19-4DA7-B690-592610930F43}"/>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Line 55">
                        <a:extLst>
                          <a:ext uri="{FF2B5EF4-FFF2-40B4-BE49-F238E27FC236}">
                            <a16:creationId xmlns:a16="http://schemas.microsoft.com/office/drawing/2014/main" id="{C8A4F9CF-BD23-455E-9A0A-23C58F2983C3}"/>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56">
                        <a:extLst>
                          <a:ext uri="{FF2B5EF4-FFF2-40B4-BE49-F238E27FC236}">
                            <a16:creationId xmlns:a16="http://schemas.microsoft.com/office/drawing/2014/main" id="{3C0B9349-4AA0-41AC-AA01-880AA6AB993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Line 57">
                        <a:extLst>
                          <a:ext uri="{FF2B5EF4-FFF2-40B4-BE49-F238E27FC236}">
                            <a16:creationId xmlns:a16="http://schemas.microsoft.com/office/drawing/2014/main" id="{2B63E123-4831-414D-B659-F0A1C934EEAD}"/>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58">
                        <a:extLst>
                          <a:ext uri="{FF2B5EF4-FFF2-40B4-BE49-F238E27FC236}">
                            <a16:creationId xmlns:a16="http://schemas.microsoft.com/office/drawing/2014/main" id="{6C9AE756-F450-4C48-A839-995B58C73C03}"/>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Rectangle 2741">
                        <a:extLst>
                          <a:ext uri="{FF2B5EF4-FFF2-40B4-BE49-F238E27FC236}">
                            <a16:creationId xmlns:a16="http://schemas.microsoft.com/office/drawing/2014/main" id="{37B58052-5F2B-4910-9CBD-A04CC5D6DBD1}"/>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735" name="Oval 2734">
                      <a:extLst>
                        <a:ext uri="{FF2B5EF4-FFF2-40B4-BE49-F238E27FC236}">
                          <a16:creationId xmlns:a16="http://schemas.microsoft.com/office/drawing/2014/main" id="{6C07589A-6596-4896-91A6-99A0EEA4C962}"/>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9" name="Group 2668">
                  <a:extLst>
                    <a:ext uri="{FF2B5EF4-FFF2-40B4-BE49-F238E27FC236}">
                      <a16:creationId xmlns:a16="http://schemas.microsoft.com/office/drawing/2014/main" id="{4C166DC8-CF4F-48D1-99DE-EEF1D7A3B2E4}"/>
                    </a:ext>
                  </a:extLst>
                </p:cNvPr>
                <p:cNvGrpSpPr>
                  <a:grpSpLocks/>
                </p:cNvGrpSpPr>
                <p:nvPr/>
              </p:nvGrpSpPr>
              <p:grpSpPr>
                <a:xfrm>
                  <a:off x="11166615" y="2825631"/>
                  <a:ext cx="787402" cy="787406"/>
                  <a:chOff x="1454941" y="4721722"/>
                  <a:chExt cx="473625" cy="473627"/>
                </a:xfrm>
              </p:grpSpPr>
              <p:grpSp>
                <p:nvGrpSpPr>
                  <p:cNvPr id="2693" name="Group 64">
                    <a:extLst>
                      <a:ext uri="{FF2B5EF4-FFF2-40B4-BE49-F238E27FC236}">
                        <a16:creationId xmlns:a16="http://schemas.microsoft.com/office/drawing/2014/main" id="{A0899A6F-C583-4A2A-BBBC-3CEF426A411B}"/>
                      </a:ext>
                    </a:extLst>
                  </p:cNvPr>
                  <p:cNvGrpSpPr>
                    <a:grpSpLocks noChangeAspect="1"/>
                  </p:cNvGrpSpPr>
                  <p:nvPr/>
                </p:nvGrpSpPr>
                <p:grpSpPr bwMode="auto">
                  <a:xfrm rot="8100000">
                    <a:off x="1454941" y="4721722"/>
                    <a:ext cx="473625" cy="473627"/>
                    <a:chOff x="701" y="2170"/>
                    <a:chExt cx="587" cy="587"/>
                  </a:xfrm>
                </p:grpSpPr>
                <p:sp>
                  <p:nvSpPr>
                    <p:cNvPr id="2725" name="Oval 65">
                      <a:extLst>
                        <a:ext uri="{FF2B5EF4-FFF2-40B4-BE49-F238E27FC236}">
                          <a16:creationId xmlns:a16="http://schemas.microsoft.com/office/drawing/2014/main" id="{0C4D9C3E-FA7C-4490-96D1-8C9EB28F294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26" name="Line 66">
                      <a:extLst>
                        <a:ext uri="{FF2B5EF4-FFF2-40B4-BE49-F238E27FC236}">
                          <a16:creationId xmlns:a16="http://schemas.microsoft.com/office/drawing/2014/main" id="{A94027A1-ADEC-41B0-9784-C69165FF810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Line 67">
                      <a:extLst>
                        <a:ext uri="{FF2B5EF4-FFF2-40B4-BE49-F238E27FC236}">
                          <a16:creationId xmlns:a16="http://schemas.microsoft.com/office/drawing/2014/main" id="{05DBFDE7-9748-4980-B84A-68CE00236D8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Line 69">
                      <a:extLst>
                        <a:ext uri="{FF2B5EF4-FFF2-40B4-BE49-F238E27FC236}">
                          <a16:creationId xmlns:a16="http://schemas.microsoft.com/office/drawing/2014/main" id="{3F801DD0-1DA2-4598-B051-669E2131075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Line 74">
                      <a:extLst>
                        <a:ext uri="{FF2B5EF4-FFF2-40B4-BE49-F238E27FC236}">
                          <a16:creationId xmlns:a16="http://schemas.microsoft.com/office/drawing/2014/main" id="{9B82CC21-21EA-40C3-A104-5151B9EF26F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78">
                      <a:extLst>
                        <a:ext uri="{FF2B5EF4-FFF2-40B4-BE49-F238E27FC236}">
                          <a16:creationId xmlns:a16="http://schemas.microsoft.com/office/drawing/2014/main" id="{3DEF3514-24CF-450E-A997-384A80B5D1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80">
                      <a:extLst>
                        <a:ext uri="{FF2B5EF4-FFF2-40B4-BE49-F238E27FC236}">
                          <a16:creationId xmlns:a16="http://schemas.microsoft.com/office/drawing/2014/main" id="{EF3B7C8B-B944-463D-B046-3309C6C6840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94" name="Group 2693">
                    <a:extLst>
                      <a:ext uri="{FF2B5EF4-FFF2-40B4-BE49-F238E27FC236}">
                        <a16:creationId xmlns:a16="http://schemas.microsoft.com/office/drawing/2014/main" id="{DB3B51E3-953D-426E-BB24-8D256B85FE6C}"/>
                      </a:ext>
                    </a:extLst>
                  </p:cNvPr>
                  <p:cNvGrpSpPr/>
                  <p:nvPr/>
                </p:nvGrpSpPr>
                <p:grpSpPr>
                  <a:xfrm>
                    <a:off x="1511214" y="4789508"/>
                    <a:ext cx="356509" cy="349884"/>
                    <a:chOff x="468738" y="2241878"/>
                    <a:chExt cx="1655483" cy="1624719"/>
                  </a:xfrm>
                </p:grpSpPr>
                <p:sp>
                  <p:nvSpPr>
                    <p:cNvPr id="2695" name="Freeform 5">
                      <a:extLst>
                        <a:ext uri="{FF2B5EF4-FFF2-40B4-BE49-F238E27FC236}">
                          <a16:creationId xmlns:a16="http://schemas.microsoft.com/office/drawing/2014/main" id="{26D54149-EAD3-468A-8ADD-3A39AA4083B7}"/>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6">
                      <a:extLst>
                        <a:ext uri="{FF2B5EF4-FFF2-40B4-BE49-F238E27FC236}">
                          <a16:creationId xmlns:a16="http://schemas.microsoft.com/office/drawing/2014/main" id="{F95F8C72-B379-4580-A29A-67836949C7F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Line 7">
                      <a:extLst>
                        <a:ext uri="{FF2B5EF4-FFF2-40B4-BE49-F238E27FC236}">
                          <a16:creationId xmlns:a16="http://schemas.microsoft.com/office/drawing/2014/main" id="{C281E25A-E071-46D3-B8BF-A513062C9C2F}"/>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8">
                      <a:extLst>
                        <a:ext uri="{FF2B5EF4-FFF2-40B4-BE49-F238E27FC236}">
                          <a16:creationId xmlns:a16="http://schemas.microsoft.com/office/drawing/2014/main" id="{C019DD5E-0271-4351-B6B0-95F10D82096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Line 9">
                      <a:extLst>
                        <a:ext uri="{FF2B5EF4-FFF2-40B4-BE49-F238E27FC236}">
                          <a16:creationId xmlns:a16="http://schemas.microsoft.com/office/drawing/2014/main" id="{27A87AA6-C2DA-40D4-B32F-3D9B62C7105A}"/>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00" name="Group 2699">
                      <a:extLst>
                        <a:ext uri="{FF2B5EF4-FFF2-40B4-BE49-F238E27FC236}">
                          <a16:creationId xmlns:a16="http://schemas.microsoft.com/office/drawing/2014/main" id="{4A47DD98-38B9-4658-AB5F-6BD7468FED1A}"/>
                        </a:ext>
                      </a:extLst>
                    </p:cNvPr>
                    <p:cNvGrpSpPr/>
                    <p:nvPr/>
                  </p:nvGrpSpPr>
                  <p:grpSpPr>
                    <a:xfrm>
                      <a:off x="1207113" y="2241878"/>
                      <a:ext cx="178734" cy="348678"/>
                      <a:chOff x="1207113" y="2241878"/>
                      <a:chExt cx="178734" cy="348678"/>
                    </a:xfrm>
                  </p:grpSpPr>
                  <p:sp>
                    <p:nvSpPr>
                      <p:cNvPr id="2723" name="Freeform 10">
                        <a:extLst>
                          <a:ext uri="{FF2B5EF4-FFF2-40B4-BE49-F238E27FC236}">
                            <a16:creationId xmlns:a16="http://schemas.microsoft.com/office/drawing/2014/main" id="{C2FFD16A-8AD7-4306-B2E1-EB9980FDFE1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Line 11">
                        <a:extLst>
                          <a:ext uri="{FF2B5EF4-FFF2-40B4-BE49-F238E27FC236}">
                            <a16:creationId xmlns:a16="http://schemas.microsoft.com/office/drawing/2014/main" id="{4EA6297A-04B1-4E0A-A44C-D2CFBD95B69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701" name="Freeform 12">
                      <a:extLst>
                        <a:ext uri="{FF2B5EF4-FFF2-40B4-BE49-F238E27FC236}">
                          <a16:creationId xmlns:a16="http://schemas.microsoft.com/office/drawing/2014/main" id="{8606DFE0-8434-4247-96D9-35C12098DC9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Line 13">
                      <a:extLst>
                        <a:ext uri="{FF2B5EF4-FFF2-40B4-BE49-F238E27FC236}">
                          <a16:creationId xmlns:a16="http://schemas.microsoft.com/office/drawing/2014/main" id="{8CCEDBE7-E5FD-4723-A16A-CBAB4E95A0CC}"/>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4">
                      <a:extLst>
                        <a:ext uri="{FF2B5EF4-FFF2-40B4-BE49-F238E27FC236}">
                          <a16:creationId xmlns:a16="http://schemas.microsoft.com/office/drawing/2014/main" id="{2DA813E2-AB61-4156-A224-730BCB9FD46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Line 15">
                      <a:extLst>
                        <a:ext uri="{FF2B5EF4-FFF2-40B4-BE49-F238E27FC236}">
                          <a16:creationId xmlns:a16="http://schemas.microsoft.com/office/drawing/2014/main" id="{C3570522-BF74-4C4E-A905-3A6E16C9675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6">
                      <a:extLst>
                        <a:ext uri="{FF2B5EF4-FFF2-40B4-BE49-F238E27FC236}">
                          <a16:creationId xmlns:a16="http://schemas.microsoft.com/office/drawing/2014/main" id="{C4D28821-97D6-4ABA-AAD6-CF209E974A8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Line 17">
                      <a:extLst>
                        <a:ext uri="{FF2B5EF4-FFF2-40B4-BE49-F238E27FC236}">
                          <a16:creationId xmlns:a16="http://schemas.microsoft.com/office/drawing/2014/main" id="{18250D4C-E681-438D-8A68-49D247DDC4FE}"/>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8">
                      <a:extLst>
                        <a:ext uri="{FF2B5EF4-FFF2-40B4-BE49-F238E27FC236}">
                          <a16:creationId xmlns:a16="http://schemas.microsoft.com/office/drawing/2014/main" id="{8750C3FE-4710-468E-8B83-93F999E0547D}"/>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8" name="Line 19">
                      <a:extLst>
                        <a:ext uri="{FF2B5EF4-FFF2-40B4-BE49-F238E27FC236}">
                          <a16:creationId xmlns:a16="http://schemas.microsoft.com/office/drawing/2014/main" id="{6122351E-C179-4241-9F3E-2DF74633980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35">
                      <a:extLst>
                        <a:ext uri="{FF2B5EF4-FFF2-40B4-BE49-F238E27FC236}">
                          <a16:creationId xmlns:a16="http://schemas.microsoft.com/office/drawing/2014/main" id="{A0692789-4188-465F-8127-4B965F060AD6}"/>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36">
                      <a:extLst>
                        <a:ext uri="{FF2B5EF4-FFF2-40B4-BE49-F238E27FC236}">
                          <a16:creationId xmlns:a16="http://schemas.microsoft.com/office/drawing/2014/main" id="{03C5B86D-7834-48FE-96B7-CCC8EAE56E8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37">
                      <a:extLst>
                        <a:ext uri="{FF2B5EF4-FFF2-40B4-BE49-F238E27FC236}">
                          <a16:creationId xmlns:a16="http://schemas.microsoft.com/office/drawing/2014/main" id="{5DA196F7-2D0D-46A5-917A-7A3A0A5E4B2A}"/>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2" name="Freeform 38">
                      <a:extLst>
                        <a:ext uri="{FF2B5EF4-FFF2-40B4-BE49-F238E27FC236}">
                          <a16:creationId xmlns:a16="http://schemas.microsoft.com/office/drawing/2014/main" id="{78D325D3-7612-4F61-9A6E-63EB006CC01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3" name="Freeform 39">
                      <a:extLst>
                        <a:ext uri="{FF2B5EF4-FFF2-40B4-BE49-F238E27FC236}">
                          <a16:creationId xmlns:a16="http://schemas.microsoft.com/office/drawing/2014/main" id="{2176C790-2832-4E0A-94B7-9E957804E4F8}"/>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40">
                      <a:extLst>
                        <a:ext uri="{FF2B5EF4-FFF2-40B4-BE49-F238E27FC236}">
                          <a16:creationId xmlns:a16="http://schemas.microsoft.com/office/drawing/2014/main" id="{180C6540-390D-4DF4-B2F3-7146C16F4EA4}"/>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41">
                      <a:extLst>
                        <a:ext uri="{FF2B5EF4-FFF2-40B4-BE49-F238E27FC236}">
                          <a16:creationId xmlns:a16="http://schemas.microsoft.com/office/drawing/2014/main" id="{B7D4B3DE-4043-417F-A1DB-9458119F7C1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Line 42">
                      <a:extLst>
                        <a:ext uri="{FF2B5EF4-FFF2-40B4-BE49-F238E27FC236}">
                          <a16:creationId xmlns:a16="http://schemas.microsoft.com/office/drawing/2014/main" id="{1708E1E3-43CC-4AFE-A12E-DACDEB73763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43">
                      <a:extLst>
                        <a:ext uri="{FF2B5EF4-FFF2-40B4-BE49-F238E27FC236}">
                          <a16:creationId xmlns:a16="http://schemas.microsoft.com/office/drawing/2014/main" id="{F0D7792E-9EF6-4F3E-8FC7-5F7085B9E634}"/>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44">
                      <a:extLst>
                        <a:ext uri="{FF2B5EF4-FFF2-40B4-BE49-F238E27FC236}">
                          <a16:creationId xmlns:a16="http://schemas.microsoft.com/office/drawing/2014/main" id="{56D13C92-D06E-4B21-A2EB-5B125DEF7B34}"/>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45">
                      <a:extLst>
                        <a:ext uri="{FF2B5EF4-FFF2-40B4-BE49-F238E27FC236}">
                          <a16:creationId xmlns:a16="http://schemas.microsoft.com/office/drawing/2014/main" id="{F7C426F0-E547-403A-81D2-20C35D9BAE5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20" name="Group 2719">
                      <a:extLst>
                        <a:ext uri="{FF2B5EF4-FFF2-40B4-BE49-F238E27FC236}">
                          <a16:creationId xmlns:a16="http://schemas.microsoft.com/office/drawing/2014/main" id="{686002ED-42B5-4055-8897-2A2963AE524F}"/>
                        </a:ext>
                      </a:extLst>
                    </p:cNvPr>
                    <p:cNvGrpSpPr/>
                    <p:nvPr/>
                  </p:nvGrpSpPr>
                  <p:grpSpPr>
                    <a:xfrm flipV="1">
                      <a:off x="1202047" y="3517919"/>
                      <a:ext cx="178734" cy="348678"/>
                      <a:chOff x="1207113" y="2241878"/>
                      <a:chExt cx="178734" cy="348678"/>
                    </a:xfrm>
                  </p:grpSpPr>
                  <p:sp>
                    <p:nvSpPr>
                      <p:cNvPr id="2721" name="Freeform 10">
                        <a:extLst>
                          <a:ext uri="{FF2B5EF4-FFF2-40B4-BE49-F238E27FC236}">
                            <a16:creationId xmlns:a16="http://schemas.microsoft.com/office/drawing/2014/main" id="{6F17A859-4066-4CDC-99D4-AE85681F6C1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Line 11">
                        <a:extLst>
                          <a:ext uri="{FF2B5EF4-FFF2-40B4-BE49-F238E27FC236}">
                            <a16:creationId xmlns:a16="http://schemas.microsoft.com/office/drawing/2014/main" id="{067A70BF-85F0-4410-94A2-3462279FE3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70" name="Group 2669">
                  <a:extLst>
                    <a:ext uri="{FF2B5EF4-FFF2-40B4-BE49-F238E27FC236}">
                      <a16:creationId xmlns:a16="http://schemas.microsoft.com/office/drawing/2014/main" id="{CC405CDE-AE18-4129-84B0-1F81FDC152BF}"/>
                    </a:ext>
                  </a:extLst>
                </p:cNvPr>
                <p:cNvGrpSpPr>
                  <a:grpSpLocks/>
                </p:cNvGrpSpPr>
                <p:nvPr/>
              </p:nvGrpSpPr>
              <p:grpSpPr>
                <a:xfrm>
                  <a:off x="11709639" y="2297897"/>
                  <a:ext cx="690952" cy="690956"/>
                  <a:chOff x="2268747" y="4723725"/>
                  <a:chExt cx="415610" cy="415612"/>
                </a:xfrm>
              </p:grpSpPr>
              <p:grpSp>
                <p:nvGrpSpPr>
                  <p:cNvPr id="2671" name="Group 64">
                    <a:extLst>
                      <a:ext uri="{FF2B5EF4-FFF2-40B4-BE49-F238E27FC236}">
                        <a16:creationId xmlns:a16="http://schemas.microsoft.com/office/drawing/2014/main" id="{4DC46FD6-01A0-4F0A-BD28-39DFE6D4FAFE}"/>
                      </a:ext>
                    </a:extLst>
                  </p:cNvPr>
                  <p:cNvGrpSpPr>
                    <a:grpSpLocks noChangeAspect="1"/>
                  </p:cNvGrpSpPr>
                  <p:nvPr/>
                </p:nvGrpSpPr>
                <p:grpSpPr bwMode="auto">
                  <a:xfrm rot="8100000">
                    <a:off x="2268747" y="4723725"/>
                    <a:ext cx="415610" cy="415612"/>
                    <a:chOff x="701" y="2170"/>
                    <a:chExt cx="587" cy="587"/>
                  </a:xfrm>
                </p:grpSpPr>
                <p:sp>
                  <p:nvSpPr>
                    <p:cNvPr id="2686" name="Oval 65">
                      <a:extLst>
                        <a:ext uri="{FF2B5EF4-FFF2-40B4-BE49-F238E27FC236}">
                          <a16:creationId xmlns:a16="http://schemas.microsoft.com/office/drawing/2014/main" id="{789F25FA-3859-4CA5-A2B6-F7B26F453D1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7" name="Line 66">
                      <a:extLst>
                        <a:ext uri="{FF2B5EF4-FFF2-40B4-BE49-F238E27FC236}">
                          <a16:creationId xmlns:a16="http://schemas.microsoft.com/office/drawing/2014/main" id="{C53C68C3-2252-482C-91AA-31479CF99EFF}"/>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Line 67">
                      <a:extLst>
                        <a:ext uri="{FF2B5EF4-FFF2-40B4-BE49-F238E27FC236}">
                          <a16:creationId xmlns:a16="http://schemas.microsoft.com/office/drawing/2014/main" id="{85115DD7-F1A0-4172-A025-86EA5E7B6E0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9" name="Line 69">
                      <a:extLst>
                        <a:ext uri="{FF2B5EF4-FFF2-40B4-BE49-F238E27FC236}">
                          <a16:creationId xmlns:a16="http://schemas.microsoft.com/office/drawing/2014/main" id="{01116238-EC97-4E07-BA0D-C80C2DEF05F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0" name="Line 74">
                      <a:extLst>
                        <a:ext uri="{FF2B5EF4-FFF2-40B4-BE49-F238E27FC236}">
                          <a16:creationId xmlns:a16="http://schemas.microsoft.com/office/drawing/2014/main" id="{49AC45DF-2BBC-4792-883D-4BA0D503AC1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1" name="Freeform 78">
                      <a:extLst>
                        <a:ext uri="{FF2B5EF4-FFF2-40B4-BE49-F238E27FC236}">
                          <a16:creationId xmlns:a16="http://schemas.microsoft.com/office/drawing/2014/main" id="{92036F62-5F28-492B-85E1-21D2E0C0B0F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2" name="Freeform 80">
                      <a:extLst>
                        <a:ext uri="{FF2B5EF4-FFF2-40B4-BE49-F238E27FC236}">
                          <a16:creationId xmlns:a16="http://schemas.microsoft.com/office/drawing/2014/main" id="{0829CAB6-E09F-42C5-96E7-55698FD97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72" name="Group 2671">
                    <a:extLst>
                      <a:ext uri="{FF2B5EF4-FFF2-40B4-BE49-F238E27FC236}">
                        <a16:creationId xmlns:a16="http://schemas.microsoft.com/office/drawing/2014/main" id="{3C31AEE5-D0F8-4841-AB60-B7E2DB6A4684}"/>
                      </a:ext>
                    </a:extLst>
                  </p:cNvPr>
                  <p:cNvGrpSpPr/>
                  <p:nvPr/>
                </p:nvGrpSpPr>
                <p:grpSpPr>
                  <a:xfrm>
                    <a:off x="2318076" y="4830163"/>
                    <a:ext cx="313949" cy="233075"/>
                    <a:chOff x="3707533" y="2731244"/>
                    <a:chExt cx="389644" cy="289271"/>
                  </a:xfrm>
                </p:grpSpPr>
                <p:sp>
                  <p:nvSpPr>
                    <p:cNvPr id="2673" name="Freeform 33">
                      <a:extLst>
                        <a:ext uri="{FF2B5EF4-FFF2-40B4-BE49-F238E27FC236}">
                          <a16:creationId xmlns:a16="http://schemas.microsoft.com/office/drawing/2014/main" id="{0151549A-AC14-49CF-B30B-A1C6F7DF787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34">
                      <a:extLst>
                        <a:ext uri="{FF2B5EF4-FFF2-40B4-BE49-F238E27FC236}">
                          <a16:creationId xmlns:a16="http://schemas.microsoft.com/office/drawing/2014/main" id="{9B4A5EA3-76E0-45DB-9984-6950C3A0484B}"/>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37">
                      <a:extLst>
                        <a:ext uri="{FF2B5EF4-FFF2-40B4-BE49-F238E27FC236}">
                          <a16:creationId xmlns:a16="http://schemas.microsoft.com/office/drawing/2014/main" id="{E1F32185-EA33-472F-99A4-F414D55F7A80}"/>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38">
                      <a:extLst>
                        <a:ext uri="{FF2B5EF4-FFF2-40B4-BE49-F238E27FC236}">
                          <a16:creationId xmlns:a16="http://schemas.microsoft.com/office/drawing/2014/main" id="{42B7BDD0-915F-41F9-952C-09F5AC7537B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32">
                      <a:extLst>
                        <a:ext uri="{FF2B5EF4-FFF2-40B4-BE49-F238E27FC236}">
                          <a16:creationId xmlns:a16="http://schemas.microsoft.com/office/drawing/2014/main" id="{C286092A-C4B2-4E57-B177-4E244B8F93D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35">
                      <a:extLst>
                        <a:ext uri="{FF2B5EF4-FFF2-40B4-BE49-F238E27FC236}">
                          <a16:creationId xmlns:a16="http://schemas.microsoft.com/office/drawing/2014/main" id="{9EC95140-D671-465A-BA7E-D8AB7213C97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36">
                      <a:extLst>
                        <a:ext uri="{FF2B5EF4-FFF2-40B4-BE49-F238E27FC236}">
                          <a16:creationId xmlns:a16="http://schemas.microsoft.com/office/drawing/2014/main" id="{61EC24B0-FF87-4B89-888E-5D40763649B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25">
                      <a:extLst>
                        <a:ext uri="{FF2B5EF4-FFF2-40B4-BE49-F238E27FC236}">
                          <a16:creationId xmlns:a16="http://schemas.microsoft.com/office/drawing/2014/main" id="{4BDB588A-CF09-47C8-993A-044D1DA36267}"/>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39">
                      <a:extLst>
                        <a:ext uri="{FF2B5EF4-FFF2-40B4-BE49-F238E27FC236}">
                          <a16:creationId xmlns:a16="http://schemas.microsoft.com/office/drawing/2014/main" id="{C242D08F-5DAA-4DC1-926F-1377D1A2672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26">
                      <a:extLst>
                        <a:ext uri="{FF2B5EF4-FFF2-40B4-BE49-F238E27FC236}">
                          <a16:creationId xmlns:a16="http://schemas.microsoft.com/office/drawing/2014/main" id="{DD1059B5-A0E3-4E55-877A-DFBA6D3D1F83}"/>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3" name="Rectangle 27">
                      <a:extLst>
                        <a:ext uri="{FF2B5EF4-FFF2-40B4-BE49-F238E27FC236}">
                          <a16:creationId xmlns:a16="http://schemas.microsoft.com/office/drawing/2014/main" id="{E97D6992-06F8-4D99-BD00-F107B5E1E84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4" name="Line 29">
                      <a:extLst>
                        <a:ext uri="{FF2B5EF4-FFF2-40B4-BE49-F238E27FC236}">
                          <a16:creationId xmlns:a16="http://schemas.microsoft.com/office/drawing/2014/main" id="{D16958BA-626F-4B65-9D35-AF764FCCCD5D}"/>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Line 31">
                      <a:extLst>
                        <a:ext uri="{FF2B5EF4-FFF2-40B4-BE49-F238E27FC236}">
                          <a16:creationId xmlns:a16="http://schemas.microsoft.com/office/drawing/2014/main" id="{1C11765E-38F2-45EF-8CE2-6164E0B08D2C}"/>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65" name="Group 2664">
                <a:extLst>
                  <a:ext uri="{FF2B5EF4-FFF2-40B4-BE49-F238E27FC236}">
                    <a16:creationId xmlns:a16="http://schemas.microsoft.com/office/drawing/2014/main" id="{0E2A8DB1-D60C-402C-8581-5E633E172FC8}"/>
                  </a:ext>
                </a:extLst>
              </p:cNvPr>
              <p:cNvGrpSpPr/>
              <p:nvPr/>
            </p:nvGrpSpPr>
            <p:grpSpPr>
              <a:xfrm>
                <a:off x="6802541" y="1842565"/>
                <a:ext cx="314357" cy="580832"/>
                <a:chOff x="6355981" y="199813"/>
                <a:chExt cx="314357" cy="580832"/>
              </a:xfrm>
            </p:grpSpPr>
            <p:pic>
              <p:nvPicPr>
                <p:cNvPr id="2666" name="Picture 2665">
                  <a:extLst>
                    <a:ext uri="{FF2B5EF4-FFF2-40B4-BE49-F238E27FC236}">
                      <a16:creationId xmlns:a16="http://schemas.microsoft.com/office/drawing/2014/main" id="{9FF5EF69-95C2-458A-8AD8-183F54D4A4F2}"/>
                    </a:ext>
                  </a:extLst>
                </p:cNvPr>
                <p:cNvPicPr>
                  <a:picLocks noChangeAspect="1"/>
                </p:cNvPicPr>
                <p:nvPr/>
              </p:nvPicPr>
              <p:blipFill>
                <a:blip r:embed="rId7"/>
                <a:stretch>
                  <a:fillRect/>
                </a:stretch>
              </p:blipFill>
              <p:spPr>
                <a:xfrm>
                  <a:off x="6355981" y="199813"/>
                  <a:ext cx="302738" cy="580832"/>
                </a:xfrm>
                <a:prstGeom prst="rect">
                  <a:avLst/>
                </a:prstGeom>
              </p:spPr>
            </p:pic>
            <p:sp>
              <p:nvSpPr>
                <p:cNvPr id="2667" name="Freeform 152">
                  <a:extLst>
                    <a:ext uri="{FF2B5EF4-FFF2-40B4-BE49-F238E27FC236}">
                      <a16:creationId xmlns:a16="http://schemas.microsoft.com/office/drawing/2014/main" id="{3931DE09-985E-4FF0-AFC1-D29686EAFDB4}"/>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780" name="Picture 2779">
            <a:extLst>
              <a:ext uri="{FF2B5EF4-FFF2-40B4-BE49-F238E27FC236}">
                <a16:creationId xmlns:a16="http://schemas.microsoft.com/office/drawing/2014/main" id="{9CEEAEE1-4BC9-4112-A942-758CEE72D40E}"/>
              </a:ext>
            </a:extLst>
          </p:cNvPr>
          <p:cNvPicPr>
            <a:picLocks noChangeAspect="1"/>
          </p:cNvPicPr>
          <p:nvPr/>
        </p:nvPicPr>
        <p:blipFill>
          <a:blip r:embed="rId8"/>
          <a:stretch>
            <a:fillRect/>
          </a:stretch>
        </p:blipFill>
        <p:spPr>
          <a:xfrm rot="19800000">
            <a:off x="419512" y="4519337"/>
            <a:ext cx="884802" cy="447298"/>
          </a:xfrm>
          <a:prstGeom prst="rect">
            <a:avLst/>
          </a:prstGeom>
        </p:spPr>
      </p:pic>
      <p:graphicFrame>
        <p:nvGraphicFramePr>
          <p:cNvPr id="2781" name="Table 2780">
            <a:extLst>
              <a:ext uri="{FF2B5EF4-FFF2-40B4-BE49-F238E27FC236}">
                <a16:creationId xmlns:a16="http://schemas.microsoft.com/office/drawing/2014/main" id="{5C571614-AF10-414E-9652-6718E81A3D1C}"/>
              </a:ext>
            </a:extLst>
          </p:cNvPr>
          <p:cNvGraphicFramePr>
            <a:graphicFrameLocks noGrp="1"/>
          </p:cNvGraphicFramePr>
          <p:nvPr>
            <p:extLst>
              <p:ext uri="{D42A27DB-BD31-4B8C-83A1-F6EECF244321}">
                <p14:modId xmlns:p14="http://schemas.microsoft.com/office/powerpoint/2010/main" val="2725970251"/>
              </p:ext>
            </p:extLst>
          </p:nvPr>
        </p:nvGraphicFramePr>
        <p:xfrm>
          <a:off x="721500" y="3068775"/>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782" name="Group 2781">
            <a:extLst>
              <a:ext uri="{FF2B5EF4-FFF2-40B4-BE49-F238E27FC236}">
                <a16:creationId xmlns:a16="http://schemas.microsoft.com/office/drawing/2014/main" id="{116A6D74-4ACA-4656-AEB9-8A711DC99F72}"/>
              </a:ext>
            </a:extLst>
          </p:cNvPr>
          <p:cNvGrpSpPr/>
          <p:nvPr/>
        </p:nvGrpSpPr>
        <p:grpSpPr>
          <a:xfrm>
            <a:off x="765376" y="3345522"/>
            <a:ext cx="381241" cy="766727"/>
            <a:chOff x="765576" y="3316088"/>
            <a:chExt cx="381340" cy="766927"/>
          </a:xfrm>
        </p:grpSpPr>
        <p:pic>
          <p:nvPicPr>
            <p:cNvPr id="2783" name="Picture 2782">
              <a:extLst>
                <a:ext uri="{FF2B5EF4-FFF2-40B4-BE49-F238E27FC236}">
                  <a16:creationId xmlns:a16="http://schemas.microsoft.com/office/drawing/2014/main" id="{5691F5DD-8685-435D-8B5D-F4A200401A90}"/>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784" name="Picture 2783">
              <a:extLst>
                <a:ext uri="{FF2B5EF4-FFF2-40B4-BE49-F238E27FC236}">
                  <a16:creationId xmlns:a16="http://schemas.microsoft.com/office/drawing/2014/main" id="{2E4A6DE5-3FD2-4F01-8540-682344C24BAE}"/>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785" name="Picture 2784">
              <a:extLst>
                <a:ext uri="{FF2B5EF4-FFF2-40B4-BE49-F238E27FC236}">
                  <a16:creationId xmlns:a16="http://schemas.microsoft.com/office/drawing/2014/main" id="{8B5E5F2B-BCA0-4138-A8BC-2F2BD3330A0E}"/>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786" name="Rectangle 2785">
            <a:extLst>
              <a:ext uri="{FF2B5EF4-FFF2-40B4-BE49-F238E27FC236}">
                <a16:creationId xmlns:a16="http://schemas.microsoft.com/office/drawing/2014/main" id="{A8F3906E-0A31-46B5-92C3-7B7725A4F6B3}"/>
              </a:ext>
            </a:extLst>
          </p:cNvPr>
          <p:cNvSpPr>
            <a:spLocks/>
          </p:cNvSpPr>
          <p:nvPr/>
        </p:nvSpPr>
        <p:spPr bwMode="gray">
          <a:xfrm>
            <a:off x="390508" y="1551301"/>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787" name="Group 2786">
            <a:extLst>
              <a:ext uri="{FF2B5EF4-FFF2-40B4-BE49-F238E27FC236}">
                <a16:creationId xmlns:a16="http://schemas.microsoft.com/office/drawing/2014/main" id="{C3247AD9-BB7D-4D45-8B5F-C54C2E18481A}"/>
              </a:ext>
            </a:extLst>
          </p:cNvPr>
          <p:cNvGrpSpPr/>
          <p:nvPr/>
        </p:nvGrpSpPr>
        <p:grpSpPr>
          <a:xfrm>
            <a:off x="3473504" y="1615862"/>
            <a:ext cx="3106888" cy="2174645"/>
            <a:chOff x="3474409" y="1753652"/>
            <a:chExt cx="3107697" cy="2175211"/>
          </a:xfrm>
        </p:grpSpPr>
        <p:sp>
          <p:nvSpPr>
            <p:cNvPr id="2788" name="Rectangle 2787">
              <a:extLst>
                <a:ext uri="{FF2B5EF4-FFF2-40B4-BE49-F238E27FC236}">
                  <a16:creationId xmlns:a16="http://schemas.microsoft.com/office/drawing/2014/main" id="{DCFF4DE0-F488-4B10-A20D-D1329C8DC2B2}"/>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2789" name="Group 2788">
              <a:extLst>
                <a:ext uri="{FF2B5EF4-FFF2-40B4-BE49-F238E27FC236}">
                  <a16:creationId xmlns:a16="http://schemas.microsoft.com/office/drawing/2014/main" id="{7794E59D-51EB-4440-9472-AE8582FF997F}"/>
                </a:ext>
              </a:extLst>
            </p:cNvPr>
            <p:cNvGrpSpPr/>
            <p:nvPr/>
          </p:nvGrpSpPr>
          <p:grpSpPr>
            <a:xfrm>
              <a:off x="3474409" y="1753652"/>
              <a:ext cx="3107697" cy="1338890"/>
              <a:chOff x="3474409" y="1753652"/>
              <a:chExt cx="3107697" cy="1338890"/>
            </a:xfrm>
          </p:grpSpPr>
          <p:sp>
            <p:nvSpPr>
              <p:cNvPr id="2790" name="Rectangle 2789">
                <a:extLst>
                  <a:ext uri="{FF2B5EF4-FFF2-40B4-BE49-F238E27FC236}">
                    <a16:creationId xmlns:a16="http://schemas.microsoft.com/office/drawing/2014/main" id="{13AAB0FA-1723-4E34-92A6-CA9766E874EA}"/>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791" name="Group 2790">
                <a:extLst>
                  <a:ext uri="{FF2B5EF4-FFF2-40B4-BE49-F238E27FC236}">
                    <a16:creationId xmlns:a16="http://schemas.microsoft.com/office/drawing/2014/main" id="{1BD3BD95-5A80-4B1F-8F64-7E08DC34255D}"/>
                  </a:ext>
                </a:extLst>
              </p:cNvPr>
              <p:cNvGrpSpPr/>
              <p:nvPr/>
            </p:nvGrpSpPr>
            <p:grpSpPr>
              <a:xfrm>
                <a:off x="3504077" y="2398698"/>
                <a:ext cx="1559613" cy="693844"/>
                <a:chOff x="3512580" y="2236718"/>
                <a:chExt cx="1563594" cy="695615"/>
              </a:xfrm>
            </p:grpSpPr>
            <p:grpSp>
              <p:nvGrpSpPr>
                <p:cNvPr id="2825" name="Group 2824">
                  <a:extLst>
                    <a:ext uri="{FF2B5EF4-FFF2-40B4-BE49-F238E27FC236}">
                      <a16:creationId xmlns:a16="http://schemas.microsoft.com/office/drawing/2014/main" id="{124585FF-1191-415A-B6D0-9A74D582E15E}"/>
                    </a:ext>
                  </a:extLst>
                </p:cNvPr>
                <p:cNvGrpSpPr>
                  <a:grpSpLocks/>
                </p:cNvGrpSpPr>
                <p:nvPr/>
              </p:nvGrpSpPr>
              <p:grpSpPr>
                <a:xfrm>
                  <a:off x="3512580" y="2240647"/>
                  <a:ext cx="418017" cy="418017"/>
                  <a:chOff x="745985" y="4768134"/>
                  <a:chExt cx="368776" cy="368777"/>
                </a:xfrm>
              </p:grpSpPr>
              <p:grpSp>
                <p:nvGrpSpPr>
                  <p:cNvPr id="2889" name="Group 64">
                    <a:extLst>
                      <a:ext uri="{FF2B5EF4-FFF2-40B4-BE49-F238E27FC236}">
                        <a16:creationId xmlns:a16="http://schemas.microsoft.com/office/drawing/2014/main" id="{34F360FD-BD05-46B0-BC38-CD49FDFC1843}"/>
                      </a:ext>
                    </a:extLst>
                  </p:cNvPr>
                  <p:cNvGrpSpPr>
                    <a:grpSpLocks noChangeAspect="1"/>
                  </p:cNvGrpSpPr>
                  <p:nvPr/>
                </p:nvGrpSpPr>
                <p:grpSpPr bwMode="auto">
                  <a:xfrm rot="8100000">
                    <a:off x="745985" y="4768134"/>
                    <a:ext cx="368776" cy="368777"/>
                    <a:chOff x="701" y="2170"/>
                    <a:chExt cx="587" cy="587"/>
                  </a:xfrm>
                </p:grpSpPr>
                <p:sp>
                  <p:nvSpPr>
                    <p:cNvPr id="2900" name="Oval 65">
                      <a:extLst>
                        <a:ext uri="{FF2B5EF4-FFF2-40B4-BE49-F238E27FC236}">
                          <a16:creationId xmlns:a16="http://schemas.microsoft.com/office/drawing/2014/main" id="{BD8842C8-6ECD-421A-8B2A-6C1F160BF892}"/>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901" name="Line 66">
                      <a:extLst>
                        <a:ext uri="{FF2B5EF4-FFF2-40B4-BE49-F238E27FC236}">
                          <a16:creationId xmlns:a16="http://schemas.microsoft.com/office/drawing/2014/main" id="{89161B8B-D868-44C9-A6FE-D8F8B6247AC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2" name="Line 67">
                      <a:extLst>
                        <a:ext uri="{FF2B5EF4-FFF2-40B4-BE49-F238E27FC236}">
                          <a16:creationId xmlns:a16="http://schemas.microsoft.com/office/drawing/2014/main" id="{92C51CB2-8361-4D59-BEE5-EBD60E915B5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3" name="Line 69">
                      <a:extLst>
                        <a:ext uri="{FF2B5EF4-FFF2-40B4-BE49-F238E27FC236}">
                          <a16:creationId xmlns:a16="http://schemas.microsoft.com/office/drawing/2014/main" id="{D1438558-54A8-4161-B191-E07D4105851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4" name="Line 74">
                      <a:extLst>
                        <a:ext uri="{FF2B5EF4-FFF2-40B4-BE49-F238E27FC236}">
                          <a16:creationId xmlns:a16="http://schemas.microsoft.com/office/drawing/2014/main" id="{6B613237-D0B5-41EF-96D4-F215053AC37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5" name="Freeform 78">
                      <a:extLst>
                        <a:ext uri="{FF2B5EF4-FFF2-40B4-BE49-F238E27FC236}">
                          <a16:creationId xmlns:a16="http://schemas.microsoft.com/office/drawing/2014/main" id="{89D39A45-A7C3-4DCB-BC12-96C06349379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6" name="Freeform 80">
                      <a:extLst>
                        <a:ext uri="{FF2B5EF4-FFF2-40B4-BE49-F238E27FC236}">
                          <a16:creationId xmlns:a16="http://schemas.microsoft.com/office/drawing/2014/main" id="{4791BBDB-1F24-4187-AF6E-81B95B57D8C7}"/>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90" name="Group 2889">
                    <a:extLst>
                      <a:ext uri="{FF2B5EF4-FFF2-40B4-BE49-F238E27FC236}">
                        <a16:creationId xmlns:a16="http://schemas.microsoft.com/office/drawing/2014/main" id="{ABB58CB3-2D65-4685-871A-A42D6CB3D812}"/>
                      </a:ext>
                    </a:extLst>
                  </p:cNvPr>
                  <p:cNvGrpSpPr/>
                  <p:nvPr/>
                </p:nvGrpSpPr>
                <p:grpSpPr>
                  <a:xfrm>
                    <a:off x="837312" y="4814434"/>
                    <a:ext cx="136805" cy="278689"/>
                    <a:chOff x="2806700" y="2803319"/>
                    <a:chExt cx="433387" cy="882861"/>
                  </a:xfrm>
                </p:grpSpPr>
                <p:grpSp>
                  <p:nvGrpSpPr>
                    <p:cNvPr id="2891" name="Group 2890">
                      <a:extLst>
                        <a:ext uri="{FF2B5EF4-FFF2-40B4-BE49-F238E27FC236}">
                          <a16:creationId xmlns:a16="http://schemas.microsoft.com/office/drawing/2014/main" id="{2EFA0C82-8378-4315-A5B4-E6DD355AF079}"/>
                        </a:ext>
                      </a:extLst>
                    </p:cNvPr>
                    <p:cNvGrpSpPr>
                      <a:grpSpLocks noChangeAspect="1"/>
                    </p:cNvGrpSpPr>
                    <p:nvPr/>
                  </p:nvGrpSpPr>
                  <p:grpSpPr bwMode="auto">
                    <a:xfrm>
                      <a:off x="2806700" y="3043242"/>
                      <a:ext cx="433387" cy="642938"/>
                      <a:chOff x="1768" y="1917"/>
                      <a:chExt cx="273" cy="405"/>
                    </a:xfrm>
                  </p:grpSpPr>
                  <p:sp>
                    <p:nvSpPr>
                      <p:cNvPr id="2893" name="Freeform 52">
                        <a:extLst>
                          <a:ext uri="{FF2B5EF4-FFF2-40B4-BE49-F238E27FC236}">
                            <a16:creationId xmlns:a16="http://schemas.microsoft.com/office/drawing/2014/main" id="{7ADBEA46-9E55-4EEB-A89A-F7CE8B07E4C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94" name="Line 54">
                        <a:extLst>
                          <a:ext uri="{FF2B5EF4-FFF2-40B4-BE49-F238E27FC236}">
                            <a16:creationId xmlns:a16="http://schemas.microsoft.com/office/drawing/2014/main" id="{535539C8-595E-41B6-90C0-C93A3526842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5" name="Line 55">
                        <a:extLst>
                          <a:ext uri="{FF2B5EF4-FFF2-40B4-BE49-F238E27FC236}">
                            <a16:creationId xmlns:a16="http://schemas.microsoft.com/office/drawing/2014/main" id="{285B76A7-0480-49DD-A462-5F69C8E9189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6" name="Freeform 56">
                        <a:extLst>
                          <a:ext uri="{FF2B5EF4-FFF2-40B4-BE49-F238E27FC236}">
                            <a16:creationId xmlns:a16="http://schemas.microsoft.com/office/drawing/2014/main" id="{BF4E3EC5-F235-4B2C-A862-DF4101D54248}"/>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7" name="Line 57">
                        <a:extLst>
                          <a:ext uri="{FF2B5EF4-FFF2-40B4-BE49-F238E27FC236}">
                            <a16:creationId xmlns:a16="http://schemas.microsoft.com/office/drawing/2014/main" id="{36218258-E493-4306-8FF7-C5CFF59BEEA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8" name="Freeform 58">
                        <a:extLst>
                          <a:ext uri="{FF2B5EF4-FFF2-40B4-BE49-F238E27FC236}">
                            <a16:creationId xmlns:a16="http://schemas.microsoft.com/office/drawing/2014/main" id="{FA084AE5-B2D3-4A26-8265-859050F16A1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9" name="Rectangle 2898">
                        <a:extLst>
                          <a:ext uri="{FF2B5EF4-FFF2-40B4-BE49-F238E27FC236}">
                            <a16:creationId xmlns:a16="http://schemas.microsoft.com/office/drawing/2014/main" id="{739E3D4B-4E7A-465D-87BF-B7368F39D79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892" name="Oval 2891">
                      <a:extLst>
                        <a:ext uri="{FF2B5EF4-FFF2-40B4-BE49-F238E27FC236}">
                          <a16:creationId xmlns:a16="http://schemas.microsoft.com/office/drawing/2014/main" id="{D5C7C20F-C863-409F-A9B2-A24DCD709165}"/>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826" name="Group 2825">
                  <a:extLst>
                    <a:ext uri="{FF2B5EF4-FFF2-40B4-BE49-F238E27FC236}">
                      <a16:creationId xmlns:a16="http://schemas.microsoft.com/office/drawing/2014/main" id="{D5C6DCF7-09F1-43DA-A170-67E2E37DC81C}"/>
                    </a:ext>
                  </a:extLst>
                </p:cNvPr>
                <p:cNvGrpSpPr>
                  <a:grpSpLocks/>
                </p:cNvGrpSpPr>
                <p:nvPr/>
              </p:nvGrpSpPr>
              <p:grpSpPr>
                <a:xfrm>
                  <a:off x="3989965" y="2395465"/>
                  <a:ext cx="536865" cy="536868"/>
                  <a:chOff x="1454941" y="4721722"/>
                  <a:chExt cx="473625" cy="473627"/>
                </a:xfrm>
              </p:grpSpPr>
              <p:grpSp>
                <p:nvGrpSpPr>
                  <p:cNvPr id="2850" name="Group 64">
                    <a:extLst>
                      <a:ext uri="{FF2B5EF4-FFF2-40B4-BE49-F238E27FC236}">
                        <a16:creationId xmlns:a16="http://schemas.microsoft.com/office/drawing/2014/main" id="{1D0A8E86-86CC-4757-904A-7F9A4904C590}"/>
                      </a:ext>
                    </a:extLst>
                  </p:cNvPr>
                  <p:cNvGrpSpPr>
                    <a:grpSpLocks noChangeAspect="1"/>
                  </p:cNvGrpSpPr>
                  <p:nvPr/>
                </p:nvGrpSpPr>
                <p:grpSpPr bwMode="auto">
                  <a:xfrm rot="8100000">
                    <a:off x="1454941" y="4721722"/>
                    <a:ext cx="473625" cy="473627"/>
                    <a:chOff x="701" y="2170"/>
                    <a:chExt cx="587" cy="587"/>
                  </a:xfrm>
                </p:grpSpPr>
                <p:sp>
                  <p:nvSpPr>
                    <p:cNvPr id="2882" name="Oval 65">
                      <a:extLst>
                        <a:ext uri="{FF2B5EF4-FFF2-40B4-BE49-F238E27FC236}">
                          <a16:creationId xmlns:a16="http://schemas.microsoft.com/office/drawing/2014/main" id="{55F913C5-2E68-4D6E-BE4A-559981517C2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83" name="Line 66">
                      <a:extLst>
                        <a:ext uri="{FF2B5EF4-FFF2-40B4-BE49-F238E27FC236}">
                          <a16:creationId xmlns:a16="http://schemas.microsoft.com/office/drawing/2014/main" id="{BC784C99-EC83-4463-81D7-D0FBC9E65519}"/>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4" name="Line 67">
                      <a:extLst>
                        <a:ext uri="{FF2B5EF4-FFF2-40B4-BE49-F238E27FC236}">
                          <a16:creationId xmlns:a16="http://schemas.microsoft.com/office/drawing/2014/main" id="{B1C95774-80EA-4C57-9970-0CE92CFC932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5" name="Line 69">
                      <a:extLst>
                        <a:ext uri="{FF2B5EF4-FFF2-40B4-BE49-F238E27FC236}">
                          <a16:creationId xmlns:a16="http://schemas.microsoft.com/office/drawing/2014/main" id="{660D7693-309E-4EE4-A996-D3ABCCBD6B47}"/>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6" name="Line 74">
                      <a:extLst>
                        <a:ext uri="{FF2B5EF4-FFF2-40B4-BE49-F238E27FC236}">
                          <a16:creationId xmlns:a16="http://schemas.microsoft.com/office/drawing/2014/main" id="{F07AB838-726C-4C27-86E6-983491355B5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7" name="Freeform 78">
                      <a:extLst>
                        <a:ext uri="{FF2B5EF4-FFF2-40B4-BE49-F238E27FC236}">
                          <a16:creationId xmlns:a16="http://schemas.microsoft.com/office/drawing/2014/main" id="{11A482CE-1ABC-4564-9D24-C76259F36D6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8" name="Freeform 80">
                      <a:extLst>
                        <a:ext uri="{FF2B5EF4-FFF2-40B4-BE49-F238E27FC236}">
                          <a16:creationId xmlns:a16="http://schemas.microsoft.com/office/drawing/2014/main" id="{BC5BDC75-52B7-431D-94A2-4AACBE5BC6E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51" name="Group 2850">
                    <a:extLst>
                      <a:ext uri="{FF2B5EF4-FFF2-40B4-BE49-F238E27FC236}">
                        <a16:creationId xmlns:a16="http://schemas.microsoft.com/office/drawing/2014/main" id="{88BEB8B0-12EF-4DA4-8A92-DAE8748EDCDF}"/>
                      </a:ext>
                    </a:extLst>
                  </p:cNvPr>
                  <p:cNvGrpSpPr/>
                  <p:nvPr/>
                </p:nvGrpSpPr>
                <p:grpSpPr>
                  <a:xfrm>
                    <a:off x="1511214" y="4789508"/>
                    <a:ext cx="356509" cy="349884"/>
                    <a:chOff x="468738" y="2241878"/>
                    <a:chExt cx="1655483" cy="1624719"/>
                  </a:xfrm>
                </p:grpSpPr>
                <p:sp>
                  <p:nvSpPr>
                    <p:cNvPr id="2852" name="Freeform 5">
                      <a:extLst>
                        <a:ext uri="{FF2B5EF4-FFF2-40B4-BE49-F238E27FC236}">
                          <a16:creationId xmlns:a16="http://schemas.microsoft.com/office/drawing/2014/main" id="{F95E5343-0075-489A-9126-5816D0B57C1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53" name="Freeform 6">
                      <a:extLst>
                        <a:ext uri="{FF2B5EF4-FFF2-40B4-BE49-F238E27FC236}">
                          <a16:creationId xmlns:a16="http://schemas.microsoft.com/office/drawing/2014/main" id="{926C41C5-CE8B-4258-A384-357C3897D06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4" name="Line 7">
                      <a:extLst>
                        <a:ext uri="{FF2B5EF4-FFF2-40B4-BE49-F238E27FC236}">
                          <a16:creationId xmlns:a16="http://schemas.microsoft.com/office/drawing/2014/main" id="{BC71F336-7C8F-48B5-8A9F-679ADD1ED15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5" name="Freeform 8">
                      <a:extLst>
                        <a:ext uri="{FF2B5EF4-FFF2-40B4-BE49-F238E27FC236}">
                          <a16:creationId xmlns:a16="http://schemas.microsoft.com/office/drawing/2014/main" id="{BCAA8535-697F-46B2-B757-A300795A3B42}"/>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6" name="Line 9">
                      <a:extLst>
                        <a:ext uri="{FF2B5EF4-FFF2-40B4-BE49-F238E27FC236}">
                          <a16:creationId xmlns:a16="http://schemas.microsoft.com/office/drawing/2014/main" id="{4AF3945B-2C65-4336-B1C4-34474A591B13}"/>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57" name="Group 2856">
                      <a:extLst>
                        <a:ext uri="{FF2B5EF4-FFF2-40B4-BE49-F238E27FC236}">
                          <a16:creationId xmlns:a16="http://schemas.microsoft.com/office/drawing/2014/main" id="{027CD6D7-7EDB-4CBF-9500-39C132148A55}"/>
                        </a:ext>
                      </a:extLst>
                    </p:cNvPr>
                    <p:cNvGrpSpPr/>
                    <p:nvPr/>
                  </p:nvGrpSpPr>
                  <p:grpSpPr>
                    <a:xfrm>
                      <a:off x="1207113" y="2241878"/>
                      <a:ext cx="178734" cy="348678"/>
                      <a:chOff x="1207113" y="2241878"/>
                      <a:chExt cx="178734" cy="348678"/>
                    </a:xfrm>
                  </p:grpSpPr>
                  <p:sp>
                    <p:nvSpPr>
                      <p:cNvPr id="2880" name="Freeform 10">
                        <a:extLst>
                          <a:ext uri="{FF2B5EF4-FFF2-40B4-BE49-F238E27FC236}">
                            <a16:creationId xmlns:a16="http://schemas.microsoft.com/office/drawing/2014/main" id="{AF625847-F6FB-42DC-904C-2578EA26467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1" name="Line 11">
                        <a:extLst>
                          <a:ext uri="{FF2B5EF4-FFF2-40B4-BE49-F238E27FC236}">
                            <a16:creationId xmlns:a16="http://schemas.microsoft.com/office/drawing/2014/main" id="{CF07C85E-C562-47E7-8EDC-BBA9272C21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858" name="Freeform 12">
                      <a:extLst>
                        <a:ext uri="{FF2B5EF4-FFF2-40B4-BE49-F238E27FC236}">
                          <a16:creationId xmlns:a16="http://schemas.microsoft.com/office/drawing/2014/main" id="{2F6B15E8-91C5-4F7D-92B5-EE6E5B0D52BF}"/>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9" name="Line 13">
                      <a:extLst>
                        <a:ext uri="{FF2B5EF4-FFF2-40B4-BE49-F238E27FC236}">
                          <a16:creationId xmlns:a16="http://schemas.microsoft.com/office/drawing/2014/main" id="{C25C8303-B4B6-4545-A9EE-2218CCE1A9C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0" name="Freeform 14">
                      <a:extLst>
                        <a:ext uri="{FF2B5EF4-FFF2-40B4-BE49-F238E27FC236}">
                          <a16:creationId xmlns:a16="http://schemas.microsoft.com/office/drawing/2014/main" id="{5F86F525-DB26-43EB-A88F-AA8234709CA9}"/>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1" name="Line 15">
                      <a:extLst>
                        <a:ext uri="{FF2B5EF4-FFF2-40B4-BE49-F238E27FC236}">
                          <a16:creationId xmlns:a16="http://schemas.microsoft.com/office/drawing/2014/main" id="{4D07ED8B-6CF9-498D-9793-8DCE67F5301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2" name="Freeform 16">
                      <a:extLst>
                        <a:ext uri="{FF2B5EF4-FFF2-40B4-BE49-F238E27FC236}">
                          <a16:creationId xmlns:a16="http://schemas.microsoft.com/office/drawing/2014/main" id="{C3C868A0-8B1A-4C52-AAD5-E812F5F5513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3" name="Line 17">
                      <a:extLst>
                        <a:ext uri="{FF2B5EF4-FFF2-40B4-BE49-F238E27FC236}">
                          <a16:creationId xmlns:a16="http://schemas.microsoft.com/office/drawing/2014/main" id="{DA743EE4-7352-49C1-830C-F6283FD29B8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4" name="Freeform 18">
                      <a:extLst>
                        <a:ext uri="{FF2B5EF4-FFF2-40B4-BE49-F238E27FC236}">
                          <a16:creationId xmlns:a16="http://schemas.microsoft.com/office/drawing/2014/main" id="{F1D213F7-7ACE-479F-BC32-F54952E2AAAF}"/>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5" name="Line 19">
                      <a:extLst>
                        <a:ext uri="{FF2B5EF4-FFF2-40B4-BE49-F238E27FC236}">
                          <a16:creationId xmlns:a16="http://schemas.microsoft.com/office/drawing/2014/main" id="{084B1E32-7A8E-4A29-9391-EC2E2A99C7C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6" name="Freeform 35">
                      <a:extLst>
                        <a:ext uri="{FF2B5EF4-FFF2-40B4-BE49-F238E27FC236}">
                          <a16:creationId xmlns:a16="http://schemas.microsoft.com/office/drawing/2014/main" id="{07831DDB-8511-4F02-9E5F-E054CCC6B18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67" name="Freeform 36">
                      <a:extLst>
                        <a:ext uri="{FF2B5EF4-FFF2-40B4-BE49-F238E27FC236}">
                          <a16:creationId xmlns:a16="http://schemas.microsoft.com/office/drawing/2014/main" id="{45EE5BE8-4EFB-4032-B939-0F0FCD937CC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8" name="Freeform 37">
                      <a:extLst>
                        <a:ext uri="{FF2B5EF4-FFF2-40B4-BE49-F238E27FC236}">
                          <a16:creationId xmlns:a16="http://schemas.microsoft.com/office/drawing/2014/main" id="{2CA16CE2-1E63-4009-B177-A60EDF712216}"/>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9" name="Freeform 38">
                      <a:extLst>
                        <a:ext uri="{FF2B5EF4-FFF2-40B4-BE49-F238E27FC236}">
                          <a16:creationId xmlns:a16="http://schemas.microsoft.com/office/drawing/2014/main" id="{53506708-F567-4C2D-B262-6B8E6C35649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0" name="Freeform 39">
                      <a:extLst>
                        <a:ext uri="{FF2B5EF4-FFF2-40B4-BE49-F238E27FC236}">
                          <a16:creationId xmlns:a16="http://schemas.microsoft.com/office/drawing/2014/main" id="{8489A8A6-C296-45CC-8457-D0BB6CD103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1" name="Freeform 40">
                      <a:extLst>
                        <a:ext uri="{FF2B5EF4-FFF2-40B4-BE49-F238E27FC236}">
                          <a16:creationId xmlns:a16="http://schemas.microsoft.com/office/drawing/2014/main" id="{0FA0DAD5-3C5F-46B1-A1F5-9A3242A1EF58}"/>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2" name="Freeform 41">
                      <a:extLst>
                        <a:ext uri="{FF2B5EF4-FFF2-40B4-BE49-F238E27FC236}">
                          <a16:creationId xmlns:a16="http://schemas.microsoft.com/office/drawing/2014/main" id="{037D707B-D71A-4707-9BE4-FBA6D5B41FC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3" name="Line 42">
                      <a:extLst>
                        <a:ext uri="{FF2B5EF4-FFF2-40B4-BE49-F238E27FC236}">
                          <a16:creationId xmlns:a16="http://schemas.microsoft.com/office/drawing/2014/main" id="{D05756EB-1D2F-446F-805E-C41A1546D61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4" name="Freeform 43">
                      <a:extLst>
                        <a:ext uri="{FF2B5EF4-FFF2-40B4-BE49-F238E27FC236}">
                          <a16:creationId xmlns:a16="http://schemas.microsoft.com/office/drawing/2014/main" id="{815E68C6-649A-49A2-8E90-F112CC17E46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5" name="Freeform 44">
                      <a:extLst>
                        <a:ext uri="{FF2B5EF4-FFF2-40B4-BE49-F238E27FC236}">
                          <a16:creationId xmlns:a16="http://schemas.microsoft.com/office/drawing/2014/main" id="{0CC4FD28-502F-4CF2-A652-4F1E7256136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6" name="Freeform 45">
                      <a:extLst>
                        <a:ext uri="{FF2B5EF4-FFF2-40B4-BE49-F238E27FC236}">
                          <a16:creationId xmlns:a16="http://schemas.microsoft.com/office/drawing/2014/main" id="{1A876F80-ADA2-4F0F-8485-7971CAFB081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77" name="Group 2876">
                      <a:extLst>
                        <a:ext uri="{FF2B5EF4-FFF2-40B4-BE49-F238E27FC236}">
                          <a16:creationId xmlns:a16="http://schemas.microsoft.com/office/drawing/2014/main" id="{08394D4F-641E-4D1E-85B7-186B78A49A0F}"/>
                        </a:ext>
                      </a:extLst>
                    </p:cNvPr>
                    <p:cNvGrpSpPr/>
                    <p:nvPr/>
                  </p:nvGrpSpPr>
                  <p:grpSpPr>
                    <a:xfrm flipV="1">
                      <a:off x="1202047" y="3517919"/>
                      <a:ext cx="178734" cy="348678"/>
                      <a:chOff x="1207113" y="2241878"/>
                      <a:chExt cx="178734" cy="348678"/>
                    </a:xfrm>
                  </p:grpSpPr>
                  <p:sp>
                    <p:nvSpPr>
                      <p:cNvPr id="2878" name="Freeform 10">
                        <a:extLst>
                          <a:ext uri="{FF2B5EF4-FFF2-40B4-BE49-F238E27FC236}">
                            <a16:creationId xmlns:a16="http://schemas.microsoft.com/office/drawing/2014/main" id="{D86E445A-22D5-45CB-9184-DA4CE11E836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9" name="Line 11">
                        <a:extLst>
                          <a:ext uri="{FF2B5EF4-FFF2-40B4-BE49-F238E27FC236}">
                            <a16:creationId xmlns:a16="http://schemas.microsoft.com/office/drawing/2014/main" id="{3A8F6D2A-4C65-4FFD-9565-7F677D51A5A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7" name="Group 2826">
                  <a:extLst>
                    <a:ext uri="{FF2B5EF4-FFF2-40B4-BE49-F238E27FC236}">
                      <a16:creationId xmlns:a16="http://schemas.microsoft.com/office/drawing/2014/main" id="{20B66575-AEC5-44A6-8963-CCD13E5E7614}"/>
                    </a:ext>
                  </a:extLst>
                </p:cNvPr>
                <p:cNvGrpSpPr>
                  <a:grpSpLocks/>
                </p:cNvGrpSpPr>
                <p:nvPr/>
              </p:nvGrpSpPr>
              <p:grpSpPr>
                <a:xfrm>
                  <a:off x="4605070" y="2236718"/>
                  <a:ext cx="471104" cy="471107"/>
                  <a:chOff x="2268747" y="4723725"/>
                  <a:chExt cx="415610" cy="415612"/>
                </a:xfrm>
              </p:grpSpPr>
              <p:grpSp>
                <p:nvGrpSpPr>
                  <p:cNvPr id="2828" name="Group 64">
                    <a:extLst>
                      <a:ext uri="{FF2B5EF4-FFF2-40B4-BE49-F238E27FC236}">
                        <a16:creationId xmlns:a16="http://schemas.microsoft.com/office/drawing/2014/main" id="{0B78C658-552D-415D-9BE6-F47813A66A6B}"/>
                      </a:ext>
                    </a:extLst>
                  </p:cNvPr>
                  <p:cNvGrpSpPr>
                    <a:grpSpLocks noChangeAspect="1"/>
                  </p:cNvGrpSpPr>
                  <p:nvPr/>
                </p:nvGrpSpPr>
                <p:grpSpPr bwMode="auto">
                  <a:xfrm rot="8100000">
                    <a:off x="2268747" y="4723725"/>
                    <a:ext cx="415610" cy="415612"/>
                    <a:chOff x="701" y="2170"/>
                    <a:chExt cx="587" cy="587"/>
                  </a:xfrm>
                </p:grpSpPr>
                <p:sp>
                  <p:nvSpPr>
                    <p:cNvPr id="2843" name="Oval 65">
                      <a:extLst>
                        <a:ext uri="{FF2B5EF4-FFF2-40B4-BE49-F238E27FC236}">
                          <a16:creationId xmlns:a16="http://schemas.microsoft.com/office/drawing/2014/main" id="{FEB63568-0FAD-45BD-8B72-840BAEAA8A7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4" name="Line 66">
                      <a:extLst>
                        <a:ext uri="{FF2B5EF4-FFF2-40B4-BE49-F238E27FC236}">
                          <a16:creationId xmlns:a16="http://schemas.microsoft.com/office/drawing/2014/main" id="{D3E4DDD4-CF49-4143-8302-649229FB1EF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5" name="Line 67">
                      <a:extLst>
                        <a:ext uri="{FF2B5EF4-FFF2-40B4-BE49-F238E27FC236}">
                          <a16:creationId xmlns:a16="http://schemas.microsoft.com/office/drawing/2014/main" id="{14A79A59-660D-41A6-AD8E-9493FCB7E13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6" name="Line 69">
                      <a:extLst>
                        <a:ext uri="{FF2B5EF4-FFF2-40B4-BE49-F238E27FC236}">
                          <a16:creationId xmlns:a16="http://schemas.microsoft.com/office/drawing/2014/main" id="{2CAE62EE-6361-4862-A174-EE039A66D1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7" name="Line 74">
                      <a:extLst>
                        <a:ext uri="{FF2B5EF4-FFF2-40B4-BE49-F238E27FC236}">
                          <a16:creationId xmlns:a16="http://schemas.microsoft.com/office/drawing/2014/main" id="{02F0128E-8BB1-4DAF-917A-2A2C2D8CE42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8" name="Freeform 78">
                      <a:extLst>
                        <a:ext uri="{FF2B5EF4-FFF2-40B4-BE49-F238E27FC236}">
                          <a16:creationId xmlns:a16="http://schemas.microsoft.com/office/drawing/2014/main" id="{9FB9136D-C0CB-47FE-B315-E28DB827A1E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9" name="Freeform 80">
                      <a:extLst>
                        <a:ext uri="{FF2B5EF4-FFF2-40B4-BE49-F238E27FC236}">
                          <a16:creationId xmlns:a16="http://schemas.microsoft.com/office/drawing/2014/main" id="{E71D0A86-D961-4E75-BDE5-89C21EAC722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29" name="Group 2828">
                    <a:extLst>
                      <a:ext uri="{FF2B5EF4-FFF2-40B4-BE49-F238E27FC236}">
                        <a16:creationId xmlns:a16="http://schemas.microsoft.com/office/drawing/2014/main" id="{2BCBE843-5A8C-49F5-B254-BFC2341FF2E6}"/>
                      </a:ext>
                    </a:extLst>
                  </p:cNvPr>
                  <p:cNvGrpSpPr/>
                  <p:nvPr/>
                </p:nvGrpSpPr>
                <p:grpSpPr>
                  <a:xfrm>
                    <a:off x="2318076" y="4830163"/>
                    <a:ext cx="313949" cy="233075"/>
                    <a:chOff x="3707533" y="2731244"/>
                    <a:chExt cx="389644" cy="289271"/>
                  </a:xfrm>
                </p:grpSpPr>
                <p:sp>
                  <p:nvSpPr>
                    <p:cNvPr id="2830" name="Freeform 33">
                      <a:extLst>
                        <a:ext uri="{FF2B5EF4-FFF2-40B4-BE49-F238E27FC236}">
                          <a16:creationId xmlns:a16="http://schemas.microsoft.com/office/drawing/2014/main" id="{29152E43-7908-4D39-89B6-041B0E1B412E}"/>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1" name="Freeform 34">
                      <a:extLst>
                        <a:ext uri="{FF2B5EF4-FFF2-40B4-BE49-F238E27FC236}">
                          <a16:creationId xmlns:a16="http://schemas.microsoft.com/office/drawing/2014/main" id="{BF0A0776-1555-4302-9FBF-A869A0AE2362}"/>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2" name="Freeform 37">
                      <a:extLst>
                        <a:ext uri="{FF2B5EF4-FFF2-40B4-BE49-F238E27FC236}">
                          <a16:creationId xmlns:a16="http://schemas.microsoft.com/office/drawing/2014/main" id="{4F650D9E-F1A1-4C1F-9C61-651319FBE12C}"/>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3" name="Freeform 38">
                      <a:extLst>
                        <a:ext uri="{FF2B5EF4-FFF2-40B4-BE49-F238E27FC236}">
                          <a16:creationId xmlns:a16="http://schemas.microsoft.com/office/drawing/2014/main" id="{47E2741C-C085-4C85-AC60-65C9BEEEAD73}"/>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4" name="Freeform 32">
                      <a:extLst>
                        <a:ext uri="{FF2B5EF4-FFF2-40B4-BE49-F238E27FC236}">
                          <a16:creationId xmlns:a16="http://schemas.microsoft.com/office/drawing/2014/main" id="{4E3BFA5F-0405-4EB9-8A82-EC3D5EE58A11}"/>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5" name="Freeform 35">
                      <a:extLst>
                        <a:ext uri="{FF2B5EF4-FFF2-40B4-BE49-F238E27FC236}">
                          <a16:creationId xmlns:a16="http://schemas.microsoft.com/office/drawing/2014/main" id="{64E6FFBE-3262-4471-A8E8-CFA65DE68772}"/>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6" name="Freeform 36">
                      <a:extLst>
                        <a:ext uri="{FF2B5EF4-FFF2-40B4-BE49-F238E27FC236}">
                          <a16:creationId xmlns:a16="http://schemas.microsoft.com/office/drawing/2014/main" id="{68E017D6-DE86-4DC3-879C-25F447894245}"/>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7" name="Freeform 25">
                      <a:extLst>
                        <a:ext uri="{FF2B5EF4-FFF2-40B4-BE49-F238E27FC236}">
                          <a16:creationId xmlns:a16="http://schemas.microsoft.com/office/drawing/2014/main" id="{16AEEF82-6561-4FF7-86DA-1A994F08BB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8" name="Freeform 39">
                      <a:extLst>
                        <a:ext uri="{FF2B5EF4-FFF2-40B4-BE49-F238E27FC236}">
                          <a16:creationId xmlns:a16="http://schemas.microsoft.com/office/drawing/2014/main" id="{16AFA8D7-A657-46E0-8C95-1795E246F25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9" name="Freeform 26">
                      <a:extLst>
                        <a:ext uri="{FF2B5EF4-FFF2-40B4-BE49-F238E27FC236}">
                          <a16:creationId xmlns:a16="http://schemas.microsoft.com/office/drawing/2014/main" id="{B5CA1FD5-5DC8-4504-8756-18BA60FF056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0" name="Rectangle 27">
                      <a:extLst>
                        <a:ext uri="{FF2B5EF4-FFF2-40B4-BE49-F238E27FC236}">
                          <a16:creationId xmlns:a16="http://schemas.microsoft.com/office/drawing/2014/main" id="{D3F64414-0401-4981-91B3-580162745303}"/>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1" name="Line 29">
                      <a:extLst>
                        <a:ext uri="{FF2B5EF4-FFF2-40B4-BE49-F238E27FC236}">
                          <a16:creationId xmlns:a16="http://schemas.microsoft.com/office/drawing/2014/main" id="{2774969A-FF8D-4AC1-9C49-433CA8EC5908}"/>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2" name="Line 31">
                      <a:extLst>
                        <a:ext uri="{FF2B5EF4-FFF2-40B4-BE49-F238E27FC236}">
                          <a16:creationId xmlns:a16="http://schemas.microsoft.com/office/drawing/2014/main" id="{0211C476-CFD9-49F7-9384-137C7C5B378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792" name="Group 2791">
                <a:extLst>
                  <a:ext uri="{FF2B5EF4-FFF2-40B4-BE49-F238E27FC236}">
                    <a16:creationId xmlns:a16="http://schemas.microsoft.com/office/drawing/2014/main" id="{8D466FB1-F8F3-4685-AF3B-7826EA3DF614}"/>
                  </a:ext>
                </a:extLst>
              </p:cNvPr>
              <p:cNvGrpSpPr/>
              <p:nvPr/>
            </p:nvGrpSpPr>
            <p:grpSpPr>
              <a:xfrm>
                <a:off x="5261891" y="1974470"/>
                <a:ext cx="1115908" cy="967814"/>
                <a:chOff x="7338624" y="178556"/>
                <a:chExt cx="1115908" cy="967814"/>
              </a:xfrm>
            </p:grpSpPr>
            <p:grpSp>
              <p:nvGrpSpPr>
                <p:cNvPr id="2796" name="Group 2795">
                  <a:extLst>
                    <a:ext uri="{FF2B5EF4-FFF2-40B4-BE49-F238E27FC236}">
                      <a16:creationId xmlns:a16="http://schemas.microsoft.com/office/drawing/2014/main" id="{06209C85-5216-409F-AFBD-5348CB451E37}"/>
                    </a:ext>
                  </a:extLst>
                </p:cNvPr>
                <p:cNvGrpSpPr/>
                <p:nvPr/>
              </p:nvGrpSpPr>
              <p:grpSpPr>
                <a:xfrm flipH="1">
                  <a:off x="7603032" y="178556"/>
                  <a:ext cx="524442" cy="697246"/>
                  <a:chOff x="8607957" y="605299"/>
                  <a:chExt cx="2806962" cy="3731864"/>
                </a:xfrm>
              </p:grpSpPr>
              <p:sp>
                <p:nvSpPr>
                  <p:cNvPr id="2798" name="iBar:31/138">
                    <a:extLst>
                      <a:ext uri="{FF2B5EF4-FFF2-40B4-BE49-F238E27FC236}">
                        <a16:creationId xmlns:a16="http://schemas.microsoft.com/office/drawing/2014/main" id="{0C089B0A-E6FA-431E-9503-756545FE9A52}"/>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99" name="Rectangle 2798">
                    <a:extLst>
                      <a:ext uri="{FF2B5EF4-FFF2-40B4-BE49-F238E27FC236}">
                        <a16:creationId xmlns:a16="http://schemas.microsoft.com/office/drawing/2014/main" id="{B63C5322-A7FC-4515-A98C-E8F7A50AF9C5}"/>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00" name="Group 2799">
                    <a:extLst>
                      <a:ext uri="{FF2B5EF4-FFF2-40B4-BE49-F238E27FC236}">
                        <a16:creationId xmlns:a16="http://schemas.microsoft.com/office/drawing/2014/main" id="{CAE771CE-47CD-41D9-9477-8C2B3F1DC5AE}"/>
                      </a:ext>
                    </a:extLst>
                  </p:cNvPr>
                  <p:cNvGrpSpPr/>
                  <p:nvPr/>
                </p:nvGrpSpPr>
                <p:grpSpPr>
                  <a:xfrm>
                    <a:off x="8776645" y="2392984"/>
                    <a:ext cx="2463737" cy="1844316"/>
                    <a:chOff x="8566719" y="2617154"/>
                    <a:chExt cx="2463737" cy="1844316"/>
                  </a:xfrm>
                </p:grpSpPr>
                <p:sp>
                  <p:nvSpPr>
                    <p:cNvPr id="2814" name="Rectangle 2813">
                      <a:extLst>
                        <a:ext uri="{FF2B5EF4-FFF2-40B4-BE49-F238E27FC236}">
                          <a16:creationId xmlns:a16="http://schemas.microsoft.com/office/drawing/2014/main" id="{6EEB185A-FA68-46BA-B5F7-FF8E542218E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5" name="Group 2814">
                      <a:extLst>
                        <a:ext uri="{FF2B5EF4-FFF2-40B4-BE49-F238E27FC236}">
                          <a16:creationId xmlns:a16="http://schemas.microsoft.com/office/drawing/2014/main" id="{6B577423-DEE6-4B13-8BAE-A5F1C12366E0}"/>
                        </a:ext>
                      </a:extLst>
                    </p:cNvPr>
                    <p:cNvGrpSpPr/>
                    <p:nvPr/>
                  </p:nvGrpSpPr>
                  <p:grpSpPr>
                    <a:xfrm>
                      <a:off x="8720849" y="2791577"/>
                      <a:ext cx="2190282" cy="1669893"/>
                      <a:chOff x="5195358" y="4591383"/>
                      <a:chExt cx="1906459" cy="1380076"/>
                    </a:xfrm>
                  </p:grpSpPr>
                  <p:grpSp>
                    <p:nvGrpSpPr>
                      <p:cNvPr id="2816" name="Group 2815">
                        <a:extLst>
                          <a:ext uri="{FF2B5EF4-FFF2-40B4-BE49-F238E27FC236}">
                            <a16:creationId xmlns:a16="http://schemas.microsoft.com/office/drawing/2014/main" id="{02DC404D-9158-4789-A6EF-E8E33AFC3F38}"/>
                          </a:ext>
                        </a:extLst>
                      </p:cNvPr>
                      <p:cNvGrpSpPr/>
                      <p:nvPr/>
                    </p:nvGrpSpPr>
                    <p:grpSpPr>
                      <a:xfrm>
                        <a:off x="5195358" y="4591383"/>
                        <a:ext cx="1020183" cy="1224086"/>
                        <a:chOff x="10650533" y="3663550"/>
                        <a:chExt cx="575867" cy="836067"/>
                      </a:xfrm>
                    </p:grpSpPr>
                    <p:grpSp>
                      <p:nvGrpSpPr>
                        <p:cNvPr id="2818" name="Group 2817">
                          <a:extLst>
                            <a:ext uri="{FF2B5EF4-FFF2-40B4-BE49-F238E27FC236}">
                              <a16:creationId xmlns:a16="http://schemas.microsoft.com/office/drawing/2014/main" id="{56967A2B-DCDF-4691-AB19-E65A647F688C}"/>
                            </a:ext>
                          </a:extLst>
                        </p:cNvPr>
                        <p:cNvGrpSpPr/>
                        <p:nvPr/>
                      </p:nvGrpSpPr>
                      <p:grpSpPr>
                        <a:xfrm>
                          <a:off x="10650533" y="3663550"/>
                          <a:ext cx="575867" cy="728623"/>
                          <a:chOff x="5717961" y="2827338"/>
                          <a:chExt cx="282576" cy="387350"/>
                        </a:xfrm>
                      </p:grpSpPr>
                      <p:sp>
                        <p:nvSpPr>
                          <p:cNvPr id="2820" name="Freeform 1754">
                            <a:extLst>
                              <a:ext uri="{FF2B5EF4-FFF2-40B4-BE49-F238E27FC236}">
                                <a16:creationId xmlns:a16="http://schemas.microsoft.com/office/drawing/2014/main" id="{48D81758-0BD3-4BC2-8A9C-672770B23946}"/>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1" name="Freeform 1755">
                            <a:extLst>
                              <a:ext uri="{FF2B5EF4-FFF2-40B4-BE49-F238E27FC236}">
                                <a16:creationId xmlns:a16="http://schemas.microsoft.com/office/drawing/2014/main" id="{21E665D1-8057-4407-B125-616CC884D074}"/>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22" name="Freeform 1756">
                            <a:extLst>
                              <a:ext uri="{FF2B5EF4-FFF2-40B4-BE49-F238E27FC236}">
                                <a16:creationId xmlns:a16="http://schemas.microsoft.com/office/drawing/2014/main" id="{E53CAFE7-10F1-4E63-B613-C33ABB664E78}"/>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3" name="Freeform 1757">
                            <a:extLst>
                              <a:ext uri="{FF2B5EF4-FFF2-40B4-BE49-F238E27FC236}">
                                <a16:creationId xmlns:a16="http://schemas.microsoft.com/office/drawing/2014/main" id="{AD5074DC-6F0C-4B6F-BB1A-51C7BD1C5652}"/>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4" name="Freeform 1758">
                            <a:extLst>
                              <a:ext uri="{FF2B5EF4-FFF2-40B4-BE49-F238E27FC236}">
                                <a16:creationId xmlns:a16="http://schemas.microsoft.com/office/drawing/2014/main" id="{18B663CB-B41F-4E7C-8176-7375F0B25B14}"/>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19" name="TextBox 2818">
                          <a:extLst>
                            <a:ext uri="{FF2B5EF4-FFF2-40B4-BE49-F238E27FC236}">
                              <a16:creationId xmlns:a16="http://schemas.microsoft.com/office/drawing/2014/main" id="{D8E75A9D-28C1-4973-8E18-E5E890C26965}"/>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17" name="TextBox 2816">
                        <a:extLst>
                          <a:ext uri="{FF2B5EF4-FFF2-40B4-BE49-F238E27FC236}">
                            <a16:creationId xmlns:a16="http://schemas.microsoft.com/office/drawing/2014/main" id="{853CDE77-7803-4C51-A3D4-145B5B1F464C}"/>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01" name="Group 2800">
                    <a:extLst>
                      <a:ext uri="{FF2B5EF4-FFF2-40B4-BE49-F238E27FC236}">
                        <a16:creationId xmlns:a16="http://schemas.microsoft.com/office/drawing/2014/main" id="{11E23F22-1711-4BFA-BEE6-5A6CA4B0CE68}"/>
                      </a:ext>
                    </a:extLst>
                  </p:cNvPr>
                  <p:cNvGrpSpPr/>
                  <p:nvPr/>
                </p:nvGrpSpPr>
                <p:grpSpPr>
                  <a:xfrm>
                    <a:off x="9538998" y="605299"/>
                    <a:ext cx="944881" cy="858986"/>
                    <a:chOff x="3369813" y="4950013"/>
                    <a:chExt cx="440826" cy="400751"/>
                  </a:xfrm>
                </p:grpSpPr>
                <p:sp>
                  <p:nvSpPr>
                    <p:cNvPr id="2810" name="Oval 2809">
                      <a:extLst>
                        <a:ext uri="{FF2B5EF4-FFF2-40B4-BE49-F238E27FC236}">
                          <a16:creationId xmlns:a16="http://schemas.microsoft.com/office/drawing/2014/main" id="{BF0157EA-688E-4939-B9F1-868555B7187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1" name="Group 226">
                      <a:extLst>
                        <a:ext uri="{FF2B5EF4-FFF2-40B4-BE49-F238E27FC236}">
                          <a16:creationId xmlns:a16="http://schemas.microsoft.com/office/drawing/2014/main" id="{71D96959-B519-469F-AA76-FF0FE732BE12}"/>
                        </a:ext>
                      </a:extLst>
                    </p:cNvPr>
                    <p:cNvGrpSpPr>
                      <a:grpSpLocks noChangeAspect="1"/>
                    </p:cNvGrpSpPr>
                    <p:nvPr/>
                  </p:nvGrpSpPr>
                  <p:grpSpPr bwMode="auto">
                    <a:xfrm>
                      <a:off x="3437467" y="4997630"/>
                      <a:ext cx="305517" cy="305517"/>
                      <a:chOff x="5048" y="783"/>
                      <a:chExt cx="340" cy="340"/>
                    </a:xfrm>
                    <a:solidFill>
                      <a:schemeClr val="bg1"/>
                    </a:solidFill>
                  </p:grpSpPr>
                  <p:sp>
                    <p:nvSpPr>
                      <p:cNvPr id="2812" name="Freeform 227">
                        <a:extLst>
                          <a:ext uri="{FF2B5EF4-FFF2-40B4-BE49-F238E27FC236}">
                            <a16:creationId xmlns:a16="http://schemas.microsoft.com/office/drawing/2014/main" id="{B207C4B4-1621-4B73-A71C-00BD29C4E45E}"/>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13" name="Freeform 228">
                        <a:extLst>
                          <a:ext uri="{FF2B5EF4-FFF2-40B4-BE49-F238E27FC236}">
                            <a16:creationId xmlns:a16="http://schemas.microsoft.com/office/drawing/2014/main" id="{5BDE4F2D-73C9-43C8-801D-3450C262B166}"/>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02" name="Straight Connector 2801">
                    <a:extLst>
                      <a:ext uri="{FF2B5EF4-FFF2-40B4-BE49-F238E27FC236}">
                        <a16:creationId xmlns:a16="http://schemas.microsoft.com/office/drawing/2014/main" id="{AD571AF0-1EAB-4A78-B5B4-212370F55BC6}"/>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3" name="Straight Connector 2802">
                    <a:extLst>
                      <a:ext uri="{FF2B5EF4-FFF2-40B4-BE49-F238E27FC236}">
                        <a16:creationId xmlns:a16="http://schemas.microsoft.com/office/drawing/2014/main" id="{60F301C5-6142-400D-9BD8-5DF731614AE6}"/>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4" name="Straight Connector 2803">
                    <a:extLst>
                      <a:ext uri="{FF2B5EF4-FFF2-40B4-BE49-F238E27FC236}">
                        <a16:creationId xmlns:a16="http://schemas.microsoft.com/office/drawing/2014/main" id="{7DF853C1-A4C9-48AE-8F20-C00D3BF008DB}"/>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5" name="Straight Connector 2804">
                    <a:extLst>
                      <a:ext uri="{FF2B5EF4-FFF2-40B4-BE49-F238E27FC236}">
                        <a16:creationId xmlns:a16="http://schemas.microsoft.com/office/drawing/2014/main" id="{97C7D714-8264-4AAE-9157-A346586CF590}"/>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6" name="Straight Connector 2805">
                    <a:extLst>
                      <a:ext uri="{FF2B5EF4-FFF2-40B4-BE49-F238E27FC236}">
                        <a16:creationId xmlns:a16="http://schemas.microsoft.com/office/drawing/2014/main" id="{470586D9-B704-4186-878A-287485B89909}"/>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7" name="Straight Connector 2806">
                    <a:extLst>
                      <a:ext uri="{FF2B5EF4-FFF2-40B4-BE49-F238E27FC236}">
                        <a16:creationId xmlns:a16="http://schemas.microsoft.com/office/drawing/2014/main" id="{278CEEF0-E2F7-46A6-9CE0-3D56FCDDBD26}"/>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8" name="Straight Connector 2807">
                    <a:extLst>
                      <a:ext uri="{FF2B5EF4-FFF2-40B4-BE49-F238E27FC236}">
                        <a16:creationId xmlns:a16="http://schemas.microsoft.com/office/drawing/2014/main" id="{53F27D4B-A913-40CD-8C2C-5F8A38843994}"/>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9" name="Straight Connector 2808">
                    <a:extLst>
                      <a:ext uri="{FF2B5EF4-FFF2-40B4-BE49-F238E27FC236}">
                        <a16:creationId xmlns:a16="http://schemas.microsoft.com/office/drawing/2014/main" id="{22B5377F-1190-47D2-805A-89FCADB34C70}"/>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97" name="Rectangle 2796">
                  <a:extLst>
                    <a:ext uri="{FF2B5EF4-FFF2-40B4-BE49-F238E27FC236}">
                      <a16:creationId xmlns:a16="http://schemas.microsoft.com/office/drawing/2014/main" id="{C1D6A21D-CB89-4ABE-9507-B2CE584DA4FB}"/>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793" name="Group 2792">
                <a:extLst>
                  <a:ext uri="{FF2B5EF4-FFF2-40B4-BE49-F238E27FC236}">
                    <a16:creationId xmlns:a16="http://schemas.microsoft.com/office/drawing/2014/main" id="{6CC34D40-BE95-4D15-AB7A-B17A019C47AB}"/>
                  </a:ext>
                </a:extLst>
              </p:cNvPr>
              <p:cNvGrpSpPr/>
              <p:nvPr/>
            </p:nvGrpSpPr>
            <p:grpSpPr>
              <a:xfrm>
                <a:off x="6189282" y="2207036"/>
                <a:ext cx="309777" cy="570271"/>
                <a:chOff x="6298183" y="258138"/>
                <a:chExt cx="309777" cy="570271"/>
              </a:xfrm>
            </p:grpSpPr>
            <p:pic>
              <p:nvPicPr>
                <p:cNvPr id="2794" name="Picture 2793">
                  <a:extLst>
                    <a:ext uri="{FF2B5EF4-FFF2-40B4-BE49-F238E27FC236}">
                      <a16:creationId xmlns:a16="http://schemas.microsoft.com/office/drawing/2014/main" id="{0E7A6E2B-4605-4DA6-AE02-CB8D45B49117}"/>
                    </a:ext>
                  </a:extLst>
                </p:cNvPr>
                <p:cNvPicPr>
                  <a:picLocks noChangeAspect="1"/>
                </p:cNvPicPr>
                <p:nvPr/>
              </p:nvPicPr>
              <p:blipFill>
                <a:blip r:embed="rId6"/>
                <a:stretch>
                  <a:fillRect/>
                </a:stretch>
              </p:blipFill>
              <p:spPr>
                <a:xfrm>
                  <a:off x="6298183" y="258138"/>
                  <a:ext cx="309777" cy="570271"/>
                </a:xfrm>
                <a:prstGeom prst="rect">
                  <a:avLst/>
                </a:prstGeom>
              </p:spPr>
            </p:pic>
            <p:sp>
              <p:nvSpPr>
                <p:cNvPr id="2795" name="Freeform 152">
                  <a:extLst>
                    <a:ext uri="{FF2B5EF4-FFF2-40B4-BE49-F238E27FC236}">
                      <a16:creationId xmlns:a16="http://schemas.microsoft.com/office/drawing/2014/main" id="{11143CDA-A172-4D6A-AC5A-B3D89FA26C6E}"/>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907" name="Rectangle 2906">
            <a:extLst>
              <a:ext uri="{FF2B5EF4-FFF2-40B4-BE49-F238E27FC236}">
                <a16:creationId xmlns:a16="http://schemas.microsoft.com/office/drawing/2014/main" id="{F5435F74-2F30-4298-A9F7-EFE16CA2F23A}"/>
              </a:ext>
            </a:extLst>
          </p:cNvPr>
          <p:cNvSpPr>
            <a:spLocks/>
          </p:cNvSpPr>
          <p:nvPr/>
        </p:nvSpPr>
        <p:spPr bwMode="gray">
          <a:xfrm>
            <a:off x="3376490" y="1551301"/>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908" name="Group 2907">
            <a:extLst>
              <a:ext uri="{FF2B5EF4-FFF2-40B4-BE49-F238E27FC236}">
                <a16:creationId xmlns:a16="http://schemas.microsoft.com/office/drawing/2014/main" id="{A381721A-89DD-4A37-B6EC-BB2ABBD5DCAE}"/>
              </a:ext>
            </a:extLst>
          </p:cNvPr>
          <p:cNvGrpSpPr/>
          <p:nvPr/>
        </p:nvGrpSpPr>
        <p:grpSpPr>
          <a:xfrm>
            <a:off x="411159" y="1081204"/>
            <a:ext cx="11430427" cy="561479"/>
            <a:chOff x="347472" y="1051180"/>
            <a:chExt cx="11667743" cy="561625"/>
          </a:xfrm>
        </p:grpSpPr>
        <p:grpSp>
          <p:nvGrpSpPr>
            <p:cNvPr id="2909" name="Group 2908">
              <a:extLst>
                <a:ext uri="{FF2B5EF4-FFF2-40B4-BE49-F238E27FC236}">
                  <a16:creationId xmlns:a16="http://schemas.microsoft.com/office/drawing/2014/main" id="{F9E1C4B6-7EEF-4FFD-8D22-69CF6A19DAC8}"/>
                </a:ext>
              </a:extLst>
            </p:cNvPr>
            <p:cNvGrpSpPr/>
            <p:nvPr/>
          </p:nvGrpSpPr>
          <p:grpSpPr>
            <a:xfrm>
              <a:off x="347472" y="1051180"/>
              <a:ext cx="11667743" cy="561625"/>
              <a:chOff x="347472" y="1051180"/>
              <a:chExt cx="11667743" cy="561625"/>
            </a:xfrm>
          </p:grpSpPr>
          <p:grpSp>
            <p:nvGrpSpPr>
              <p:cNvPr id="2911" name="Group 2910">
                <a:extLst>
                  <a:ext uri="{FF2B5EF4-FFF2-40B4-BE49-F238E27FC236}">
                    <a16:creationId xmlns:a16="http://schemas.microsoft.com/office/drawing/2014/main" id="{1A506020-E823-42A8-AB9E-2D77FAD65373}"/>
                  </a:ext>
                </a:extLst>
              </p:cNvPr>
              <p:cNvGrpSpPr/>
              <p:nvPr/>
            </p:nvGrpSpPr>
            <p:grpSpPr>
              <a:xfrm>
                <a:off x="347472" y="1154250"/>
                <a:ext cx="11667743" cy="458555"/>
                <a:chOff x="390609" y="1132914"/>
                <a:chExt cx="11511569" cy="458555"/>
              </a:xfrm>
            </p:grpSpPr>
            <p:sp>
              <p:nvSpPr>
                <p:cNvPr id="2913" name="Rectangle: Rounded Corners 2912">
                  <a:extLst>
                    <a:ext uri="{FF2B5EF4-FFF2-40B4-BE49-F238E27FC236}">
                      <a16:creationId xmlns:a16="http://schemas.microsoft.com/office/drawing/2014/main" id="{7533A0EC-94C7-4C0A-AB7B-96557292AE0E}"/>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4" name="Rectangle 2913">
                  <a:extLst>
                    <a:ext uri="{FF2B5EF4-FFF2-40B4-BE49-F238E27FC236}">
                      <a16:creationId xmlns:a16="http://schemas.microsoft.com/office/drawing/2014/main" id="{74C3D7AA-2D5C-4CAD-BEB8-67A05CF0EF0C}"/>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915" name="Rectangle 2914">
                  <a:extLst>
                    <a:ext uri="{FF2B5EF4-FFF2-40B4-BE49-F238E27FC236}">
                      <a16:creationId xmlns:a16="http://schemas.microsoft.com/office/drawing/2014/main" id="{A65652F9-7063-42FE-8C01-DBEB6CC95DDE}"/>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916" name="Rectangle 2915">
                  <a:extLst>
                    <a:ext uri="{FF2B5EF4-FFF2-40B4-BE49-F238E27FC236}">
                      <a16:creationId xmlns:a16="http://schemas.microsoft.com/office/drawing/2014/main" id="{D7015FFC-DFE6-44BC-A034-802412C8EE25}"/>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917" name="Isosceles Triangle 2916">
                  <a:extLst>
                    <a:ext uri="{FF2B5EF4-FFF2-40B4-BE49-F238E27FC236}">
                      <a16:creationId xmlns:a16="http://schemas.microsoft.com/office/drawing/2014/main" id="{7DC5BAC1-1F0C-4FC6-BBCF-040EE39EF20C}"/>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8" name="Isosceles Triangle 2917">
                  <a:extLst>
                    <a:ext uri="{FF2B5EF4-FFF2-40B4-BE49-F238E27FC236}">
                      <a16:creationId xmlns:a16="http://schemas.microsoft.com/office/drawing/2014/main" id="{EEC60567-2B0C-49F3-80D9-993F27EDDF61}"/>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2" name="Isosceles Triangle 2911">
                <a:extLst>
                  <a:ext uri="{FF2B5EF4-FFF2-40B4-BE49-F238E27FC236}">
                    <a16:creationId xmlns:a16="http://schemas.microsoft.com/office/drawing/2014/main" id="{93D26FAC-3BB2-43AA-8D35-B49A0E7C708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0" name="Isosceles Triangle 2909">
              <a:extLst>
                <a:ext uri="{FF2B5EF4-FFF2-40B4-BE49-F238E27FC236}">
                  <a16:creationId xmlns:a16="http://schemas.microsoft.com/office/drawing/2014/main" id="{A0C9D15C-3562-4E93-B022-1364C948360C}"/>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9" name="Rectangle 2918">
            <a:extLst>
              <a:ext uri="{FF2B5EF4-FFF2-40B4-BE49-F238E27FC236}">
                <a16:creationId xmlns:a16="http://schemas.microsoft.com/office/drawing/2014/main" id="{0C92D794-A7B8-4D83-B2A0-9769CE853102}"/>
              </a:ext>
            </a:extLst>
          </p:cNvPr>
          <p:cNvSpPr>
            <a:spLocks/>
          </p:cNvSpPr>
          <p:nvPr/>
        </p:nvSpPr>
        <p:spPr bwMode="gray">
          <a:xfrm>
            <a:off x="3357900" y="1086969"/>
            <a:ext cx="8571637" cy="5349935"/>
          </a:xfrm>
          <a:prstGeom prst="rect">
            <a:avLst/>
          </a:prstGeom>
          <a:solidFill>
            <a:schemeClr val="bg1">
              <a:alpha val="89804"/>
            </a:schemeClr>
          </a:solidFill>
          <a:ln w="38100" algn="ctr">
            <a:noFill/>
            <a:miter lim="800000"/>
            <a:headEnd/>
            <a:tailEnd/>
          </a:ln>
          <a:effectLst/>
        </p:spPr>
        <p:txBody>
          <a:bodyPr wrap="square" lIns="28409" tIns="28409" rIns="28409" bIns="28409" rtlCol="0" anchor="t"/>
          <a:lstStyle/>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p:txBody>
      </p:sp>
      <p:sp>
        <p:nvSpPr>
          <p:cNvPr id="2920" name="Rectangle 2919">
            <a:extLst>
              <a:ext uri="{FF2B5EF4-FFF2-40B4-BE49-F238E27FC236}">
                <a16:creationId xmlns:a16="http://schemas.microsoft.com/office/drawing/2014/main" id="{2526F9D0-B22B-45D4-A652-60AB87C17C90}"/>
              </a:ext>
            </a:extLst>
          </p:cNvPr>
          <p:cNvSpPr/>
          <p:nvPr/>
        </p:nvSpPr>
        <p:spPr bwMode="gray">
          <a:xfrm>
            <a:off x="3487250" y="1330353"/>
            <a:ext cx="8230517" cy="4981832"/>
          </a:xfrm>
          <a:prstGeom prst="rect">
            <a:avLst/>
          </a:prstGeom>
          <a:solidFill>
            <a:srgbClr val="A0DCFF"/>
          </a:solidFill>
          <a:ln w="28575" algn="ctr">
            <a:noFill/>
            <a:prstDash val="dash"/>
            <a:miter lim="800000"/>
            <a:headEnd/>
            <a:tailEnd/>
          </a:ln>
        </p:spPr>
        <p:txBody>
          <a:bodyPr wrap="square" lIns="46872" tIns="28482" rIns="28482" bIns="28482" rtlCol="0" anchor="t"/>
          <a:lstStyle/>
          <a:p>
            <a:pPr algn="ctr" defTabSz="624960">
              <a:lnSpc>
                <a:spcPct val="106000"/>
              </a:lnSpc>
              <a:defRPr/>
            </a:pPr>
            <a:endParaRPr lang="en-US" sz="1053" b="1" dirty="0">
              <a:solidFill>
                <a:prstClr val="black"/>
              </a:solidFill>
              <a:latin typeface="Verdana"/>
            </a:endParaRPr>
          </a:p>
        </p:txBody>
      </p:sp>
      <p:grpSp>
        <p:nvGrpSpPr>
          <p:cNvPr id="2922" name="Group 2921">
            <a:extLst>
              <a:ext uri="{FF2B5EF4-FFF2-40B4-BE49-F238E27FC236}">
                <a16:creationId xmlns:a16="http://schemas.microsoft.com/office/drawing/2014/main" id="{7C1748CD-1C81-439F-8FA9-7FA1BF64A69E}"/>
              </a:ext>
            </a:extLst>
          </p:cNvPr>
          <p:cNvGrpSpPr/>
          <p:nvPr/>
        </p:nvGrpSpPr>
        <p:grpSpPr>
          <a:xfrm>
            <a:off x="3961052" y="3551563"/>
            <a:ext cx="7315200" cy="249877"/>
            <a:chOff x="2654299" y="4396581"/>
            <a:chExt cx="7296571" cy="249241"/>
          </a:xfrm>
        </p:grpSpPr>
        <p:cxnSp>
          <p:nvCxnSpPr>
            <p:cNvPr id="2923" name="iBar:209/371">
              <a:extLst>
                <a:ext uri="{FF2B5EF4-FFF2-40B4-BE49-F238E27FC236}">
                  <a16:creationId xmlns:a16="http://schemas.microsoft.com/office/drawing/2014/main" id="{806850BD-F602-4ED2-B5B9-A76E62F0C614}"/>
                </a:ext>
              </a:extLst>
            </p:cNvPr>
            <p:cNvCxnSpPr/>
            <p:nvPr/>
          </p:nvCxnSpPr>
          <p:spPr>
            <a:xfrm>
              <a:off x="2654299" y="4521200"/>
              <a:ext cx="7296571"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24" name="TxtBox:209/371">
              <a:extLst>
                <a:ext uri="{FF2B5EF4-FFF2-40B4-BE49-F238E27FC236}">
                  <a16:creationId xmlns:a16="http://schemas.microsoft.com/office/drawing/2014/main" id="{6A8FCDE1-45E6-46CD-BA7A-2B39695399C4}"/>
                </a:ext>
              </a:extLst>
            </p:cNvPr>
            <p:cNvSpPr/>
            <p:nvPr/>
          </p:nvSpPr>
          <p:spPr bwMode="gray">
            <a:xfrm>
              <a:off x="5002524" y="4396581"/>
              <a:ext cx="2600123" cy="249241"/>
            </a:xfrm>
            <a:prstGeom prst="rect">
              <a:avLst/>
            </a:prstGeom>
            <a:solidFill>
              <a:srgbClr val="A0DCFF"/>
            </a:solidFill>
            <a:ln w="19050" algn="ctr">
              <a:noFill/>
              <a:miter lim="800000"/>
              <a:headEnd/>
              <a:tailEnd/>
            </a:ln>
          </p:spPr>
          <p:txBody>
            <a:bodyPr wrap="none" lIns="91673" tIns="0" rIns="91673" bIns="0" rtlCol="0" anchor="ctr">
              <a:spAutoFit/>
            </a:bodyPr>
            <a:lstStyle/>
            <a:p>
              <a:pPr algn="ctr">
                <a:lnSpc>
                  <a:spcPct val="106000"/>
                </a:lnSpc>
              </a:pPr>
              <a:r>
                <a:rPr lang="en-US" sz="1600" b="1" dirty="0">
                  <a:solidFill>
                    <a:srgbClr val="000000"/>
                  </a:solidFill>
                </a:rPr>
                <a:t>Acceptance Criteria Example</a:t>
              </a:r>
            </a:p>
          </p:txBody>
        </p:sp>
      </p:grpSp>
      <p:sp>
        <p:nvSpPr>
          <p:cNvPr id="2925" name="Rectangle 2924">
            <a:extLst>
              <a:ext uri="{FF2B5EF4-FFF2-40B4-BE49-F238E27FC236}">
                <a16:creationId xmlns:a16="http://schemas.microsoft.com/office/drawing/2014/main" id="{B5ABF539-D297-4F35-8AF3-20DBA1BB6E1D}"/>
              </a:ext>
            </a:extLst>
          </p:cNvPr>
          <p:cNvSpPr/>
          <p:nvPr/>
        </p:nvSpPr>
        <p:spPr bwMode="gray">
          <a:xfrm>
            <a:off x="6419457" y="1858838"/>
            <a:ext cx="4862854" cy="1377957"/>
          </a:xfrm>
          <a:prstGeom prst="rect">
            <a:avLst/>
          </a:prstGeom>
          <a:solidFill>
            <a:schemeClr val="bg1"/>
          </a:solidFill>
          <a:ln w="28575" algn="ctr">
            <a:solidFill>
              <a:srgbClr val="007680"/>
            </a:solidFill>
            <a:prstDash val="sysDash"/>
            <a:miter lim="800000"/>
            <a:headEnd/>
            <a:tailEnd/>
          </a:ln>
        </p:spPr>
        <p:txBody>
          <a:bodyPr wrap="square" lIns="68746" tIns="68746" rIns="68746" bIns="68746" rtlCol="0" anchor="ctr">
            <a:noAutofit/>
          </a:bodyPr>
          <a:lstStyle/>
          <a:p>
            <a:pPr>
              <a:lnSpc>
                <a:spcPct val="106000"/>
              </a:lnSpc>
              <a:spcBef>
                <a:spcPts val="602"/>
              </a:spcBef>
              <a:spcAft>
                <a:spcPts val="602"/>
              </a:spcAft>
            </a:pPr>
            <a:r>
              <a:rPr lang="en-US" sz="1400" b="1" dirty="0"/>
              <a:t>Requires acceptance criteria:</a:t>
            </a:r>
          </a:p>
          <a:p>
            <a:pPr marL="171896" indent="-171896">
              <a:lnSpc>
                <a:spcPct val="106000"/>
              </a:lnSpc>
              <a:spcAft>
                <a:spcPts val="602"/>
              </a:spcAft>
              <a:buFont typeface="Arial" panose="020B0604020202020204" pitchFamily="34" charset="0"/>
              <a:buChar char="•"/>
            </a:pPr>
            <a:r>
              <a:rPr lang="en-US" sz="1400" dirty="0"/>
              <a:t>A set of conditions that the story must meet to be accepted as complete by the PO</a:t>
            </a:r>
          </a:p>
          <a:p>
            <a:pPr marL="171896" indent="-171896">
              <a:lnSpc>
                <a:spcPct val="106000"/>
              </a:lnSpc>
              <a:spcAft>
                <a:spcPts val="602"/>
              </a:spcAft>
              <a:buFont typeface="Arial" panose="020B0604020202020204" pitchFamily="34" charset="0"/>
              <a:buChar char="•"/>
            </a:pPr>
            <a:r>
              <a:rPr lang="en-US" sz="1400" dirty="0"/>
              <a:t>Allows the Scrum Team to gain a shared understanding of the complete story</a:t>
            </a:r>
          </a:p>
        </p:txBody>
      </p:sp>
      <p:grpSp>
        <p:nvGrpSpPr>
          <p:cNvPr id="2926" name="Group 2925">
            <a:extLst>
              <a:ext uri="{FF2B5EF4-FFF2-40B4-BE49-F238E27FC236}">
                <a16:creationId xmlns:a16="http://schemas.microsoft.com/office/drawing/2014/main" id="{23791005-ECD6-4008-BA66-593D49990AD1}"/>
              </a:ext>
            </a:extLst>
          </p:cNvPr>
          <p:cNvGrpSpPr/>
          <p:nvPr/>
        </p:nvGrpSpPr>
        <p:grpSpPr>
          <a:xfrm>
            <a:off x="3604005" y="3860646"/>
            <a:ext cx="7977911" cy="2377440"/>
            <a:chOff x="1512093" y="1398247"/>
            <a:chExt cx="6473269" cy="2878707"/>
          </a:xfrm>
        </p:grpSpPr>
        <p:grpSp>
          <p:nvGrpSpPr>
            <p:cNvPr id="2927" name="Group 2926">
              <a:extLst>
                <a:ext uri="{FF2B5EF4-FFF2-40B4-BE49-F238E27FC236}">
                  <a16:creationId xmlns:a16="http://schemas.microsoft.com/office/drawing/2014/main" id="{60E2BE98-71B4-4FC3-8668-485FC638B998}"/>
                </a:ext>
              </a:extLst>
            </p:cNvPr>
            <p:cNvGrpSpPr/>
            <p:nvPr/>
          </p:nvGrpSpPr>
          <p:grpSpPr>
            <a:xfrm>
              <a:off x="1512093" y="1398247"/>
              <a:ext cx="6473269" cy="2878707"/>
              <a:chOff x="1512093" y="1398247"/>
              <a:chExt cx="6473269" cy="2878707"/>
            </a:xfrm>
          </p:grpSpPr>
          <p:grpSp>
            <p:nvGrpSpPr>
              <p:cNvPr id="2936" name="Group 2935">
                <a:extLst>
                  <a:ext uri="{FF2B5EF4-FFF2-40B4-BE49-F238E27FC236}">
                    <a16:creationId xmlns:a16="http://schemas.microsoft.com/office/drawing/2014/main" id="{5B5D4B37-DA76-44DD-A79E-45FD336D45A0}"/>
                  </a:ext>
                </a:extLst>
              </p:cNvPr>
              <p:cNvGrpSpPr/>
              <p:nvPr/>
            </p:nvGrpSpPr>
            <p:grpSpPr>
              <a:xfrm>
                <a:off x="1512093" y="1398247"/>
                <a:ext cx="6473269" cy="2878707"/>
                <a:chOff x="1283493" y="1210467"/>
                <a:chExt cx="6971213" cy="4054040"/>
              </a:xfrm>
            </p:grpSpPr>
            <p:sp>
              <p:nvSpPr>
                <p:cNvPr id="2939" name="Rectangle 2938">
                  <a:extLst>
                    <a:ext uri="{FF2B5EF4-FFF2-40B4-BE49-F238E27FC236}">
                      <a16:creationId xmlns:a16="http://schemas.microsoft.com/office/drawing/2014/main" id="{C8424C58-A776-47E3-AEB8-EFE0EBBB9599}"/>
                    </a:ext>
                  </a:extLst>
                </p:cNvPr>
                <p:cNvSpPr/>
                <p:nvPr/>
              </p:nvSpPr>
              <p:spPr bwMode="gray">
                <a:xfrm>
                  <a:off x="1283493" y="1210467"/>
                  <a:ext cx="6971213" cy="4050514"/>
                </a:xfrm>
                <a:prstGeom prst="rect">
                  <a:avLst/>
                </a:prstGeom>
                <a:solidFill>
                  <a:srgbClr val="97999B"/>
                </a:solidFill>
                <a:ln w="19050" algn="ctr">
                  <a:noFill/>
                  <a:miter lim="800000"/>
                  <a:headEnd/>
                  <a:tailEnd/>
                </a:ln>
              </p:spPr>
              <p:txBody>
                <a:bodyPr wrap="square" lIns="89127" tIns="89127" rIns="89127" bIns="89127" rtlCol="0" anchor="ctr"/>
                <a:lstStyle/>
                <a:p>
                  <a:pPr algn="ctr">
                    <a:lnSpc>
                      <a:spcPct val="106000"/>
                    </a:lnSpc>
                    <a:buFont typeface="Wingdings 2" pitchFamily="18" charset="2"/>
                    <a:buNone/>
                  </a:pPr>
                  <a:endParaRPr lang="en-US" sz="2000" b="1" dirty="0">
                    <a:solidFill>
                      <a:schemeClr val="bg1"/>
                    </a:solidFill>
                  </a:endParaRPr>
                </a:p>
              </p:txBody>
            </p:sp>
            <p:cxnSp>
              <p:nvCxnSpPr>
                <p:cNvPr id="2940" name="Straight Connector 2939">
                  <a:extLst>
                    <a:ext uri="{FF2B5EF4-FFF2-40B4-BE49-F238E27FC236}">
                      <a16:creationId xmlns:a16="http://schemas.microsoft.com/office/drawing/2014/main" id="{06C75649-1EB9-4933-B33E-FDBA9E1E0633}"/>
                    </a:ext>
                  </a:extLst>
                </p:cNvPr>
                <p:cNvCxnSpPr/>
                <p:nvPr/>
              </p:nvCxnSpPr>
              <p:spPr>
                <a:xfrm>
                  <a:off x="2625349" y="1210467"/>
                  <a:ext cx="0" cy="405404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2937" name="Rectangle 2936">
                <a:extLst>
                  <a:ext uri="{FF2B5EF4-FFF2-40B4-BE49-F238E27FC236}">
                    <a16:creationId xmlns:a16="http://schemas.microsoft.com/office/drawing/2014/main" id="{1053FF91-A7B5-485F-BE78-CFAAB80D04D5}"/>
                  </a:ext>
                </a:extLst>
              </p:cNvPr>
              <p:cNvSpPr/>
              <p:nvPr/>
            </p:nvSpPr>
            <p:spPr>
              <a:xfrm>
                <a:off x="1525111" y="1562007"/>
                <a:ext cx="1160342" cy="633537"/>
              </a:xfrm>
              <a:prstGeom prst="rect">
                <a:avLst/>
              </a:prstGeom>
            </p:spPr>
            <p:txBody>
              <a:bodyPr wrap="square">
                <a:spAutoFit/>
              </a:bodyPr>
              <a:lstStyle/>
              <a:p>
                <a:pPr defTabSz="1012676">
                  <a:spcAft>
                    <a:spcPts val="501"/>
                  </a:spcAft>
                  <a:buClr>
                    <a:srgbClr val="000000"/>
                  </a:buClr>
                  <a:defRPr/>
                </a:pPr>
                <a:r>
                  <a:rPr lang="en-US" sz="1400" b="1" kern="0" dirty="0">
                    <a:sym typeface="Wingdings" pitchFamily="2" charset="2"/>
                  </a:rPr>
                  <a:t>As a </a:t>
                </a:r>
                <a:r>
                  <a:rPr lang="en-US" sz="1400" kern="0" dirty="0">
                    <a:sym typeface="Wingdings" pitchFamily="2" charset="2"/>
                  </a:rPr>
                  <a:t>Starbucks Card user </a:t>
                </a:r>
              </a:p>
            </p:txBody>
          </p:sp>
          <p:sp>
            <p:nvSpPr>
              <p:cNvPr id="2938" name="Rectangle 2937">
                <a:extLst>
                  <a:ext uri="{FF2B5EF4-FFF2-40B4-BE49-F238E27FC236}">
                    <a16:creationId xmlns:a16="http://schemas.microsoft.com/office/drawing/2014/main" id="{837AB497-34B2-4B40-8118-EBFCC0C23941}"/>
                  </a:ext>
                </a:extLst>
              </p:cNvPr>
              <p:cNvSpPr/>
              <p:nvPr/>
            </p:nvSpPr>
            <p:spPr>
              <a:xfrm>
                <a:off x="2806842" y="1468839"/>
                <a:ext cx="5122038" cy="894406"/>
              </a:xfrm>
              <a:prstGeom prst="rect">
                <a:avLst/>
              </a:prstGeom>
              <a:solidFill>
                <a:schemeClr val="bg1"/>
              </a:solidFill>
            </p:spPr>
            <p:txBody>
              <a:bodyPr wrap="square">
                <a:spAutoFit/>
              </a:bodyPr>
              <a:lstStyle/>
              <a:p>
                <a:pPr marL="0" lvl="1" defTabSz="458389" fontAlgn="t">
                  <a:buClr>
                    <a:schemeClr val="tx2"/>
                  </a:buClr>
                  <a:buSzPct val="80000"/>
                  <a:defRPr/>
                </a:pPr>
                <a:r>
                  <a:rPr lang="en-US" sz="1400" b="1" dirty="0"/>
                  <a:t>Given </a:t>
                </a:r>
                <a:r>
                  <a:rPr lang="en-US" sz="1400" dirty="0"/>
                  <a:t>there are pending credit(s) for my account</a:t>
                </a:r>
              </a:p>
              <a:p>
                <a:pPr marL="0" lvl="1" defTabSz="458389" fontAlgn="t">
                  <a:buClr>
                    <a:schemeClr val="tx2"/>
                  </a:buClr>
                  <a:buSzPct val="80000"/>
                  <a:defRPr/>
                </a:pPr>
                <a:r>
                  <a:rPr lang="en-US" sz="1400" b="1" dirty="0"/>
                  <a:t>When</a:t>
                </a:r>
                <a:r>
                  <a:rPr lang="en-US" sz="1400" dirty="0"/>
                  <a:t> I select a credit to apply</a:t>
                </a:r>
              </a:p>
              <a:p>
                <a:pPr marL="0" lvl="1" defTabSz="458389" fontAlgn="t">
                  <a:buClr>
                    <a:schemeClr val="tx2"/>
                  </a:buClr>
                  <a:buSzPct val="80000"/>
                  <a:defRPr/>
                </a:pPr>
                <a:r>
                  <a:rPr lang="en-US" sz="1400" b="1" dirty="0"/>
                  <a:t>Then</a:t>
                </a:r>
                <a:r>
                  <a:rPr lang="en-US" sz="1400" dirty="0"/>
                  <a:t> my Starbucks Card balance will be updated with the appropriate credit amount</a:t>
                </a:r>
              </a:p>
            </p:txBody>
          </p:sp>
        </p:grpSp>
        <p:grpSp>
          <p:nvGrpSpPr>
            <p:cNvPr id="2928" name="Group 2927">
              <a:extLst>
                <a:ext uri="{FF2B5EF4-FFF2-40B4-BE49-F238E27FC236}">
                  <a16:creationId xmlns:a16="http://schemas.microsoft.com/office/drawing/2014/main" id="{C01AC3C5-2ED7-4A57-809B-E543451C529F}"/>
                </a:ext>
              </a:extLst>
            </p:cNvPr>
            <p:cNvGrpSpPr/>
            <p:nvPr/>
          </p:nvGrpSpPr>
          <p:grpSpPr>
            <a:xfrm>
              <a:off x="1525112" y="2394996"/>
              <a:ext cx="6406118" cy="894407"/>
              <a:chOff x="1525112" y="1439775"/>
              <a:chExt cx="6406118" cy="894407"/>
            </a:xfrm>
          </p:grpSpPr>
          <p:sp>
            <p:nvSpPr>
              <p:cNvPr id="2934" name="Rectangle 2933">
                <a:extLst>
                  <a:ext uri="{FF2B5EF4-FFF2-40B4-BE49-F238E27FC236}">
                    <a16:creationId xmlns:a16="http://schemas.microsoft.com/office/drawing/2014/main" id="{0C058FC6-D975-4819-A8C3-CBFDAFA1D0F8}"/>
                  </a:ext>
                </a:extLst>
              </p:cNvPr>
              <p:cNvSpPr/>
              <p:nvPr/>
            </p:nvSpPr>
            <p:spPr>
              <a:xfrm>
                <a:off x="1525112" y="1439775"/>
                <a:ext cx="1264006" cy="633538"/>
              </a:xfrm>
              <a:prstGeom prst="rect">
                <a:avLst/>
              </a:prstGeom>
            </p:spPr>
            <p:txBody>
              <a:bodyPr wrap="square">
                <a:spAutoFit/>
              </a:bodyPr>
              <a:lstStyle/>
              <a:p>
                <a:pPr defTabSz="1012676">
                  <a:spcAft>
                    <a:spcPts val="501"/>
                  </a:spcAft>
                  <a:buClr>
                    <a:srgbClr val="000000"/>
                  </a:buClr>
                  <a:defRPr/>
                </a:pPr>
                <a:r>
                  <a:rPr lang="en-US" sz="1400" b="1" kern="0" dirty="0">
                    <a:sym typeface="Wingdings" pitchFamily="2" charset="2"/>
                  </a:rPr>
                  <a:t>I want to </a:t>
                </a:r>
                <a:r>
                  <a:rPr lang="en-US" sz="1400" kern="0" dirty="0">
                    <a:sym typeface="Wingdings" pitchFamily="2" charset="2"/>
                  </a:rPr>
                  <a:t>manage my account credits </a:t>
                </a:r>
              </a:p>
            </p:txBody>
          </p:sp>
          <p:sp>
            <p:nvSpPr>
              <p:cNvPr id="2935" name="Rectangle 2934">
                <a:extLst>
                  <a:ext uri="{FF2B5EF4-FFF2-40B4-BE49-F238E27FC236}">
                    <a16:creationId xmlns:a16="http://schemas.microsoft.com/office/drawing/2014/main" id="{01DC07FC-FF2C-4964-B97C-AF2F8DA0668E}"/>
                  </a:ext>
                </a:extLst>
              </p:cNvPr>
              <p:cNvSpPr/>
              <p:nvPr/>
            </p:nvSpPr>
            <p:spPr>
              <a:xfrm>
                <a:off x="2806843" y="1439775"/>
                <a:ext cx="5124387" cy="894407"/>
              </a:xfrm>
              <a:prstGeom prst="rect">
                <a:avLst/>
              </a:prstGeom>
              <a:solidFill>
                <a:schemeClr val="bg1"/>
              </a:solidFill>
            </p:spPr>
            <p:txBody>
              <a:bodyPr wrap="square" anchor="ctr">
                <a:spAutoFit/>
              </a:bodyPr>
              <a:lstStyle/>
              <a:p>
                <a:pPr marL="0" lvl="1" defTabSz="458389" fontAlgn="t">
                  <a:buClr>
                    <a:schemeClr val="tx2"/>
                  </a:buClr>
                  <a:buSzPct val="80000"/>
                  <a:defRPr/>
                </a:pPr>
                <a:r>
                  <a:rPr lang="en-US" sz="1400" b="1" dirty="0"/>
                  <a:t>Given </a:t>
                </a:r>
                <a:r>
                  <a:rPr lang="en-US" sz="1400" dirty="0"/>
                  <a:t>I have run out of credits on my account</a:t>
                </a:r>
              </a:p>
              <a:p>
                <a:pPr marL="0" lvl="1" defTabSz="458389" fontAlgn="t">
                  <a:buClr>
                    <a:schemeClr val="tx2"/>
                  </a:buClr>
                  <a:buSzPct val="80000"/>
                  <a:defRPr/>
                </a:pPr>
                <a:r>
                  <a:rPr lang="en-US" sz="1400" b="1" dirty="0"/>
                  <a:t>When </a:t>
                </a:r>
                <a:r>
                  <a:rPr lang="en-US" sz="1400" dirty="0"/>
                  <a:t>I try to purchase an item</a:t>
                </a:r>
              </a:p>
              <a:p>
                <a:pPr marL="0" lvl="1" defTabSz="458389" fontAlgn="t">
                  <a:buClr>
                    <a:schemeClr val="tx2"/>
                  </a:buClr>
                  <a:buSzPct val="80000"/>
                  <a:defRPr/>
                </a:pPr>
                <a:r>
                  <a:rPr lang="en-US" sz="1400" b="1" dirty="0"/>
                  <a:t>Then </a:t>
                </a:r>
                <a:r>
                  <a:rPr lang="en-US" sz="1400" dirty="0"/>
                  <a:t>I will be prompted to add more credits to my account</a:t>
                </a:r>
              </a:p>
            </p:txBody>
          </p:sp>
        </p:grpSp>
        <p:grpSp>
          <p:nvGrpSpPr>
            <p:cNvPr id="2929" name="Group 2928">
              <a:extLst>
                <a:ext uri="{FF2B5EF4-FFF2-40B4-BE49-F238E27FC236}">
                  <a16:creationId xmlns:a16="http://schemas.microsoft.com/office/drawing/2014/main" id="{C6BC3241-AAD3-4FA8-958A-CE758AF6A595}"/>
                </a:ext>
              </a:extLst>
            </p:cNvPr>
            <p:cNvGrpSpPr/>
            <p:nvPr/>
          </p:nvGrpSpPr>
          <p:grpSpPr>
            <a:xfrm>
              <a:off x="1525111" y="3332645"/>
              <a:ext cx="6403769" cy="894407"/>
              <a:chOff x="1525112" y="1386824"/>
              <a:chExt cx="6403769" cy="894407"/>
            </a:xfrm>
          </p:grpSpPr>
          <p:sp>
            <p:nvSpPr>
              <p:cNvPr id="2931" name="Rectangle 2930">
                <a:extLst>
                  <a:ext uri="{FF2B5EF4-FFF2-40B4-BE49-F238E27FC236}">
                    <a16:creationId xmlns:a16="http://schemas.microsoft.com/office/drawing/2014/main" id="{CCF412F8-A5DF-4E80-BD59-2B79B979F798}"/>
                  </a:ext>
                </a:extLst>
              </p:cNvPr>
              <p:cNvSpPr/>
              <p:nvPr/>
            </p:nvSpPr>
            <p:spPr>
              <a:xfrm>
                <a:off x="1525112" y="1527200"/>
                <a:ext cx="1160342" cy="633538"/>
              </a:xfrm>
              <a:prstGeom prst="rect">
                <a:avLst/>
              </a:prstGeom>
            </p:spPr>
            <p:txBody>
              <a:bodyPr wrap="square">
                <a:spAutoFit/>
              </a:bodyPr>
              <a:lstStyle/>
              <a:p>
                <a:pPr defTabSz="1012676">
                  <a:spcAft>
                    <a:spcPts val="501"/>
                  </a:spcAft>
                  <a:buClr>
                    <a:srgbClr val="000000"/>
                  </a:buClr>
                  <a:defRPr/>
                </a:pPr>
                <a:r>
                  <a:rPr lang="en-US" sz="1400" b="1" kern="0" dirty="0">
                    <a:sym typeface="Wingdings" pitchFamily="2" charset="2"/>
                  </a:rPr>
                  <a:t>So that </a:t>
                </a:r>
                <a:r>
                  <a:rPr lang="en-US" sz="1400" kern="0" dirty="0">
                    <a:sym typeface="Wingdings" pitchFamily="2" charset="2"/>
                  </a:rPr>
                  <a:t>I can buy coffee</a:t>
                </a:r>
                <a:endParaRPr lang="en-US" sz="1400" strike="sngStrike" kern="0" dirty="0">
                  <a:sym typeface="Wingdings" pitchFamily="2" charset="2"/>
                </a:endParaRPr>
              </a:p>
            </p:txBody>
          </p:sp>
          <p:sp>
            <p:nvSpPr>
              <p:cNvPr id="2932" name="Rectangle 2931">
                <a:extLst>
                  <a:ext uri="{FF2B5EF4-FFF2-40B4-BE49-F238E27FC236}">
                    <a16:creationId xmlns:a16="http://schemas.microsoft.com/office/drawing/2014/main" id="{5AA2E640-2A62-4C1F-B62F-4206B20E562E}"/>
                  </a:ext>
                </a:extLst>
              </p:cNvPr>
              <p:cNvSpPr/>
              <p:nvPr/>
            </p:nvSpPr>
            <p:spPr>
              <a:xfrm>
                <a:off x="2806843" y="1386824"/>
                <a:ext cx="5122038" cy="894407"/>
              </a:xfrm>
              <a:prstGeom prst="rect">
                <a:avLst/>
              </a:prstGeom>
              <a:solidFill>
                <a:schemeClr val="bg1"/>
              </a:solidFill>
            </p:spPr>
            <p:txBody>
              <a:bodyPr wrap="square">
                <a:spAutoFit/>
              </a:bodyPr>
              <a:lstStyle/>
              <a:p>
                <a:pPr marL="0" lvl="1" defTabSz="458389" fontAlgn="t">
                  <a:buClr>
                    <a:schemeClr val="tx2"/>
                  </a:buClr>
                  <a:buSzPct val="80000"/>
                  <a:defRPr/>
                </a:pPr>
                <a:r>
                  <a:rPr lang="en-US" sz="1400" b="1" dirty="0"/>
                  <a:t>Given </a:t>
                </a:r>
                <a:r>
                  <a:rPr lang="en-US" sz="1400" dirty="0"/>
                  <a:t>I am reloading my Starbucks account</a:t>
                </a:r>
              </a:p>
              <a:p>
                <a:pPr marL="0" lvl="1" defTabSz="458389" fontAlgn="t">
                  <a:buClr>
                    <a:schemeClr val="tx2"/>
                  </a:buClr>
                  <a:buSzPct val="80000"/>
                  <a:defRPr/>
                </a:pPr>
                <a:r>
                  <a:rPr lang="en-US" sz="1400" b="1" dirty="0"/>
                  <a:t>When </a:t>
                </a:r>
                <a:r>
                  <a:rPr lang="en-US" sz="1400" dirty="0"/>
                  <a:t>I enter an invalid credit card</a:t>
                </a:r>
              </a:p>
              <a:p>
                <a:pPr marL="0" lvl="1" defTabSz="458389" fontAlgn="t">
                  <a:buClr>
                    <a:schemeClr val="tx2"/>
                  </a:buClr>
                  <a:buSzPct val="80000"/>
                  <a:defRPr/>
                </a:pPr>
                <a:r>
                  <a:rPr lang="en-US" sz="1400" b="1" dirty="0"/>
                  <a:t>Then </a:t>
                </a:r>
                <a:r>
                  <a:rPr lang="en-US" sz="1400" dirty="0"/>
                  <a:t>I will be shown an error telling me which part of my credit card entry is invalid</a:t>
                </a:r>
              </a:p>
            </p:txBody>
          </p:sp>
        </p:grpSp>
      </p:grpSp>
      <p:cxnSp>
        <p:nvCxnSpPr>
          <p:cNvPr id="2941" name="Straight Connector 198">
            <a:extLst>
              <a:ext uri="{FF2B5EF4-FFF2-40B4-BE49-F238E27FC236}">
                <a16:creationId xmlns:a16="http://schemas.microsoft.com/office/drawing/2014/main" id="{518988B5-9395-4000-B8B0-3FD90C321E73}"/>
              </a:ext>
            </a:extLst>
          </p:cNvPr>
          <p:cNvCxnSpPr>
            <a:cxnSpLocks/>
            <a:stCxn id="2925" idx="1"/>
            <a:endCxn id="2943" idx="3"/>
          </p:cNvCxnSpPr>
          <p:nvPr/>
        </p:nvCxnSpPr>
        <p:spPr>
          <a:xfrm flipH="1">
            <a:off x="5365942" y="2547817"/>
            <a:ext cx="1053515" cy="3960"/>
          </a:xfrm>
          <a:prstGeom prst="straightConnector1">
            <a:avLst/>
          </a:prstGeom>
          <a:ln w="28575">
            <a:solidFill>
              <a:srgbClr val="75787B"/>
            </a:solidFill>
            <a:prstDash val="dash"/>
          </a:ln>
        </p:spPr>
        <p:style>
          <a:lnRef idx="1">
            <a:schemeClr val="accent1"/>
          </a:lnRef>
          <a:fillRef idx="0">
            <a:schemeClr val="accent1"/>
          </a:fillRef>
          <a:effectRef idx="0">
            <a:schemeClr val="accent1"/>
          </a:effectRef>
          <a:fontRef idx="minor">
            <a:schemeClr val="tx1"/>
          </a:fontRef>
        </p:style>
      </p:cxnSp>
      <p:grpSp>
        <p:nvGrpSpPr>
          <p:cNvPr id="2942" name="Group 2941">
            <a:extLst>
              <a:ext uri="{FF2B5EF4-FFF2-40B4-BE49-F238E27FC236}">
                <a16:creationId xmlns:a16="http://schemas.microsoft.com/office/drawing/2014/main" id="{A6F3367D-1EF1-447B-93F8-4669EF4DFE70}"/>
              </a:ext>
            </a:extLst>
          </p:cNvPr>
          <p:cNvGrpSpPr/>
          <p:nvPr/>
        </p:nvGrpSpPr>
        <p:grpSpPr>
          <a:xfrm>
            <a:off x="3950746" y="1858838"/>
            <a:ext cx="1415196" cy="1385877"/>
            <a:chOff x="6225413" y="2498584"/>
            <a:chExt cx="1882368" cy="1843371"/>
          </a:xfrm>
        </p:grpSpPr>
        <p:sp>
          <p:nvSpPr>
            <p:cNvPr id="2943" name="Rectangle 2942">
              <a:extLst>
                <a:ext uri="{FF2B5EF4-FFF2-40B4-BE49-F238E27FC236}">
                  <a16:creationId xmlns:a16="http://schemas.microsoft.com/office/drawing/2014/main" id="{661D8CB1-7CDE-4959-92CD-3696F4392323}"/>
                </a:ext>
              </a:extLst>
            </p:cNvPr>
            <p:cNvSpPr/>
            <p:nvPr/>
          </p:nvSpPr>
          <p:spPr bwMode="gray">
            <a:xfrm>
              <a:off x="6225413" y="2498584"/>
              <a:ext cx="1882368" cy="1843371"/>
            </a:xfrm>
            <a:prstGeom prst="rect">
              <a:avLst/>
            </a:prstGeom>
            <a:solidFill>
              <a:schemeClr val="bg1"/>
            </a:solidFill>
            <a:ln w="28575" algn="ctr">
              <a:solidFill>
                <a:srgbClr val="007680"/>
              </a:solidFill>
              <a:prstDash val="sysDash"/>
              <a:miter lim="800000"/>
              <a:headEnd/>
              <a:tailEnd/>
            </a:ln>
          </p:spPr>
          <p:txBody>
            <a:bodyPr wrap="square" lIns="68746" tIns="68746" rIns="68746" bIns="68746" rtlCol="0" anchor="t">
              <a:noAutofit/>
            </a:bodyPr>
            <a:lstStyle/>
            <a:p>
              <a:pPr algn="ctr">
                <a:lnSpc>
                  <a:spcPct val="106000"/>
                </a:lnSpc>
              </a:pPr>
              <a:r>
                <a:rPr lang="en-US" sz="1354" b="1" dirty="0">
                  <a:latin typeface="Open Sans" panose="020B0606030504020204" pitchFamily="34" charset="0"/>
                  <a:ea typeface="Open Sans" panose="020B0606030504020204" pitchFamily="34" charset="0"/>
                  <a:cs typeface="Open Sans" panose="020B0606030504020204" pitchFamily="34" charset="0"/>
                </a:rPr>
                <a:t>User Stories</a:t>
              </a:r>
            </a:p>
          </p:txBody>
        </p:sp>
        <p:pic>
          <p:nvPicPr>
            <p:cNvPr id="2944" name="Picture 2943">
              <a:extLst>
                <a:ext uri="{FF2B5EF4-FFF2-40B4-BE49-F238E27FC236}">
                  <a16:creationId xmlns:a16="http://schemas.microsoft.com/office/drawing/2014/main" id="{9AAFF7C4-0BF9-4061-85AF-EF9D535D083E}"/>
                </a:ext>
              </a:extLst>
            </p:cNvPr>
            <p:cNvPicPr>
              <a:picLocks noChangeAspect="1"/>
            </p:cNvPicPr>
            <p:nvPr/>
          </p:nvPicPr>
          <p:blipFill>
            <a:blip r:embed="rId9"/>
            <a:stretch>
              <a:fillRect/>
            </a:stretch>
          </p:blipFill>
          <p:spPr>
            <a:xfrm>
              <a:off x="6730257" y="3282227"/>
              <a:ext cx="803030" cy="1003786"/>
            </a:xfrm>
            <a:prstGeom prst="rect">
              <a:avLst/>
            </a:prstGeom>
          </p:spPr>
        </p:pic>
      </p:grpSp>
    </p:spTree>
    <p:custDataLst>
      <p:tags r:id="rId1"/>
    </p:custDataLst>
    <p:extLst>
      <p:ext uri="{BB962C8B-B14F-4D97-AF65-F5344CB8AC3E}">
        <p14:creationId xmlns:p14="http://schemas.microsoft.com/office/powerpoint/2010/main" val="128435536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1" name="Rectangle 2920">
            <a:extLst>
              <a:ext uri="{FF2B5EF4-FFF2-40B4-BE49-F238E27FC236}">
                <a16:creationId xmlns:a16="http://schemas.microsoft.com/office/drawing/2014/main" id="{C3C0E45A-3BC3-4EC8-8D1B-ACC23D09D86C}"/>
              </a:ext>
            </a:extLst>
          </p:cNvPr>
          <p:cNvSpPr/>
          <p:nvPr/>
        </p:nvSpPr>
        <p:spPr bwMode="gray">
          <a:xfrm>
            <a:off x="598323" y="3265981"/>
            <a:ext cx="629963" cy="912832"/>
          </a:xfrm>
          <a:prstGeom prst="rect">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itle 3">
            <a:extLst>
              <a:ext uri="{FF2B5EF4-FFF2-40B4-BE49-F238E27FC236}">
                <a16:creationId xmlns:a16="http://schemas.microsoft.com/office/drawing/2014/main" id="{A21F36B2-2A37-4842-A8E4-8168BE7C77FB}"/>
              </a:ext>
            </a:extLst>
          </p:cNvPr>
          <p:cNvSpPr>
            <a:spLocks noGrp="1"/>
          </p:cNvSpPr>
          <p:nvPr>
            <p:ph type="title"/>
          </p:nvPr>
        </p:nvSpPr>
        <p:spPr/>
        <p:txBody>
          <a:bodyPr/>
          <a:lstStyle/>
          <a:p>
            <a:r>
              <a:rPr lang="en-US" dirty="0"/>
              <a:t>Discovery: Define User Stories: Supporting documentation</a:t>
            </a:r>
          </a:p>
        </p:txBody>
      </p:sp>
      <p:sp>
        <p:nvSpPr>
          <p:cNvPr id="379" name="Text Placeholder 26">
            <a:extLst>
              <a:ext uri="{FF2B5EF4-FFF2-40B4-BE49-F238E27FC236}">
                <a16:creationId xmlns:a16="http://schemas.microsoft.com/office/drawing/2014/main" id="{5AB413F5-343C-4AAA-B9AC-12FE3978929D}"/>
              </a:ext>
            </a:extLst>
          </p:cNvPr>
          <p:cNvSpPr>
            <a:spLocks noGrp="1"/>
          </p:cNvSpPr>
          <p:nvPr>
            <p:ph type="body" sz="quarter" idx="13"/>
          </p:nvPr>
        </p:nvSpPr>
        <p:spPr/>
        <p:txBody>
          <a:bodyPr/>
          <a:lstStyle/>
          <a:p>
            <a:r>
              <a:rPr lang="en-US" dirty="0"/>
              <a:t> </a:t>
            </a:r>
          </a:p>
        </p:txBody>
      </p:sp>
      <p:graphicFrame>
        <p:nvGraphicFramePr>
          <p:cNvPr id="2088" name="Table 2087">
            <a:extLst>
              <a:ext uri="{FF2B5EF4-FFF2-40B4-BE49-F238E27FC236}">
                <a16:creationId xmlns:a16="http://schemas.microsoft.com/office/drawing/2014/main" id="{25698676-5C58-4D35-A8B7-8E336A7551CC}"/>
              </a:ext>
            </a:extLst>
          </p:cNvPr>
          <p:cNvGraphicFramePr>
            <a:graphicFrameLocks noGrp="1"/>
          </p:cNvGraphicFramePr>
          <p:nvPr/>
        </p:nvGraphicFramePr>
        <p:xfrm>
          <a:off x="4178627" y="3158850"/>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089" name="Rectangle 2088">
            <a:extLst>
              <a:ext uri="{FF2B5EF4-FFF2-40B4-BE49-F238E27FC236}">
                <a16:creationId xmlns:a16="http://schemas.microsoft.com/office/drawing/2014/main" id="{538DBED8-B7FE-4836-95D1-D23E7CB3103C}"/>
              </a:ext>
            </a:extLst>
          </p:cNvPr>
          <p:cNvSpPr>
            <a:spLocks/>
          </p:cNvSpPr>
          <p:nvPr/>
        </p:nvSpPr>
        <p:spPr bwMode="gray">
          <a:xfrm>
            <a:off x="9918827" y="1551301"/>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090" name="Table 2089">
            <a:extLst>
              <a:ext uri="{FF2B5EF4-FFF2-40B4-BE49-F238E27FC236}">
                <a16:creationId xmlns:a16="http://schemas.microsoft.com/office/drawing/2014/main" id="{CCD5D59F-617C-4091-9BEC-F2BEDDEF7D01}"/>
              </a:ext>
            </a:extLst>
          </p:cNvPr>
          <p:cNvGraphicFramePr>
            <a:graphicFrameLocks noGrp="1"/>
          </p:cNvGraphicFramePr>
          <p:nvPr/>
        </p:nvGraphicFramePr>
        <p:xfrm>
          <a:off x="468615" y="4440018"/>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091" name="Group 2090">
            <a:extLst>
              <a:ext uri="{FF2B5EF4-FFF2-40B4-BE49-F238E27FC236}">
                <a16:creationId xmlns:a16="http://schemas.microsoft.com/office/drawing/2014/main" id="{FA3C1DA5-2A52-4D78-9CB8-5B1ED2BE5D13}"/>
              </a:ext>
            </a:extLst>
          </p:cNvPr>
          <p:cNvGrpSpPr/>
          <p:nvPr/>
        </p:nvGrpSpPr>
        <p:grpSpPr>
          <a:xfrm>
            <a:off x="7902088" y="3305977"/>
            <a:ext cx="1851680" cy="1646153"/>
            <a:chOff x="7893402" y="3412713"/>
            <a:chExt cx="1856890" cy="1650785"/>
          </a:xfrm>
        </p:grpSpPr>
        <p:sp>
          <p:nvSpPr>
            <p:cNvPr id="2092" name="Rectangle 2091">
              <a:extLst>
                <a:ext uri="{FF2B5EF4-FFF2-40B4-BE49-F238E27FC236}">
                  <a16:creationId xmlns:a16="http://schemas.microsoft.com/office/drawing/2014/main" id="{1C669E47-2425-4A9C-B6FA-BCDD9F5F0914}"/>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2093" name="Rectangle 2092">
              <a:extLst>
                <a:ext uri="{FF2B5EF4-FFF2-40B4-BE49-F238E27FC236}">
                  <a16:creationId xmlns:a16="http://schemas.microsoft.com/office/drawing/2014/main" id="{1226DC2C-2BA0-42DD-BAC4-98CD84DB843D}"/>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2094" name="Group 2093">
              <a:extLst>
                <a:ext uri="{FF2B5EF4-FFF2-40B4-BE49-F238E27FC236}">
                  <a16:creationId xmlns:a16="http://schemas.microsoft.com/office/drawing/2014/main" id="{4018B3BA-F4A9-4CB0-A81F-A4E27B5E73DB}"/>
                </a:ext>
              </a:extLst>
            </p:cNvPr>
            <p:cNvGrpSpPr>
              <a:grpSpLocks/>
            </p:cNvGrpSpPr>
            <p:nvPr/>
          </p:nvGrpSpPr>
          <p:grpSpPr>
            <a:xfrm>
              <a:off x="8732469" y="4576554"/>
              <a:ext cx="486942" cy="486944"/>
              <a:chOff x="9882273" y="6953856"/>
              <a:chExt cx="473625" cy="473627"/>
            </a:xfrm>
          </p:grpSpPr>
          <p:grpSp>
            <p:nvGrpSpPr>
              <p:cNvPr id="2118" name="Group 64">
                <a:extLst>
                  <a:ext uri="{FF2B5EF4-FFF2-40B4-BE49-F238E27FC236}">
                    <a16:creationId xmlns:a16="http://schemas.microsoft.com/office/drawing/2014/main" id="{DC979671-E4F1-468E-9C3B-01580A58710E}"/>
                  </a:ext>
                </a:extLst>
              </p:cNvPr>
              <p:cNvGrpSpPr>
                <a:grpSpLocks noChangeAspect="1"/>
              </p:cNvGrpSpPr>
              <p:nvPr/>
            </p:nvGrpSpPr>
            <p:grpSpPr bwMode="auto">
              <a:xfrm rot="8100000">
                <a:off x="9882273" y="6953856"/>
                <a:ext cx="473625" cy="473627"/>
                <a:chOff x="701" y="2170"/>
                <a:chExt cx="587" cy="587"/>
              </a:xfrm>
            </p:grpSpPr>
            <p:sp>
              <p:nvSpPr>
                <p:cNvPr id="2150" name="Oval 65">
                  <a:extLst>
                    <a:ext uri="{FF2B5EF4-FFF2-40B4-BE49-F238E27FC236}">
                      <a16:creationId xmlns:a16="http://schemas.microsoft.com/office/drawing/2014/main" id="{CD508788-B640-40DF-91A5-A3F245D0F39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1" name="Line 66">
                  <a:extLst>
                    <a:ext uri="{FF2B5EF4-FFF2-40B4-BE49-F238E27FC236}">
                      <a16:creationId xmlns:a16="http://schemas.microsoft.com/office/drawing/2014/main" id="{17316FC2-914A-4B92-B759-336E06AC88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2" name="Line 67">
                  <a:extLst>
                    <a:ext uri="{FF2B5EF4-FFF2-40B4-BE49-F238E27FC236}">
                      <a16:creationId xmlns:a16="http://schemas.microsoft.com/office/drawing/2014/main" id="{B11E12E1-EA7C-4ABE-8A24-2DF55E515C8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3" name="Line 69">
                  <a:extLst>
                    <a:ext uri="{FF2B5EF4-FFF2-40B4-BE49-F238E27FC236}">
                      <a16:creationId xmlns:a16="http://schemas.microsoft.com/office/drawing/2014/main" id="{7178D00E-79F4-49D9-862D-ECBC0715D6E2}"/>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4" name="Line 74">
                  <a:extLst>
                    <a:ext uri="{FF2B5EF4-FFF2-40B4-BE49-F238E27FC236}">
                      <a16:creationId xmlns:a16="http://schemas.microsoft.com/office/drawing/2014/main" id="{C489AE26-4BAE-4983-8E24-D960A7FAA69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Freeform 78">
                  <a:extLst>
                    <a:ext uri="{FF2B5EF4-FFF2-40B4-BE49-F238E27FC236}">
                      <a16:creationId xmlns:a16="http://schemas.microsoft.com/office/drawing/2014/main" id="{AF00986A-31DC-4BFC-902E-48818E8388E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80">
                  <a:extLst>
                    <a:ext uri="{FF2B5EF4-FFF2-40B4-BE49-F238E27FC236}">
                      <a16:creationId xmlns:a16="http://schemas.microsoft.com/office/drawing/2014/main" id="{21A42C36-6533-48C9-8BF4-00F522A96D3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9" name="Group 2118">
                <a:extLst>
                  <a:ext uri="{FF2B5EF4-FFF2-40B4-BE49-F238E27FC236}">
                    <a16:creationId xmlns:a16="http://schemas.microsoft.com/office/drawing/2014/main" id="{3093853F-A565-4B6A-A062-79427CC86038}"/>
                  </a:ext>
                </a:extLst>
              </p:cNvPr>
              <p:cNvGrpSpPr/>
              <p:nvPr/>
            </p:nvGrpSpPr>
            <p:grpSpPr>
              <a:xfrm>
                <a:off x="9938546" y="7021642"/>
                <a:ext cx="356509" cy="349884"/>
                <a:chOff x="468738" y="2241878"/>
                <a:chExt cx="1655483" cy="1624719"/>
              </a:xfrm>
            </p:grpSpPr>
            <p:sp>
              <p:nvSpPr>
                <p:cNvPr id="2120" name="Freeform 5">
                  <a:extLst>
                    <a:ext uri="{FF2B5EF4-FFF2-40B4-BE49-F238E27FC236}">
                      <a16:creationId xmlns:a16="http://schemas.microsoft.com/office/drawing/2014/main" id="{DF09CF73-ABB3-40B9-8FBB-D7ED124A0A2A}"/>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6">
                  <a:extLst>
                    <a:ext uri="{FF2B5EF4-FFF2-40B4-BE49-F238E27FC236}">
                      <a16:creationId xmlns:a16="http://schemas.microsoft.com/office/drawing/2014/main" id="{469EF966-E092-499D-B70A-6F772E4289D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2" name="Line 7">
                  <a:extLst>
                    <a:ext uri="{FF2B5EF4-FFF2-40B4-BE49-F238E27FC236}">
                      <a16:creationId xmlns:a16="http://schemas.microsoft.com/office/drawing/2014/main" id="{68424CB0-3822-4E76-959F-68323CDE000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3" name="Freeform 8">
                  <a:extLst>
                    <a:ext uri="{FF2B5EF4-FFF2-40B4-BE49-F238E27FC236}">
                      <a16:creationId xmlns:a16="http://schemas.microsoft.com/office/drawing/2014/main" id="{2C2B8825-FEEA-4EF4-A3A8-EB1ED69B0966}"/>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9">
                  <a:extLst>
                    <a:ext uri="{FF2B5EF4-FFF2-40B4-BE49-F238E27FC236}">
                      <a16:creationId xmlns:a16="http://schemas.microsoft.com/office/drawing/2014/main" id="{DFB0CFB8-48B3-48CA-8AA1-80952C2AE8B1}"/>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25" name="Group 2124">
                  <a:extLst>
                    <a:ext uri="{FF2B5EF4-FFF2-40B4-BE49-F238E27FC236}">
                      <a16:creationId xmlns:a16="http://schemas.microsoft.com/office/drawing/2014/main" id="{1ED2C071-F483-4A41-B8D4-4327750C9BA6}"/>
                    </a:ext>
                  </a:extLst>
                </p:cNvPr>
                <p:cNvGrpSpPr/>
                <p:nvPr/>
              </p:nvGrpSpPr>
              <p:grpSpPr>
                <a:xfrm>
                  <a:off x="1207113" y="2241878"/>
                  <a:ext cx="178734" cy="348678"/>
                  <a:chOff x="1207113" y="2241878"/>
                  <a:chExt cx="178734" cy="348678"/>
                </a:xfrm>
              </p:grpSpPr>
              <p:sp>
                <p:nvSpPr>
                  <p:cNvPr id="2148" name="Freeform 10">
                    <a:extLst>
                      <a:ext uri="{FF2B5EF4-FFF2-40B4-BE49-F238E27FC236}">
                        <a16:creationId xmlns:a16="http://schemas.microsoft.com/office/drawing/2014/main" id="{438CA79C-0E56-4806-A11B-2D07AE2D42C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9" name="Line 11">
                    <a:extLst>
                      <a:ext uri="{FF2B5EF4-FFF2-40B4-BE49-F238E27FC236}">
                        <a16:creationId xmlns:a16="http://schemas.microsoft.com/office/drawing/2014/main" id="{D6580E37-9642-4BAB-A5CC-A13F838A7BC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26" name="Freeform 12">
                  <a:extLst>
                    <a:ext uri="{FF2B5EF4-FFF2-40B4-BE49-F238E27FC236}">
                      <a16:creationId xmlns:a16="http://schemas.microsoft.com/office/drawing/2014/main" id="{EDE422A2-19C8-4FF4-ADF8-74987CA83A4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13">
                  <a:extLst>
                    <a:ext uri="{FF2B5EF4-FFF2-40B4-BE49-F238E27FC236}">
                      <a16:creationId xmlns:a16="http://schemas.microsoft.com/office/drawing/2014/main" id="{C9546F35-D363-43F4-ABA9-C150E6954C9E}"/>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Freeform 14">
                  <a:extLst>
                    <a:ext uri="{FF2B5EF4-FFF2-40B4-BE49-F238E27FC236}">
                      <a16:creationId xmlns:a16="http://schemas.microsoft.com/office/drawing/2014/main" id="{CB8E3185-30C3-470C-B0B3-9F66CD973A8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15">
                  <a:extLst>
                    <a:ext uri="{FF2B5EF4-FFF2-40B4-BE49-F238E27FC236}">
                      <a16:creationId xmlns:a16="http://schemas.microsoft.com/office/drawing/2014/main" id="{13BE7968-3BB6-41FC-BAB8-E1A73691EC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16">
                  <a:extLst>
                    <a:ext uri="{FF2B5EF4-FFF2-40B4-BE49-F238E27FC236}">
                      <a16:creationId xmlns:a16="http://schemas.microsoft.com/office/drawing/2014/main" id="{B0240DB1-129C-4FCF-A019-ED60AC06124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Line 17">
                  <a:extLst>
                    <a:ext uri="{FF2B5EF4-FFF2-40B4-BE49-F238E27FC236}">
                      <a16:creationId xmlns:a16="http://schemas.microsoft.com/office/drawing/2014/main" id="{05D62E0F-2C6B-4925-A5A7-F81B3324A44F}"/>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2" name="Freeform 18">
                  <a:extLst>
                    <a:ext uri="{FF2B5EF4-FFF2-40B4-BE49-F238E27FC236}">
                      <a16:creationId xmlns:a16="http://schemas.microsoft.com/office/drawing/2014/main" id="{7053162F-E754-4060-918F-4D906F46E68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3" name="Line 19">
                  <a:extLst>
                    <a:ext uri="{FF2B5EF4-FFF2-40B4-BE49-F238E27FC236}">
                      <a16:creationId xmlns:a16="http://schemas.microsoft.com/office/drawing/2014/main" id="{08DDFC9B-5D9E-4DD6-8107-D97357B0D6E2}"/>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4" name="Freeform 35">
                  <a:extLst>
                    <a:ext uri="{FF2B5EF4-FFF2-40B4-BE49-F238E27FC236}">
                      <a16:creationId xmlns:a16="http://schemas.microsoft.com/office/drawing/2014/main" id="{6FEC5306-B5F6-4EB8-9EB5-37900CA9141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36">
                  <a:extLst>
                    <a:ext uri="{FF2B5EF4-FFF2-40B4-BE49-F238E27FC236}">
                      <a16:creationId xmlns:a16="http://schemas.microsoft.com/office/drawing/2014/main" id="{2C534636-34FD-42BE-9C36-888A03C22F1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Freeform 37">
                  <a:extLst>
                    <a:ext uri="{FF2B5EF4-FFF2-40B4-BE49-F238E27FC236}">
                      <a16:creationId xmlns:a16="http://schemas.microsoft.com/office/drawing/2014/main" id="{27BCF1F2-3B23-4647-B34D-648D1F4ECA04}"/>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38">
                  <a:extLst>
                    <a:ext uri="{FF2B5EF4-FFF2-40B4-BE49-F238E27FC236}">
                      <a16:creationId xmlns:a16="http://schemas.microsoft.com/office/drawing/2014/main" id="{36CAF972-97C0-44E9-B5A9-59EC880A70AB}"/>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8" name="Freeform 39">
                  <a:extLst>
                    <a:ext uri="{FF2B5EF4-FFF2-40B4-BE49-F238E27FC236}">
                      <a16:creationId xmlns:a16="http://schemas.microsoft.com/office/drawing/2014/main" id="{A08BC316-26DD-41C2-9898-56E0E309D1EF}"/>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9" name="Freeform 40">
                  <a:extLst>
                    <a:ext uri="{FF2B5EF4-FFF2-40B4-BE49-F238E27FC236}">
                      <a16:creationId xmlns:a16="http://schemas.microsoft.com/office/drawing/2014/main" id="{31CD5408-1815-4D3B-B571-D2F2823C3297}"/>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0" name="Freeform 41">
                  <a:extLst>
                    <a:ext uri="{FF2B5EF4-FFF2-40B4-BE49-F238E27FC236}">
                      <a16:creationId xmlns:a16="http://schemas.microsoft.com/office/drawing/2014/main" id="{43FC500F-07FF-4B24-9337-6DB73D7858A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42">
                  <a:extLst>
                    <a:ext uri="{FF2B5EF4-FFF2-40B4-BE49-F238E27FC236}">
                      <a16:creationId xmlns:a16="http://schemas.microsoft.com/office/drawing/2014/main" id="{F4B72077-F12B-4384-9AC7-7FD03D4FF21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43">
                  <a:extLst>
                    <a:ext uri="{FF2B5EF4-FFF2-40B4-BE49-F238E27FC236}">
                      <a16:creationId xmlns:a16="http://schemas.microsoft.com/office/drawing/2014/main" id="{7750E75D-CC56-4175-AE30-04F8CC701AB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Freeform 44">
                  <a:extLst>
                    <a:ext uri="{FF2B5EF4-FFF2-40B4-BE49-F238E27FC236}">
                      <a16:creationId xmlns:a16="http://schemas.microsoft.com/office/drawing/2014/main" id="{1A946C20-548B-46FF-B5CD-65BF1FF000E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45">
                  <a:extLst>
                    <a:ext uri="{FF2B5EF4-FFF2-40B4-BE49-F238E27FC236}">
                      <a16:creationId xmlns:a16="http://schemas.microsoft.com/office/drawing/2014/main" id="{400F5C81-5325-42B2-B211-DB982165927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45" name="Group 2144">
                  <a:extLst>
                    <a:ext uri="{FF2B5EF4-FFF2-40B4-BE49-F238E27FC236}">
                      <a16:creationId xmlns:a16="http://schemas.microsoft.com/office/drawing/2014/main" id="{D46CF3AD-21EF-4637-837D-5939D8D23242}"/>
                    </a:ext>
                  </a:extLst>
                </p:cNvPr>
                <p:cNvGrpSpPr/>
                <p:nvPr/>
              </p:nvGrpSpPr>
              <p:grpSpPr>
                <a:xfrm flipV="1">
                  <a:off x="1202047" y="3517919"/>
                  <a:ext cx="178734" cy="348678"/>
                  <a:chOff x="1207113" y="2241878"/>
                  <a:chExt cx="178734" cy="348678"/>
                </a:xfrm>
              </p:grpSpPr>
              <p:sp>
                <p:nvSpPr>
                  <p:cNvPr id="2146" name="Freeform 10">
                    <a:extLst>
                      <a:ext uri="{FF2B5EF4-FFF2-40B4-BE49-F238E27FC236}">
                        <a16:creationId xmlns:a16="http://schemas.microsoft.com/office/drawing/2014/main" id="{F34AD819-060B-4E0C-A180-6511085434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1">
                    <a:extLst>
                      <a:ext uri="{FF2B5EF4-FFF2-40B4-BE49-F238E27FC236}">
                        <a16:creationId xmlns:a16="http://schemas.microsoft.com/office/drawing/2014/main" id="{0AA11204-94B8-4FC9-96F8-F3AF3A9B70F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95" name="Group 2094">
              <a:extLst>
                <a:ext uri="{FF2B5EF4-FFF2-40B4-BE49-F238E27FC236}">
                  <a16:creationId xmlns:a16="http://schemas.microsoft.com/office/drawing/2014/main" id="{0ED9436C-183E-42D4-B43A-2014C88E39EB}"/>
                </a:ext>
              </a:extLst>
            </p:cNvPr>
            <p:cNvGrpSpPr>
              <a:grpSpLocks/>
            </p:cNvGrpSpPr>
            <p:nvPr/>
          </p:nvGrpSpPr>
          <p:grpSpPr>
            <a:xfrm>
              <a:off x="9270466" y="4594229"/>
              <a:ext cx="427295" cy="427297"/>
              <a:chOff x="10412894" y="6962721"/>
              <a:chExt cx="415610" cy="415612"/>
            </a:xfrm>
          </p:grpSpPr>
          <p:grpSp>
            <p:nvGrpSpPr>
              <p:cNvPr id="2096" name="Group 64">
                <a:extLst>
                  <a:ext uri="{FF2B5EF4-FFF2-40B4-BE49-F238E27FC236}">
                    <a16:creationId xmlns:a16="http://schemas.microsoft.com/office/drawing/2014/main" id="{18AB1D0E-E6DA-4F88-AD8B-0F57D0222A59}"/>
                  </a:ext>
                </a:extLst>
              </p:cNvPr>
              <p:cNvGrpSpPr>
                <a:grpSpLocks noChangeAspect="1"/>
              </p:cNvGrpSpPr>
              <p:nvPr/>
            </p:nvGrpSpPr>
            <p:grpSpPr bwMode="auto">
              <a:xfrm rot="8100000">
                <a:off x="10412894" y="6962721"/>
                <a:ext cx="415610" cy="415612"/>
                <a:chOff x="701" y="2170"/>
                <a:chExt cx="587" cy="587"/>
              </a:xfrm>
            </p:grpSpPr>
            <p:sp>
              <p:nvSpPr>
                <p:cNvPr id="2111" name="Oval 65">
                  <a:extLst>
                    <a:ext uri="{FF2B5EF4-FFF2-40B4-BE49-F238E27FC236}">
                      <a16:creationId xmlns:a16="http://schemas.microsoft.com/office/drawing/2014/main" id="{65B5FA5E-E998-4CEB-A4A4-72026F3663B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2" name="Line 66">
                  <a:extLst>
                    <a:ext uri="{FF2B5EF4-FFF2-40B4-BE49-F238E27FC236}">
                      <a16:creationId xmlns:a16="http://schemas.microsoft.com/office/drawing/2014/main" id="{05F85E74-0E05-47A5-9608-3C1284BE590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3" name="Line 67">
                  <a:extLst>
                    <a:ext uri="{FF2B5EF4-FFF2-40B4-BE49-F238E27FC236}">
                      <a16:creationId xmlns:a16="http://schemas.microsoft.com/office/drawing/2014/main" id="{D5322D42-CFC4-463C-88C1-72670B1112A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4" name="Line 69">
                  <a:extLst>
                    <a:ext uri="{FF2B5EF4-FFF2-40B4-BE49-F238E27FC236}">
                      <a16:creationId xmlns:a16="http://schemas.microsoft.com/office/drawing/2014/main" id="{969B36A9-CDCC-46AA-BAF4-1FC82B21089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5" name="Line 74">
                  <a:extLst>
                    <a:ext uri="{FF2B5EF4-FFF2-40B4-BE49-F238E27FC236}">
                      <a16:creationId xmlns:a16="http://schemas.microsoft.com/office/drawing/2014/main" id="{0050B60D-0A87-487D-B843-7F84A67ABB3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78">
                  <a:extLst>
                    <a:ext uri="{FF2B5EF4-FFF2-40B4-BE49-F238E27FC236}">
                      <a16:creationId xmlns:a16="http://schemas.microsoft.com/office/drawing/2014/main" id="{665E0959-7968-40CE-A68B-11548CEDD17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80">
                  <a:extLst>
                    <a:ext uri="{FF2B5EF4-FFF2-40B4-BE49-F238E27FC236}">
                      <a16:creationId xmlns:a16="http://schemas.microsoft.com/office/drawing/2014/main" id="{9A0D8841-54F6-4583-99A9-C4C39E5FDEF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97" name="Group 2096">
                <a:extLst>
                  <a:ext uri="{FF2B5EF4-FFF2-40B4-BE49-F238E27FC236}">
                    <a16:creationId xmlns:a16="http://schemas.microsoft.com/office/drawing/2014/main" id="{527F3619-7399-42FA-8989-D8DDDB6FA903}"/>
                  </a:ext>
                </a:extLst>
              </p:cNvPr>
              <p:cNvGrpSpPr/>
              <p:nvPr/>
            </p:nvGrpSpPr>
            <p:grpSpPr>
              <a:xfrm>
                <a:off x="10462223" y="7069159"/>
                <a:ext cx="313949" cy="233075"/>
                <a:chOff x="3707533" y="2731244"/>
                <a:chExt cx="389644" cy="289271"/>
              </a:xfrm>
            </p:grpSpPr>
            <p:sp>
              <p:nvSpPr>
                <p:cNvPr id="2098" name="Freeform 33">
                  <a:extLst>
                    <a:ext uri="{FF2B5EF4-FFF2-40B4-BE49-F238E27FC236}">
                      <a16:creationId xmlns:a16="http://schemas.microsoft.com/office/drawing/2014/main" id="{AC3AEB44-05B3-42BA-AE24-50CD2B225FF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Freeform 34">
                  <a:extLst>
                    <a:ext uri="{FF2B5EF4-FFF2-40B4-BE49-F238E27FC236}">
                      <a16:creationId xmlns:a16="http://schemas.microsoft.com/office/drawing/2014/main" id="{E336B930-67A1-4737-949A-E74DE1C5FCC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0" name="Freeform 37">
                  <a:extLst>
                    <a:ext uri="{FF2B5EF4-FFF2-40B4-BE49-F238E27FC236}">
                      <a16:creationId xmlns:a16="http://schemas.microsoft.com/office/drawing/2014/main" id="{14930BF9-4558-4F6C-BDA1-5177AFA7041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1" name="Freeform 38">
                  <a:extLst>
                    <a:ext uri="{FF2B5EF4-FFF2-40B4-BE49-F238E27FC236}">
                      <a16:creationId xmlns:a16="http://schemas.microsoft.com/office/drawing/2014/main" id="{8E506DBE-06A0-48F7-8FC8-FA310CE5DFEF}"/>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2" name="Freeform 32">
                  <a:extLst>
                    <a:ext uri="{FF2B5EF4-FFF2-40B4-BE49-F238E27FC236}">
                      <a16:creationId xmlns:a16="http://schemas.microsoft.com/office/drawing/2014/main" id="{D9FA7C2A-2166-40A4-9F90-C8235166950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35">
                  <a:extLst>
                    <a:ext uri="{FF2B5EF4-FFF2-40B4-BE49-F238E27FC236}">
                      <a16:creationId xmlns:a16="http://schemas.microsoft.com/office/drawing/2014/main" id="{4134E0AC-9C1C-44E1-A6F4-B84FB54CF63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36">
                  <a:extLst>
                    <a:ext uri="{FF2B5EF4-FFF2-40B4-BE49-F238E27FC236}">
                      <a16:creationId xmlns:a16="http://schemas.microsoft.com/office/drawing/2014/main" id="{68072677-8E2F-4B76-9069-90CA4F41394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5" name="Freeform 25">
                  <a:extLst>
                    <a:ext uri="{FF2B5EF4-FFF2-40B4-BE49-F238E27FC236}">
                      <a16:creationId xmlns:a16="http://schemas.microsoft.com/office/drawing/2014/main" id="{461D146A-49BD-4547-967F-FF3854DF9A45}"/>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6" name="Freeform 39">
                  <a:extLst>
                    <a:ext uri="{FF2B5EF4-FFF2-40B4-BE49-F238E27FC236}">
                      <a16:creationId xmlns:a16="http://schemas.microsoft.com/office/drawing/2014/main" id="{B8D0742B-47CA-452F-ADFB-F342B2250B9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7" name="Freeform 26">
                  <a:extLst>
                    <a:ext uri="{FF2B5EF4-FFF2-40B4-BE49-F238E27FC236}">
                      <a16:creationId xmlns:a16="http://schemas.microsoft.com/office/drawing/2014/main" id="{1211F4B3-89CD-4B26-B732-E24F7A16BE1C}"/>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8" name="Rectangle 27">
                  <a:extLst>
                    <a:ext uri="{FF2B5EF4-FFF2-40B4-BE49-F238E27FC236}">
                      <a16:creationId xmlns:a16="http://schemas.microsoft.com/office/drawing/2014/main" id="{2F39C8CD-F370-44E0-B6D0-9FECBB02D298}"/>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9" name="Line 29">
                  <a:extLst>
                    <a:ext uri="{FF2B5EF4-FFF2-40B4-BE49-F238E27FC236}">
                      <a16:creationId xmlns:a16="http://schemas.microsoft.com/office/drawing/2014/main" id="{25235C23-74EF-4BBB-A9C0-21588DCA2AA7}"/>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0" name="Line 31">
                  <a:extLst>
                    <a:ext uri="{FF2B5EF4-FFF2-40B4-BE49-F238E27FC236}">
                      <a16:creationId xmlns:a16="http://schemas.microsoft.com/office/drawing/2014/main" id="{16B95BE2-9458-423B-848C-DEA5FF15EF5A}"/>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57" name="Group 2156">
            <a:extLst>
              <a:ext uri="{FF2B5EF4-FFF2-40B4-BE49-F238E27FC236}">
                <a16:creationId xmlns:a16="http://schemas.microsoft.com/office/drawing/2014/main" id="{A3F53B21-B989-4526-B9D9-3AF585A41521}"/>
              </a:ext>
            </a:extLst>
          </p:cNvPr>
          <p:cNvGrpSpPr/>
          <p:nvPr/>
        </p:nvGrpSpPr>
        <p:grpSpPr>
          <a:xfrm>
            <a:off x="5336641" y="3847678"/>
            <a:ext cx="4367346" cy="2539218"/>
            <a:chOff x="5338031" y="3986050"/>
            <a:chExt cx="4368484" cy="2539879"/>
          </a:xfrm>
        </p:grpSpPr>
        <p:grpSp>
          <p:nvGrpSpPr>
            <p:cNvPr id="2158" name="Group 2157">
              <a:extLst>
                <a:ext uri="{FF2B5EF4-FFF2-40B4-BE49-F238E27FC236}">
                  <a16:creationId xmlns:a16="http://schemas.microsoft.com/office/drawing/2014/main" id="{3816E7BD-500D-4A98-B9E8-FB4D8F1A725E}"/>
                </a:ext>
              </a:extLst>
            </p:cNvPr>
            <p:cNvGrpSpPr/>
            <p:nvPr/>
          </p:nvGrpSpPr>
          <p:grpSpPr>
            <a:xfrm>
              <a:off x="6626435" y="3986050"/>
              <a:ext cx="3080080" cy="2539879"/>
              <a:chOff x="6642908" y="3955938"/>
              <a:chExt cx="3087943" cy="2546363"/>
            </a:xfrm>
          </p:grpSpPr>
          <p:sp>
            <p:nvSpPr>
              <p:cNvPr id="2160" name="Rectangle 2159">
                <a:extLst>
                  <a:ext uri="{FF2B5EF4-FFF2-40B4-BE49-F238E27FC236}">
                    <a16:creationId xmlns:a16="http://schemas.microsoft.com/office/drawing/2014/main" id="{EE33E1DD-D86F-406F-AA75-ECA8B97CF39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161" name="Group 2160">
                <a:extLst>
                  <a:ext uri="{FF2B5EF4-FFF2-40B4-BE49-F238E27FC236}">
                    <a16:creationId xmlns:a16="http://schemas.microsoft.com/office/drawing/2014/main" id="{7B4AEC85-A9CF-42C1-A5D6-A84A74E512AB}"/>
                  </a:ext>
                </a:extLst>
              </p:cNvPr>
              <p:cNvGrpSpPr/>
              <p:nvPr/>
            </p:nvGrpSpPr>
            <p:grpSpPr>
              <a:xfrm>
                <a:off x="8222643" y="5655421"/>
                <a:ext cx="1030675" cy="846880"/>
                <a:chOff x="10800033" y="2297897"/>
                <a:chExt cx="1600558" cy="1315140"/>
              </a:xfrm>
            </p:grpSpPr>
            <p:grpSp>
              <p:nvGrpSpPr>
                <p:cNvPr id="2163" name="Group 2162">
                  <a:extLst>
                    <a:ext uri="{FF2B5EF4-FFF2-40B4-BE49-F238E27FC236}">
                      <a16:creationId xmlns:a16="http://schemas.microsoft.com/office/drawing/2014/main" id="{F488A4EA-6B19-4A29-A51F-11947BEC20E8}"/>
                    </a:ext>
                  </a:extLst>
                </p:cNvPr>
                <p:cNvGrpSpPr>
                  <a:grpSpLocks/>
                </p:cNvGrpSpPr>
                <p:nvPr/>
              </p:nvGrpSpPr>
              <p:grpSpPr>
                <a:xfrm>
                  <a:off x="10800033" y="2339037"/>
                  <a:ext cx="613092" cy="613092"/>
                  <a:chOff x="745985" y="4768134"/>
                  <a:chExt cx="368776" cy="368777"/>
                </a:xfrm>
              </p:grpSpPr>
              <p:grpSp>
                <p:nvGrpSpPr>
                  <p:cNvPr id="2227" name="Group 64">
                    <a:extLst>
                      <a:ext uri="{FF2B5EF4-FFF2-40B4-BE49-F238E27FC236}">
                        <a16:creationId xmlns:a16="http://schemas.microsoft.com/office/drawing/2014/main" id="{D91A28E9-E819-4B33-AAFA-F5B134B3A5E7}"/>
                      </a:ext>
                    </a:extLst>
                  </p:cNvPr>
                  <p:cNvGrpSpPr>
                    <a:grpSpLocks noChangeAspect="1"/>
                  </p:cNvGrpSpPr>
                  <p:nvPr/>
                </p:nvGrpSpPr>
                <p:grpSpPr bwMode="auto">
                  <a:xfrm rot="8100000">
                    <a:off x="745985" y="4768134"/>
                    <a:ext cx="368776" cy="368777"/>
                    <a:chOff x="701" y="2170"/>
                    <a:chExt cx="587" cy="587"/>
                  </a:xfrm>
                </p:grpSpPr>
                <p:sp>
                  <p:nvSpPr>
                    <p:cNvPr id="2238" name="Oval 65">
                      <a:extLst>
                        <a:ext uri="{FF2B5EF4-FFF2-40B4-BE49-F238E27FC236}">
                          <a16:creationId xmlns:a16="http://schemas.microsoft.com/office/drawing/2014/main" id="{710C7CD0-ACC7-47F5-BB17-B72C612A2E1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9" name="Line 66">
                      <a:extLst>
                        <a:ext uri="{FF2B5EF4-FFF2-40B4-BE49-F238E27FC236}">
                          <a16:creationId xmlns:a16="http://schemas.microsoft.com/office/drawing/2014/main" id="{15A62BF2-D8B8-41B3-AC7E-E56578BE5BD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0" name="Line 67">
                      <a:extLst>
                        <a:ext uri="{FF2B5EF4-FFF2-40B4-BE49-F238E27FC236}">
                          <a16:creationId xmlns:a16="http://schemas.microsoft.com/office/drawing/2014/main" id="{1053D753-1A28-4C20-A676-471C2793D4E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1" name="Line 69">
                      <a:extLst>
                        <a:ext uri="{FF2B5EF4-FFF2-40B4-BE49-F238E27FC236}">
                          <a16:creationId xmlns:a16="http://schemas.microsoft.com/office/drawing/2014/main" id="{B0E2D47E-7749-4395-8C1D-88844E97260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2" name="Line 74">
                      <a:extLst>
                        <a:ext uri="{FF2B5EF4-FFF2-40B4-BE49-F238E27FC236}">
                          <a16:creationId xmlns:a16="http://schemas.microsoft.com/office/drawing/2014/main" id="{95E6537A-B125-4F46-840E-7229804DA1D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3" name="Freeform 78">
                      <a:extLst>
                        <a:ext uri="{FF2B5EF4-FFF2-40B4-BE49-F238E27FC236}">
                          <a16:creationId xmlns:a16="http://schemas.microsoft.com/office/drawing/2014/main" id="{40470C41-8FA4-4CD9-B6F6-FA46F0EAEA5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4" name="Freeform 80">
                      <a:extLst>
                        <a:ext uri="{FF2B5EF4-FFF2-40B4-BE49-F238E27FC236}">
                          <a16:creationId xmlns:a16="http://schemas.microsoft.com/office/drawing/2014/main" id="{E34B0C0C-7D50-4ACB-8A43-B80A013ADEFD}"/>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28" name="Group 2227">
                    <a:extLst>
                      <a:ext uri="{FF2B5EF4-FFF2-40B4-BE49-F238E27FC236}">
                        <a16:creationId xmlns:a16="http://schemas.microsoft.com/office/drawing/2014/main" id="{DC7B0C1E-C593-4046-B3C7-EEF440A9906D}"/>
                      </a:ext>
                    </a:extLst>
                  </p:cNvPr>
                  <p:cNvGrpSpPr/>
                  <p:nvPr/>
                </p:nvGrpSpPr>
                <p:grpSpPr>
                  <a:xfrm>
                    <a:off x="837312" y="4814434"/>
                    <a:ext cx="136805" cy="278689"/>
                    <a:chOff x="2806700" y="2803319"/>
                    <a:chExt cx="433387" cy="882861"/>
                  </a:xfrm>
                </p:grpSpPr>
                <p:grpSp>
                  <p:nvGrpSpPr>
                    <p:cNvPr id="2229" name="Group 2228">
                      <a:extLst>
                        <a:ext uri="{FF2B5EF4-FFF2-40B4-BE49-F238E27FC236}">
                          <a16:creationId xmlns:a16="http://schemas.microsoft.com/office/drawing/2014/main" id="{E802251B-916F-4056-918C-34F9F2E305B3}"/>
                        </a:ext>
                      </a:extLst>
                    </p:cNvPr>
                    <p:cNvGrpSpPr>
                      <a:grpSpLocks noChangeAspect="1"/>
                    </p:cNvGrpSpPr>
                    <p:nvPr/>
                  </p:nvGrpSpPr>
                  <p:grpSpPr bwMode="auto">
                    <a:xfrm>
                      <a:off x="2806700" y="3043242"/>
                      <a:ext cx="433387" cy="642938"/>
                      <a:chOff x="1768" y="1917"/>
                      <a:chExt cx="273" cy="405"/>
                    </a:xfrm>
                  </p:grpSpPr>
                  <p:sp>
                    <p:nvSpPr>
                      <p:cNvPr id="2231" name="Freeform 52">
                        <a:extLst>
                          <a:ext uri="{FF2B5EF4-FFF2-40B4-BE49-F238E27FC236}">
                            <a16:creationId xmlns:a16="http://schemas.microsoft.com/office/drawing/2014/main" id="{192C617C-54ED-41D7-BF54-B1191B86290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2" name="Line 54">
                        <a:extLst>
                          <a:ext uri="{FF2B5EF4-FFF2-40B4-BE49-F238E27FC236}">
                            <a16:creationId xmlns:a16="http://schemas.microsoft.com/office/drawing/2014/main" id="{F1D93AA1-C9F5-4CD3-8C84-58E16DD8C70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3" name="Line 55">
                        <a:extLst>
                          <a:ext uri="{FF2B5EF4-FFF2-40B4-BE49-F238E27FC236}">
                            <a16:creationId xmlns:a16="http://schemas.microsoft.com/office/drawing/2014/main" id="{A76C7802-1BDB-493F-B4DE-9244B410BC8E}"/>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4" name="Freeform 56">
                        <a:extLst>
                          <a:ext uri="{FF2B5EF4-FFF2-40B4-BE49-F238E27FC236}">
                            <a16:creationId xmlns:a16="http://schemas.microsoft.com/office/drawing/2014/main" id="{E5574C13-BA7F-496E-BAE8-DA3839AC7C1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5" name="Line 57">
                        <a:extLst>
                          <a:ext uri="{FF2B5EF4-FFF2-40B4-BE49-F238E27FC236}">
                            <a16:creationId xmlns:a16="http://schemas.microsoft.com/office/drawing/2014/main" id="{CA15A088-9F57-47EE-B688-D99FF24C952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6" name="Freeform 58">
                        <a:extLst>
                          <a:ext uri="{FF2B5EF4-FFF2-40B4-BE49-F238E27FC236}">
                            <a16:creationId xmlns:a16="http://schemas.microsoft.com/office/drawing/2014/main" id="{058FE3D1-C0C3-4751-ABBA-B8B392B6A96F}"/>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7" name="Rectangle 2236">
                        <a:extLst>
                          <a:ext uri="{FF2B5EF4-FFF2-40B4-BE49-F238E27FC236}">
                            <a16:creationId xmlns:a16="http://schemas.microsoft.com/office/drawing/2014/main" id="{60D10146-0BB3-45E6-B554-ED8BA9B78FE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230" name="Oval 2229">
                      <a:extLst>
                        <a:ext uri="{FF2B5EF4-FFF2-40B4-BE49-F238E27FC236}">
                          <a16:creationId xmlns:a16="http://schemas.microsoft.com/office/drawing/2014/main" id="{0E89C224-7192-4BCD-9B0A-0A944110F01F}"/>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64" name="Group 2163">
                  <a:extLst>
                    <a:ext uri="{FF2B5EF4-FFF2-40B4-BE49-F238E27FC236}">
                      <a16:creationId xmlns:a16="http://schemas.microsoft.com/office/drawing/2014/main" id="{B10CBD6C-F7C8-4A57-9ACA-D1A199EA9DCF}"/>
                    </a:ext>
                  </a:extLst>
                </p:cNvPr>
                <p:cNvGrpSpPr>
                  <a:grpSpLocks/>
                </p:cNvGrpSpPr>
                <p:nvPr/>
              </p:nvGrpSpPr>
              <p:grpSpPr>
                <a:xfrm>
                  <a:off x="11166615" y="2825631"/>
                  <a:ext cx="787402" cy="787406"/>
                  <a:chOff x="1454941" y="4721722"/>
                  <a:chExt cx="473625" cy="473627"/>
                </a:xfrm>
              </p:grpSpPr>
              <p:grpSp>
                <p:nvGrpSpPr>
                  <p:cNvPr id="2188" name="Group 64">
                    <a:extLst>
                      <a:ext uri="{FF2B5EF4-FFF2-40B4-BE49-F238E27FC236}">
                        <a16:creationId xmlns:a16="http://schemas.microsoft.com/office/drawing/2014/main" id="{ABCE2FB1-37F0-43DF-BD59-2612C72D4837}"/>
                      </a:ext>
                    </a:extLst>
                  </p:cNvPr>
                  <p:cNvGrpSpPr>
                    <a:grpSpLocks noChangeAspect="1"/>
                  </p:cNvGrpSpPr>
                  <p:nvPr/>
                </p:nvGrpSpPr>
                <p:grpSpPr bwMode="auto">
                  <a:xfrm rot="8100000">
                    <a:off x="1454941" y="4721722"/>
                    <a:ext cx="473625" cy="473627"/>
                    <a:chOff x="701" y="2170"/>
                    <a:chExt cx="587" cy="587"/>
                  </a:xfrm>
                </p:grpSpPr>
                <p:sp>
                  <p:nvSpPr>
                    <p:cNvPr id="2220" name="Oval 65">
                      <a:extLst>
                        <a:ext uri="{FF2B5EF4-FFF2-40B4-BE49-F238E27FC236}">
                          <a16:creationId xmlns:a16="http://schemas.microsoft.com/office/drawing/2014/main" id="{15961140-1A10-4BFB-89AC-F38F1D154A0B}"/>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21" name="Line 66">
                      <a:extLst>
                        <a:ext uri="{FF2B5EF4-FFF2-40B4-BE49-F238E27FC236}">
                          <a16:creationId xmlns:a16="http://schemas.microsoft.com/office/drawing/2014/main" id="{006B9D65-8AE7-4509-8B64-FC4D4FC0ADF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2" name="Line 67">
                      <a:extLst>
                        <a:ext uri="{FF2B5EF4-FFF2-40B4-BE49-F238E27FC236}">
                          <a16:creationId xmlns:a16="http://schemas.microsoft.com/office/drawing/2014/main" id="{422739C9-BFEC-4494-9964-A8C5EAD50B9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Line 69">
                      <a:extLst>
                        <a:ext uri="{FF2B5EF4-FFF2-40B4-BE49-F238E27FC236}">
                          <a16:creationId xmlns:a16="http://schemas.microsoft.com/office/drawing/2014/main" id="{58DF49C2-AA2E-484D-8385-4ECF473647B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4" name="Line 74">
                      <a:extLst>
                        <a:ext uri="{FF2B5EF4-FFF2-40B4-BE49-F238E27FC236}">
                          <a16:creationId xmlns:a16="http://schemas.microsoft.com/office/drawing/2014/main" id="{4BD4124B-A4DE-462F-8F88-48258FCF99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5" name="Freeform 78">
                      <a:extLst>
                        <a:ext uri="{FF2B5EF4-FFF2-40B4-BE49-F238E27FC236}">
                          <a16:creationId xmlns:a16="http://schemas.microsoft.com/office/drawing/2014/main" id="{2520C878-1E4A-4B6B-BDFB-B88CEE25C4A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6" name="Freeform 80">
                      <a:extLst>
                        <a:ext uri="{FF2B5EF4-FFF2-40B4-BE49-F238E27FC236}">
                          <a16:creationId xmlns:a16="http://schemas.microsoft.com/office/drawing/2014/main" id="{2F761D6F-C8D8-4C87-983A-3C4B884C532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89" name="Group 2188">
                    <a:extLst>
                      <a:ext uri="{FF2B5EF4-FFF2-40B4-BE49-F238E27FC236}">
                        <a16:creationId xmlns:a16="http://schemas.microsoft.com/office/drawing/2014/main" id="{DEBD9B1D-166D-4170-B078-B2D377479FC6}"/>
                      </a:ext>
                    </a:extLst>
                  </p:cNvPr>
                  <p:cNvGrpSpPr/>
                  <p:nvPr/>
                </p:nvGrpSpPr>
                <p:grpSpPr>
                  <a:xfrm>
                    <a:off x="1511214" y="4789508"/>
                    <a:ext cx="356509" cy="349884"/>
                    <a:chOff x="468738" y="2241878"/>
                    <a:chExt cx="1655483" cy="1624719"/>
                  </a:xfrm>
                </p:grpSpPr>
                <p:sp>
                  <p:nvSpPr>
                    <p:cNvPr id="2190" name="Freeform 5">
                      <a:extLst>
                        <a:ext uri="{FF2B5EF4-FFF2-40B4-BE49-F238E27FC236}">
                          <a16:creationId xmlns:a16="http://schemas.microsoft.com/office/drawing/2014/main" id="{1D9A7314-AB98-4761-8699-586F6357DB6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91" name="Freeform 6">
                      <a:extLst>
                        <a:ext uri="{FF2B5EF4-FFF2-40B4-BE49-F238E27FC236}">
                          <a16:creationId xmlns:a16="http://schemas.microsoft.com/office/drawing/2014/main" id="{A64CF44D-CEA9-4DA5-8182-101680E2A41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2" name="Line 7">
                      <a:extLst>
                        <a:ext uri="{FF2B5EF4-FFF2-40B4-BE49-F238E27FC236}">
                          <a16:creationId xmlns:a16="http://schemas.microsoft.com/office/drawing/2014/main" id="{1C4A0DF9-5457-4922-9056-C7D3B4051B7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3" name="Freeform 8">
                      <a:extLst>
                        <a:ext uri="{FF2B5EF4-FFF2-40B4-BE49-F238E27FC236}">
                          <a16:creationId xmlns:a16="http://schemas.microsoft.com/office/drawing/2014/main" id="{738F72B4-50FB-4505-8A6C-54B5F20EE781}"/>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4" name="Line 9">
                      <a:extLst>
                        <a:ext uri="{FF2B5EF4-FFF2-40B4-BE49-F238E27FC236}">
                          <a16:creationId xmlns:a16="http://schemas.microsoft.com/office/drawing/2014/main" id="{5F21B2A7-081B-495B-B6F4-7E3C88CE811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95" name="Group 2194">
                      <a:extLst>
                        <a:ext uri="{FF2B5EF4-FFF2-40B4-BE49-F238E27FC236}">
                          <a16:creationId xmlns:a16="http://schemas.microsoft.com/office/drawing/2014/main" id="{0A3425A1-A771-4B1A-BA01-B5C61884E4A0}"/>
                        </a:ext>
                      </a:extLst>
                    </p:cNvPr>
                    <p:cNvGrpSpPr/>
                    <p:nvPr/>
                  </p:nvGrpSpPr>
                  <p:grpSpPr>
                    <a:xfrm>
                      <a:off x="1207113" y="2241878"/>
                      <a:ext cx="178734" cy="348678"/>
                      <a:chOff x="1207113" y="2241878"/>
                      <a:chExt cx="178734" cy="348678"/>
                    </a:xfrm>
                  </p:grpSpPr>
                  <p:sp>
                    <p:nvSpPr>
                      <p:cNvPr id="2218" name="Freeform 10">
                        <a:extLst>
                          <a:ext uri="{FF2B5EF4-FFF2-40B4-BE49-F238E27FC236}">
                            <a16:creationId xmlns:a16="http://schemas.microsoft.com/office/drawing/2014/main" id="{25371420-3620-4971-9DE1-63F97042398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Line 11">
                        <a:extLst>
                          <a:ext uri="{FF2B5EF4-FFF2-40B4-BE49-F238E27FC236}">
                            <a16:creationId xmlns:a16="http://schemas.microsoft.com/office/drawing/2014/main" id="{AC1D5B7B-67AB-4978-8205-867EF6E4AD2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96" name="Freeform 12">
                      <a:extLst>
                        <a:ext uri="{FF2B5EF4-FFF2-40B4-BE49-F238E27FC236}">
                          <a16:creationId xmlns:a16="http://schemas.microsoft.com/office/drawing/2014/main" id="{5FA19EC1-1058-4D85-88E9-468EF6D086ED}"/>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7" name="Line 13">
                      <a:extLst>
                        <a:ext uri="{FF2B5EF4-FFF2-40B4-BE49-F238E27FC236}">
                          <a16:creationId xmlns:a16="http://schemas.microsoft.com/office/drawing/2014/main" id="{FA969646-702F-47BD-A0EE-85918BC0E84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8" name="Freeform 14">
                      <a:extLst>
                        <a:ext uri="{FF2B5EF4-FFF2-40B4-BE49-F238E27FC236}">
                          <a16:creationId xmlns:a16="http://schemas.microsoft.com/office/drawing/2014/main" id="{F1B550C5-A998-4C1F-B315-604276039DE5}"/>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9" name="Line 15">
                      <a:extLst>
                        <a:ext uri="{FF2B5EF4-FFF2-40B4-BE49-F238E27FC236}">
                          <a16:creationId xmlns:a16="http://schemas.microsoft.com/office/drawing/2014/main" id="{DF241370-6A53-4766-B73B-14DA40B43B5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0" name="Freeform 16">
                      <a:extLst>
                        <a:ext uri="{FF2B5EF4-FFF2-40B4-BE49-F238E27FC236}">
                          <a16:creationId xmlns:a16="http://schemas.microsoft.com/office/drawing/2014/main" id="{105A38EC-5CE9-4B76-AD85-E8F3D024F71E}"/>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Line 17">
                      <a:extLst>
                        <a:ext uri="{FF2B5EF4-FFF2-40B4-BE49-F238E27FC236}">
                          <a16:creationId xmlns:a16="http://schemas.microsoft.com/office/drawing/2014/main" id="{1BF1C07B-DAF8-4146-BE40-719ED5C2DB33}"/>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2" name="Freeform 18">
                      <a:extLst>
                        <a:ext uri="{FF2B5EF4-FFF2-40B4-BE49-F238E27FC236}">
                          <a16:creationId xmlns:a16="http://schemas.microsoft.com/office/drawing/2014/main" id="{250378F1-E840-46EC-B2E2-05279B9F821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Line 19">
                      <a:extLst>
                        <a:ext uri="{FF2B5EF4-FFF2-40B4-BE49-F238E27FC236}">
                          <a16:creationId xmlns:a16="http://schemas.microsoft.com/office/drawing/2014/main" id="{2B18A366-0440-4FCA-BE1C-4918E42C72A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35">
                      <a:extLst>
                        <a:ext uri="{FF2B5EF4-FFF2-40B4-BE49-F238E27FC236}">
                          <a16:creationId xmlns:a16="http://schemas.microsoft.com/office/drawing/2014/main" id="{C314256A-E020-459A-94BB-CA59309A4CBB}"/>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36">
                      <a:extLst>
                        <a:ext uri="{FF2B5EF4-FFF2-40B4-BE49-F238E27FC236}">
                          <a16:creationId xmlns:a16="http://schemas.microsoft.com/office/drawing/2014/main" id="{60073856-1516-4212-BEAA-3A051DB31F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37">
                      <a:extLst>
                        <a:ext uri="{FF2B5EF4-FFF2-40B4-BE49-F238E27FC236}">
                          <a16:creationId xmlns:a16="http://schemas.microsoft.com/office/drawing/2014/main" id="{16CD7A93-B640-444E-9124-76CD43E0D73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38">
                      <a:extLst>
                        <a:ext uri="{FF2B5EF4-FFF2-40B4-BE49-F238E27FC236}">
                          <a16:creationId xmlns:a16="http://schemas.microsoft.com/office/drawing/2014/main" id="{F3B3FC43-39A3-4B3D-8C16-995C4B732FBE}"/>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39">
                      <a:extLst>
                        <a:ext uri="{FF2B5EF4-FFF2-40B4-BE49-F238E27FC236}">
                          <a16:creationId xmlns:a16="http://schemas.microsoft.com/office/drawing/2014/main" id="{5065377B-057A-4857-A3CD-131B34E2A81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40">
                      <a:extLst>
                        <a:ext uri="{FF2B5EF4-FFF2-40B4-BE49-F238E27FC236}">
                          <a16:creationId xmlns:a16="http://schemas.microsoft.com/office/drawing/2014/main" id="{2395F9BD-C87A-4553-ACF2-0143AFF2E3D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41">
                      <a:extLst>
                        <a:ext uri="{FF2B5EF4-FFF2-40B4-BE49-F238E27FC236}">
                          <a16:creationId xmlns:a16="http://schemas.microsoft.com/office/drawing/2014/main" id="{87AFFDBB-FE77-4963-90EE-7D3C0F8A2BFE}"/>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Line 42">
                      <a:extLst>
                        <a:ext uri="{FF2B5EF4-FFF2-40B4-BE49-F238E27FC236}">
                          <a16:creationId xmlns:a16="http://schemas.microsoft.com/office/drawing/2014/main" id="{E1A3EF65-3462-4F94-9DB7-D17FF1442F51}"/>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43">
                      <a:extLst>
                        <a:ext uri="{FF2B5EF4-FFF2-40B4-BE49-F238E27FC236}">
                          <a16:creationId xmlns:a16="http://schemas.microsoft.com/office/drawing/2014/main" id="{0BA60547-C8B3-4174-BD62-DF1EEBBC417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44">
                      <a:extLst>
                        <a:ext uri="{FF2B5EF4-FFF2-40B4-BE49-F238E27FC236}">
                          <a16:creationId xmlns:a16="http://schemas.microsoft.com/office/drawing/2014/main" id="{819EB172-557D-45B6-B1ED-00A2E71486F3}"/>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45">
                      <a:extLst>
                        <a:ext uri="{FF2B5EF4-FFF2-40B4-BE49-F238E27FC236}">
                          <a16:creationId xmlns:a16="http://schemas.microsoft.com/office/drawing/2014/main" id="{05587E12-F6B4-47EB-988A-8AA4534D8C28}"/>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15" name="Group 2214">
                      <a:extLst>
                        <a:ext uri="{FF2B5EF4-FFF2-40B4-BE49-F238E27FC236}">
                          <a16:creationId xmlns:a16="http://schemas.microsoft.com/office/drawing/2014/main" id="{636468B7-3621-461D-860D-F8C75732E462}"/>
                        </a:ext>
                      </a:extLst>
                    </p:cNvPr>
                    <p:cNvGrpSpPr/>
                    <p:nvPr/>
                  </p:nvGrpSpPr>
                  <p:grpSpPr>
                    <a:xfrm flipV="1">
                      <a:off x="1202047" y="3517919"/>
                      <a:ext cx="178734" cy="348678"/>
                      <a:chOff x="1207113" y="2241878"/>
                      <a:chExt cx="178734" cy="348678"/>
                    </a:xfrm>
                  </p:grpSpPr>
                  <p:sp>
                    <p:nvSpPr>
                      <p:cNvPr id="2216" name="Freeform 10">
                        <a:extLst>
                          <a:ext uri="{FF2B5EF4-FFF2-40B4-BE49-F238E27FC236}">
                            <a16:creationId xmlns:a16="http://schemas.microsoft.com/office/drawing/2014/main" id="{410DF577-895F-4E70-96FE-951F4D56A55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Line 11">
                        <a:extLst>
                          <a:ext uri="{FF2B5EF4-FFF2-40B4-BE49-F238E27FC236}">
                            <a16:creationId xmlns:a16="http://schemas.microsoft.com/office/drawing/2014/main" id="{40A4026E-F1FE-4204-A4A2-17BFAA8891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65" name="Group 2164">
                  <a:extLst>
                    <a:ext uri="{FF2B5EF4-FFF2-40B4-BE49-F238E27FC236}">
                      <a16:creationId xmlns:a16="http://schemas.microsoft.com/office/drawing/2014/main" id="{A4C0D400-C02F-478B-B1B9-2501C058B2EF}"/>
                    </a:ext>
                  </a:extLst>
                </p:cNvPr>
                <p:cNvGrpSpPr>
                  <a:grpSpLocks/>
                </p:cNvGrpSpPr>
                <p:nvPr/>
              </p:nvGrpSpPr>
              <p:grpSpPr>
                <a:xfrm>
                  <a:off x="11709639" y="2297897"/>
                  <a:ext cx="690952" cy="690956"/>
                  <a:chOff x="2268747" y="4723725"/>
                  <a:chExt cx="415610" cy="415612"/>
                </a:xfrm>
              </p:grpSpPr>
              <p:grpSp>
                <p:nvGrpSpPr>
                  <p:cNvPr id="2166" name="Group 64">
                    <a:extLst>
                      <a:ext uri="{FF2B5EF4-FFF2-40B4-BE49-F238E27FC236}">
                        <a16:creationId xmlns:a16="http://schemas.microsoft.com/office/drawing/2014/main" id="{B17BE4DE-5375-442D-93A8-26D9889996D1}"/>
                      </a:ext>
                    </a:extLst>
                  </p:cNvPr>
                  <p:cNvGrpSpPr>
                    <a:grpSpLocks noChangeAspect="1"/>
                  </p:cNvGrpSpPr>
                  <p:nvPr/>
                </p:nvGrpSpPr>
                <p:grpSpPr bwMode="auto">
                  <a:xfrm rot="8100000">
                    <a:off x="2268747" y="4723725"/>
                    <a:ext cx="415610" cy="415612"/>
                    <a:chOff x="701" y="2170"/>
                    <a:chExt cx="587" cy="587"/>
                  </a:xfrm>
                </p:grpSpPr>
                <p:sp>
                  <p:nvSpPr>
                    <p:cNvPr id="2181" name="Oval 65">
                      <a:extLst>
                        <a:ext uri="{FF2B5EF4-FFF2-40B4-BE49-F238E27FC236}">
                          <a16:creationId xmlns:a16="http://schemas.microsoft.com/office/drawing/2014/main" id="{2EA549F0-7DF9-4B97-9922-CE022AD61A9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2" name="Line 66">
                      <a:extLst>
                        <a:ext uri="{FF2B5EF4-FFF2-40B4-BE49-F238E27FC236}">
                          <a16:creationId xmlns:a16="http://schemas.microsoft.com/office/drawing/2014/main" id="{1626D8DC-E5C3-4622-9799-B3F457B33655}"/>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3" name="Line 67">
                      <a:extLst>
                        <a:ext uri="{FF2B5EF4-FFF2-40B4-BE49-F238E27FC236}">
                          <a16:creationId xmlns:a16="http://schemas.microsoft.com/office/drawing/2014/main" id="{8C443901-746E-4E3C-9975-9C7FDAE9584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9">
                      <a:extLst>
                        <a:ext uri="{FF2B5EF4-FFF2-40B4-BE49-F238E27FC236}">
                          <a16:creationId xmlns:a16="http://schemas.microsoft.com/office/drawing/2014/main" id="{DEC89C1E-4381-4EBD-B1C1-2E75571B377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74">
                      <a:extLst>
                        <a:ext uri="{FF2B5EF4-FFF2-40B4-BE49-F238E27FC236}">
                          <a16:creationId xmlns:a16="http://schemas.microsoft.com/office/drawing/2014/main" id="{426BA79C-657F-4D18-AA4C-7F1387458C2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Freeform 78">
                      <a:extLst>
                        <a:ext uri="{FF2B5EF4-FFF2-40B4-BE49-F238E27FC236}">
                          <a16:creationId xmlns:a16="http://schemas.microsoft.com/office/drawing/2014/main" id="{F0B56726-E777-4F0E-9913-AC854618759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80">
                      <a:extLst>
                        <a:ext uri="{FF2B5EF4-FFF2-40B4-BE49-F238E27FC236}">
                          <a16:creationId xmlns:a16="http://schemas.microsoft.com/office/drawing/2014/main" id="{34C04358-9512-4CD4-886E-84CD468CF73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67" name="Group 2166">
                    <a:extLst>
                      <a:ext uri="{FF2B5EF4-FFF2-40B4-BE49-F238E27FC236}">
                        <a16:creationId xmlns:a16="http://schemas.microsoft.com/office/drawing/2014/main" id="{28E34054-7D3B-4D8B-809C-73B1468F8192}"/>
                      </a:ext>
                    </a:extLst>
                  </p:cNvPr>
                  <p:cNvGrpSpPr/>
                  <p:nvPr/>
                </p:nvGrpSpPr>
                <p:grpSpPr>
                  <a:xfrm>
                    <a:off x="2318076" y="4830163"/>
                    <a:ext cx="313949" cy="233075"/>
                    <a:chOff x="3707533" y="2731244"/>
                    <a:chExt cx="389644" cy="289271"/>
                  </a:xfrm>
                </p:grpSpPr>
                <p:sp>
                  <p:nvSpPr>
                    <p:cNvPr id="2168" name="Freeform 33">
                      <a:extLst>
                        <a:ext uri="{FF2B5EF4-FFF2-40B4-BE49-F238E27FC236}">
                          <a16:creationId xmlns:a16="http://schemas.microsoft.com/office/drawing/2014/main" id="{B4FE439A-D777-407F-8F08-0BC6EBC1C2D6}"/>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34">
                      <a:extLst>
                        <a:ext uri="{FF2B5EF4-FFF2-40B4-BE49-F238E27FC236}">
                          <a16:creationId xmlns:a16="http://schemas.microsoft.com/office/drawing/2014/main" id="{A7917E2E-9536-4410-93D6-656EDC14276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37">
                      <a:extLst>
                        <a:ext uri="{FF2B5EF4-FFF2-40B4-BE49-F238E27FC236}">
                          <a16:creationId xmlns:a16="http://schemas.microsoft.com/office/drawing/2014/main" id="{7418AC65-96AB-48C2-A3DC-C781B6A5601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1" name="Freeform 38">
                      <a:extLst>
                        <a:ext uri="{FF2B5EF4-FFF2-40B4-BE49-F238E27FC236}">
                          <a16:creationId xmlns:a16="http://schemas.microsoft.com/office/drawing/2014/main" id="{557D2715-D97B-4738-98D4-E23F68AE6988}"/>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2" name="Freeform 32">
                      <a:extLst>
                        <a:ext uri="{FF2B5EF4-FFF2-40B4-BE49-F238E27FC236}">
                          <a16:creationId xmlns:a16="http://schemas.microsoft.com/office/drawing/2014/main" id="{DEC47B83-3F1C-4953-A0B9-C3D43DFC4F0E}"/>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3" name="Freeform 35">
                      <a:extLst>
                        <a:ext uri="{FF2B5EF4-FFF2-40B4-BE49-F238E27FC236}">
                          <a16:creationId xmlns:a16="http://schemas.microsoft.com/office/drawing/2014/main" id="{14C3980E-5D17-42A2-9AF6-DF0BD721DAB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4" name="Freeform 36">
                      <a:extLst>
                        <a:ext uri="{FF2B5EF4-FFF2-40B4-BE49-F238E27FC236}">
                          <a16:creationId xmlns:a16="http://schemas.microsoft.com/office/drawing/2014/main" id="{E2126AF0-F9CB-46E6-B4B5-C82F0087B75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5" name="Freeform 25">
                      <a:extLst>
                        <a:ext uri="{FF2B5EF4-FFF2-40B4-BE49-F238E27FC236}">
                          <a16:creationId xmlns:a16="http://schemas.microsoft.com/office/drawing/2014/main" id="{11D152C7-7F05-49D9-80E9-C5D5E192028C}"/>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Freeform 39">
                      <a:extLst>
                        <a:ext uri="{FF2B5EF4-FFF2-40B4-BE49-F238E27FC236}">
                          <a16:creationId xmlns:a16="http://schemas.microsoft.com/office/drawing/2014/main" id="{3E5E4F9B-F62E-4CFC-8045-EA707BEB219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7" name="Freeform 26">
                      <a:extLst>
                        <a:ext uri="{FF2B5EF4-FFF2-40B4-BE49-F238E27FC236}">
                          <a16:creationId xmlns:a16="http://schemas.microsoft.com/office/drawing/2014/main" id="{1FB77C3F-FFFA-4A3E-84CC-B47EE967B735}"/>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8" name="Rectangle 27">
                      <a:extLst>
                        <a:ext uri="{FF2B5EF4-FFF2-40B4-BE49-F238E27FC236}">
                          <a16:creationId xmlns:a16="http://schemas.microsoft.com/office/drawing/2014/main" id="{3EED932C-C3FE-4DAC-BA81-3C9564ECF7CC}"/>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9" name="Line 29">
                      <a:extLst>
                        <a:ext uri="{FF2B5EF4-FFF2-40B4-BE49-F238E27FC236}">
                          <a16:creationId xmlns:a16="http://schemas.microsoft.com/office/drawing/2014/main" id="{22E7952B-986D-4EF6-9D90-4EB2570B4F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Line 31">
                      <a:extLst>
                        <a:ext uri="{FF2B5EF4-FFF2-40B4-BE49-F238E27FC236}">
                          <a16:creationId xmlns:a16="http://schemas.microsoft.com/office/drawing/2014/main" id="{2E09664D-FC2E-4C7B-BD8B-EB6B09534C71}"/>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162" name="Rectangle 2161">
                <a:extLst>
                  <a:ext uri="{FF2B5EF4-FFF2-40B4-BE49-F238E27FC236}">
                    <a16:creationId xmlns:a16="http://schemas.microsoft.com/office/drawing/2014/main" id="{AE3A9622-2C3B-4723-82C0-04A11F7A67D5}"/>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159" name="Rectangle 2158">
              <a:extLst>
                <a:ext uri="{FF2B5EF4-FFF2-40B4-BE49-F238E27FC236}">
                  <a16:creationId xmlns:a16="http://schemas.microsoft.com/office/drawing/2014/main" id="{7B1DC118-2B61-4544-A6B5-CE5166EAF1B2}"/>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245" name="Group 2244">
            <a:extLst>
              <a:ext uri="{FF2B5EF4-FFF2-40B4-BE49-F238E27FC236}">
                <a16:creationId xmlns:a16="http://schemas.microsoft.com/office/drawing/2014/main" id="{596718D9-B325-4276-BE50-22747C501F7B}"/>
              </a:ext>
            </a:extLst>
          </p:cNvPr>
          <p:cNvGrpSpPr/>
          <p:nvPr/>
        </p:nvGrpSpPr>
        <p:grpSpPr>
          <a:xfrm>
            <a:off x="5581513" y="3847679"/>
            <a:ext cx="2022711" cy="2582790"/>
            <a:chOff x="5596776" y="3955938"/>
            <a:chExt cx="2028403" cy="2590058"/>
          </a:xfrm>
        </p:grpSpPr>
        <p:sp>
          <p:nvSpPr>
            <p:cNvPr id="2246" name="Rectangle 2245">
              <a:extLst>
                <a:ext uri="{FF2B5EF4-FFF2-40B4-BE49-F238E27FC236}">
                  <a16:creationId xmlns:a16="http://schemas.microsoft.com/office/drawing/2014/main" id="{03BB922D-F8C3-47FC-AA81-6A5C008CECFB}"/>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247" name="Group 2246">
              <a:extLst>
                <a:ext uri="{FF2B5EF4-FFF2-40B4-BE49-F238E27FC236}">
                  <a16:creationId xmlns:a16="http://schemas.microsoft.com/office/drawing/2014/main" id="{AB14F307-12B8-4AE9-92BB-F70CE51DB976}"/>
                </a:ext>
              </a:extLst>
            </p:cNvPr>
            <p:cNvGrpSpPr/>
            <p:nvPr/>
          </p:nvGrpSpPr>
          <p:grpSpPr>
            <a:xfrm>
              <a:off x="5596776" y="4804677"/>
              <a:ext cx="2028403" cy="1741319"/>
              <a:chOff x="5596776" y="4804677"/>
              <a:chExt cx="2028403" cy="1741319"/>
            </a:xfrm>
          </p:grpSpPr>
          <p:sp>
            <p:nvSpPr>
              <p:cNvPr id="2248" name="Rectangle 2247">
                <a:extLst>
                  <a:ext uri="{FF2B5EF4-FFF2-40B4-BE49-F238E27FC236}">
                    <a16:creationId xmlns:a16="http://schemas.microsoft.com/office/drawing/2014/main" id="{B5C15643-696C-4B68-B4F3-27F9B158E634}"/>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249" name="Rectangle 2248">
                <a:extLst>
                  <a:ext uri="{FF2B5EF4-FFF2-40B4-BE49-F238E27FC236}">
                    <a16:creationId xmlns:a16="http://schemas.microsoft.com/office/drawing/2014/main" id="{824E8C0B-7301-415E-927C-E31738F8E963}"/>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250" name="Picture 2249">
                <a:extLst>
                  <a:ext uri="{FF2B5EF4-FFF2-40B4-BE49-F238E27FC236}">
                    <a16:creationId xmlns:a16="http://schemas.microsoft.com/office/drawing/2014/main" id="{C0A13450-F53F-471B-AEB9-B117E07C02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251" name="Group 2250">
                <a:extLst>
                  <a:ext uri="{FF2B5EF4-FFF2-40B4-BE49-F238E27FC236}">
                    <a16:creationId xmlns:a16="http://schemas.microsoft.com/office/drawing/2014/main" id="{0E61A0F9-5D07-4172-B2BE-F9802232F912}"/>
                  </a:ext>
                </a:extLst>
              </p:cNvPr>
              <p:cNvGrpSpPr>
                <a:grpSpLocks/>
              </p:cNvGrpSpPr>
              <p:nvPr/>
            </p:nvGrpSpPr>
            <p:grpSpPr>
              <a:xfrm>
                <a:off x="6916019" y="5876745"/>
                <a:ext cx="476834" cy="476835"/>
                <a:chOff x="7895435" y="7917966"/>
                <a:chExt cx="473625" cy="473627"/>
              </a:xfrm>
            </p:grpSpPr>
            <p:grpSp>
              <p:nvGrpSpPr>
                <p:cNvPr id="2252" name="Group 64">
                  <a:extLst>
                    <a:ext uri="{FF2B5EF4-FFF2-40B4-BE49-F238E27FC236}">
                      <a16:creationId xmlns:a16="http://schemas.microsoft.com/office/drawing/2014/main" id="{C72A6242-D538-4F2C-B3CA-7E31CC7B97BA}"/>
                    </a:ext>
                  </a:extLst>
                </p:cNvPr>
                <p:cNvGrpSpPr>
                  <a:grpSpLocks noChangeAspect="1"/>
                </p:cNvGrpSpPr>
                <p:nvPr/>
              </p:nvGrpSpPr>
              <p:grpSpPr bwMode="auto">
                <a:xfrm rot="8100000">
                  <a:off x="7895435" y="7917966"/>
                  <a:ext cx="473625" cy="473627"/>
                  <a:chOff x="701" y="2170"/>
                  <a:chExt cx="587" cy="587"/>
                </a:xfrm>
              </p:grpSpPr>
              <p:sp>
                <p:nvSpPr>
                  <p:cNvPr id="2284" name="Oval 65">
                    <a:extLst>
                      <a:ext uri="{FF2B5EF4-FFF2-40B4-BE49-F238E27FC236}">
                        <a16:creationId xmlns:a16="http://schemas.microsoft.com/office/drawing/2014/main" id="{72CD75EB-BF3E-4603-8B5F-76E6AAA1404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5" name="Line 66">
                    <a:extLst>
                      <a:ext uri="{FF2B5EF4-FFF2-40B4-BE49-F238E27FC236}">
                        <a16:creationId xmlns:a16="http://schemas.microsoft.com/office/drawing/2014/main" id="{C2ABC0FA-E95F-4846-8E5B-60C4FBF614A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67">
                    <a:extLst>
                      <a:ext uri="{FF2B5EF4-FFF2-40B4-BE49-F238E27FC236}">
                        <a16:creationId xmlns:a16="http://schemas.microsoft.com/office/drawing/2014/main" id="{78BD8519-5A33-45C0-8EAD-7490E9E31E7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7" name="Line 69">
                    <a:extLst>
                      <a:ext uri="{FF2B5EF4-FFF2-40B4-BE49-F238E27FC236}">
                        <a16:creationId xmlns:a16="http://schemas.microsoft.com/office/drawing/2014/main" id="{4F6079F1-90DE-4314-9807-A9534643861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8" name="Line 74">
                    <a:extLst>
                      <a:ext uri="{FF2B5EF4-FFF2-40B4-BE49-F238E27FC236}">
                        <a16:creationId xmlns:a16="http://schemas.microsoft.com/office/drawing/2014/main" id="{6D38F3F5-61E8-41D1-90C0-8623D31AB56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Freeform 78">
                    <a:extLst>
                      <a:ext uri="{FF2B5EF4-FFF2-40B4-BE49-F238E27FC236}">
                        <a16:creationId xmlns:a16="http://schemas.microsoft.com/office/drawing/2014/main" id="{4FFF2C2E-7700-46EE-8D2B-4A891EB9A263}"/>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80">
                    <a:extLst>
                      <a:ext uri="{FF2B5EF4-FFF2-40B4-BE49-F238E27FC236}">
                        <a16:creationId xmlns:a16="http://schemas.microsoft.com/office/drawing/2014/main" id="{1122B5A9-3C84-4127-BD29-A75546B1522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3" name="Group 2252">
                  <a:extLst>
                    <a:ext uri="{FF2B5EF4-FFF2-40B4-BE49-F238E27FC236}">
                      <a16:creationId xmlns:a16="http://schemas.microsoft.com/office/drawing/2014/main" id="{BD6D89E2-0839-4366-A46C-1684A8249CCE}"/>
                    </a:ext>
                  </a:extLst>
                </p:cNvPr>
                <p:cNvGrpSpPr/>
                <p:nvPr/>
              </p:nvGrpSpPr>
              <p:grpSpPr>
                <a:xfrm>
                  <a:off x="7951708" y="7985752"/>
                  <a:ext cx="356509" cy="349884"/>
                  <a:chOff x="468738" y="2241878"/>
                  <a:chExt cx="1655483" cy="1624719"/>
                </a:xfrm>
              </p:grpSpPr>
              <p:sp>
                <p:nvSpPr>
                  <p:cNvPr id="2254" name="Freeform 5">
                    <a:extLst>
                      <a:ext uri="{FF2B5EF4-FFF2-40B4-BE49-F238E27FC236}">
                        <a16:creationId xmlns:a16="http://schemas.microsoft.com/office/drawing/2014/main" id="{0653FA21-B855-4F64-ABA6-8F7F26150D5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55" name="Freeform 6">
                    <a:extLst>
                      <a:ext uri="{FF2B5EF4-FFF2-40B4-BE49-F238E27FC236}">
                        <a16:creationId xmlns:a16="http://schemas.microsoft.com/office/drawing/2014/main" id="{3EEE02F6-99B8-44B6-A1AB-129B9A2D36D1}"/>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6" name="Line 7">
                    <a:extLst>
                      <a:ext uri="{FF2B5EF4-FFF2-40B4-BE49-F238E27FC236}">
                        <a16:creationId xmlns:a16="http://schemas.microsoft.com/office/drawing/2014/main" id="{90AE3C5E-3F0F-4BE2-9E91-F0C330609DA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7" name="Freeform 8">
                    <a:extLst>
                      <a:ext uri="{FF2B5EF4-FFF2-40B4-BE49-F238E27FC236}">
                        <a16:creationId xmlns:a16="http://schemas.microsoft.com/office/drawing/2014/main" id="{E22ACE02-9420-4BCC-8D52-9BE7FC9D81D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8" name="Line 9">
                    <a:extLst>
                      <a:ext uri="{FF2B5EF4-FFF2-40B4-BE49-F238E27FC236}">
                        <a16:creationId xmlns:a16="http://schemas.microsoft.com/office/drawing/2014/main" id="{9D6358CD-970F-4D04-8F13-9E65006FDE4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59" name="Group 2258">
                    <a:extLst>
                      <a:ext uri="{FF2B5EF4-FFF2-40B4-BE49-F238E27FC236}">
                        <a16:creationId xmlns:a16="http://schemas.microsoft.com/office/drawing/2014/main" id="{4647B62F-46AC-4F4F-8170-2E739DB9CFBE}"/>
                      </a:ext>
                    </a:extLst>
                  </p:cNvPr>
                  <p:cNvGrpSpPr/>
                  <p:nvPr/>
                </p:nvGrpSpPr>
                <p:grpSpPr>
                  <a:xfrm>
                    <a:off x="1207113" y="2241878"/>
                    <a:ext cx="178734" cy="348678"/>
                    <a:chOff x="1207113" y="2241878"/>
                    <a:chExt cx="178734" cy="348678"/>
                  </a:xfrm>
                </p:grpSpPr>
                <p:sp>
                  <p:nvSpPr>
                    <p:cNvPr id="2282" name="Freeform 10">
                      <a:extLst>
                        <a:ext uri="{FF2B5EF4-FFF2-40B4-BE49-F238E27FC236}">
                          <a16:creationId xmlns:a16="http://schemas.microsoft.com/office/drawing/2014/main" id="{46854A5F-4070-4A86-9B3D-060898EF8DA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3" name="Line 11">
                      <a:extLst>
                        <a:ext uri="{FF2B5EF4-FFF2-40B4-BE49-F238E27FC236}">
                          <a16:creationId xmlns:a16="http://schemas.microsoft.com/office/drawing/2014/main" id="{49AB5A88-DEE1-42E4-85D7-0ECD6FE40B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60" name="Freeform 12">
                    <a:extLst>
                      <a:ext uri="{FF2B5EF4-FFF2-40B4-BE49-F238E27FC236}">
                        <a16:creationId xmlns:a16="http://schemas.microsoft.com/office/drawing/2014/main" id="{2300F74C-6849-42A6-AB6A-692104E3665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1" name="Line 13">
                    <a:extLst>
                      <a:ext uri="{FF2B5EF4-FFF2-40B4-BE49-F238E27FC236}">
                        <a16:creationId xmlns:a16="http://schemas.microsoft.com/office/drawing/2014/main" id="{27BBF1D8-6172-4BE0-A288-26B9081155B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14">
                    <a:extLst>
                      <a:ext uri="{FF2B5EF4-FFF2-40B4-BE49-F238E27FC236}">
                        <a16:creationId xmlns:a16="http://schemas.microsoft.com/office/drawing/2014/main" id="{1A0E8633-E13B-41E8-B429-1F58A35142A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3" name="Line 15">
                    <a:extLst>
                      <a:ext uri="{FF2B5EF4-FFF2-40B4-BE49-F238E27FC236}">
                        <a16:creationId xmlns:a16="http://schemas.microsoft.com/office/drawing/2014/main" id="{7C25BDBF-306B-4FF3-A2C0-3FFF40E99EAD}"/>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16">
                    <a:extLst>
                      <a:ext uri="{FF2B5EF4-FFF2-40B4-BE49-F238E27FC236}">
                        <a16:creationId xmlns:a16="http://schemas.microsoft.com/office/drawing/2014/main" id="{0D3617B8-E7D3-4E1A-9A38-846DF11C0CB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5" name="Line 17">
                    <a:extLst>
                      <a:ext uri="{FF2B5EF4-FFF2-40B4-BE49-F238E27FC236}">
                        <a16:creationId xmlns:a16="http://schemas.microsoft.com/office/drawing/2014/main" id="{6306F9CC-64AE-417A-A2EA-C4A7146711B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18">
                    <a:extLst>
                      <a:ext uri="{FF2B5EF4-FFF2-40B4-BE49-F238E27FC236}">
                        <a16:creationId xmlns:a16="http://schemas.microsoft.com/office/drawing/2014/main" id="{E72E4136-DDFA-4084-8228-ADA12BE42C9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7" name="Line 19">
                    <a:extLst>
                      <a:ext uri="{FF2B5EF4-FFF2-40B4-BE49-F238E27FC236}">
                        <a16:creationId xmlns:a16="http://schemas.microsoft.com/office/drawing/2014/main" id="{E7619B44-B2C5-4FCF-ABA8-178E9BE2E79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5">
                    <a:extLst>
                      <a:ext uri="{FF2B5EF4-FFF2-40B4-BE49-F238E27FC236}">
                        <a16:creationId xmlns:a16="http://schemas.microsoft.com/office/drawing/2014/main" id="{30FC848C-A264-4C36-AA77-5BA5B0D0C18C}"/>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36">
                    <a:extLst>
                      <a:ext uri="{FF2B5EF4-FFF2-40B4-BE49-F238E27FC236}">
                        <a16:creationId xmlns:a16="http://schemas.microsoft.com/office/drawing/2014/main" id="{0436AAF8-A9E1-4FCE-9DC6-EBB2FD0588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0" name="Freeform 37">
                    <a:extLst>
                      <a:ext uri="{FF2B5EF4-FFF2-40B4-BE49-F238E27FC236}">
                        <a16:creationId xmlns:a16="http://schemas.microsoft.com/office/drawing/2014/main" id="{10F2FB4B-92A9-45AB-9CE1-9AD50732BD2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1" name="Freeform 38">
                    <a:extLst>
                      <a:ext uri="{FF2B5EF4-FFF2-40B4-BE49-F238E27FC236}">
                        <a16:creationId xmlns:a16="http://schemas.microsoft.com/office/drawing/2014/main" id="{FE722393-6BB9-4A5A-98BF-D4876777A2E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2" name="Freeform 39">
                    <a:extLst>
                      <a:ext uri="{FF2B5EF4-FFF2-40B4-BE49-F238E27FC236}">
                        <a16:creationId xmlns:a16="http://schemas.microsoft.com/office/drawing/2014/main" id="{88CADD58-5B4A-476A-BE4A-D2CCF9D15BE6}"/>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3" name="Freeform 40">
                    <a:extLst>
                      <a:ext uri="{FF2B5EF4-FFF2-40B4-BE49-F238E27FC236}">
                        <a16:creationId xmlns:a16="http://schemas.microsoft.com/office/drawing/2014/main" id="{152C18AC-19C3-4697-A15C-F43B6A61509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Freeform 41">
                    <a:extLst>
                      <a:ext uri="{FF2B5EF4-FFF2-40B4-BE49-F238E27FC236}">
                        <a16:creationId xmlns:a16="http://schemas.microsoft.com/office/drawing/2014/main" id="{4639A05C-6087-4E97-A772-E66E85C37A8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42">
                    <a:extLst>
                      <a:ext uri="{FF2B5EF4-FFF2-40B4-BE49-F238E27FC236}">
                        <a16:creationId xmlns:a16="http://schemas.microsoft.com/office/drawing/2014/main" id="{0D27C245-CE15-435D-9C25-F3E9D1F2B87B}"/>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Freeform 43">
                    <a:extLst>
                      <a:ext uri="{FF2B5EF4-FFF2-40B4-BE49-F238E27FC236}">
                        <a16:creationId xmlns:a16="http://schemas.microsoft.com/office/drawing/2014/main" id="{9C165DC9-3DC0-4651-B883-E82F608DBDC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Freeform 44">
                    <a:extLst>
                      <a:ext uri="{FF2B5EF4-FFF2-40B4-BE49-F238E27FC236}">
                        <a16:creationId xmlns:a16="http://schemas.microsoft.com/office/drawing/2014/main" id="{8BAE83BE-3698-4C26-9575-E546490E770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45">
                    <a:extLst>
                      <a:ext uri="{FF2B5EF4-FFF2-40B4-BE49-F238E27FC236}">
                        <a16:creationId xmlns:a16="http://schemas.microsoft.com/office/drawing/2014/main" id="{A310B445-8B7A-44EF-B972-9BDBC2819AD6}"/>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79" name="Group 2278">
                    <a:extLst>
                      <a:ext uri="{FF2B5EF4-FFF2-40B4-BE49-F238E27FC236}">
                        <a16:creationId xmlns:a16="http://schemas.microsoft.com/office/drawing/2014/main" id="{359AA665-FA51-45A6-8CC9-B36FB28042EE}"/>
                      </a:ext>
                    </a:extLst>
                  </p:cNvPr>
                  <p:cNvGrpSpPr/>
                  <p:nvPr/>
                </p:nvGrpSpPr>
                <p:grpSpPr>
                  <a:xfrm flipV="1">
                    <a:off x="1202047" y="3517919"/>
                    <a:ext cx="178734" cy="348678"/>
                    <a:chOff x="1207113" y="2241878"/>
                    <a:chExt cx="178734" cy="348678"/>
                  </a:xfrm>
                </p:grpSpPr>
                <p:sp>
                  <p:nvSpPr>
                    <p:cNvPr id="2280" name="Freeform 10">
                      <a:extLst>
                        <a:ext uri="{FF2B5EF4-FFF2-40B4-BE49-F238E27FC236}">
                          <a16:creationId xmlns:a16="http://schemas.microsoft.com/office/drawing/2014/main" id="{79C2BAE8-234E-43FE-9122-B0E1DF14BEA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1" name="Line 11">
                      <a:extLst>
                        <a:ext uri="{FF2B5EF4-FFF2-40B4-BE49-F238E27FC236}">
                          <a16:creationId xmlns:a16="http://schemas.microsoft.com/office/drawing/2014/main" id="{C8E41F0F-82EB-44DB-B172-26F6FCDB907D}"/>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291" name="Group 2290">
            <a:extLst>
              <a:ext uri="{FF2B5EF4-FFF2-40B4-BE49-F238E27FC236}">
                <a16:creationId xmlns:a16="http://schemas.microsoft.com/office/drawing/2014/main" id="{82D36B90-9FCA-46DF-B916-C7EFFF1AF0DE}"/>
              </a:ext>
            </a:extLst>
          </p:cNvPr>
          <p:cNvGrpSpPr/>
          <p:nvPr/>
        </p:nvGrpSpPr>
        <p:grpSpPr>
          <a:xfrm>
            <a:off x="495092" y="1726072"/>
            <a:ext cx="1451488" cy="649270"/>
            <a:chOff x="1688915" y="1573673"/>
            <a:chExt cx="1455572" cy="651097"/>
          </a:xfrm>
        </p:grpSpPr>
        <p:sp>
          <p:nvSpPr>
            <p:cNvPr id="2292" name="Right Arrow 551">
              <a:extLst>
                <a:ext uri="{FF2B5EF4-FFF2-40B4-BE49-F238E27FC236}">
                  <a16:creationId xmlns:a16="http://schemas.microsoft.com/office/drawing/2014/main" id="{08704D7F-A011-42E6-A7D1-539040737BB7}"/>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293" name="Group 2292">
              <a:extLst>
                <a:ext uri="{FF2B5EF4-FFF2-40B4-BE49-F238E27FC236}">
                  <a16:creationId xmlns:a16="http://schemas.microsoft.com/office/drawing/2014/main" id="{43A29FF4-15CE-4DB9-8823-A6C1C1E7E670}"/>
                </a:ext>
              </a:extLst>
            </p:cNvPr>
            <p:cNvGrpSpPr>
              <a:grpSpLocks/>
            </p:cNvGrpSpPr>
            <p:nvPr/>
          </p:nvGrpSpPr>
          <p:grpSpPr>
            <a:xfrm>
              <a:off x="1688915" y="1795002"/>
              <a:ext cx="418017" cy="418017"/>
              <a:chOff x="745985" y="4768134"/>
              <a:chExt cx="368776" cy="368777"/>
            </a:xfrm>
          </p:grpSpPr>
          <p:grpSp>
            <p:nvGrpSpPr>
              <p:cNvPr id="2357" name="Group 64">
                <a:extLst>
                  <a:ext uri="{FF2B5EF4-FFF2-40B4-BE49-F238E27FC236}">
                    <a16:creationId xmlns:a16="http://schemas.microsoft.com/office/drawing/2014/main" id="{45A4255D-24C3-4932-A718-372CFFEBB6E2}"/>
                  </a:ext>
                </a:extLst>
              </p:cNvPr>
              <p:cNvGrpSpPr>
                <a:grpSpLocks noChangeAspect="1"/>
              </p:cNvGrpSpPr>
              <p:nvPr/>
            </p:nvGrpSpPr>
            <p:grpSpPr bwMode="auto">
              <a:xfrm rot="8100000">
                <a:off x="745985" y="4768134"/>
                <a:ext cx="368776" cy="368777"/>
                <a:chOff x="701" y="2170"/>
                <a:chExt cx="587" cy="587"/>
              </a:xfrm>
            </p:grpSpPr>
            <p:sp>
              <p:nvSpPr>
                <p:cNvPr id="2368" name="Oval 65">
                  <a:extLst>
                    <a:ext uri="{FF2B5EF4-FFF2-40B4-BE49-F238E27FC236}">
                      <a16:creationId xmlns:a16="http://schemas.microsoft.com/office/drawing/2014/main" id="{2D23E31A-0A0D-49B9-A7F6-0C9E38714AB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Line 66">
                  <a:extLst>
                    <a:ext uri="{FF2B5EF4-FFF2-40B4-BE49-F238E27FC236}">
                      <a16:creationId xmlns:a16="http://schemas.microsoft.com/office/drawing/2014/main" id="{9EA35FC4-364F-4A50-B75D-30BDD4396C3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67">
                  <a:extLst>
                    <a:ext uri="{FF2B5EF4-FFF2-40B4-BE49-F238E27FC236}">
                      <a16:creationId xmlns:a16="http://schemas.microsoft.com/office/drawing/2014/main" id="{C49546F8-F738-4BD3-9506-8A0B5B18C2E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Line 69">
                  <a:extLst>
                    <a:ext uri="{FF2B5EF4-FFF2-40B4-BE49-F238E27FC236}">
                      <a16:creationId xmlns:a16="http://schemas.microsoft.com/office/drawing/2014/main" id="{33DD8474-3860-4B59-A872-07B4D9FC499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74">
                  <a:extLst>
                    <a:ext uri="{FF2B5EF4-FFF2-40B4-BE49-F238E27FC236}">
                      <a16:creationId xmlns:a16="http://schemas.microsoft.com/office/drawing/2014/main" id="{B884B2EF-C60D-4AC4-843F-0569CEDF3CF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3" name="Freeform 78">
                  <a:extLst>
                    <a:ext uri="{FF2B5EF4-FFF2-40B4-BE49-F238E27FC236}">
                      <a16:creationId xmlns:a16="http://schemas.microsoft.com/office/drawing/2014/main" id="{9D8480CE-14F9-43F1-920C-CE5D992350C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4" name="Freeform 80">
                  <a:extLst>
                    <a:ext uri="{FF2B5EF4-FFF2-40B4-BE49-F238E27FC236}">
                      <a16:creationId xmlns:a16="http://schemas.microsoft.com/office/drawing/2014/main" id="{999CD18A-8B73-434F-900C-B58352709B6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58" name="Group 2357">
                <a:extLst>
                  <a:ext uri="{FF2B5EF4-FFF2-40B4-BE49-F238E27FC236}">
                    <a16:creationId xmlns:a16="http://schemas.microsoft.com/office/drawing/2014/main" id="{5AD2B93D-D908-4824-991D-178CBD7C459F}"/>
                  </a:ext>
                </a:extLst>
              </p:cNvPr>
              <p:cNvGrpSpPr/>
              <p:nvPr/>
            </p:nvGrpSpPr>
            <p:grpSpPr>
              <a:xfrm>
                <a:off x="837312" y="4814434"/>
                <a:ext cx="136805" cy="278689"/>
                <a:chOff x="2806700" y="2803319"/>
                <a:chExt cx="433387" cy="882861"/>
              </a:xfrm>
            </p:grpSpPr>
            <p:grpSp>
              <p:nvGrpSpPr>
                <p:cNvPr id="2359" name="Group 2358">
                  <a:extLst>
                    <a:ext uri="{FF2B5EF4-FFF2-40B4-BE49-F238E27FC236}">
                      <a16:creationId xmlns:a16="http://schemas.microsoft.com/office/drawing/2014/main" id="{094EAC7A-68D6-4343-B795-E6802C043629}"/>
                    </a:ext>
                  </a:extLst>
                </p:cNvPr>
                <p:cNvGrpSpPr>
                  <a:grpSpLocks noChangeAspect="1"/>
                </p:cNvGrpSpPr>
                <p:nvPr/>
              </p:nvGrpSpPr>
              <p:grpSpPr bwMode="auto">
                <a:xfrm>
                  <a:off x="2806700" y="3043242"/>
                  <a:ext cx="433387" cy="642938"/>
                  <a:chOff x="1768" y="1917"/>
                  <a:chExt cx="273" cy="405"/>
                </a:xfrm>
              </p:grpSpPr>
              <p:sp>
                <p:nvSpPr>
                  <p:cNvPr id="2361" name="Freeform 52">
                    <a:extLst>
                      <a:ext uri="{FF2B5EF4-FFF2-40B4-BE49-F238E27FC236}">
                        <a16:creationId xmlns:a16="http://schemas.microsoft.com/office/drawing/2014/main" id="{61882AED-B320-4541-ABFA-ECBCDF06A81C}"/>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2" name="Line 54">
                    <a:extLst>
                      <a:ext uri="{FF2B5EF4-FFF2-40B4-BE49-F238E27FC236}">
                        <a16:creationId xmlns:a16="http://schemas.microsoft.com/office/drawing/2014/main" id="{C0BF3190-6367-4893-9EC5-442228A3957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55">
                    <a:extLst>
                      <a:ext uri="{FF2B5EF4-FFF2-40B4-BE49-F238E27FC236}">
                        <a16:creationId xmlns:a16="http://schemas.microsoft.com/office/drawing/2014/main" id="{5B012137-BCE2-4577-B554-0EB39837BB4B}"/>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56">
                    <a:extLst>
                      <a:ext uri="{FF2B5EF4-FFF2-40B4-BE49-F238E27FC236}">
                        <a16:creationId xmlns:a16="http://schemas.microsoft.com/office/drawing/2014/main" id="{CCAE48A1-B818-4BF8-BDC6-2231C6C2B2A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Line 57">
                    <a:extLst>
                      <a:ext uri="{FF2B5EF4-FFF2-40B4-BE49-F238E27FC236}">
                        <a16:creationId xmlns:a16="http://schemas.microsoft.com/office/drawing/2014/main" id="{4991A450-651C-417B-A147-07F9E4EA1717}"/>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6" name="Freeform 58">
                    <a:extLst>
                      <a:ext uri="{FF2B5EF4-FFF2-40B4-BE49-F238E27FC236}">
                        <a16:creationId xmlns:a16="http://schemas.microsoft.com/office/drawing/2014/main" id="{6C8FEB99-5345-4159-9A98-FFA24784928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7" name="Rectangle 2366">
                    <a:extLst>
                      <a:ext uri="{FF2B5EF4-FFF2-40B4-BE49-F238E27FC236}">
                        <a16:creationId xmlns:a16="http://schemas.microsoft.com/office/drawing/2014/main" id="{DEBC5C6D-D290-4A5F-8769-F00AF636459D}"/>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60" name="Oval 2359">
                  <a:extLst>
                    <a:ext uri="{FF2B5EF4-FFF2-40B4-BE49-F238E27FC236}">
                      <a16:creationId xmlns:a16="http://schemas.microsoft.com/office/drawing/2014/main" id="{D16194F5-2761-4126-B6C7-633AF88C2D2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94" name="Group 2293">
              <a:extLst>
                <a:ext uri="{FF2B5EF4-FFF2-40B4-BE49-F238E27FC236}">
                  <a16:creationId xmlns:a16="http://schemas.microsoft.com/office/drawing/2014/main" id="{C6E701D3-58D6-44E9-8590-405ED74DA4E8}"/>
                </a:ext>
              </a:extLst>
            </p:cNvPr>
            <p:cNvGrpSpPr>
              <a:grpSpLocks/>
            </p:cNvGrpSpPr>
            <p:nvPr/>
          </p:nvGrpSpPr>
          <p:grpSpPr>
            <a:xfrm>
              <a:off x="2196256" y="1795002"/>
              <a:ext cx="429139" cy="429142"/>
              <a:chOff x="1454941" y="4721722"/>
              <a:chExt cx="473625" cy="473627"/>
            </a:xfrm>
          </p:grpSpPr>
          <p:grpSp>
            <p:nvGrpSpPr>
              <p:cNvPr id="2318" name="Group 64">
                <a:extLst>
                  <a:ext uri="{FF2B5EF4-FFF2-40B4-BE49-F238E27FC236}">
                    <a16:creationId xmlns:a16="http://schemas.microsoft.com/office/drawing/2014/main" id="{E42FB29D-11B6-4ACE-8370-FCF72A23499A}"/>
                  </a:ext>
                </a:extLst>
              </p:cNvPr>
              <p:cNvGrpSpPr>
                <a:grpSpLocks noChangeAspect="1"/>
              </p:cNvGrpSpPr>
              <p:nvPr/>
            </p:nvGrpSpPr>
            <p:grpSpPr bwMode="auto">
              <a:xfrm rot="8100000">
                <a:off x="1454941" y="4721722"/>
                <a:ext cx="473625" cy="473627"/>
                <a:chOff x="701" y="2170"/>
                <a:chExt cx="587" cy="587"/>
              </a:xfrm>
            </p:grpSpPr>
            <p:sp>
              <p:nvSpPr>
                <p:cNvPr id="2350" name="Oval 65">
                  <a:extLst>
                    <a:ext uri="{FF2B5EF4-FFF2-40B4-BE49-F238E27FC236}">
                      <a16:creationId xmlns:a16="http://schemas.microsoft.com/office/drawing/2014/main" id="{51AD352E-7942-4665-93B7-56D7C3F831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Line 66">
                  <a:extLst>
                    <a:ext uri="{FF2B5EF4-FFF2-40B4-BE49-F238E27FC236}">
                      <a16:creationId xmlns:a16="http://schemas.microsoft.com/office/drawing/2014/main" id="{09145D1F-66AC-47C0-B404-99C578980C1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2" name="Line 67">
                  <a:extLst>
                    <a:ext uri="{FF2B5EF4-FFF2-40B4-BE49-F238E27FC236}">
                      <a16:creationId xmlns:a16="http://schemas.microsoft.com/office/drawing/2014/main" id="{D9D32373-D080-46A7-8230-5D041A6E78A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3" name="Line 69">
                  <a:extLst>
                    <a:ext uri="{FF2B5EF4-FFF2-40B4-BE49-F238E27FC236}">
                      <a16:creationId xmlns:a16="http://schemas.microsoft.com/office/drawing/2014/main" id="{0739E971-762E-4507-BA96-7237A9C7DD14}"/>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4" name="Line 74">
                  <a:extLst>
                    <a:ext uri="{FF2B5EF4-FFF2-40B4-BE49-F238E27FC236}">
                      <a16:creationId xmlns:a16="http://schemas.microsoft.com/office/drawing/2014/main" id="{7786D655-8BBE-4232-8E68-0B9FA9D1C34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78">
                  <a:extLst>
                    <a:ext uri="{FF2B5EF4-FFF2-40B4-BE49-F238E27FC236}">
                      <a16:creationId xmlns:a16="http://schemas.microsoft.com/office/drawing/2014/main" id="{508966EE-9159-4DD8-A751-43B8EC978B3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6" name="Freeform 80">
                  <a:extLst>
                    <a:ext uri="{FF2B5EF4-FFF2-40B4-BE49-F238E27FC236}">
                      <a16:creationId xmlns:a16="http://schemas.microsoft.com/office/drawing/2014/main" id="{EAC26E66-685D-4608-89A1-F10A153C057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19" name="Group 2318">
                <a:extLst>
                  <a:ext uri="{FF2B5EF4-FFF2-40B4-BE49-F238E27FC236}">
                    <a16:creationId xmlns:a16="http://schemas.microsoft.com/office/drawing/2014/main" id="{6F9AA22B-1F65-4B1E-9C87-47E987F3582B}"/>
                  </a:ext>
                </a:extLst>
              </p:cNvPr>
              <p:cNvGrpSpPr/>
              <p:nvPr/>
            </p:nvGrpSpPr>
            <p:grpSpPr>
              <a:xfrm>
                <a:off x="1511214" y="4789508"/>
                <a:ext cx="356509" cy="349884"/>
                <a:chOff x="468738" y="2241878"/>
                <a:chExt cx="1655483" cy="1624719"/>
              </a:xfrm>
            </p:grpSpPr>
            <p:sp>
              <p:nvSpPr>
                <p:cNvPr id="2320" name="Freeform 5">
                  <a:extLst>
                    <a:ext uri="{FF2B5EF4-FFF2-40B4-BE49-F238E27FC236}">
                      <a16:creationId xmlns:a16="http://schemas.microsoft.com/office/drawing/2014/main" id="{1C70A36E-B1CC-4DD6-A684-14D84C901A8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1" name="Freeform 6">
                  <a:extLst>
                    <a:ext uri="{FF2B5EF4-FFF2-40B4-BE49-F238E27FC236}">
                      <a16:creationId xmlns:a16="http://schemas.microsoft.com/office/drawing/2014/main" id="{B8A9288D-C7ED-47AF-9C98-F0E7435DB36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2" name="Line 7">
                  <a:extLst>
                    <a:ext uri="{FF2B5EF4-FFF2-40B4-BE49-F238E27FC236}">
                      <a16:creationId xmlns:a16="http://schemas.microsoft.com/office/drawing/2014/main" id="{28BC763E-5E35-41A4-8F3E-1C73DC7B621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3" name="Freeform 8">
                  <a:extLst>
                    <a:ext uri="{FF2B5EF4-FFF2-40B4-BE49-F238E27FC236}">
                      <a16:creationId xmlns:a16="http://schemas.microsoft.com/office/drawing/2014/main" id="{255B6E54-53F0-427C-814C-AD758D88341A}"/>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4" name="Line 9">
                  <a:extLst>
                    <a:ext uri="{FF2B5EF4-FFF2-40B4-BE49-F238E27FC236}">
                      <a16:creationId xmlns:a16="http://schemas.microsoft.com/office/drawing/2014/main" id="{E2EFB0AE-A008-4A6F-B850-9D235074B9C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25" name="Group 2324">
                  <a:extLst>
                    <a:ext uri="{FF2B5EF4-FFF2-40B4-BE49-F238E27FC236}">
                      <a16:creationId xmlns:a16="http://schemas.microsoft.com/office/drawing/2014/main" id="{CA6B4872-FF48-46AD-AD78-2FE32E26FFBA}"/>
                    </a:ext>
                  </a:extLst>
                </p:cNvPr>
                <p:cNvGrpSpPr/>
                <p:nvPr/>
              </p:nvGrpSpPr>
              <p:grpSpPr>
                <a:xfrm>
                  <a:off x="1207113" y="2241878"/>
                  <a:ext cx="178734" cy="348678"/>
                  <a:chOff x="1207113" y="2241878"/>
                  <a:chExt cx="178734" cy="348678"/>
                </a:xfrm>
              </p:grpSpPr>
              <p:sp>
                <p:nvSpPr>
                  <p:cNvPr id="2348" name="Freeform 10">
                    <a:extLst>
                      <a:ext uri="{FF2B5EF4-FFF2-40B4-BE49-F238E27FC236}">
                        <a16:creationId xmlns:a16="http://schemas.microsoft.com/office/drawing/2014/main" id="{B6049F59-9585-439A-98AE-C481AB994BD3}"/>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9" name="Line 11">
                    <a:extLst>
                      <a:ext uri="{FF2B5EF4-FFF2-40B4-BE49-F238E27FC236}">
                        <a16:creationId xmlns:a16="http://schemas.microsoft.com/office/drawing/2014/main" id="{91028E61-AAA0-4B52-960C-ECBD1EAB48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26" name="Freeform 12">
                  <a:extLst>
                    <a:ext uri="{FF2B5EF4-FFF2-40B4-BE49-F238E27FC236}">
                      <a16:creationId xmlns:a16="http://schemas.microsoft.com/office/drawing/2014/main" id="{15652DC4-9FAD-4402-A83B-7ABB09328EF8}"/>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13">
                  <a:extLst>
                    <a:ext uri="{FF2B5EF4-FFF2-40B4-BE49-F238E27FC236}">
                      <a16:creationId xmlns:a16="http://schemas.microsoft.com/office/drawing/2014/main" id="{3B771E34-142A-45F7-A0BE-53871E5BBDD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14">
                  <a:extLst>
                    <a:ext uri="{FF2B5EF4-FFF2-40B4-BE49-F238E27FC236}">
                      <a16:creationId xmlns:a16="http://schemas.microsoft.com/office/drawing/2014/main" id="{1910D1C8-9CD2-4D26-AF1D-54712413296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Line 15">
                  <a:extLst>
                    <a:ext uri="{FF2B5EF4-FFF2-40B4-BE49-F238E27FC236}">
                      <a16:creationId xmlns:a16="http://schemas.microsoft.com/office/drawing/2014/main" id="{3C5869CB-8033-4DF3-AD20-8E76D21BEE2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0" name="Freeform 16">
                  <a:extLst>
                    <a:ext uri="{FF2B5EF4-FFF2-40B4-BE49-F238E27FC236}">
                      <a16:creationId xmlns:a16="http://schemas.microsoft.com/office/drawing/2014/main" id="{A9777979-CA6B-49D7-8708-0F818E3E934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1" name="Line 17">
                  <a:extLst>
                    <a:ext uri="{FF2B5EF4-FFF2-40B4-BE49-F238E27FC236}">
                      <a16:creationId xmlns:a16="http://schemas.microsoft.com/office/drawing/2014/main" id="{9AA4284B-34A2-4FCA-81E9-C5BBCD088B6A}"/>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Freeform 18">
                  <a:extLst>
                    <a:ext uri="{FF2B5EF4-FFF2-40B4-BE49-F238E27FC236}">
                      <a16:creationId xmlns:a16="http://schemas.microsoft.com/office/drawing/2014/main" id="{7CE2602E-C266-4BD5-9CA2-9CC95C4B3104}"/>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19">
                  <a:extLst>
                    <a:ext uri="{FF2B5EF4-FFF2-40B4-BE49-F238E27FC236}">
                      <a16:creationId xmlns:a16="http://schemas.microsoft.com/office/drawing/2014/main" id="{B3EF2A59-24DC-4423-BEF3-B355E0DBCBD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Freeform 35">
                  <a:extLst>
                    <a:ext uri="{FF2B5EF4-FFF2-40B4-BE49-F238E27FC236}">
                      <a16:creationId xmlns:a16="http://schemas.microsoft.com/office/drawing/2014/main" id="{ED2FC11D-E6EC-4642-846A-1FC71C044ED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36">
                  <a:extLst>
                    <a:ext uri="{FF2B5EF4-FFF2-40B4-BE49-F238E27FC236}">
                      <a16:creationId xmlns:a16="http://schemas.microsoft.com/office/drawing/2014/main" id="{3DE502E9-5516-42A0-B366-6020E34545C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37">
                  <a:extLst>
                    <a:ext uri="{FF2B5EF4-FFF2-40B4-BE49-F238E27FC236}">
                      <a16:creationId xmlns:a16="http://schemas.microsoft.com/office/drawing/2014/main" id="{13AED33A-73B0-4CF8-8E7C-E482AE8BD17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7" name="Freeform 38">
                  <a:extLst>
                    <a:ext uri="{FF2B5EF4-FFF2-40B4-BE49-F238E27FC236}">
                      <a16:creationId xmlns:a16="http://schemas.microsoft.com/office/drawing/2014/main" id="{21902428-6C16-4A53-9563-2CBD6383F088}"/>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8" name="Freeform 39">
                  <a:extLst>
                    <a:ext uri="{FF2B5EF4-FFF2-40B4-BE49-F238E27FC236}">
                      <a16:creationId xmlns:a16="http://schemas.microsoft.com/office/drawing/2014/main" id="{0C865A20-7E53-4608-93A9-10895C127E8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9" name="Freeform 40">
                  <a:extLst>
                    <a:ext uri="{FF2B5EF4-FFF2-40B4-BE49-F238E27FC236}">
                      <a16:creationId xmlns:a16="http://schemas.microsoft.com/office/drawing/2014/main" id="{4D93FEB6-AF6E-4977-8D00-9BFA689C51B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0" name="Freeform 41">
                  <a:extLst>
                    <a:ext uri="{FF2B5EF4-FFF2-40B4-BE49-F238E27FC236}">
                      <a16:creationId xmlns:a16="http://schemas.microsoft.com/office/drawing/2014/main" id="{68168044-3829-4FA8-B699-C1B96DE71BD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1" name="Line 42">
                  <a:extLst>
                    <a:ext uri="{FF2B5EF4-FFF2-40B4-BE49-F238E27FC236}">
                      <a16:creationId xmlns:a16="http://schemas.microsoft.com/office/drawing/2014/main" id="{13642081-49EB-46BD-A80A-5D9DC278693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2" name="Freeform 43">
                  <a:extLst>
                    <a:ext uri="{FF2B5EF4-FFF2-40B4-BE49-F238E27FC236}">
                      <a16:creationId xmlns:a16="http://schemas.microsoft.com/office/drawing/2014/main" id="{98C32E50-A6DA-44F7-BA5C-60135F45E7E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3" name="Freeform 44">
                  <a:extLst>
                    <a:ext uri="{FF2B5EF4-FFF2-40B4-BE49-F238E27FC236}">
                      <a16:creationId xmlns:a16="http://schemas.microsoft.com/office/drawing/2014/main" id="{1D298466-73F9-4CC0-AFAA-564C7B233608}"/>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4" name="Freeform 45">
                  <a:extLst>
                    <a:ext uri="{FF2B5EF4-FFF2-40B4-BE49-F238E27FC236}">
                      <a16:creationId xmlns:a16="http://schemas.microsoft.com/office/drawing/2014/main" id="{4F65E722-66AD-4D1A-A032-EBFE199D92D7}"/>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45" name="Group 2344">
                  <a:extLst>
                    <a:ext uri="{FF2B5EF4-FFF2-40B4-BE49-F238E27FC236}">
                      <a16:creationId xmlns:a16="http://schemas.microsoft.com/office/drawing/2014/main" id="{A5666C53-80FF-46F0-8DB8-A3070D538240}"/>
                    </a:ext>
                  </a:extLst>
                </p:cNvPr>
                <p:cNvGrpSpPr/>
                <p:nvPr/>
              </p:nvGrpSpPr>
              <p:grpSpPr>
                <a:xfrm flipV="1">
                  <a:off x="1202047" y="3517919"/>
                  <a:ext cx="178734" cy="348678"/>
                  <a:chOff x="1207113" y="2241878"/>
                  <a:chExt cx="178734" cy="348678"/>
                </a:xfrm>
              </p:grpSpPr>
              <p:sp>
                <p:nvSpPr>
                  <p:cNvPr id="2346" name="Freeform 10">
                    <a:extLst>
                      <a:ext uri="{FF2B5EF4-FFF2-40B4-BE49-F238E27FC236}">
                        <a16:creationId xmlns:a16="http://schemas.microsoft.com/office/drawing/2014/main" id="{8D484941-D0F1-4EEA-B0F7-66A92F5D8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7" name="Line 11">
                    <a:extLst>
                      <a:ext uri="{FF2B5EF4-FFF2-40B4-BE49-F238E27FC236}">
                        <a16:creationId xmlns:a16="http://schemas.microsoft.com/office/drawing/2014/main" id="{7E75D629-CDE5-45AB-BBF7-7830060F70C1}"/>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95" name="Group 2294">
              <a:extLst>
                <a:ext uri="{FF2B5EF4-FFF2-40B4-BE49-F238E27FC236}">
                  <a16:creationId xmlns:a16="http://schemas.microsoft.com/office/drawing/2014/main" id="{977426F9-49D7-4246-AE29-753723C23D83}"/>
                </a:ext>
              </a:extLst>
            </p:cNvPr>
            <p:cNvGrpSpPr>
              <a:grpSpLocks/>
            </p:cNvGrpSpPr>
            <p:nvPr/>
          </p:nvGrpSpPr>
          <p:grpSpPr>
            <a:xfrm>
              <a:off x="2714719" y="1795002"/>
              <a:ext cx="429768" cy="429768"/>
              <a:chOff x="2268747" y="4723725"/>
              <a:chExt cx="415610" cy="415612"/>
            </a:xfrm>
          </p:grpSpPr>
          <p:grpSp>
            <p:nvGrpSpPr>
              <p:cNvPr id="2296" name="Group 64">
                <a:extLst>
                  <a:ext uri="{FF2B5EF4-FFF2-40B4-BE49-F238E27FC236}">
                    <a16:creationId xmlns:a16="http://schemas.microsoft.com/office/drawing/2014/main" id="{CD61BC95-5205-4CB6-964A-F0F93DB65C76}"/>
                  </a:ext>
                </a:extLst>
              </p:cNvPr>
              <p:cNvGrpSpPr>
                <a:grpSpLocks noChangeAspect="1"/>
              </p:cNvGrpSpPr>
              <p:nvPr/>
            </p:nvGrpSpPr>
            <p:grpSpPr bwMode="auto">
              <a:xfrm rot="8100000">
                <a:off x="2268747" y="4723725"/>
                <a:ext cx="415610" cy="415612"/>
                <a:chOff x="701" y="2170"/>
                <a:chExt cx="587" cy="587"/>
              </a:xfrm>
            </p:grpSpPr>
            <p:sp>
              <p:nvSpPr>
                <p:cNvPr id="2311" name="Oval 65">
                  <a:extLst>
                    <a:ext uri="{FF2B5EF4-FFF2-40B4-BE49-F238E27FC236}">
                      <a16:creationId xmlns:a16="http://schemas.microsoft.com/office/drawing/2014/main" id="{E95E76F0-0DBD-4756-8AB1-41BCFDAEDC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2" name="Line 66">
                  <a:extLst>
                    <a:ext uri="{FF2B5EF4-FFF2-40B4-BE49-F238E27FC236}">
                      <a16:creationId xmlns:a16="http://schemas.microsoft.com/office/drawing/2014/main" id="{0EEA7B7F-BD33-4319-AFC7-A41FA6A00FF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3" name="Line 67">
                  <a:extLst>
                    <a:ext uri="{FF2B5EF4-FFF2-40B4-BE49-F238E27FC236}">
                      <a16:creationId xmlns:a16="http://schemas.microsoft.com/office/drawing/2014/main" id="{7ED66836-5179-4300-93A5-28396A1DD6C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9">
                  <a:extLst>
                    <a:ext uri="{FF2B5EF4-FFF2-40B4-BE49-F238E27FC236}">
                      <a16:creationId xmlns:a16="http://schemas.microsoft.com/office/drawing/2014/main" id="{201622C1-FF4C-4153-A72D-CC7D5F56D7D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74">
                  <a:extLst>
                    <a:ext uri="{FF2B5EF4-FFF2-40B4-BE49-F238E27FC236}">
                      <a16:creationId xmlns:a16="http://schemas.microsoft.com/office/drawing/2014/main" id="{1B885A0B-596D-4FBE-8011-DA86161A063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Freeform 78">
                  <a:extLst>
                    <a:ext uri="{FF2B5EF4-FFF2-40B4-BE49-F238E27FC236}">
                      <a16:creationId xmlns:a16="http://schemas.microsoft.com/office/drawing/2014/main" id="{DD59343D-6E88-4C6E-9314-7DDD16E7292F}"/>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80">
                  <a:extLst>
                    <a:ext uri="{FF2B5EF4-FFF2-40B4-BE49-F238E27FC236}">
                      <a16:creationId xmlns:a16="http://schemas.microsoft.com/office/drawing/2014/main" id="{47F407BB-6515-4E34-8EB6-220377727C1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97" name="Group 2296">
                <a:extLst>
                  <a:ext uri="{FF2B5EF4-FFF2-40B4-BE49-F238E27FC236}">
                    <a16:creationId xmlns:a16="http://schemas.microsoft.com/office/drawing/2014/main" id="{77D76966-B393-434A-9AC0-21C7B86AB209}"/>
                  </a:ext>
                </a:extLst>
              </p:cNvPr>
              <p:cNvGrpSpPr/>
              <p:nvPr/>
            </p:nvGrpSpPr>
            <p:grpSpPr>
              <a:xfrm>
                <a:off x="2318076" y="4830163"/>
                <a:ext cx="313949" cy="233075"/>
                <a:chOff x="3707533" y="2731244"/>
                <a:chExt cx="389644" cy="289271"/>
              </a:xfrm>
            </p:grpSpPr>
            <p:sp>
              <p:nvSpPr>
                <p:cNvPr id="2298" name="Freeform 33">
                  <a:extLst>
                    <a:ext uri="{FF2B5EF4-FFF2-40B4-BE49-F238E27FC236}">
                      <a16:creationId xmlns:a16="http://schemas.microsoft.com/office/drawing/2014/main" id="{774588ED-2271-4B77-BAC5-D55E19C4A39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4">
                  <a:extLst>
                    <a:ext uri="{FF2B5EF4-FFF2-40B4-BE49-F238E27FC236}">
                      <a16:creationId xmlns:a16="http://schemas.microsoft.com/office/drawing/2014/main" id="{642E7CBC-1697-411B-A358-1CB4FAEF63FA}"/>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7">
                  <a:extLst>
                    <a:ext uri="{FF2B5EF4-FFF2-40B4-BE49-F238E27FC236}">
                      <a16:creationId xmlns:a16="http://schemas.microsoft.com/office/drawing/2014/main" id="{AB19BBF7-2FE0-472B-A633-84A022D19486}"/>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38">
                  <a:extLst>
                    <a:ext uri="{FF2B5EF4-FFF2-40B4-BE49-F238E27FC236}">
                      <a16:creationId xmlns:a16="http://schemas.microsoft.com/office/drawing/2014/main" id="{EF579692-8DB5-47C7-BAB4-9EF0B4B72E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32">
                  <a:extLst>
                    <a:ext uri="{FF2B5EF4-FFF2-40B4-BE49-F238E27FC236}">
                      <a16:creationId xmlns:a16="http://schemas.microsoft.com/office/drawing/2014/main" id="{B0568587-49BB-428D-919D-1DF5BAFE8060}"/>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3" name="Freeform 35">
                  <a:extLst>
                    <a:ext uri="{FF2B5EF4-FFF2-40B4-BE49-F238E27FC236}">
                      <a16:creationId xmlns:a16="http://schemas.microsoft.com/office/drawing/2014/main" id="{F9A7F40F-92CB-4549-8790-2ECF4EC0086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36">
                  <a:extLst>
                    <a:ext uri="{FF2B5EF4-FFF2-40B4-BE49-F238E27FC236}">
                      <a16:creationId xmlns:a16="http://schemas.microsoft.com/office/drawing/2014/main" id="{ABED669A-4D6E-41E1-B2BA-8D2B66428BD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25">
                  <a:extLst>
                    <a:ext uri="{FF2B5EF4-FFF2-40B4-BE49-F238E27FC236}">
                      <a16:creationId xmlns:a16="http://schemas.microsoft.com/office/drawing/2014/main" id="{CC1542F3-A8A5-4B6B-953F-87E430F7E12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39">
                  <a:extLst>
                    <a:ext uri="{FF2B5EF4-FFF2-40B4-BE49-F238E27FC236}">
                      <a16:creationId xmlns:a16="http://schemas.microsoft.com/office/drawing/2014/main" id="{0E4F895C-7C44-4F2A-BBD4-24B5DE12A968}"/>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7" name="Freeform 26">
                  <a:extLst>
                    <a:ext uri="{FF2B5EF4-FFF2-40B4-BE49-F238E27FC236}">
                      <a16:creationId xmlns:a16="http://schemas.microsoft.com/office/drawing/2014/main" id="{34264F60-E1DA-444D-B773-40F79BF1757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8" name="Rectangle 27">
                  <a:extLst>
                    <a:ext uri="{FF2B5EF4-FFF2-40B4-BE49-F238E27FC236}">
                      <a16:creationId xmlns:a16="http://schemas.microsoft.com/office/drawing/2014/main" id="{1C993D86-94AA-40E6-B90F-9C0FA4859551}"/>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9" name="Line 29">
                  <a:extLst>
                    <a:ext uri="{FF2B5EF4-FFF2-40B4-BE49-F238E27FC236}">
                      <a16:creationId xmlns:a16="http://schemas.microsoft.com/office/drawing/2014/main" id="{D7CB9835-A7A9-42E4-86E0-2B9606048DA9}"/>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0" name="Line 31">
                  <a:extLst>
                    <a:ext uri="{FF2B5EF4-FFF2-40B4-BE49-F238E27FC236}">
                      <a16:creationId xmlns:a16="http://schemas.microsoft.com/office/drawing/2014/main" id="{CF312B08-C71C-4D3C-8BF2-8B8E56C9381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75" name="Group 2374">
            <a:extLst>
              <a:ext uri="{FF2B5EF4-FFF2-40B4-BE49-F238E27FC236}">
                <a16:creationId xmlns:a16="http://schemas.microsoft.com/office/drawing/2014/main" id="{6F1467A9-02D8-4628-8E0A-231D5AA2C62B}"/>
              </a:ext>
            </a:extLst>
          </p:cNvPr>
          <p:cNvGrpSpPr/>
          <p:nvPr/>
        </p:nvGrpSpPr>
        <p:grpSpPr>
          <a:xfrm>
            <a:off x="10069943" y="2131578"/>
            <a:ext cx="1723479" cy="3110477"/>
            <a:chOff x="10072567" y="2269503"/>
            <a:chExt cx="1723928" cy="3111287"/>
          </a:xfrm>
        </p:grpSpPr>
        <p:grpSp>
          <p:nvGrpSpPr>
            <p:cNvPr id="2376" name="Group 2375">
              <a:extLst>
                <a:ext uri="{FF2B5EF4-FFF2-40B4-BE49-F238E27FC236}">
                  <a16:creationId xmlns:a16="http://schemas.microsoft.com/office/drawing/2014/main" id="{1DC8F8AB-AE6B-433A-A8B6-B8D11DEB0C6C}"/>
                </a:ext>
              </a:extLst>
            </p:cNvPr>
            <p:cNvGrpSpPr/>
            <p:nvPr/>
          </p:nvGrpSpPr>
          <p:grpSpPr>
            <a:xfrm>
              <a:off x="10075218" y="2269503"/>
              <a:ext cx="1586257" cy="2254230"/>
              <a:chOff x="9895314" y="2107193"/>
              <a:chExt cx="1590306" cy="2259985"/>
            </a:xfrm>
          </p:grpSpPr>
          <p:grpSp>
            <p:nvGrpSpPr>
              <p:cNvPr id="2378" name="Group 2377">
                <a:extLst>
                  <a:ext uri="{FF2B5EF4-FFF2-40B4-BE49-F238E27FC236}">
                    <a16:creationId xmlns:a16="http://schemas.microsoft.com/office/drawing/2014/main" id="{623370E1-0EE5-47AB-8332-21F6C5A14921}"/>
                  </a:ext>
                </a:extLst>
              </p:cNvPr>
              <p:cNvGrpSpPr/>
              <p:nvPr/>
            </p:nvGrpSpPr>
            <p:grpSpPr>
              <a:xfrm>
                <a:off x="9895314" y="2107193"/>
                <a:ext cx="1231250" cy="1189486"/>
                <a:chOff x="7839761" y="1053755"/>
                <a:chExt cx="927651" cy="896185"/>
              </a:xfrm>
            </p:grpSpPr>
            <p:sp>
              <p:nvSpPr>
                <p:cNvPr id="2495" name="TextBox 2494">
                  <a:extLst>
                    <a:ext uri="{FF2B5EF4-FFF2-40B4-BE49-F238E27FC236}">
                      <a16:creationId xmlns:a16="http://schemas.microsoft.com/office/drawing/2014/main" id="{2B5C86AA-9CC3-4F04-ACEF-B1D5B6EC2660}"/>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96" name="Group 2495">
                  <a:extLst>
                    <a:ext uri="{FF2B5EF4-FFF2-40B4-BE49-F238E27FC236}">
                      <a16:creationId xmlns:a16="http://schemas.microsoft.com/office/drawing/2014/main" id="{8C26EEF5-93D4-4A65-B29B-EC31AAC0809F}"/>
                    </a:ext>
                  </a:extLst>
                </p:cNvPr>
                <p:cNvGrpSpPr/>
                <p:nvPr/>
              </p:nvGrpSpPr>
              <p:grpSpPr>
                <a:xfrm>
                  <a:off x="7839761" y="1053755"/>
                  <a:ext cx="927651" cy="523122"/>
                  <a:chOff x="7839761" y="1053755"/>
                  <a:chExt cx="927651" cy="523122"/>
                </a:xfrm>
              </p:grpSpPr>
              <p:sp>
                <p:nvSpPr>
                  <p:cNvPr id="2497" name="Line 66">
                    <a:extLst>
                      <a:ext uri="{FF2B5EF4-FFF2-40B4-BE49-F238E27FC236}">
                        <a16:creationId xmlns:a16="http://schemas.microsoft.com/office/drawing/2014/main" id="{0E224E35-D40B-455A-AFEE-E49F9072283B}"/>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8" name="Line 67">
                    <a:extLst>
                      <a:ext uri="{FF2B5EF4-FFF2-40B4-BE49-F238E27FC236}">
                        <a16:creationId xmlns:a16="http://schemas.microsoft.com/office/drawing/2014/main" id="{A03376AC-A659-4F26-8483-005FC5AE5A93}"/>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9" name="Line 74">
                    <a:extLst>
                      <a:ext uri="{FF2B5EF4-FFF2-40B4-BE49-F238E27FC236}">
                        <a16:creationId xmlns:a16="http://schemas.microsoft.com/office/drawing/2014/main" id="{B113259C-5FF6-49BF-AC35-2173978239E0}"/>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0" name="Freeform 78">
                    <a:extLst>
                      <a:ext uri="{FF2B5EF4-FFF2-40B4-BE49-F238E27FC236}">
                        <a16:creationId xmlns:a16="http://schemas.microsoft.com/office/drawing/2014/main" id="{5BD90649-4991-47E5-B8F3-F8037F170692}"/>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1" name="Freeform 80">
                    <a:extLst>
                      <a:ext uri="{FF2B5EF4-FFF2-40B4-BE49-F238E27FC236}">
                        <a16:creationId xmlns:a16="http://schemas.microsoft.com/office/drawing/2014/main" id="{D1CAD3D0-0D25-40C2-A571-37DE7AC28529}"/>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2" name="Freeform 1575">
                    <a:extLst>
                      <a:ext uri="{FF2B5EF4-FFF2-40B4-BE49-F238E27FC236}">
                        <a16:creationId xmlns:a16="http://schemas.microsoft.com/office/drawing/2014/main" id="{E6E84BBC-EFDA-4D72-A9BF-F47A363D42FD}"/>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3" name="Freeform 1576">
                    <a:extLst>
                      <a:ext uri="{FF2B5EF4-FFF2-40B4-BE49-F238E27FC236}">
                        <a16:creationId xmlns:a16="http://schemas.microsoft.com/office/drawing/2014/main" id="{0C3B113C-0F6E-4C13-A033-92217B0A1095}"/>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4" name="Freeform 1577">
                    <a:extLst>
                      <a:ext uri="{FF2B5EF4-FFF2-40B4-BE49-F238E27FC236}">
                        <a16:creationId xmlns:a16="http://schemas.microsoft.com/office/drawing/2014/main" id="{906AA8A8-61F8-406E-86B6-9E0C936E1928}"/>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5" name="Freeform 1578">
                    <a:extLst>
                      <a:ext uri="{FF2B5EF4-FFF2-40B4-BE49-F238E27FC236}">
                        <a16:creationId xmlns:a16="http://schemas.microsoft.com/office/drawing/2014/main" id="{FD189EDA-48F5-453D-8537-3BD14ADB6F13}"/>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6" name="Freeform 1579">
                    <a:extLst>
                      <a:ext uri="{FF2B5EF4-FFF2-40B4-BE49-F238E27FC236}">
                        <a16:creationId xmlns:a16="http://schemas.microsoft.com/office/drawing/2014/main" id="{987BD3C4-011F-4DC5-9256-BC3588BE125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7" name="Freeform 1580">
                    <a:extLst>
                      <a:ext uri="{FF2B5EF4-FFF2-40B4-BE49-F238E27FC236}">
                        <a16:creationId xmlns:a16="http://schemas.microsoft.com/office/drawing/2014/main" id="{C38B3F0C-BEE2-49FE-91AA-85DF9E9CF6B7}"/>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1581">
                    <a:extLst>
                      <a:ext uri="{FF2B5EF4-FFF2-40B4-BE49-F238E27FC236}">
                        <a16:creationId xmlns:a16="http://schemas.microsoft.com/office/drawing/2014/main" id="{A6A4202D-3106-45AB-8DB8-2AA74310A335}"/>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Freeform 1582">
                    <a:extLst>
                      <a:ext uri="{FF2B5EF4-FFF2-40B4-BE49-F238E27FC236}">
                        <a16:creationId xmlns:a16="http://schemas.microsoft.com/office/drawing/2014/main" id="{F19890FB-8396-4D00-A965-D64B63D8DAA4}"/>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1583">
                    <a:extLst>
                      <a:ext uri="{FF2B5EF4-FFF2-40B4-BE49-F238E27FC236}">
                        <a16:creationId xmlns:a16="http://schemas.microsoft.com/office/drawing/2014/main" id="{066D9041-8CA4-4BC1-9BF9-776CB6CEEF6B}"/>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Freeform 1584">
                    <a:extLst>
                      <a:ext uri="{FF2B5EF4-FFF2-40B4-BE49-F238E27FC236}">
                        <a16:creationId xmlns:a16="http://schemas.microsoft.com/office/drawing/2014/main" id="{B7ACFD54-9997-428F-9FF7-A05FB26DAD68}"/>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2" name="Freeform 1585">
                    <a:extLst>
                      <a:ext uri="{FF2B5EF4-FFF2-40B4-BE49-F238E27FC236}">
                        <a16:creationId xmlns:a16="http://schemas.microsoft.com/office/drawing/2014/main" id="{7E524910-857F-4B0C-81B8-18455967030C}"/>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3" name="Freeform 1586">
                    <a:extLst>
                      <a:ext uri="{FF2B5EF4-FFF2-40B4-BE49-F238E27FC236}">
                        <a16:creationId xmlns:a16="http://schemas.microsoft.com/office/drawing/2014/main" id="{F4CDAA51-7536-491C-A8AD-92C85B25BBCF}"/>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4" name="Freeform 1587">
                    <a:extLst>
                      <a:ext uri="{FF2B5EF4-FFF2-40B4-BE49-F238E27FC236}">
                        <a16:creationId xmlns:a16="http://schemas.microsoft.com/office/drawing/2014/main" id="{DE24308F-F7A4-46A9-8BCA-1E51617EF7F1}"/>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588">
                    <a:extLst>
                      <a:ext uri="{FF2B5EF4-FFF2-40B4-BE49-F238E27FC236}">
                        <a16:creationId xmlns:a16="http://schemas.microsoft.com/office/drawing/2014/main" id="{76DA9D8C-3ED5-4B0D-B245-088818574980}"/>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6" name="Rectangle 1589">
                    <a:extLst>
                      <a:ext uri="{FF2B5EF4-FFF2-40B4-BE49-F238E27FC236}">
                        <a16:creationId xmlns:a16="http://schemas.microsoft.com/office/drawing/2014/main" id="{C14E9EAF-EF9F-4819-950B-7295F7DB2A0D}"/>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Rectangle 1590">
                    <a:extLst>
                      <a:ext uri="{FF2B5EF4-FFF2-40B4-BE49-F238E27FC236}">
                        <a16:creationId xmlns:a16="http://schemas.microsoft.com/office/drawing/2014/main" id="{5508DBB9-AD3D-437A-8278-15DEA1E525D4}"/>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Freeform 1591">
                    <a:extLst>
                      <a:ext uri="{FF2B5EF4-FFF2-40B4-BE49-F238E27FC236}">
                        <a16:creationId xmlns:a16="http://schemas.microsoft.com/office/drawing/2014/main" id="{2440E61C-F620-413F-BB77-CFA9A52F4F3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592">
                    <a:extLst>
                      <a:ext uri="{FF2B5EF4-FFF2-40B4-BE49-F238E27FC236}">
                        <a16:creationId xmlns:a16="http://schemas.microsoft.com/office/drawing/2014/main" id="{7057E6AA-F9D0-44DE-AB10-A4A38C36FC68}"/>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Freeform 1593">
                    <a:extLst>
                      <a:ext uri="{FF2B5EF4-FFF2-40B4-BE49-F238E27FC236}">
                        <a16:creationId xmlns:a16="http://schemas.microsoft.com/office/drawing/2014/main" id="{35E71B75-4768-4FE9-872F-A274CF9261A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1594">
                    <a:extLst>
                      <a:ext uri="{FF2B5EF4-FFF2-40B4-BE49-F238E27FC236}">
                        <a16:creationId xmlns:a16="http://schemas.microsoft.com/office/drawing/2014/main" id="{EF528B88-3CD9-44E2-9CD9-C01C473590E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1595">
                    <a:extLst>
                      <a:ext uri="{FF2B5EF4-FFF2-40B4-BE49-F238E27FC236}">
                        <a16:creationId xmlns:a16="http://schemas.microsoft.com/office/drawing/2014/main" id="{6CE53CB9-B37D-4FAC-B97F-6CB6C32EEDD7}"/>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1596">
                    <a:extLst>
                      <a:ext uri="{FF2B5EF4-FFF2-40B4-BE49-F238E27FC236}">
                        <a16:creationId xmlns:a16="http://schemas.microsoft.com/office/drawing/2014/main" id="{406DA41B-327E-428A-B582-B847772A731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1672">
                    <a:extLst>
                      <a:ext uri="{FF2B5EF4-FFF2-40B4-BE49-F238E27FC236}">
                        <a16:creationId xmlns:a16="http://schemas.microsoft.com/office/drawing/2014/main" id="{EEB6D1B7-F3A3-4CBA-AA02-F7111F0C72A3}"/>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1673">
                    <a:extLst>
                      <a:ext uri="{FF2B5EF4-FFF2-40B4-BE49-F238E27FC236}">
                        <a16:creationId xmlns:a16="http://schemas.microsoft.com/office/drawing/2014/main" id="{5DA7DB5A-278D-4824-95B5-A875DCE53CF4}"/>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1674">
                    <a:extLst>
                      <a:ext uri="{FF2B5EF4-FFF2-40B4-BE49-F238E27FC236}">
                        <a16:creationId xmlns:a16="http://schemas.microsoft.com/office/drawing/2014/main" id="{1C08B6AF-5978-466D-AB6F-519B8F01DF2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1675">
                    <a:extLst>
                      <a:ext uri="{FF2B5EF4-FFF2-40B4-BE49-F238E27FC236}">
                        <a16:creationId xmlns:a16="http://schemas.microsoft.com/office/drawing/2014/main" id="{0ED064DC-5FD5-4FD4-B5B6-E7BE9F213E3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Freeform 1676">
                    <a:extLst>
                      <a:ext uri="{FF2B5EF4-FFF2-40B4-BE49-F238E27FC236}">
                        <a16:creationId xmlns:a16="http://schemas.microsoft.com/office/drawing/2014/main" id="{606C1274-9CF4-4E82-9E39-9DBD4E01FD2F}"/>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1677">
                    <a:extLst>
                      <a:ext uri="{FF2B5EF4-FFF2-40B4-BE49-F238E27FC236}">
                        <a16:creationId xmlns:a16="http://schemas.microsoft.com/office/drawing/2014/main" id="{120B60DA-7145-4E84-A5FB-1A6ED91742A6}"/>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1678">
                    <a:extLst>
                      <a:ext uri="{FF2B5EF4-FFF2-40B4-BE49-F238E27FC236}">
                        <a16:creationId xmlns:a16="http://schemas.microsoft.com/office/drawing/2014/main" id="{2F3C57A9-149C-4186-82D2-0DC34FABBD0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1679">
                    <a:extLst>
                      <a:ext uri="{FF2B5EF4-FFF2-40B4-BE49-F238E27FC236}">
                        <a16:creationId xmlns:a16="http://schemas.microsoft.com/office/drawing/2014/main" id="{6F19BB5F-DF1A-4C17-9A44-A37C9E2BACBD}"/>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2" name="Freeform 1680">
                    <a:extLst>
                      <a:ext uri="{FF2B5EF4-FFF2-40B4-BE49-F238E27FC236}">
                        <a16:creationId xmlns:a16="http://schemas.microsoft.com/office/drawing/2014/main" id="{C006D238-3871-4A33-8ECC-85C842037FA0}"/>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3" name="Freeform 1681">
                    <a:extLst>
                      <a:ext uri="{FF2B5EF4-FFF2-40B4-BE49-F238E27FC236}">
                        <a16:creationId xmlns:a16="http://schemas.microsoft.com/office/drawing/2014/main" id="{7DB52A53-C52A-49D8-AB62-5B1D875DAD0E}"/>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Freeform 1682">
                    <a:extLst>
                      <a:ext uri="{FF2B5EF4-FFF2-40B4-BE49-F238E27FC236}">
                        <a16:creationId xmlns:a16="http://schemas.microsoft.com/office/drawing/2014/main" id="{DFADAF61-ED1C-4D69-BFA7-B1CE935D06D5}"/>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5" name="Freeform 1683">
                    <a:extLst>
                      <a:ext uri="{FF2B5EF4-FFF2-40B4-BE49-F238E27FC236}">
                        <a16:creationId xmlns:a16="http://schemas.microsoft.com/office/drawing/2014/main" id="{1B19035F-772E-41B6-AC46-B68359E2381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Freeform 1684">
                    <a:extLst>
                      <a:ext uri="{FF2B5EF4-FFF2-40B4-BE49-F238E27FC236}">
                        <a16:creationId xmlns:a16="http://schemas.microsoft.com/office/drawing/2014/main" id="{24CC6228-E00E-4974-A16B-DF6291FF7CEA}"/>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7" name="Freeform 1685">
                    <a:extLst>
                      <a:ext uri="{FF2B5EF4-FFF2-40B4-BE49-F238E27FC236}">
                        <a16:creationId xmlns:a16="http://schemas.microsoft.com/office/drawing/2014/main" id="{0AB8C672-7589-4662-9568-C9026C70150B}"/>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8" name="Freeform 1686">
                    <a:extLst>
                      <a:ext uri="{FF2B5EF4-FFF2-40B4-BE49-F238E27FC236}">
                        <a16:creationId xmlns:a16="http://schemas.microsoft.com/office/drawing/2014/main" id="{137E2898-2856-4E69-A9B8-E6A773010EB4}"/>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Freeform 1687">
                    <a:extLst>
                      <a:ext uri="{FF2B5EF4-FFF2-40B4-BE49-F238E27FC236}">
                        <a16:creationId xmlns:a16="http://schemas.microsoft.com/office/drawing/2014/main" id="{0B3AE3E3-E30E-48D8-955D-200133453EE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Freeform 1688">
                    <a:extLst>
                      <a:ext uri="{FF2B5EF4-FFF2-40B4-BE49-F238E27FC236}">
                        <a16:creationId xmlns:a16="http://schemas.microsoft.com/office/drawing/2014/main" id="{A03D8CE0-AC06-434A-B4F0-DD1CC2DB12D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Freeform 1689">
                    <a:extLst>
                      <a:ext uri="{FF2B5EF4-FFF2-40B4-BE49-F238E27FC236}">
                        <a16:creationId xmlns:a16="http://schemas.microsoft.com/office/drawing/2014/main" id="{A1FC801A-06A8-4A68-A010-ED5D9059BFFB}"/>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1690">
                    <a:extLst>
                      <a:ext uri="{FF2B5EF4-FFF2-40B4-BE49-F238E27FC236}">
                        <a16:creationId xmlns:a16="http://schemas.microsoft.com/office/drawing/2014/main" id="{940E5F70-E120-4DC4-A6BA-A6C5EBB76A3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1691">
                    <a:extLst>
                      <a:ext uri="{FF2B5EF4-FFF2-40B4-BE49-F238E27FC236}">
                        <a16:creationId xmlns:a16="http://schemas.microsoft.com/office/drawing/2014/main" id="{5801D90A-78A1-461A-8281-0DAC5E59FC39}"/>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4" name="Freeform 1692">
                    <a:extLst>
                      <a:ext uri="{FF2B5EF4-FFF2-40B4-BE49-F238E27FC236}">
                        <a16:creationId xmlns:a16="http://schemas.microsoft.com/office/drawing/2014/main" id="{8DEDFF0A-AA68-4F37-BF22-AC5D76E6203C}"/>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5" name="Freeform 1693">
                    <a:extLst>
                      <a:ext uri="{FF2B5EF4-FFF2-40B4-BE49-F238E27FC236}">
                        <a16:creationId xmlns:a16="http://schemas.microsoft.com/office/drawing/2014/main" id="{8A2D3678-EA8F-43D6-883B-78F9A6F214CF}"/>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6" name="Freeform 1694">
                    <a:extLst>
                      <a:ext uri="{FF2B5EF4-FFF2-40B4-BE49-F238E27FC236}">
                        <a16:creationId xmlns:a16="http://schemas.microsoft.com/office/drawing/2014/main" id="{00C644A8-0EAA-459D-A99A-0A8D02C4043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7" name="Freeform 1695">
                    <a:extLst>
                      <a:ext uri="{FF2B5EF4-FFF2-40B4-BE49-F238E27FC236}">
                        <a16:creationId xmlns:a16="http://schemas.microsoft.com/office/drawing/2014/main" id="{2D063084-7BD1-490F-9EFA-026B81E8E93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8" name="Freeform 1696">
                    <a:extLst>
                      <a:ext uri="{FF2B5EF4-FFF2-40B4-BE49-F238E27FC236}">
                        <a16:creationId xmlns:a16="http://schemas.microsoft.com/office/drawing/2014/main" id="{8AA07749-EDF2-4D1E-B769-62D70B52FF61}"/>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9" name="Freeform 1697">
                    <a:extLst>
                      <a:ext uri="{FF2B5EF4-FFF2-40B4-BE49-F238E27FC236}">
                        <a16:creationId xmlns:a16="http://schemas.microsoft.com/office/drawing/2014/main" id="{B8E4AEED-E90F-471B-80BD-F209EA7E695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79" name="Group 2378">
                <a:extLst>
                  <a:ext uri="{FF2B5EF4-FFF2-40B4-BE49-F238E27FC236}">
                    <a16:creationId xmlns:a16="http://schemas.microsoft.com/office/drawing/2014/main" id="{E969343E-FE02-4A98-A837-76C025B194A4}"/>
                  </a:ext>
                </a:extLst>
              </p:cNvPr>
              <p:cNvGrpSpPr/>
              <p:nvPr/>
            </p:nvGrpSpPr>
            <p:grpSpPr>
              <a:xfrm>
                <a:off x="10074842" y="2518176"/>
                <a:ext cx="1231250" cy="1313698"/>
                <a:chOff x="12023909" y="2412144"/>
                <a:chExt cx="1231250" cy="1313698"/>
              </a:xfrm>
            </p:grpSpPr>
            <p:sp>
              <p:nvSpPr>
                <p:cNvPr id="2438" name="Rectangle: Rounded Corners 2437">
                  <a:extLst>
                    <a:ext uri="{FF2B5EF4-FFF2-40B4-BE49-F238E27FC236}">
                      <a16:creationId xmlns:a16="http://schemas.microsoft.com/office/drawing/2014/main" id="{AF1D7B56-D8AF-48E0-B06C-43FADC544F4A}"/>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439" name="Group 2438">
                  <a:extLst>
                    <a:ext uri="{FF2B5EF4-FFF2-40B4-BE49-F238E27FC236}">
                      <a16:creationId xmlns:a16="http://schemas.microsoft.com/office/drawing/2014/main" id="{F3F64A8B-8607-4FB2-B715-FEFF086181DD}"/>
                    </a:ext>
                  </a:extLst>
                </p:cNvPr>
                <p:cNvGrpSpPr/>
                <p:nvPr/>
              </p:nvGrpSpPr>
              <p:grpSpPr>
                <a:xfrm>
                  <a:off x="12023909" y="2526190"/>
                  <a:ext cx="1231250" cy="1189484"/>
                  <a:chOff x="7839761" y="1053755"/>
                  <a:chExt cx="927651" cy="896184"/>
                </a:xfrm>
              </p:grpSpPr>
              <p:sp>
                <p:nvSpPr>
                  <p:cNvPr id="2440" name="TextBox 2439">
                    <a:extLst>
                      <a:ext uri="{FF2B5EF4-FFF2-40B4-BE49-F238E27FC236}">
                        <a16:creationId xmlns:a16="http://schemas.microsoft.com/office/drawing/2014/main" id="{3327D23B-27C1-421E-99D4-C1A996F7657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41" name="Group 2440">
                    <a:extLst>
                      <a:ext uri="{FF2B5EF4-FFF2-40B4-BE49-F238E27FC236}">
                        <a16:creationId xmlns:a16="http://schemas.microsoft.com/office/drawing/2014/main" id="{4B634D41-D14B-40C1-BB74-499871B2FC76}"/>
                      </a:ext>
                    </a:extLst>
                  </p:cNvPr>
                  <p:cNvGrpSpPr/>
                  <p:nvPr/>
                </p:nvGrpSpPr>
                <p:grpSpPr>
                  <a:xfrm>
                    <a:off x="7839761" y="1053755"/>
                    <a:ext cx="927651" cy="523122"/>
                    <a:chOff x="7839761" y="1053755"/>
                    <a:chExt cx="927651" cy="523122"/>
                  </a:xfrm>
                </p:grpSpPr>
                <p:sp>
                  <p:nvSpPr>
                    <p:cNvPr id="2442" name="Line 66">
                      <a:extLst>
                        <a:ext uri="{FF2B5EF4-FFF2-40B4-BE49-F238E27FC236}">
                          <a16:creationId xmlns:a16="http://schemas.microsoft.com/office/drawing/2014/main" id="{F5E51A6D-3E23-497F-960D-91F3100205FC}"/>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3" name="Line 67">
                      <a:extLst>
                        <a:ext uri="{FF2B5EF4-FFF2-40B4-BE49-F238E27FC236}">
                          <a16:creationId xmlns:a16="http://schemas.microsoft.com/office/drawing/2014/main" id="{9A1084EF-6AC6-46D1-ADB8-0959755A978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4" name="Line 74">
                      <a:extLst>
                        <a:ext uri="{FF2B5EF4-FFF2-40B4-BE49-F238E27FC236}">
                          <a16:creationId xmlns:a16="http://schemas.microsoft.com/office/drawing/2014/main" id="{E8DF8C03-69F7-47B6-B324-97B05FD1F52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5" name="Freeform 78">
                      <a:extLst>
                        <a:ext uri="{FF2B5EF4-FFF2-40B4-BE49-F238E27FC236}">
                          <a16:creationId xmlns:a16="http://schemas.microsoft.com/office/drawing/2014/main" id="{65C78AE3-8C32-4749-B291-0C436B3C6571}"/>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6" name="Freeform 80">
                      <a:extLst>
                        <a:ext uri="{FF2B5EF4-FFF2-40B4-BE49-F238E27FC236}">
                          <a16:creationId xmlns:a16="http://schemas.microsoft.com/office/drawing/2014/main" id="{290E3A86-DD1C-48B6-8F04-11482055EB9A}"/>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7" name="Freeform 1575">
                      <a:extLst>
                        <a:ext uri="{FF2B5EF4-FFF2-40B4-BE49-F238E27FC236}">
                          <a16:creationId xmlns:a16="http://schemas.microsoft.com/office/drawing/2014/main" id="{4D25363C-0392-40A4-8E92-E9105D07319B}"/>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8" name="Freeform 1576">
                      <a:extLst>
                        <a:ext uri="{FF2B5EF4-FFF2-40B4-BE49-F238E27FC236}">
                          <a16:creationId xmlns:a16="http://schemas.microsoft.com/office/drawing/2014/main" id="{372228A8-2FAD-46C2-967D-53DA75D225D6}"/>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9" name="Freeform 1577">
                      <a:extLst>
                        <a:ext uri="{FF2B5EF4-FFF2-40B4-BE49-F238E27FC236}">
                          <a16:creationId xmlns:a16="http://schemas.microsoft.com/office/drawing/2014/main" id="{9001955B-529A-4328-9727-B4E94AB0CCF4}"/>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0" name="Freeform 1578">
                      <a:extLst>
                        <a:ext uri="{FF2B5EF4-FFF2-40B4-BE49-F238E27FC236}">
                          <a16:creationId xmlns:a16="http://schemas.microsoft.com/office/drawing/2014/main" id="{367FED26-485B-44A7-AFB0-3D07A0991A44}"/>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1" name="Freeform 1579">
                      <a:extLst>
                        <a:ext uri="{FF2B5EF4-FFF2-40B4-BE49-F238E27FC236}">
                          <a16:creationId xmlns:a16="http://schemas.microsoft.com/office/drawing/2014/main" id="{79A14E87-7915-484B-8ECA-E9E33B3FCB7F}"/>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2" name="Freeform 1580">
                      <a:extLst>
                        <a:ext uri="{FF2B5EF4-FFF2-40B4-BE49-F238E27FC236}">
                          <a16:creationId xmlns:a16="http://schemas.microsoft.com/office/drawing/2014/main" id="{DF3D1265-054C-44D6-B385-F87F62B6D3E1}"/>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3" name="Freeform 1581">
                      <a:extLst>
                        <a:ext uri="{FF2B5EF4-FFF2-40B4-BE49-F238E27FC236}">
                          <a16:creationId xmlns:a16="http://schemas.microsoft.com/office/drawing/2014/main" id="{70EE5B1B-F9C2-4E19-9A49-1F8B6A40B9B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4" name="Freeform 1582">
                      <a:extLst>
                        <a:ext uri="{FF2B5EF4-FFF2-40B4-BE49-F238E27FC236}">
                          <a16:creationId xmlns:a16="http://schemas.microsoft.com/office/drawing/2014/main" id="{8EEEA3AD-BA02-474E-A2D4-4E79F4AB7E9F}"/>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5" name="Freeform 1583">
                      <a:extLst>
                        <a:ext uri="{FF2B5EF4-FFF2-40B4-BE49-F238E27FC236}">
                          <a16:creationId xmlns:a16="http://schemas.microsoft.com/office/drawing/2014/main" id="{C83DF9B3-EEB3-4B7A-ADB7-247B6F43CB5C}"/>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6" name="Freeform 1584">
                      <a:extLst>
                        <a:ext uri="{FF2B5EF4-FFF2-40B4-BE49-F238E27FC236}">
                          <a16:creationId xmlns:a16="http://schemas.microsoft.com/office/drawing/2014/main" id="{7DBFC115-239D-46BC-8476-CDF3CBC4F242}"/>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7" name="Freeform 1585">
                      <a:extLst>
                        <a:ext uri="{FF2B5EF4-FFF2-40B4-BE49-F238E27FC236}">
                          <a16:creationId xmlns:a16="http://schemas.microsoft.com/office/drawing/2014/main" id="{FBAAAA0E-0BD0-4052-87C1-C3DF25B1A12B}"/>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8" name="Freeform 1586">
                      <a:extLst>
                        <a:ext uri="{FF2B5EF4-FFF2-40B4-BE49-F238E27FC236}">
                          <a16:creationId xmlns:a16="http://schemas.microsoft.com/office/drawing/2014/main" id="{3933F2A8-7231-4F1B-9C7E-36B3799E9F4B}"/>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9" name="Freeform 1587">
                      <a:extLst>
                        <a:ext uri="{FF2B5EF4-FFF2-40B4-BE49-F238E27FC236}">
                          <a16:creationId xmlns:a16="http://schemas.microsoft.com/office/drawing/2014/main" id="{BAFB11BC-52C2-436A-9077-F649BD16CF75}"/>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0" name="Freeform 1588">
                      <a:extLst>
                        <a:ext uri="{FF2B5EF4-FFF2-40B4-BE49-F238E27FC236}">
                          <a16:creationId xmlns:a16="http://schemas.microsoft.com/office/drawing/2014/main" id="{EABE68F3-BCB1-4041-91B3-FBEA389EC54E}"/>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1" name="Rectangle 1589">
                      <a:extLst>
                        <a:ext uri="{FF2B5EF4-FFF2-40B4-BE49-F238E27FC236}">
                          <a16:creationId xmlns:a16="http://schemas.microsoft.com/office/drawing/2014/main" id="{6CB652D6-C859-453B-BE90-EC3CCE2F1199}"/>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2" name="Rectangle 1590">
                      <a:extLst>
                        <a:ext uri="{FF2B5EF4-FFF2-40B4-BE49-F238E27FC236}">
                          <a16:creationId xmlns:a16="http://schemas.microsoft.com/office/drawing/2014/main" id="{3F5C6005-5BF3-43EC-AAB3-B090C234307F}"/>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3" name="Freeform 1591">
                      <a:extLst>
                        <a:ext uri="{FF2B5EF4-FFF2-40B4-BE49-F238E27FC236}">
                          <a16:creationId xmlns:a16="http://schemas.microsoft.com/office/drawing/2014/main" id="{447DD01B-7F71-4ED5-BD98-28B7C8389FFD}"/>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4" name="Freeform 1592">
                      <a:extLst>
                        <a:ext uri="{FF2B5EF4-FFF2-40B4-BE49-F238E27FC236}">
                          <a16:creationId xmlns:a16="http://schemas.microsoft.com/office/drawing/2014/main" id="{91FF6244-B972-4656-8AF5-251EBC11F35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5" name="Freeform 1593">
                      <a:extLst>
                        <a:ext uri="{FF2B5EF4-FFF2-40B4-BE49-F238E27FC236}">
                          <a16:creationId xmlns:a16="http://schemas.microsoft.com/office/drawing/2014/main" id="{3D5419D9-F8A1-4D29-AC50-8AFB43383C42}"/>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6" name="Freeform 1594">
                      <a:extLst>
                        <a:ext uri="{FF2B5EF4-FFF2-40B4-BE49-F238E27FC236}">
                          <a16:creationId xmlns:a16="http://schemas.microsoft.com/office/drawing/2014/main" id="{405EEF72-27B4-4E31-BB01-550DAAE44DDD}"/>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7" name="Freeform 1595">
                      <a:extLst>
                        <a:ext uri="{FF2B5EF4-FFF2-40B4-BE49-F238E27FC236}">
                          <a16:creationId xmlns:a16="http://schemas.microsoft.com/office/drawing/2014/main" id="{368D6F56-D422-4CFA-AD1F-D235E7D84DC9}"/>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8" name="Freeform 1596">
                      <a:extLst>
                        <a:ext uri="{FF2B5EF4-FFF2-40B4-BE49-F238E27FC236}">
                          <a16:creationId xmlns:a16="http://schemas.microsoft.com/office/drawing/2014/main" id="{C735E8E0-ACEB-41EA-BBF4-5E69AC3B4B1E}"/>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9" name="Freeform 1672">
                      <a:extLst>
                        <a:ext uri="{FF2B5EF4-FFF2-40B4-BE49-F238E27FC236}">
                          <a16:creationId xmlns:a16="http://schemas.microsoft.com/office/drawing/2014/main" id="{025C8503-9480-42F8-88F9-3BDB42B929EB}"/>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0" name="Freeform 1673">
                      <a:extLst>
                        <a:ext uri="{FF2B5EF4-FFF2-40B4-BE49-F238E27FC236}">
                          <a16:creationId xmlns:a16="http://schemas.microsoft.com/office/drawing/2014/main" id="{B4AADBD9-1F84-49EA-969A-DBA7F4EBE787}"/>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1" name="Freeform 1674">
                      <a:extLst>
                        <a:ext uri="{FF2B5EF4-FFF2-40B4-BE49-F238E27FC236}">
                          <a16:creationId xmlns:a16="http://schemas.microsoft.com/office/drawing/2014/main" id="{0CDB8C3D-FF11-44B0-8D44-6F89F2923628}"/>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2" name="Freeform 1675">
                      <a:extLst>
                        <a:ext uri="{FF2B5EF4-FFF2-40B4-BE49-F238E27FC236}">
                          <a16:creationId xmlns:a16="http://schemas.microsoft.com/office/drawing/2014/main" id="{C6331B20-B547-44C9-A78B-4A58170187EE}"/>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3" name="Freeform 1676">
                      <a:extLst>
                        <a:ext uri="{FF2B5EF4-FFF2-40B4-BE49-F238E27FC236}">
                          <a16:creationId xmlns:a16="http://schemas.microsoft.com/office/drawing/2014/main" id="{C2EB9BEC-836E-4DA9-AB08-5FBD1CEAB4BE}"/>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4" name="Freeform 1677">
                      <a:extLst>
                        <a:ext uri="{FF2B5EF4-FFF2-40B4-BE49-F238E27FC236}">
                          <a16:creationId xmlns:a16="http://schemas.microsoft.com/office/drawing/2014/main" id="{147C919C-61E7-45F9-B412-FA216C18E83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5" name="Freeform 1678">
                      <a:extLst>
                        <a:ext uri="{FF2B5EF4-FFF2-40B4-BE49-F238E27FC236}">
                          <a16:creationId xmlns:a16="http://schemas.microsoft.com/office/drawing/2014/main" id="{822E146F-A8A0-40EE-A439-5F00E90CFD6C}"/>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6" name="Freeform 1679">
                      <a:extLst>
                        <a:ext uri="{FF2B5EF4-FFF2-40B4-BE49-F238E27FC236}">
                          <a16:creationId xmlns:a16="http://schemas.microsoft.com/office/drawing/2014/main" id="{C5FB7257-596D-4586-8FF2-6792E533A7E7}"/>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7" name="Freeform 1680">
                      <a:extLst>
                        <a:ext uri="{FF2B5EF4-FFF2-40B4-BE49-F238E27FC236}">
                          <a16:creationId xmlns:a16="http://schemas.microsoft.com/office/drawing/2014/main" id="{D3B8E644-AAF4-4A9D-9F52-D1BA042A38EA}"/>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8" name="Freeform 1681">
                      <a:extLst>
                        <a:ext uri="{FF2B5EF4-FFF2-40B4-BE49-F238E27FC236}">
                          <a16:creationId xmlns:a16="http://schemas.microsoft.com/office/drawing/2014/main" id="{2C94F140-481A-4267-B496-6DC7E874F8EB}"/>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9" name="Freeform 1682">
                      <a:extLst>
                        <a:ext uri="{FF2B5EF4-FFF2-40B4-BE49-F238E27FC236}">
                          <a16:creationId xmlns:a16="http://schemas.microsoft.com/office/drawing/2014/main" id="{7A1A22FB-94D1-4011-A1BD-7DBE818657A3}"/>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0" name="Freeform 1683">
                      <a:extLst>
                        <a:ext uri="{FF2B5EF4-FFF2-40B4-BE49-F238E27FC236}">
                          <a16:creationId xmlns:a16="http://schemas.microsoft.com/office/drawing/2014/main" id="{4D49E035-DD5F-4B62-A2FC-712AA0185418}"/>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1" name="Freeform 1684">
                      <a:extLst>
                        <a:ext uri="{FF2B5EF4-FFF2-40B4-BE49-F238E27FC236}">
                          <a16:creationId xmlns:a16="http://schemas.microsoft.com/office/drawing/2014/main" id="{361BA7F0-ADE8-45FD-BCBE-F73C2409B516}"/>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2" name="Freeform 1685">
                      <a:extLst>
                        <a:ext uri="{FF2B5EF4-FFF2-40B4-BE49-F238E27FC236}">
                          <a16:creationId xmlns:a16="http://schemas.microsoft.com/office/drawing/2014/main" id="{CE34B47B-7244-40D6-B58B-295046EBBF98}"/>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3" name="Freeform 1686">
                      <a:extLst>
                        <a:ext uri="{FF2B5EF4-FFF2-40B4-BE49-F238E27FC236}">
                          <a16:creationId xmlns:a16="http://schemas.microsoft.com/office/drawing/2014/main" id="{93797A41-D47B-498E-9B2D-5DCAA2B1ECC7}"/>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4" name="Freeform 1687">
                      <a:extLst>
                        <a:ext uri="{FF2B5EF4-FFF2-40B4-BE49-F238E27FC236}">
                          <a16:creationId xmlns:a16="http://schemas.microsoft.com/office/drawing/2014/main" id="{22EE044E-15F8-45C5-8DD4-884BD5AF7EF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5" name="Freeform 1688">
                      <a:extLst>
                        <a:ext uri="{FF2B5EF4-FFF2-40B4-BE49-F238E27FC236}">
                          <a16:creationId xmlns:a16="http://schemas.microsoft.com/office/drawing/2014/main" id="{9C1C1FB1-94F0-4DCF-85B2-7F28C74F39F7}"/>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6" name="Freeform 1689">
                      <a:extLst>
                        <a:ext uri="{FF2B5EF4-FFF2-40B4-BE49-F238E27FC236}">
                          <a16:creationId xmlns:a16="http://schemas.microsoft.com/office/drawing/2014/main" id="{44B2BC52-481D-4BC2-AA13-688AEB818B3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7" name="Freeform 1690">
                      <a:extLst>
                        <a:ext uri="{FF2B5EF4-FFF2-40B4-BE49-F238E27FC236}">
                          <a16:creationId xmlns:a16="http://schemas.microsoft.com/office/drawing/2014/main" id="{7373923F-BB79-40E9-8FD6-FAF3462007B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8" name="Freeform 1691">
                      <a:extLst>
                        <a:ext uri="{FF2B5EF4-FFF2-40B4-BE49-F238E27FC236}">
                          <a16:creationId xmlns:a16="http://schemas.microsoft.com/office/drawing/2014/main" id="{1FA89372-8393-49B4-A4B7-F0EE8583833E}"/>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9" name="Freeform 1692">
                      <a:extLst>
                        <a:ext uri="{FF2B5EF4-FFF2-40B4-BE49-F238E27FC236}">
                          <a16:creationId xmlns:a16="http://schemas.microsoft.com/office/drawing/2014/main" id="{E2FE1CC5-EDA9-466F-9657-697E2989079F}"/>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0" name="Freeform 1693">
                      <a:extLst>
                        <a:ext uri="{FF2B5EF4-FFF2-40B4-BE49-F238E27FC236}">
                          <a16:creationId xmlns:a16="http://schemas.microsoft.com/office/drawing/2014/main" id="{1D8E0D90-624F-4B91-A019-E567EE3164FB}"/>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1" name="Freeform 1694">
                      <a:extLst>
                        <a:ext uri="{FF2B5EF4-FFF2-40B4-BE49-F238E27FC236}">
                          <a16:creationId xmlns:a16="http://schemas.microsoft.com/office/drawing/2014/main" id="{44691AC3-40FE-4CEA-8FD1-8E075B57347C}"/>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2" name="Freeform 1695">
                      <a:extLst>
                        <a:ext uri="{FF2B5EF4-FFF2-40B4-BE49-F238E27FC236}">
                          <a16:creationId xmlns:a16="http://schemas.microsoft.com/office/drawing/2014/main" id="{25E8A13D-101E-4201-BEFC-465EF69CF386}"/>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3" name="Freeform 1696">
                      <a:extLst>
                        <a:ext uri="{FF2B5EF4-FFF2-40B4-BE49-F238E27FC236}">
                          <a16:creationId xmlns:a16="http://schemas.microsoft.com/office/drawing/2014/main" id="{0B80BB4C-1B57-4208-840C-A999CDC93970}"/>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4" name="Freeform 1697">
                      <a:extLst>
                        <a:ext uri="{FF2B5EF4-FFF2-40B4-BE49-F238E27FC236}">
                          <a16:creationId xmlns:a16="http://schemas.microsoft.com/office/drawing/2014/main" id="{ACD61306-296C-4AB1-8A52-42D96A2BB5E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80" name="Group 2379">
                <a:extLst>
                  <a:ext uri="{FF2B5EF4-FFF2-40B4-BE49-F238E27FC236}">
                    <a16:creationId xmlns:a16="http://schemas.microsoft.com/office/drawing/2014/main" id="{FFC3E585-1D13-4787-9027-5919714AB77F}"/>
                  </a:ext>
                </a:extLst>
              </p:cNvPr>
              <p:cNvGrpSpPr/>
              <p:nvPr/>
            </p:nvGrpSpPr>
            <p:grpSpPr>
              <a:xfrm>
                <a:off x="10254370" y="3053480"/>
                <a:ext cx="1231250" cy="1313698"/>
                <a:chOff x="12023909" y="2412144"/>
                <a:chExt cx="1231250" cy="1313698"/>
              </a:xfrm>
            </p:grpSpPr>
            <p:sp>
              <p:nvSpPr>
                <p:cNvPr id="2381" name="Rectangle: Rounded Corners 2380">
                  <a:extLst>
                    <a:ext uri="{FF2B5EF4-FFF2-40B4-BE49-F238E27FC236}">
                      <a16:creationId xmlns:a16="http://schemas.microsoft.com/office/drawing/2014/main" id="{05A5F541-CE7B-43F6-A3F4-9FCF0AA52083}"/>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382" name="Group 2381">
                  <a:extLst>
                    <a:ext uri="{FF2B5EF4-FFF2-40B4-BE49-F238E27FC236}">
                      <a16:creationId xmlns:a16="http://schemas.microsoft.com/office/drawing/2014/main" id="{7A52E961-1A67-4779-9FDF-90FF0A6DD9C6}"/>
                    </a:ext>
                  </a:extLst>
                </p:cNvPr>
                <p:cNvGrpSpPr/>
                <p:nvPr/>
              </p:nvGrpSpPr>
              <p:grpSpPr>
                <a:xfrm>
                  <a:off x="12023909" y="2526190"/>
                  <a:ext cx="1231250" cy="1189484"/>
                  <a:chOff x="7839761" y="1053755"/>
                  <a:chExt cx="927651" cy="896184"/>
                </a:xfrm>
              </p:grpSpPr>
              <p:sp>
                <p:nvSpPr>
                  <p:cNvPr id="2383" name="TextBox 2382">
                    <a:extLst>
                      <a:ext uri="{FF2B5EF4-FFF2-40B4-BE49-F238E27FC236}">
                        <a16:creationId xmlns:a16="http://schemas.microsoft.com/office/drawing/2014/main" id="{10475F5B-D473-4244-814D-777D208FC63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384" name="Group 2383">
                    <a:extLst>
                      <a:ext uri="{FF2B5EF4-FFF2-40B4-BE49-F238E27FC236}">
                        <a16:creationId xmlns:a16="http://schemas.microsoft.com/office/drawing/2014/main" id="{D85A5810-A0B7-4727-ADE1-D432A8FD09BF}"/>
                      </a:ext>
                    </a:extLst>
                  </p:cNvPr>
                  <p:cNvGrpSpPr/>
                  <p:nvPr/>
                </p:nvGrpSpPr>
                <p:grpSpPr>
                  <a:xfrm>
                    <a:off x="7839761" y="1053755"/>
                    <a:ext cx="927651" cy="523122"/>
                    <a:chOff x="7839761" y="1053755"/>
                    <a:chExt cx="927651" cy="523122"/>
                  </a:xfrm>
                </p:grpSpPr>
                <p:sp>
                  <p:nvSpPr>
                    <p:cNvPr id="2385" name="Line 66">
                      <a:extLst>
                        <a:ext uri="{FF2B5EF4-FFF2-40B4-BE49-F238E27FC236}">
                          <a16:creationId xmlns:a16="http://schemas.microsoft.com/office/drawing/2014/main" id="{4D5BDF05-8AB9-4D0C-9936-6E5221701357}"/>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6" name="Line 67">
                      <a:extLst>
                        <a:ext uri="{FF2B5EF4-FFF2-40B4-BE49-F238E27FC236}">
                          <a16:creationId xmlns:a16="http://schemas.microsoft.com/office/drawing/2014/main" id="{EEE70E7D-E88D-4730-B591-9151AAF6AEFC}"/>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7" name="Line 74">
                      <a:extLst>
                        <a:ext uri="{FF2B5EF4-FFF2-40B4-BE49-F238E27FC236}">
                          <a16:creationId xmlns:a16="http://schemas.microsoft.com/office/drawing/2014/main" id="{AF24F0B3-60B5-4555-994D-83D496662726}"/>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78">
                      <a:extLst>
                        <a:ext uri="{FF2B5EF4-FFF2-40B4-BE49-F238E27FC236}">
                          <a16:creationId xmlns:a16="http://schemas.microsoft.com/office/drawing/2014/main" id="{48DE2164-D559-4B14-BD4D-4E4F2C15B217}"/>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Freeform 80">
                      <a:extLst>
                        <a:ext uri="{FF2B5EF4-FFF2-40B4-BE49-F238E27FC236}">
                          <a16:creationId xmlns:a16="http://schemas.microsoft.com/office/drawing/2014/main" id="{6E57422F-86DC-4AE2-90E2-5FE1DD5FF2D7}"/>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1575">
                      <a:extLst>
                        <a:ext uri="{FF2B5EF4-FFF2-40B4-BE49-F238E27FC236}">
                          <a16:creationId xmlns:a16="http://schemas.microsoft.com/office/drawing/2014/main" id="{3247854F-01BC-44F5-9741-9C1E250D2657}"/>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1576">
                      <a:extLst>
                        <a:ext uri="{FF2B5EF4-FFF2-40B4-BE49-F238E27FC236}">
                          <a16:creationId xmlns:a16="http://schemas.microsoft.com/office/drawing/2014/main" id="{59D4CB40-2F18-4509-8B19-A6F5998A7153}"/>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1577">
                      <a:extLst>
                        <a:ext uri="{FF2B5EF4-FFF2-40B4-BE49-F238E27FC236}">
                          <a16:creationId xmlns:a16="http://schemas.microsoft.com/office/drawing/2014/main" id="{8875CFCC-F6A3-488A-B4FC-E5665A339A6D}"/>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3" name="Freeform 1578">
                      <a:extLst>
                        <a:ext uri="{FF2B5EF4-FFF2-40B4-BE49-F238E27FC236}">
                          <a16:creationId xmlns:a16="http://schemas.microsoft.com/office/drawing/2014/main" id="{2A8A8D95-C870-432C-A5E6-BB7355198482}"/>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4" name="Freeform 1579">
                      <a:extLst>
                        <a:ext uri="{FF2B5EF4-FFF2-40B4-BE49-F238E27FC236}">
                          <a16:creationId xmlns:a16="http://schemas.microsoft.com/office/drawing/2014/main" id="{E7B8E060-68B2-4080-B658-6BE76D84DEA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Freeform 1580">
                      <a:extLst>
                        <a:ext uri="{FF2B5EF4-FFF2-40B4-BE49-F238E27FC236}">
                          <a16:creationId xmlns:a16="http://schemas.microsoft.com/office/drawing/2014/main" id="{007187D5-1B56-4D50-AF29-45393CFBBFC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6" name="Freeform 1581">
                      <a:extLst>
                        <a:ext uri="{FF2B5EF4-FFF2-40B4-BE49-F238E27FC236}">
                          <a16:creationId xmlns:a16="http://schemas.microsoft.com/office/drawing/2014/main" id="{87FC41A0-BBC5-4952-9B8F-223A5CD10F74}"/>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Freeform 1582">
                      <a:extLst>
                        <a:ext uri="{FF2B5EF4-FFF2-40B4-BE49-F238E27FC236}">
                          <a16:creationId xmlns:a16="http://schemas.microsoft.com/office/drawing/2014/main" id="{62E19466-3A2D-4D15-AD75-B8EF5D94F40A}"/>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8" name="Freeform 1583">
                      <a:extLst>
                        <a:ext uri="{FF2B5EF4-FFF2-40B4-BE49-F238E27FC236}">
                          <a16:creationId xmlns:a16="http://schemas.microsoft.com/office/drawing/2014/main" id="{543017A5-5BB1-4C0A-BC6A-89ADE55B90D4}"/>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9" name="Freeform 1584">
                      <a:extLst>
                        <a:ext uri="{FF2B5EF4-FFF2-40B4-BE49-F238E27FC236}">
                          <a16:creationId xmlns:a16="http://schemas.microsoft.com/office/drawing/2014/main" id="{0B5A2709-EAB6-42C2-AC81-A75ACE2D6290}"/>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0" name="Freeform 1585">
                      <a:extLst>
                        <a:ext uri="{FF2B5EF4-FFF2-40B4-BE49-F238E27FC236}">
                          <a16:creationId xmlns:a16="http://schemas.microsoft.com/office/drawing/2014/main" id="{EFA2B0B4-1714-4B51-A790-3E14DE418220}"/>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1" name="Freeform 1586">
                      <a:extLst>
                        <a:ext uri="{FF2B5EF4-FFF2-40B4-BE49-F238E27FC236}">
                          <a16:creationId xmlns:a16="http://schemas.microsoft.com/office/drawing/2014/main" id="{37A02652-D95B-4A32-A8FF-A18666DB6B2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2" name="Freeform 1587">
                      <a:extLst>
                        <a:ext uri="{FF2B5EF4-FFF2-40B4-BE49-F238E27FC236}">
                          <a16:creationId xmlns:a16="http://schemas.microsoft.com/office/drawing/2014/main" id="{D674FEAD-2C3F-4CD9-9A09-46DAB1EB91B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1588">
                      <a:extLst>
                        <a:ext uri="{FF2B5EF4-FFF2-40B4-BE49-F238E27FC236}">
                          <a16:creationId xmlns:a16="http://schemas.microsoft.com/office/drawing/2014/main" id="{161E3166-7BAB-4F0B-8039-A1325AA6F3D1}"/>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4" name="Rectangle 1589">
                      <a:extLst>
                        <a:ext uri="{FF2B5EF4-FFF2-40B4-BE49-F238E27FC236}">
                          <a16:creationId xmlns:a16="http://schemas.microsoft.com/office/drawing/2014/main" id="{CA7A642B-23AF-4FB6-8A19-446BB3179BAF}"/>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5" name="Rectangle 1590">
                      <a:extLst>
                        <a:ext uri="{FF2B5EF4-FFF2-40B4-BE49-F238E27FC236}">
                          <a16:creationId xmlns:a16="http://schemas.microsoft.com/office/drawing/2014/main" id="{26E6A0EA-4C1A-42AE-A015-0565599540B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6" name="Freeform 1591">
                      <a:extLst>
                        <a:ext uri="{FF2B5EF4-FFF2-40B4-BE49-F238E27FC236}">
                          <a16:creationId xmlns:a16="http://schemas.microsoft.com/office/drawing/2014/main" id="{D7C31A1F-7DEE-49CD-90BF-F6D3973DD215}"/>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7" name="Freeform 1592">
                      <a:extLst>
                        <a:ext uri="{FF2B5EF4-FFF2-40B4-BE49-F238E27FC236}">
                          <a16:creationId xmlns:a16="http://schemas.microsoft.com/office/drawing/2014/main" id="{6E89F0EB-FB54-4C2D-8FF3-75AA8BFF110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8" name="Freeform 1593">
                      <a:extLst>
                        <a:ext uri="{FF2B5EF4-FFF2-40B4-BE49-F238E27FC236}">
                          <a16:creationId xmlns:a16="http://schemas.microsoft.com/office/drawing/2014/main" id="{46B295E8-BDEB-4C2D-9527-00B194A9421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9" name="Freeform 1594">
                      <a:extLst>
                        <a:ext uri="{FF2B5EF4-FFF2-40B4-BE49-F238E27FC236}">
                          <a16:creationId xmlns:a16="http://schemas.microsoft.com/office/drawing/2014/main" id="{99A978CF-70B6-41A9-B7D6-D9DCFAE69B8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0" name="Freeform 1595">
                      <a:extLst>
                        <a:ext uri="{FF2B5EF4-FFF2-40B4-BE49-F238E27FC236}">
                          <a16:creationId xmlns:a16="http://schemas.microsoft.com/office/drawing/2014/main" id="{95DF9872-F96F-4DEE-8E9E-99167FFE230D}"/>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Freeform 1596">
                      <a:extLst>
                        <a:ext uri="{FF2B5EF4-FFF2-40B4-BE49-F238E27FC236}">
                          <a16:creationId xmlns:a16="http://schemas.microsoft.com/office/drawing/2014/main" id="{F974AF27-C210-4DEE-B2B8-04ED139DB68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1672">
                      <a:extLst>
                        <a:ext uri="{FF2B5EF4-FFF2-40B4-BE49-F238E27FC236}">
                          <a16:creationId xmlns:a16="http://schemas.microsoft.com/office/drawing/2014/main" id="{21FE80A1-55FF-4F03-B5E4-5C2FDCAFCCD9}"/>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Freeform 1673">
                      <a:extLst>
                        <a:ext uri="{FF2B5EF4-FFF2-40B4-BE49-F238E27FC236}">
                          <a16:creationId xmlns:a16="http://schemas.microsoft.com/office/drawing/2014/main" id="{8466F4B9-1DF6-4CDA-819A-0625023BCE22}"/>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1674">
                      <a:extLst>
                        <a:ext uri="{FF2B5EF4-FFF2-40B4-BE49-F238E27FC236}">
                          <a16:creationId xmlns:a16="http://schemas.microsoft.com/office/drawing/2014/main" id="{13DC24B5-1D95-482D-9F59-EDCA018AEF5B}"/>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Freeform 1675">
                      <a:extLst>
                        <a:ext uri="{FF2B5EF4-FFF2-40B4-BE49-F238E27FC236}">
                          <a16:creationId xmlns:a16="http://schemas.microsoft.com/office/drawing/2014/main" id="{1B1C6715-3E36-4764-B8C7-A710A0DBB42A}"/>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6" name="Freeform 1676">
                      <a:extLst>
                        <a:ext uri="{FF2B5EF4-FFF2-40B4-BE49-F238E27FC236}">
                          <a16:creationId xmlns:a16="http://schemas.microsoft.com/office/drawing/2014/main" id="{164C8603-4592-4205-A845-F3CFBCE350FB}"/>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7" name="Freeform 1677">
                      <a:extLst>
                        <a:ext uri="{FF2B5EF4-FFF2-40B4-BE49-F238E27FC236}">
                          <a16:creationId xmlns:a16="http://schemas.microsoft.com/office/drawing/2014/main" id="{6294573F-4EAA-4EFF-98AB-D8C3F866A52E}"/>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Freeform 1678">
                      <a:extLst>
                        <a:ext uri="{FF2B5EF4-FFF2-40B4-BE49-F238E27FC236}">
                          <a16:creationId xmlns:a16="http://schemas.microsoft.com/office/drawing/2014/main" id="{85F4228C-E266-458E-9740-4874A0A936A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Freeform 1679">
                      <a:extLst>
                        <a:ext uri="{FF2B5EF4-FFF2-40B4-BE49-F238E27FC236}">
                          <a16:creationId xmlns:a16="http://schemas.microsoft.com/office/drawing/2014/main" id="{7ED44B2C-862F-40EA-9169-FA7B5F33977F}"/>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Freeform 1680">
                      <a:extLst>
                        <a:ext uri="{FF2B5EF4-FFF2-40B4-BE49-F238E27FC236}">
                          <a16:creationId xmlns:a16="http://schemas.microsoft.com/office/drawing/2014/main" id="{762AD06F-CC23-42EF-AF53-804137CB20EB}"/>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1681">
                      <a:extLst>
                        <a:ext uri="{FF2B5EF4-FFF2-40B4-BE49-F238E27FC236}">
                          <a16:creationId xmlns:a16="http://schemas.microsoft.com/office/drawing/2014/main" id="{D9DC93CD-A908-459D-8179-11A71A2EA65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1682">
                      <a:extLst>
                        <a:ext uri="{FF2B5EF4-FFF2-40B4-BE49-F238E27FC236}">
                          <a16:creationId xmlns:a16="http://schemas.microsoft.com/office/drawing/2014/main" id="{D8FD2FBD-1657-4AC2-B08B-258028AB1E9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3" name="Freeform 1683">
                      <a:extLst>
                        <a:ext uri="{FF2B5EF4-FFF2-40B4-BE49-F238E27FC236}">
                          <a16:creationId xmlns:a16="http://schemas.microsoft.com/office/drawing/2014/main" id="{4142D5DB-DF42-488D-8EAA-349EE691496B}"/>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4" name="Freeform 1684">
                      <a:extLst>
                        <a:ext uri="{FF2B5EF4-FFF2-40B4-BE49-F238E27FC236}">
                          <a16:creationId xmlns:a16="http://schemas.microsoft.com/office/drawing/2014/main" id="{1D498592-86F6-41D7-B042-50B49D34B67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5" name="Freeform 1685">
                      <a:extLst>
                        <a:ext uri="{FF2B5EF4-FFF2-40B4-BE49-F238E27FC236}">
                          <a16:creationId xmlns:a16="http://schemas.microsoft.com/office/drawing/2014/main" id="{84E9F0CF-8D9F-4C14-A045-10C218E42B8A}"/>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6" name="Freeform 1686">
                      <a:extLst>
                        <a:ext uri="{FF2B5EF4-FFF2-40B4-BE49-F238E27FC236}">
                          <a16:creationId xmlns:a16="http://schemas.microsoft.com/office/drawing/2014/main" id="{AE38F2F4-D701-4A2A-81DF-A06076D4FFE8}"/>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7" name="Freeform 1687">
                      <a:extLst>
                        <a:ext uri="{FF2B5EF4-FFF2-40B4-BE49-F238E27FC236}">
                          <a16:creationId xmlns:a16="http://schemas.microsoft.com/office/drawing/2014/main" id="{461E1B31-489A-4C36-AF4C-EA35FD50D573}"/>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8" name="Freeform 1688">
                      <a:extLst>
                        <a:ext uri="{FF2B5EF4-FFF2-40B4-BE49-F238E27FC236}">
                          <a16:creationId xmlns:a16="http://schemas.microsoft.com/office/drawing/2014/main" id="{7734DE4E-535C-478A-9A26-DE04B89EEF2C}"/>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9" name="Freeform 1689">
                      <a:extLst>
                        <a:ext uri="{FF2B5EF4-FFF2-40B4-BE49-F238E27FC236}">
                          <a16:creationId xmlns:a16="http://schemas.microsoft.com/office/drawing/2014/main" id="{FECB615F-B614-4B52-B6DA-8652986BB48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0" name="Freeform 1690">
                      <a:extLst>
                        <a:ext uri="{FF2B5EF4-FFF2-40B4-BE49-F238E27FC236}">
                          <a16:creationId xmlns:a16="http://schemas.microsoft.com/office/drawing/2014/main" id="{C564DE4A-EC4B-4D6A-9F7B-DF417087A253}"/>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1" name="Freeform 1691">
                      <a:extLst>
                        <a:ext uri="{FF2B5EF4-FFF2-40B4-BE49-F238E27FC236}">
                          <a16:creationId xmlns:a16="http://schemas.microsoft.com/office/drawing/2014/main" id="{2B5035C6-4A58-4CBD-AB05-E0BACEC8105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2" name="Freeform 1692">
                      <a:extLst>
                        <a:ext uri="{FF2B5EF4-FFF2-40B4-BE49-F238E27FC236}">
                          <a16:creationId xmlns:a16="http://schemas.microsoft.com/office/drawing/2014/main" id="{5505ABC9-578A-4ED0-AD77-0B3177D4301E}"/>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3" name="Freeform 1693">
                      <a:extLst>
                        <a:ext uri="{FF2B5EF4-FFF2-40B4-BE49-F238E27FC236}">
                          <a16:creationId xmlns:a16="http://schemas.microsoft.com/office/drawing/2014/main" id="{86181943-C0A9-440A-B2D8-02AA9243763D}"/>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4" name="Freeform 1694">
                      <a:extLst>
                        <a:ext uri="{FF2B5EF4-FFF2-40B4-BE49-F238E27FC236}">
                          <a16:creationId xmlns:a16="http://schemas.microsoft.com/office/drawing/2014/main" id="{0F02ACD1-10A8-4BEF-A44F-73B915E2B6BF}"/>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5" name="Freeform 1695">
                      <a:extLst>
                        <a:ext uri="{FF2B5EF4-FFF2-40B4-BE49-F238E27FC236}">
                          <a16:creationId xmlns:a16="http://schemas.microsoft.com/office/drawing/2014/main" id="{C3511B33-6FC4-4AC0-8C93-74E6F1E10503}"/>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6" name="Freeform 1696">
                      <a:extLst>
                        <a:ext uri="{FF2B5EF4-FFF2-40B4-BE49-F238E27FC236}">
                          <a16:creationId xmlns:a16="http://schemas.microsoft.com/office/drawing/2014/main" id="{D56A2DC5-6B64-44F4-B662-82FF8A3E271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7" name="Freeform 1697">
                      <a:extLst>
                        <a:ext uri="{FF2B5EF4-FFF2-40B4-BE49-F238E27FC236}">
                          <a16:creationId xmlns:a16="http://schemas.microsoft.com/office/drawing/2014/main" id="{50CAF6CB-134D-40C6-BC8B-8F2A7A229B88}"/>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377" name="Rectangle 2376">
              <a:extLst>
                <a:ext uri="{FF2B5EF4-FFF2-40B4-BE49-F238E27FC236}">
                  <a16:creationId xmlns:a16="http://schemas.microsoft.com/office/drawing/2014/main" id="{99E5C539-D3F8-4075-B6A5-08257CF9C719}"/>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2550" name="Group 2549">
            <a:extLst>
              <a:ext uri="{FF2B5EF4-FFF2-40B4-BE49-F238E27FC236}">
                <a16:creationId xmlns:a16="http://schemas.microsoft.com/office/drawing/2014/main" id="{3E0AE51B-14D6-48BC-BAF6-C84022DF070C}"/>
              </a:ext>
            </a:extLst>
          </p:cNvPr>
          <p:cNvGrpSpPr/>
          <p:nvPr/>
        </p:nvGrpSpPr>
        <p:grpSpPr>
          <a:xfrm>
            <a:off x="3480033" y="3477736"/>
            <a:ext cx="4581486" cy="2892141"/>
            <a:chOff x="3480940" y="3616012"/>
            <a:chExt cx="4582679" cy="2892894"/>
          </a:xfrm>
        </p:grpSpPr>
        <p:grpSp>
          <p:nvGrpSpPr>
            <p:cNvPr id="2551" name="Group 2550">
              <a:extLst>
                <a:ext uri="{FF2B5EF4-FFF2-40B4-BE49-F238E27FC236}">
                  <a16:creationId xmlns:a16="http://schemas.microsoft.com/office/drawing/2014/main" id="{D799E28B-E475-4C47-90DA-CF772C21780F}"/>
                </a:ext>
              </a:extLst>
            </p:cNvPr>
            <p:cNvGrpSpPr/>
            <p:nvPr/>
          </p:nvGrpSpPr>
          <p:grpSpPr>
            <a:xfrm>
              <a:off x="3480940" y="4590574"/>
              <a:ext cx="2021522" cy="1918332"/>
              <a:chOff x="3480940" y="4590574"/>
              <a:chExt cx="2021522" cy="1918332"/>
            </a:xfrm>
          </p:grpSpPr>
          <p:grpSp>
            <p:nvGrpSpPr>
              <p:cNvPr id="2562" name="Group 2561">
                <a:extLst>
                  <a:ext uri="{FF2B5EF4-FFF2-40B4-BE49-F238E27FC236}">
                    <a16:creationId xmlns:a16="http://schemas.microsoft.com/office/drawing/2014/main" id="{9C0AB398-29FB-436D-B480-1E17D6E49F46}"/>
                  </a:ext>
                </a:extLst>
              </p:cNvPr>
              <p:cNvGrpSpPr/>
              <p:nvPr/>
            </p:nvGrpSpPr>
            <p:grpSpPr>
              <a:xfrm>
                <a:off x="3480940" y="4590574"/>
                <a:ext cx="2021522" cy="1918332"/>
                <a:chOff x="3489383" y="4562005"/>
                <a:chExt cx="2026683" cy="1923229"/>
              </a:xfrm>
            </p:grpSpPr>
            <p:sp>
              <p:nvSpPr>
                <p:cNvPr id="2566" name="Rectangle 2565">
                  <a:extLst>
                    <a:ext uri="{FF2B5EF4-FFF2-40B4-BE49-F238E27FC236}">
                      <a16:creationId xmlns:a16="http://schemas.microsoft.com/office/drawing/2014/main" id="{19DC4D5A-2DE1-463A-A079-CC6CE96D890F}"/>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567" name="Picture 2566">
                  <a:extLst>
                    <a:ext uri="{FF2B5EF4-FFF2-40B4-BE49-F238E27FC236}">
                      <a16:creationId xmlns:a16="http://schemas.microsoft.com/office/drawing/2014/main" id="{833C0D28-A695-4844-A456-4D19FF1DFB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568" name="Rectangle 2567">
                  <a:extLst>
                    <a:ext uri="{FF2B5EF4-FFF2-40B4-BE49-F238E27FC236}">
                      <a16:creationId xmlns:a16="http://schemas.microsoft.com/office/drawing/2014/main" id="{E9152862-B2BB-4998-8C8E-5DF1F6870987}"/>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569" name="Group 2568">
                  <a:extLst>
                    <a:ext uri="{FF2B5EF4-FFF2-40B4-BE49-F238E27FC236}">
                      <a16:creationId xmlns:a16="http://schemas.microsoft.com/office/drawing/2014/main" id="{9F2740F3-1EED-444A-B76A-1B59C458AB57}"/>
                    </a:ext>
                  </a:extLst>
                </p:cNvPr>
                <p:cNvGrpSpPr/>
                <p:nvPr/>
              </p:nvGrpSpPr>
              <p:grpSpPr>
                <a:xfrm>
                  <a:off x="4439956" y="4676083"/>
                  <a:ext cx="1030675" cy="846880"/>
                  <a:chOff x="10800033" y="2297897"/>
                  <a:chExt cx="1600558" cy="1315140"/>
                </a:xfrm>
              </p:grpSpPr>
              <p:grpSp>
                <p:nvGrpSpPr>
                  <p:cNvPr id="2570" name="Group 2569">
                    <a:extLst>
                      <a:ext uri="{FF2B5EF4-FFF2-40B4-BE49-F238E27FC236}">
                        <a16:creationId xmlns:a16="http://schemas.microsoft.com/office/drawing/2014/main" id="{F075F749-BE74-495A-A0E4-2FA1DFBC139D}"/>
                      </a:ext>
                    </a:extLst>
                  </p:cNvPr>
                  <p:cNvGrpSpPr>
                    <a:grpSpLocks/>
                  </p:cNvGrpSpPr>
                  <p:nvPr/>
                </p:nvGrpSpPr>
                <p:grpSpPr>
                  <a:xfrm>
                    <a:off x="10800033" y="2339037"/>
                    <a:ext cx="613092" cy="613092"/>
                    <a:chOff x="745985" y="4768134"/>
                    <a:chExt cx="368776" cy="368777"/>
                  </a:xfrm>
                </p:grpSpPr>
                <p:grpSp>
                  <p:nvGrpSpPr>
                    <p:cNvPr id="2634" name="Group 64">
                      <a:extLst>
                        <a:ext uri="{FF2B5EF4-FFF2-40B4-BE49-F238E27FC236}">
                          <a16:creationId xmlns:a16="http://schemas.microsoft.com/office/drawing/2014/main" id="{394FBB97-BB17-4076-BA7F-6E44C259DA31}"/>
                        </a:ext>
                      </a:extLst>
                    </p:cNvPr>
                    <p:cNvGrpSpPr>
                      <a:grpSpLocks noChangeAspect="1"/>
                    </p:cNvGrpSpPr>
                    <p:nvPr/>
                  </p:nvGrpSpPr>
                  <p:grpSpPr bwMode="auto">
                    <a:xfrm rot="8100000">
                      <a:off x="745985" y="4768134"/>
                      <a:ext cx="368776" cy="368777"/>
                      <a:chOff x="701" y="2170"/>
                      <a:chExt cx="587" cy="587"/>
                    </a:xfrm>
                  </p:grpSpPr>
                  <p:sp>
                    <p:nvSpPr>
                      <p:cNvPr id="2645" name="Oval 65">
                        <a:extLst>
                          <a:ext uri="{FF2B5EF4-FFF2-40B4-BE49-F238E27FC236}">
                            <a16:creationId xmlns:a16="http://schemas.microsoft.com/office/drawing/2014/main" id="{D99513BE-F489-472D-AD4C-35876DF37983}"/>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46" name="Line 66">
                        <a:extLst>
                          <a:ext uri="{FF2B5EF4-FFF2-40B4-BE49-F238E27FC236}">
                            <a16:creationId xmlns:a16="http://schemas.microsoft.com/office/drawing/2014/main" id="{A6362BC5-7C70-4C28-9301-F5F860A5ACD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Line 67">
                        <a:extLst>
                          <a:ext uri="{FF2B5EF4-FFF2-40B4-BE49-F238E27FC236}">
                            <a16:creationId xmlns:a16="http://schemas.microsoft.com/office/drawing/2014/main" id="{8BEBF1E1-7017-469E-B1FF-3766FB6F81F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Line 69">
                        <a:extLst>
                          <a:ext uri="{FF2B5EF4-FFF2-40B4-BE49-F238E27FC236}">
                            <a16:creationId xmlns:a16="http://schemas.microsoft.com/office/drawing/2014/main" id="{593E4B9B-67E2-4823-B463-BCBF04373F9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Line 74">
                        <a:extLst>
                          <a:ext uri="{FF2B5EF4-FFF2-40B4-BE49-F238E27FC236}">
                            <a16:creationId xmlns:a16="http://schemas.microsoft.com/office/drawing/2014/main" id="{CBE50248-C269-4141-AEDB-BF932F1D71E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78">
                        <a:extLst>
                          <a:ext uri="{FF2B5EF4-FFF2-40B4-BE49-F238E27FC236}">
                            <a16:creationId xmlns:a16="http://schemas.microsoft.com/office/drawing/2014/main" id="{F8AAD8A0-3AD4-4D1C-8596-F992645987A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80">
                        <a:extLst>
                          <a:ext uri="{FF2B5EF4-FFF2-40B4-BE49-F238E27FC236}">
                            <a16:creationId xmlns:a16="http://schemas.microsoft.com/office/drawing/2014/main" id="{B8C6B84D-C717-420F-BC0B-FDF51ABB1ED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35" name="Group 2634">
                      <a:extLst>
                        <a:ext uri="{FF2B5EF4-FFF2-40B4-BE49-F238E27FC236}">
                          <a16:creationId xmlns:a16="http://schemas.microsoft.com/office/drawing/2014/main" id="{A6FE112D-A35B-4672-A6BF-C91082FDA1D8}"/>
                        </a:ext>
                      </a:extLst>
                    </p:cNvPr>
                    <p:cNvGrpSpPr/>
                    <p:nvPr/>
                  </p:nvGrpSpPr>
                  <p:grpSpPr>
                    <a:xfrm>
                      <a:off x="837312" y="4814434"/>
                      <a:ext cx="136805" cy="278689"/>
                      <a:chOff x="2806700" y="2803319"/>
                      <a:chExt cx="433387" cy="882861"/>
                    </a:xfrm>
                  </p:grpSpPr>
                  <p:grpSp>
                    <p:nvGrpSpPr>
                      <p:cNvPr id="2636" name="Group 2635">
                        <a:extLst>
                          <a:ext uri="{FF2B5EF4-FFF2-40B4-BE49-F238E27FC236}">
                            <a16:creationId xmlns:a16="http://schemas.microsoft.com/office/drawing/2014/main" id="{7958D822-9A07-41A1-964F-F3A3741CC56E}"/>
                          </a:ext>
                        </a:extLst>
                      </p:cNvPr>
                      <p:cNvGrpSpPr>
                        <a:grpSpLocks noChangeAspect="1"/>
                      </p:cNvGrpSpPr>
                      <p:nvPr/>
                    </p:nvGrpSpPr>
                    <p:grpSpPr bwMode="auto">
                      <a:xfrm>
                        <a:off x="2806700" y="3043242"/>
                        <a:ext cx="433387" cy="642938"/>
                        <a:chOff x="1768" y="1917"/>
                        <a:chExt cx="273" cy="405"/>
                      </a:xfrm>
                    </p:grpSpPr>
                    <p:sp>
                      <p:nvSpPr>
                        <p:cNvPr id="2638" name="Freeform 52">
                          <a:extLst>
                            <a:ext uri="{FF2B5EF4-FFF2-40B4-BE49-F238E27FC236}">
                              <a16:creationId xmlns:a16="http://schemas.microsoft.com/office/drawing/2014/main" id="{FBC7DF40-042D-488A-AB36-6052EC556E96}"/>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39" name="Line 54">
                          <a:extLst>
                            <a:ext uri="{FF2B5EF4-FFF2-40B4-BE49-F238E27FC236}">
                              <a16:creationId xmlns:a16="http://schemas.microsoft.com/office/drawing/2014/main" id="{883F93AB-C3A3-4B5F-A1CF-456068BC767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Line 55">
                          <a:extLst>
                            <a:ext uri="{FF2B5EF4-FFF2-40B4-BE49-F238E27FC236}">
                              <a16:creationId xmlns:a16="http://schemas.microsoft.com/office/drawing/2014/main" id="{D87EFF51-6855-44CF-A79C-2DF4A98D1D78}"/>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56">
                          <a:extLst>
                            <a:ext uri="{FF2B5EF4-FFF2-40B4-BE49-F238E27FC236}">
                              <a16:creationId xmlns:a16="http://schemas.microsoft.com/office/drawing/2014/main" id="{D134498A-294A-4A10-B100-9F8D5A91E25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Line 57">
                          <a:extLst>
                            <a:ext uri="{FF2B5EF4-FFF2-40B4-BE49-F238E27FC236}">
                              <a16:creationId xmlns:a16="http://schemas.microsoft.com/office/drawing/2014/main" id="{6654C4FD-F40F-41F0-B8CE-017936FC13D9}"/>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58">
                          <a:extLst>
                            <a:ext uri="{FF2B5EF4-FFF2-40B4-BE49-F238E27FC236}">
                              <a16:creationId xmlns:a16="http://schemas.microsoft.com/office/drawing/2014/main" id="{19555386-5E67-4B2F-B94C-AFDC1B0461F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Rectangle 2643">
                          <a:extLst>
                            <a:ext uri="{FF2B5EF4-FFF2-40B4-BE49-F238E27FC236}">
                              <a16:creationId xmlns:a16="http://schemas.microsoft.com/office/drawing/2014/main" id="{EFBD8C20-5250-432C-AC66-0060310B0E5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37" name="Oval 2636">
                        <a:extLst>
                          <a:ext uri="{FF2B5EF4-FFF2-40B4-BE49-F238E27FC236}">
                            <a16:creationId xmlns:a16="http://schemas.microsoft.com/office/drawing/2014/main" id="{9A6CA460-C797-4F41-BE4D-49D8B5015723}"/>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71" name="Group 2570">
                    <a:extLst>
                      <a:ext uri="{FF2B5EF4-FFF2-40B4-BE49-F238E27FC236}">
                        <a16:creationId xmlns:a16="http://schemas.microsoft.com/office/drawing/2014/main" id="{5306A91F-CF42-4203-8ED0-4140C16B11AE}"/>
                      </a:ext>
                    </a:extLst>
                  </p:cNvPr>
                  <p:cNvGrpSpPr>
                    <a:grpSpLocks/>
                  </p:cNvGrpSpPr>
                  <p:nvPr/>
                </p:nvGrpSpPr>
                <p:grpSpPr>
                  <a:xfrm>
                    <a:off x="11166615" y="2825631"/>
                    <a:ext cx="787402" cy="787406"/>
                    <a:chOff x="1454941" y="4721722"/>
                    <a:chExt cx="473625" cy="473627"/>
                  </a:xfrm>
                </p:grpSpPr>
                <p:grpSp>
                  <p:nvGrpSpPr>
                    <p:cNvPr id="2595" name="Group 64">
                      <a:extLst>
                        <a:ext uri="{FF2B5EF4-FFF2-40B4-BE49-F238E27FC236}">
                          <a16:creationId xmlns:a16="http://schemas.microsoft.com/office/drawing/2014/main" id="{68666D46-D43D-46E1-909D-AF14B0BBDAA3}"/>
                        </a:ext>
                      </a:extLst>
                    </p:cNvPr>
                    <p:cNvGrpSpPr>
                      <a:grpSpLocks noChangeAspect="1"/>
                    </p:cNvGrpSpPr>
                    <p:nvPr/>
                  </p:nvGrpSpPr>
                  <p:grpSpPr bwMode="auto">
                    <a:xfrm rot="8100000">
                      <a:off x="1454941" y="4721722"/>
                      <a:ext cx="473625" cy="473627"/>
                      <a:chOff x="701" y="2170"/>
                      <a:chExt cx="587" cy="587"/>
                    </a:xfrm>
                  </p:grpSpPr>
                  <p:sp>
                    <p:nvSpPr>
                      <p:cNvPr id="2627" name="Oval 65">
                        <a:extLst>
                          <a:ext uri="{FF2B5EF4-FFF2-40B4-BE49-F238E27FC236}">
                            <a16:creationId xmlns:a16="http://schemas.microsoft.com/office/drawing/2014/main" id="{48017EDA-3C29-4CEA-BC0B-80A8BD0796C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8" name="Line 66">
                        <a:extLst>
                          <a:ext uri="{FF2B5EF4-FFF2-40B4-BE49-F238E27FC236}">
                            <a16:creationId xmlns:a16="http://schemas.microsoft.com/office/drawing/2014/main" id="{ECC64540-7134-4AED-B8DC-42AEAAC639A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9" name="Line 67">
                        <a:extLst>
                          <a:ext uri="{FF2B5EF4-FFF2-40B4-BE49-F238E27FC236}">
                            <a16:creationId xmlns:a16="http://schemas.microsoft.com/office/drawing/2014/main" id="{EBC0855D-C2AD-4CE4-A679-0D1CEE5DFE8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0" name="Line 69">
                        <a:extLst>
                          <a:ext uri="{FF2B5EF4-FFF2-40B4-BE49-F238E27FC236}">
                            <a16:creationId xmlns:a16="http://schemas.microsoft.com/office/drawing/2014/main" id="{7B34E0DF-7FC3-43DD-A1D6-182D7FDAC5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1" name="Line 74">
                        <a:extLst>
                          <a:ext uri="{FF2B5EF4-FFF2-40B4-BE49-F238E27FC236}">
                            <a16:creationId xmlns:a16="http://schemas.microsoft.com/office/drawing/2014/main" id="{770634F6-E1B0-440B-AFDC-6D0B459927B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2" name="Freeform 78">
                        <a:extLst>
                          <a:ext uri="{FF2B5EF4-FFF2-40B4-BE49-F238E27FC236}">
                            <a16:creationId xmlns:a16="http://schemas.microsoft.com/office/drawing/2014/main" id="{300F9431-A749-4C71-AD48-AD88F20713B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3" name="Freeform 80">
                        <a:extLst>
                          <a:ext uri="{FF2B5EF4-FFF2-40B4-BE49-F238E27FC236}">
                            <a16:creationId xmlns:a16="http://schemas.microsoft.com/office/drawing/2014/main" id="{9E0FD27F-6C1B-400F-9C1B-00F54ADC628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96" name="Group 2595">
                      <a:extLst>
                        <a:ext uri="{FF2B5EF4-FFF2-40B4-BE49-F238E27FC236}">
                          <a16:creationId xmlns:a16="http://schemas.microsoft.com/office/drawing/2014/main" id="{CE1C56D1-BF2E-456A-8742-E449CE5B6954}"/>
                        </a:ext>
                      </a:extLst>
                    </p:cNvPr>
                    <p:cNvGrpSpPr/>
                    <p:nvPr/>
                  </p:nvGrpSpPr>
                  <p:grpSpPr>
                    <a:xfrm>
                      <a:off x="1511214" y="4789508"/>
                      <a:ext cx="356509" cy="349884"/>
                      <a:chOff x="468738" y="2241878"/>
                      <a:chExt cx="1655483" cy="1624719"/>
                    </a:xfrm>
                  </p:grpSpPr>
                  <p:sp>
                    <p:nvSpPr>
                      <p:cNvPr id="2597" name="Freeform 5">
                        <a:extLst>
                          <a:ext uri="{FF2B5EF4-FFF2-40B4-BE49-F238E27FC236}">
                            <a16:creationId xmlns:a16="http://schemas.microsoft.com/office/drawing/2014/main" id="{079EC6CC-9435-45FB-99C1-4DA947F1C1D5}"/>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8" name="Freeform 6">
                        <a:extLst>
                          <a:ext uri="{FF2B5EF4-FFF2-40B4-BE49-F238E27FC236}">
                            <a16:creationId xmlns:a16="http://schemas.microsoft.com/office/drawing/2014/main" id="{67DED1AC-696F-4863-88E4-DC7BF1B7AFC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9" name="Line 7">
                        <a:extLst>
                          <a:ext uri="{FF2B5EF4-FFF2-40B4-BE49-F238E27FC236}">
                            <a16:creationId xmlns:a16="http://schemas.microsoft.com/office/drawing/2014/main" id="{96B13123-371D-44BC-BB70-7C4F8079D61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Freeform 8">
                        <a:extLst>
                          <a:ext uri="{FF2B5EF4-FFF2-40B4-BE49-F238E27FC236}">
                            <a16:creationId xmlns:a16="http://schemas.microsoft.com/office/drawing/2014/main" id="{B3A07210-1401-48E3-A8BF-B23886CB466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1" name="Line 9">
                        <a:extLst>
                          <a:ext uri="{FF2B5EF4-FFF2-40B4-BE49-F238E27FC236}">
                            <a16:creationId xmlns:a16="http://schemas.microsoft.com/office/drawing/2014/main" id="{4FEE55D0-43F0-43C7-8DAD-C5DD766DADCD}"/>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02" name="Group 2601">
                        <a:extLst>
                          <a:ext uri="{FF2B5EF4-FFF2-40B4-BE49-F238E27FC236}">
                            <a16:creationId xmlns:a16="http://schemas.microsoft.com/office/drawing/2014/main" id="{577664B5-37A8-493E-B365-0E0ACC7C6DA7}"/>
                          </a:ext>
                        </a:extLst>
                      </p:cNvPr>
                      <p:cNvGrpSpPr/>
                      <p:nvPr/>
                    </p:nvGrpSpPr>
                    <p:grpSpPr>
                      <a:xfrm>
                        <a:off x="1207113" y="2241878"/>
                        <a:ext cx="178734" cy="348678"/>
                        <a:chOff x="1207113" y="2241878"/>
                        <a:chExt cx="178734" cy="348678"/>
                      </a:xfrm>
                    </p:grpSpPr>
                    <p:sp>
                      <p:nvSpPr>
                        <p:cNvPr id="2625" name="Freeform 10">
                          <a:extLst>
                            <a:ext uri="{FF2B5EF4-FFF2-40B4-BE49-F238E27FC236}">
                              <a16:creationId xmlns:a16="http://schemas.microsoft.com/office/drawing/2014/main" id="{E9CB101F-2595-44CC-AD60-3A73F43F42F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Line 11">
                          <a:extLst>
                            <a:ext uri="{FF2B5EF4-FFF2-40B4-BE49-F238E27FC236}">
                              <a16:creationId xmlns:a16="http://schemas.microsoft.com/office/drawing/2014/main" id="{23C1F688-8311-46B8-8B85-E7E7D6E8483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603" name="Freeform 12">
                        <a:extLst>
                          <a:ext uri="{FF2B5EF4-FFF2-40B4-BE49-F238E27FC236}">
                            <a16:creationId xmlns:a16="http://schemas.microsoft.com/office/drawing/2014/main" id="{F1354873-BD82-41AF-80DC-D721DDAC4F8A}"/>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4" name="Line 13">
                        <a:extLst>
                          <a:ext uri="{FF2B5EF4-FFF2-40B4-BE49-F238E27FC236}">
                            <a16:creationId xmlns:a16="http://schemas.microsoft.com/office/drawing/2014/main" id="{4A9B55B8-5062-4C04-BDB6-BD30FA45C77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Freeform 14">
                        <a:extLst>
                          <a:ext uri="{FF2B5EF4-FFF2-40B4-BE49-F238E27FC236}">
                            <a16:creationId xmlns:a16="http://schemas.microsoft.com/office/drawing/2014/main" id="{3D292B1F-307D-43C6-A918-7788D68A170A}"/>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15">
                        <a:extLst>
                          <a:ext uri="{FF2B5EF4-FFF2-40B4-BE49-F238E27FC236}">
                            <a16:creationId xmlns:a16="http://schemas.microsoft.com/office/drawing/2014/main" id="{F68ABD0A-ED29-43E2-8441-4741D68A0EEB}"/>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Freeform 16">
                        <a:extLst>
                          <a:ext uri="{FF2B5EF4-FFF2-40B4-BE49-F238E27FC236}">
                            <a16:creationId xmlns:a16="http://schemas.microsoft.com/office/drawing/2014/main" id="{B09506B1-ED45-4096-9E3D-87566CD29B6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Line 17">
                        <a:extLst>
                          <a:ext uri="{FF2B5EF4-FFF2-40B4-BE49-F238E27FC236}">
                            <a16:creationId xmlns:a16="http://schemas.microsoft.com/office/drawing/2014/main" id="{FD44C52F-0896-4DC8-A573-F8CB9574C9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18">
                        <a:extLst>
                          <a:ext uri="{FF2B5EF4-FFF2-40B4-BE49-F238E27FC236}">
                            <a16:creationId xmlns:a16="http://schemas.microsoft.com/office/drawing/2014/main" id="{8B280140-F2C2-406D-8F12-93B0BF8169F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0" name="Line 19">
                        <a:extLst>
                          <a:ext uri="{FF2B5EF4-FFF2-40B4-BE49-F238E27FC236}">
                            <a16:creationId xmlns:a16="http://schemas.microsoft.com/office/drawing/2014/main" id="{83F8B07E-AAC4-429D-815C-600BDC67EDC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1" name="Freeform 35">
                        <a:extLst>
                          <a:ext uri="{FF2B5EF4-FFF2-40B4-BE49-F238E27FC236}">
                            <a16:creationId xmlns:a16="http://schemas.microsoft.com/office/drawing/2014/main" id="{97B06452-C058-4055-A778-3D273FF5AD9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2" name="Freeform 36">
                        <a:extLst>
                          <a:ext uri="{FF2B5EF4-FFF2-40B4-BE49-F238E27FC236}">
                            <a16:creationId xmlns:a16="http://schemas.microsoft.com/office/drawing/2014/main" id="{D7B94512-5B7D-4E49-8A20-B7E0C59BA32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3" name="Freeform 37">
                        <a:extLst>
                          <a:ext uri="{FF2B5EF4-FFF2-40B4-BE49-F238E27FC236}">
                            <a16:creationId xmlns:a16="http://schemas.microsoft.com/office/drawing/2014/main" id="{1E9CFF19-0920-4C18-BFB6-4FA99EFAAE4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4" name="Freeform 38">
                        <a:extLst>
                          <a:ext uri="{FF2B5EF4-FFF2-40B4-BE49-F238E27FC236}">
                            <a16:creationId xmlns:a16="http://schemas.microsoft.com/office/drawing/2014/main" id="{2192574F-D87E-4799-8617-9A8269FBF2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Freeform 39">
                        <a:extLst>
                          <a:ext uri="{FF2B5EF4-FFF2-40B4-BE49-F238E27FC236}">
                            <a16:creationId xmlns:a16="http://schemas.microsoft.com/office/drawing/2014/main" id="{9FA83DBA-16E9-4E67-B605-610342F2FBB7}"/>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6" name="Freeform 40">
                        <a:extLst>
                          <a:ext uri="{FF2B5EF4-FFF2-40B4-BE49-F238E27FC236}">
                            <a16:creationId xmlns:a16="http://schemas.microsoft.com/office/drawing/2014/main" id="{794D13CB-1AC0-4D12-AEFA-19F35871F8B2}"/>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41">
                        <a:extLst>
                          <a:ext uri="{FF2B5EF4-FFF2-40B4-BE49-F238E27FC236}">
                            <a16:creationId xmlns:a16="http://schemas.microsoft.com/office/drawing/2014/main" id="{3CA60CD9-2A9F-491F-8D32-DDBDC4302D7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42">
                        <a:extLst>
                          <a:ext uri="{FF2B5EF4-FFF2-40B4-BE49-F238E27FC236}">
                            <a16:creationId xmlns:a16="http://schemas.microsoft.com/office/drawing/2014/main" id="{AC0B106E-7CF1-42EC-AAD0-953B1807B0E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43">
                        <a:extLst>
                          <a:ext uri="{FF2B5EF4-FFF2-40B4-BE49-F238E27FC236}">
                            <a16:creationId xmlns:a16="http://schemas.microsoft.com/office/drawing/2014/main" id="{60BD6986-D4CD-4ADE-9B50-18E17A0C999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Freeform 44">
                        <a:extLst>
                          <a:ext uri="{FF2B5EF4-FFF2-40B4-BE49-F238E27FC236}">
                            <a16:creationId xmlns:a16="http://schemas.microsoft.com/office/drawing/2014/main" id="{0FA51F8C-4D65-4873-A054-070A6C457B6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1" name="Freeform 45">
                        <a:extLst>
                          <a:ext uri="{FF2B5EF4-FFF2-40B4-BE49-F238E27FC236}">
                            <a16:creationId xmlns:a16="http://schemas.microsoft.com/office/drawing/2014/main" id="{E9F5D74C-2F8B-4F52-8D34-E92E4468010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22" name="Group 2621">
                        <a:extLst>
                          <a:ext uri="{FF2B5EF4-FFF2-40B4-BE49-F238E27FC236}">
                            <a16:creationId xmlns:a16="http://schemas.microsoft.com/office/drawing/2014/main" id="{4FF9ADDA-1468-4D45-AEA1-96EB78A9EE70}"/>
                          </a:ext>
                        </a:extLst>
                      </p:cNvPr>
                      <p:cNvGrpSpPr/>
                      <p:nvPr/>
                    </p:nvGrpSpPr>
                    <p:grpSpPr>
                      <a:xfrm flipV="1">
                        <a:off x="1202047" y="3517919"/>
                        <a:ext cx="178734" cy="348678"/>
                        <a:chOff x="1207113" y="2241878"/>
                        <a:chExt cx="178734" cy="348678"/>
                      </a:xfrm>
                    </p:grpSpPr>
                    <p:sp>
                      <p:nvSpPr>
                        <p:cNvPr id="2623" name="Freeform 10">
                          <a:extLst>
                            <a:ext uri="{FF2B5EF4-FFF2-40B4-BE49-F238E27FC236}">
                              <a16:creationId xmlns:a16="http://schemas.microsoft.com/office/drawing/2014/main" id="{5A6D455D-656C-4F54-B11B-755FBDCF70F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11">
                          <a:extLst>
                            <a:ext uri="{FF2B5EF4-FFF2-40B4-BE49-F238E27FC236}">
                              <a16:creationId xmlns:a16="http://schemas.microsoft.com/office/drawing/2014/main" id="{33810577-77C5-4BB1-8A88-CC1A2075B6D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72" name="Group 2571">
                    <a:extLst>
                      <a:ext uri="{FF2B5EF4-FFF2-40B4-BE49-F238E27FC236}">
                        <a16:creationId xmlns:a16="http://schemas.microsoft.com/office/drawing/2014/main" id="{C61809E5-62A9-440A-A401-E1007C351F86}"/>
                      </a:ext>
                    </a:extLst>
                  </p:cNvPr>
                  <p:cNvGrpSpPr>
                    <a:grpSpLocks/>
                  </p:cNvGrpSpPr>
                  <p:nvPr/>
                </p:nvGrpSpPr>
                <p:grpSpPr>
                  <a:xfrm>
                    <a:off x="11709639" y="2297897"/>
                    <a:ext cx="690952" cy="690956"/>
                    <a:chOff x="2268747" y="4723725"/>
                    <a:chExt cx="415610" cy="415612"/>
                  </a:xfrm>
                </p:grpSpPr>
                <p:grpSp>
                  <p:nvGrpSpPr>
                    <p:cNvPr id="2573" name="Group 64">
                      <a:extLst>
                        <a:ext uri="{FF2B5EF4-FFF2-40B4-BE49-F238E27FC236}">
                          <a16:creationId xmlns:a16="http://schemas.microsoft.com/office/drawing/2014/main" id="{9DBB6DAD-A6C6-40EE-9D11-4FDDF7A94CC3}"/>
                        </a:ext>
                      </a:extLst>
                    </p:cNvPr>
                    <p:cNvGrpSpPr>
                      <a:grpSpLocks noChangeAspect="1"/>
                    </p:cNvGrpSpPr>
                    <p:nvPr/>
                  </p:nvGrpSpPr>
                  <p:grpSpPr bwMode="auto">
                    <a:xfrm rot="8100000">
                      <a:off x="2268747" y="4723725"/>
                      <a:ext cx="415610" cy="415612"/>
                      <a:chOff x="701" y="2170"/>
                      <a:chExt cx="587" cy="587"/>
                    </a:xfrm>
                  </p:grpSpPr>
                  <p:sp>
                    <p:nvSpPr>
                      <p:cNvPr id="2588" name="Oval 65">
                        <a:extLst>
                          <a:ext uri="{FF2B5EF4-FFF2-40B4-BE49-F238E27FC236}">
                            <a16:creationId xmlns:a16="http://schemas.microsoft.com/office/drawing/2014/main" id="{2F93913E-9239-4896-982E-D4D3A9AFE9C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9" name="Line 66">
                        <a:extLst>
                          <a:ext uri="{FF2B5EF4-FFF2-40B4-BE49-F238E27FC236}">
                            <a16:creationId xmlns:a16="http://schemas.microsoft.com/office/drawing/2014/main" id="{D516032C-314F-477F-8498-CF760CA9C2A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Line 67">
                        <a:extLst>
                          <a:ext uri="{FF2B5EF4-FFF2-40B4-BE49-F238E27FC236}">
                            <a16:creationId xmlns:a16="http://schemas.microsoft.com/office/drawing/2014/main" id="{85B0E08B-5F9E-46EF-A67C-8D3A7A7AA95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1" name="Line 69">
                        <a:extLst>
                          <a:ext uri="{FF2B5EF4-FFF2-40B4-BE49-F238E27FC236}">
                            <a16:creationId xmlns:a16="http://schemas.microsoft.com/office/drawing/2014/main" id="{0664106A-4AB4-44F0-A49A-B05E83868C8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2" name="Line 74">
                        <a:extLst>
                          <a:ext uri="{FF2B5EF4-FFF2-40B4-BE49-F238E27FC236}">
                            <a16:creationId xmlns:a16="http://schemas.microsoft.com/office/drawing/2014/main" id="{8D41BA7D-C67A-4F1F-B524-BCA54A80431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78">
                        <a:extLst>
                          <a:ext uri="{FF2B5EF4-FFF2-40B4-BE49-F238E27FC236}">
                            <a16:creationId xmlns:a16="http://schemas.microsoft.com/office/drawing/2014/main" id="{4DCCC22E-3471-4F39-BEA9-CFA0AEAFC8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Freeform 80">
                        <a:extLst>
                          <a:ext uri="{FF2B5EF4-FFF2-40B4-BE49-F238E27FC236}">
                            <a16:creationId xmlns:a16="http://schemas.microsoft.com/office/drawing/2014/main" id="{14AD47E3-0647-4EC9-8616-F585647C93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4" name="Group 2573">
                      <a:extLst>
                        <a:ext uri="{FF2B5EF4-FFF2-40B4-BE49-F238E27FC236}">
                          <a16:creationId xmlns:a16="http://schemas.microsoft.com/office/drawing/2014/main" id="{BA6D1D58-9EF5-4F3D-9C9A-D92D4231AB5E}"/>
                        </a:ext>
                      </a:extLst>
                    </p:cNvPr>
                    <p:cNvGrpSpPr/>
                    <p:nvPr/>
                  </p:nvGrpSpPr>
                  <p:grpSpPr>
                    <a:xfrm>
                      <a:off x="2318076" y="4830163"/>
                      <a:ext cx="313949" cy="233075"/>
                      <a:chOff x="3707533" y="2731244"/>
                      <a:chExt cx="389644" cy="289271"/>
                    </a:xfrm>
                  </p:grpSpPr>
                  <p:sp>
                    <p:nvSpPr>
                      <p:cNvPr id="2575" name="Freeform 33">
                        <a:extLst>
                          <a:ext uri="{FF2B5EF4-FFF2-40B4-BE49-F238E27FC236}">
                            <a16:creationId xmlns:a16="http://schemas.microsoft.com/office/drawing/2014/main" id="{80A16413-CD19-4E27-B19D-1876E3D9E01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34">
                        <a:extLst>
                          <a:ext uri="{FF2B5EF4-FFF2-40B4-BE49-F238E27FC236}">
                            <a16:creationId xmlns:a16="http://schemas.microsoft.com/office/drawing/2014/main" id="{EEC10E00-0779-42FA-BA1F-124206B4AEC3}"/>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7" name="Freeform 37">
                        <a:extLst>
                          <a:ext uri="{FF2B5EF4-FFF2-40B4-BE49-F238E27FC236}">
                            <a16:creationId xmlns:a16="http://schemas.microsoft.com/office/drawing/2014/main" id="{963E082D-F51E-4420-8A3F-38B60DC37A31}"/>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8" name="Freeform 38">
                        <a:extLst>
                          <a:ext uri="{FF2B5EF4-FFF2-40B4-BE49-F238E27FC236}">
                            <a16:creationId xmlns:a16="http://schemas.microsoft.com/office/drawing/2014/main" id="{2229CE04-704A-4F27-9E8C-4699B60CF8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9" name="Freeform 32">
                        <a:extLst>
                          <a:ext uri="{FF2B5EF4-FFF2-40B4-BE49-F238E27FC236}">
                            <a16:creationId xmlns:a16="http://schemas.microsoft.com/office/drawing/2014/main" id="{16FA405E-767F-4D26-BF6E-C576C2E17C78}"/>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0" name="Freeform 35">
                        <a:extLst>
                          <a:ext uri="{FF2B5EF4-FFF2-40B4-BE49-F238E27FC236}">
                            <a16:creationId xmlns:a16="http://schemas.microsoft.com/office/drawing/2014/main" id="{0F88731B-778E-480E-900A-9228C1157CD7}"/>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36">
                        <a:extLst>
                          <a:ext uri="{FF2B5EF4-FFF2-40B4-BE49-F238E27FC236}">
                            <a16:creationId xmlns:a16="http://schemas.microsoft.com/office/drawing/2014/main" id="{F25F84DB-8F4E-415C-BB36-DB2CD3B65E6C}"/>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2" name="Freeform 25">
                        <a:extLst>
                          <a:ext uri="{FF2B5EF4-FFF2-40B4-BE49-F238E27FC236}">
                            <a16:creationId xmlns:a16="http://schemas.microsoft.com/office/drawing/2014/main" id="{02BBD59A-2CF4-40AE-95A7-FDDEB8F965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39">
                        <a:extLst>
                          <a:ext uri="{FF2B5EF4-FFF2-40B4-BE49-F238E27FC236}">
                            <a16:creationId xmlns:a16="http://schemas.microsoft.com/office/drawing/2014/main" id="{14FD731D-AF94-44C5-AA74-3DB4EBA6A96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4" name="Freeform 26">
                        <a:extLst>
                          <a:ext uri="{FF2B5EF4-FFF2-40B4-BE49-F238E27FC236}">
                            <a16:creationId xmlns:a16="http://schemas.microsoft.com/office/drawing/2014/main" id="{C9E194B8-9DAD-40BE-B56F-801BDAE7113F}"/>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5" name="Rectangle 27">
                        <a:extLst>
                          <a:ext uri="{FF2B5EF4-FFF2-40B4-BE49-F238E27FC236}">
                            <a16:creationId xmlns:a16="http://schemas.microsoft.com/office/drawing/2014/main" id="{1BF09F81-C3A8-46B8-9D87-D52CC9D3D467}"/>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6" name="Line 29">
                        <a:extLst>
                          <a:ext uri="{FF2B5EF4-FFF2-40B4-BE49-F238E27FC236}">
                            <a16:creationId xmlns:a16="http://schemas.microsoft.com/office/drawing/2014/main" id="{796B5EC7-95AE-4638-B151-4AD5F6E603C5}"/>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Line 31">
                        <a:extLst>
                          <a:ext uri="{FF2B5EF4-FFF2-40B4-BE49-F238E27FC236}">
                            <a16:creationId xmlns:a16="http://schemas.microsoft.com/office/drawing/2014/main" id="{D74D1B5A-4088-48FD-BA39-A25E047F6E5B}"/>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563" name="Group 2562">
                <a:extLst>
                  <a:ext uri="{FF2B5EF4-FFF2-40B4-BE49-F238E27FC236}">
                    <a16:creationId xmlns:a16="http://schemas.microsoft.com/office/drawing/2014/main" id="{AAF30ECC-6547-47B1-87A6-A8AAD991517A}"/>
                  </a:ext>
                </a:extLst>
              </p:cNvPr>
              <p:cNvGrpSpPr/>
              <p:nvPr/>
            </p:nvGrpSpPr>
            <p:grpSpPr>
              <a:xfrm>
                <a:off x="3584215" y="5655005"/>
                <a:ext cx="1001118" cy="830281"/>
                <a:chOff x="3592922" y="5629153"/>
                <a:chExt cx="1003674" cy="832401"/>
              </a:xfrm>
            </p:grpSpPr>
            <p:pic>
              <p:nvPicPr>
                <p:cNvPr id="2564" name="Picture 1">
                  <a:extLst>
                    <a:ext uri="{FF2B5EF4-FFF2-40B4-BE49-F238E27FC236}">
                      <a16:creationId xmlns:a16="http://schemas.microsoft.com/office/drawing/2014/main" id="{75AF8220-8A57-4FDB-B139-F9D621D94305}"/>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5" name="Rectangle 2564">
                  <a:extLst>
                    <a:ext uri="{FF2B5EF4-FFF2-40B4-BE49-F238E27FC236}">
                      <a16:creationId xmlns:a16="http://schemas.microsoft.com/office/drawing/2014/main" id="{4929924E-CEF7-4D8B-86DF-DF00A77B72EA}"/>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552" name="Group 2551">
              <a:extLst>
                <a:ext uri="{FF2B5EF4-FFF2-40B4-BE49-F238E27FC236}">
                  <a16:creationId xmlns:a16="http://schemas.microsoft.com/office/drawing/2014/main" id="{51D29E4F-03A2-4BAC-8059-D5DCBDD11A12}"/>
                </a:ext>
              </a:extLst>
            </p:cNvPr>
            <p:cNvGrpSpPr/>
            <p:nvPr/>
          </p:nvGrpSpPr>
          <p:grpSpPr>
            <a:xfrm>
              <a:off x="4527697" y="3616012"/>
              <a:ext cx="3535922" cy="312851"/>
              <a:chOff x="4538813" y="3457139"/>
              <a:chExt cx="3544948" cy="313650"/>
            </a:xfrm>
          </p:grpSpPr>
          <p:grpSp>
            <p:nvGrpSpPr>
              <p:cNvPr id="2553" name="Group 2552">
                <a:extLst>
                  <a:ext uri="{FF2B5EF4-FFF2-40B4-BE49-F238E27FC236}">
                    <a16:creationId xmlns:a16="http://schemas.microsoft.com/office/drawing/2014/main" id="{E6379E1F-991C-4636-B00D-F1EA2FB6A8A6}"/>
                  </a:ext>
                </a:extLst>
              </p:cNvPr>
              <p:cNvGrpSpPr/>
              <p:nvPr/>
            </p:nvGrpSpPr>
            <p:grpSpPr>
              <a:xfrm>
                <a:off x="4538813" y="3463012"/>
                <a:ext cx="3544948" cy="307777"/>
                <a:chOff x="4538813" y="3463012"/>
                <a:chExt cx="3544948" cy="307777"/>
              </a:xfrm>
            </p:grpSpPr>
            <p:sp>
              <p:nvSpPr>
                <p:cNvPr id="2555" name="Rectangle 2554">
                  <a:extLst>
                    <a:ext uri="{FF2B5EF4-FFF2-40B4-BE49-F238E27FC236}">
                      <a16:creationId xmlns:a16="http://schemas.microsoft.com/office/drawing/2014/main" id="{7750E31C-C095-4F8A-9D86-212FAC5C5A8D}"/>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6" name="Rectangle 2555">
                  <a:extLst>
                    <a:ext uri="{FF2B5EF4-FFF2-40B4-BE49-F238E27FC236}">
                      <a16:creationId xmlns:a16="http://schemas.microsoft.com/office/drawing/2014/main" id="{1F2EFAF6-495E-421C-9B59-459A62399704}"/>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7" name="Rectangle 2556">
                  <a:extLst>
                    <a:ext uri="{FF2B5EF4-FFF2-40B4-BE49-F238E27FC236}">
                      <a16:creationId xmlns:a16="http://schemas.microsoft.com/office/drawing/2014/main" id="{C6DF208E-6FED-42D9-975F-7FBD667FFE52}"/>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8" name="Rectangle 2557">
                  <a:extLst>
                    <a:ext uri="{FF2B5EF4-FFF2-40B4-BE49-F238E27FC236}">
                      <a16:creationId xmlns:a16="http://schemas.microsoft.com/office/drawing/2014/main" id="{5F78BF88-FDAC-42E0-A249-8550DAA3715B}"/>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9" name="Rectangle 2558">
                  <a:extLst>
                    <a:ext uri="{FF2B5EF4-FFF2-40B4-BE49-F238E27FC236}">
                      <a16:creationId xmlns:a16="http://schemas.microsoft.com/office/drawing/2014/main" id="{5C62A79A-F215-4467-88C4-C7C5AEB53BA9}"/>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0" name="Rectangle 2559">
                  <a:extLst>
                    <a:ext uri="{FF2B5EF4-FFF2-40B4-BE49-F238E27FC236}">
                      <a16:creationId xmlns:a16="http://schemas.microsoft.com/office/drawing/2014/main" id="{37B94D35-6F11-4577-80FF-BCFEF99FDF82}"/>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1" name="Rectangle 2560">
                  <a:extLst>
                    <a:ext uri="{FF2B5EF4-FFF2-40B4-BE49-F238E27FC236}">
                      <a16:creationId xmlns:a16="http://schemas.microsoft.com/office/drawing/2014/main" id="{221BF5B3-2BFB-4332-90AF-579C99572C34}"/>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554" name="Rectangle 2553">
                <a:extLst>
                  <a:ext uri="{FF2B5EF4-FFF2-40B4-BE49-F238E27FC236}">
                    <a16:creationId xmlns:a16="http://schemas.microsoft.com/office/drawing/2014/main" id="{A0ED15A4-6FBB-4630-817C-E5CA8C0D42EE}"/>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2652" name="Group 2651">
            <a:extLst>
              <a:ext uri="{FF2B5EF4-FFF2-40B4-BE49-F238E27FC236}">
                <a16:creationId xmlns:a16="http://schemas.microsoft.com/office/drawing/2014/main" id="{C21894EF-8D81-47AF-94A0-45D68D6932EE}"/>
              </a:ext>
            </a:extLst>
          </p:cNvPr>
          <p:cNvGrpSpPr/>
          <p:nvPr/>
        </p:nvGrpSpPr>
        <p:grpSpPr>
          <a:xfrm>
            <a:off x="1943243" y="1703763"/>
            <a:ext cx="1530261" cy="1365012"/>
            <a:chOff x="1943749" y="1841576"/>
            <a:chExt cx="1530660" cy="1365368"/>
          </a:xfrm>
        </p:grpSpPr>
        <p:grpSp>
          <p:nvGrpSpPr>
            <p:cNvPr id="2653" name="Group 2652">
              <a:extLst>
                <a:ext uri="{FF2B5EF4-FFF2-40B4-BE49-F238E27FC236}">
                  <a16:creationId xmlns:a16="http://schemas.microsoft.com/office/drawing/2014/main" id="{9D43AD93-F054-4F22-9C47-031FF358F2A0}"/>
                </a:ext>
              </a:extLst>
            </p:cNvPr>
            <p:cNvGrpSpPr/>
            <p:nvPr/>
          </p:nvGrpSpPr>
          <p:grpSpPr>
            <a:xfrm>
              <a:off x="1943749" y="2407609"/>
              <a:ext cx="1530660" cy="799335"/>
              <a:chOff x="1943749" y="2407609"/>
              <a:chExt cx="1530660" cy="799335"/>
            </a:xfrm>
          </p:grpSpPr>
          <p:cxnSp>
            <p:nvCxnSpPr>
              <p:cNvPr id="2655" name="Elbow Connector 558">
                <a:extLst>
                  <a:ext uri="{FF2B5EF4-FFF2-40B4-BE49-F238E27FC236}">
                    <a16:creationId xmlns:a16="http://schemas.microsoft.com/office/drawing/2014/main" id="{DEC905F3-34A7-4164-8DD6-65C69465FB24}"/>
                  </a:ext>
                </a:extLst>
              </p:cNvPr>
              <p:cNvCxnSpPr>
                <a:cxnSpLocks/>
                <a:endCxn id="2657"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656" name="Elbow Connector 558">
                <a:extLst>
                  <a:ext uri="{FF2B5EF4-FFF2-40B4-BE49-F238E27FC236}">
                    <a16:creationId xmlns:a16="http://schemas.microsoft.com/office/drawing/2014/main" id="{EF5ED769-8942-4EF3-A434-ED135F9CA3BD}"/>
                  </a:ext>
                </a:extLst>
              </p:cNvPr>
              <p:cNvCxnSpPr>
                <a:cxnSpLocks/>
                <a:stCxn id="2657" idx="3"/>
                <a:endCxn id="2790" idx="1"/>
              </p:cNvCxnSpPr>
              <p:nvPr/>
            </p:nvCxnSpPr>
            <p:spPr>
              <a:xfrm flipV="1">
                <a:off x="2543276" y="2407609"/>
                <a:ext cx="931133" cy="374066"/>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657" name="Picture 2656">
                <a:extLst>
                  <a:ext uri="{FF2B5EF4-FFF2-40B4-BE49-F238E27FC236}">
                    <a16:creationId xmlns:a16="http://schemas.microsoft.com/office/drawing/2014/main" id="{D5403F6B-3C67-477E-9311-B8DE5513186C}"/>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654" name="Picture 2653">
              <a:extLst>
                <a:ext uri="{FF2B5EF4-FFF2-40B4-BE49-F238E27FC236}">
                  <a16:creationId xmlns:a16="http://schemas.microsoft.com/office/drawing/2014/main" id="{63FFDBFE-9326-4209-A7C2-ABBAC504C2DC}"/>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2658" name="Group 2657">
            <a:extLst>
              <a:ext uri="{FF2B5EF4-FFF2-40B4-BE49-F238E27FC236}">
                <a16:creationId xmlns:a16="http://schemas.microsoft.com/office/drawing/2014/main" id="{D7FB6158-CC12-4760-BB82-DF90F7E182B9}"/>
              </a:ext>
            </a:extLst>
          </p:cNvPr>
          <p:cNvGrpSpPr/>
          <p:nvPr/>
        </p:nvGrpSpPr>
        <p:grpSpPr>
          <a:xfrm>
            <a:off x="2965498" y="1615862"/>
            <a:ext cx="6753931" cy="2719939"/>
            <a:chOff x="2966271" y="1753652"/>
            <a:chExt cx="6755690" cy="2720648"/>
          </a:xfrm>
        </p:grpSpPr>
        <p:grpSp>
          <p:nvGrpSpPr>
            <p:cNvPr id="2659" name="Group 2658">
              <a:extLst>
                <a:ext uri="{FF2B5EF4-FFF2-40B4-BE49-F238E27FC236}">
                  <a16:creationId xmlns:a16="http://schemas.microsoft.com/office/drawing/2014/main" id="{9D3D52D7-2776-44E8-9120-6174062C6346}"/>
                </a:ext>
              </a:extLst>
            </p:cNvPr>
            <p:cNvGrpSpPr/>
            <p:nvPr/>
          </p:nvGrpSpPr>
          <p:grpSpPr>
            <a:xfrm>
              <a:off x="2966271" y="3623425"/>
              <a:ext cx="5559816" cy="850875"/>
              <a:chOff x="2941193" y="3591455"/>
              <a:chExt cx="5574010" cy="853047"/>
            </a:xfrm>
          </p:grpSpPr>
          <p:grpSp>
            <p:nvGrpSpPr>
              <p:cNvPr id="2776" name="Group 2775">
                <a:extLst>
                  <a:ext uri="{FF2B5EF4-FFF2-40B4-BE49-F238E27FC236}">
                    <a16:creationId xmlns:a16="http://schemas.microsoft.com/office/drawing/2014/main" id="{00BA3D5E-4095-42F0-BD41-468FFB7C4EF9}"/>
                  </a:ext>
                </a:extLst>
              </p:cNvPr>
              <p:cNvGrpSpPr/>
              <p:nvPr/>
            </p:nvGrpSpPr>
            <p:grpSpPr>
              <a:xfrm>
                <a:off x="2941193" y="3710094"/>
                <a:ext cx="5483474" cy="734408"/>
                <a:chOff x="2941193" y="3710094"/>
                <a:chExt cx="5483474" cy="734408"/>
              </a:xfrm>
            </p:grpSpPr>
            <p:cxnSp>
              <p:nvCxnSpPr>
                <p:cNvPr id="2778" name="Elbow Connector 558">
                  <a:extLst>
                    <a:ext uri="{FF2B5EF4-FFF2-40B4-BE49-F238E27FC236}">
                      <a16:creationId xmlns:a16="http://schemas.microsoft.com/office/drawing/2014/main" id="{8B9029C7-DF2B-4965-B1E5-F32D76C0DE15}"/>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779" name="Rectangle 2778">
                  <a:extLst>
                    <a:ext uri="{FF2B5EF4-FFF2-40B4-BE49-F238E27FC236}">
                      <a16:creationId xmlns:a16="http://schemas.microsoft.com/office/drawing/2014/main" id="{C3FD32AE-1C38-473F-8AD8-C33FE8424978}"/>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777" name="Rectangle 2776">
                <a:extLst>
                  <a:ext uri="{FF2B5EF4-FFF2-40B4-BE49-F238E27FC236}">
                    <a16:creationId xmlns:a16="http://schemas.microsoft.com/office/drawing/2014/main" id="{37017EB8-7285-4A76-B7F5-C589DB18F416}"/>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2660" name="Group 2659">
              <a:extLst>
                <a:ext uri="{FF2B5EF4-FFF2-40B4-BE49-F238E27FC236}">
                  <a16:creationId xmlns:a16="http://schemas.microsoft.com/office/drawing/2014/main" id="{EBC6F251-C2B6-409D-9525-3993D71F99B9}"/>
                </a:ext>
              </a:extLst>
            </p:cNvPr>
            <p:cNvGrpSpPr/>
            <p:nvPr/>
          </p:nvGrpSpPr>
          <p:grpSpPr>
            <a:xfrm>
              <a:off x="6614264" y="1753652"/>
              <a:ext cx="3107697" cy="1310210"/>
              <a:chOff x="6614264" y="1753652"/>
              <a:chExt cx="3107697" cy="1310210"/>
            </a:xfrm>
          </p:grpSpPr>
          <p:sp>
            <p:nvSpPr>
              <p:cNvPr id="2661" name="Rectangle 2660">
                <a:extLst>
                  <a:ext uri="{FF2B5EF4-FFF2-40B4-BE49-F238E27FC236}">
                    <a16:creationId xmlns:a16="http://schemas.microsoft.com/office/drawing/2014/main" id="{58B19519-A64D-4A41-BFC7-F8F1687A412A}"/>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662" name="Group 2661">
                <a:extLst>
                  <a:ext uri="{FF2B5EF4-FFF2-40B4-BE49-F238E27FC236}">
                    <a16:creationId xmlns:a16="http://schemas.microsoft.com/office/drawing/2014/main" id="{AFA6B6C5-A4D0-4D13-B8DE-6F93B38DBBDC}"/>
                  </a:ext>
                </a:extLst>
              </p:cNvPr>
              <p:cNvGrpSpPr/>
              <p:nvPr/>
            </p:nvGrpSpPr>
            <p:grpSpPr>
              <a:xfrm>
                <a:off x="6970489" y="2381238"/>
                <a:ext cx="876005" cy="682624"/>
                <a:chOff x="8153924" y="1224949"/>
                <a:chExt cx="927652" cy="722869"/>
              </a:xfrm>
            </p:grpSpPr>
            <p:sp>
              <p:nvSpPr>
                <p:cNvPr id="2753" name="TextBox 2752">
                  <a:extLst>
                    <a:ext uri="{FF2B5EF4-FFF2-40B4-BE49-F238E27FC236}">
                      <a16:creationId xmlns:a16="http://schemas.microsoft.com/office/drawing/2014/main" id="{C7B62840-6B49-4D3C-B0B7-8DD09C4C9724}"/>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54" name="Group 2753">
                  <a:extLst>
                    <a:ext uri="{FF2B5EF4-FFF2-40B4-BE49-F238E27FC236}">
                      <a16:creationId xmlns:a16="http://schemas.microsoft.com/office/drawing/2014/main" id="{EBAC9032-D93E-4DF9-ACD6-5C6E695C1759}"/>
                    </a:ext>
                  </a:extLst>
                </p:cNvPr>
                <p:cNvGrpSpPr/>
                <p:nvPr/>
              </p:nvGrpSpPr>
              <p:grpSpPr>
                <a:xfrm>
                  <a:off x="8153924" y="1224949"/>
                  <a:ext cx="927652" cy="402840"/>
                  <a:chOff x="8153924" y="1224949"/>
                  <a:chExt cx="927652" cy="402840"/>
                </a:xfrm>
              </p:grpSpPr>
              <p:sp>
                <p:nvSpPr>
                  <p:cNvPr id="2755" name="Freeform 78">
                    <a:extLst>
                      <a:ext uri="{FF2B5EF4-FFF2-40B4-BE49-F238E27FC236}">
                        <a16:creationId xmlns:a16="http://schemas.microsoft.com/office/drawing/2014/main" id="{C95E63B4-AF85-45C6-A9BB-F7A877B6F491}"/>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80">
                    <a:extLst>
                      <a:ext uri="{FF2B5EF4-FFF2-40B4-BE49-F238E27FC236}">
                        <a16:creationId xmlns:a16="http://schemas.microsoft.com/office/drawing/2014/main" id="{37E56A3A-47CC-4041-BC53-ED875003051C}"/>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6">
                    <a:extLst>
                      <a:ext uri="{FF2B5EF4-FFF2-40B4-BE49-F238E27FC236}">
                        <a16:creationId xmlns:a16="http://schemas.microsoft.com/office/drawing/2014/main" id="{BF58212D-DAB0-4907-A2B2-605A1B054179}"/>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77">
                    <a:extLst>
                      <a:ext uri="{FF2B5EF4-FFF2-40B4-BE49-F238E27FC236}">
                        <a16:creationId xmlns:a16="http://schemas.microsoft.com/office/drawing/2014/main" id="{C1ED7B0C-DE80-402D-9DA8-E34757242AC5}"/>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78">
                    <a:extLst>
                      <a:ext uri="{FF2B5EF4-FFF2-40B4-BE49-F238E27FC236}">
                        <a16:creationId xmlns:a16="http://schemas.microsoft.com/office/drawing/2014/main" id="{FA0C0EBC-99E6-4A23-A533-F624D74AC910}"/>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79">
                    <a:extLst>
                      <a:ext uri="{FF2B5EF4-FFF2-40B4-BE49-F238E27FC236}">
                        <a16:creationId xmlns:a16="http://schemas.microsoft.com/office/drawing/2014/main" id="{1BA6C2CD-E217-41A1-9A03-C0DB70994B3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0">
                    <a:extLst>
                      <a:ext uri="{FF2B5EF4-FFF2-40B4-BE49-F238E27FC236}">
                        <a16:creationId xmlns:a16="http://schemas.microsoft.com/office/drawing/2014/main" id="{644BA3A1-EFF9-4C2F-B941-0C41E0C640E7}"/>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1">
                    <a:extLst>
                      <a:ext uri="{FF2B5EF4-FFF2-40B4-BE49-F238E27FC236}">
                        <a16:creationId xmlns:a16="http://schemas.microsoft.com/office/drawing/2014/main" id="{7AD40BE7-DD64-432C-8995-644E2ED5570F}"/>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2">
                    <a:extLst>
                      <a:ext uri="{FF2B5EF4-FFF2-40B4-BE49-F238E27FC236}">
                        <a16:creationId xmlns:a16="http://schemas.microsoft.com/office/drawing/2014/main" id="{A84BD5C3-DE9C-4B5C-8B28-08847EC28688}"/>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3">
                    <a:extLst>
                      <a:ext uri="{FF2B5EF4-FFF2-40B4-BE49-F238E27FC236}">
                        <a16:creationId xmlns:a16="http://schemas.microsoft.com/office/drawing/2014/main" id="{F3740F3E-6E6B-431E-AC8A-044920E38A4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4">
                    <a:extLst>
                      <a:ext uri="{FF2B5EF4-FFF2-40B4-BE49-F238E27FC236}">
                        <a16:creationId xmlns:a16="http://schemas.microsoft.com/office/drawing/2014/main" id="{3B0730A7-0E85-4092-8154-864C5E6AF9DB}"/>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5">
                    <a:extLst>
                      <a:ext uri="{FF2B5EF4-FFF2-40B4-BE49-F238E27FC236}">
                        <a16:creationId xmlns:a16="http://schemas.microsoft.com/office/drawing/2014/main" id="{9841AD02-BEBD-48C8-859D-6AAB2D8FAFD6}"/>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Freeform 1586">
                    <a:extLst>
                      <a:ext uri="{FF2B5EF4-FFF2-40B4-BE49-F238E27FC236}">
                        <a16:creationId xmlns:a16="http://schemas.microsoft.com/office/drawing/2014/main" id="{F22DD2CC-B909-41AD-9089-DAC533B5FCD0}"/>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8" name="Freeform 1587">
                    <a:extLst>
                      <a:ext uri="{FF2B5EF4-FFF2-40B4-BE49-F238E27FC236}">
                        <a16:creationId xmlns:a16="http://schemas.microsoft.com/office/drawing/2014/main" id="{B5E6EB29-C7FD-47A9-A155-9793CF7BADF5}"/>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88">
                    <a:extLst>
                      <a:ext uri="{FF2B5EF4-FFF2-40B4-BE49-F238E27FC236}">
                        <a16:creationId xmlns:a16="http://schemas.microsoft.com/office/drawing/2014/main" id="{B09F64A5-2CF0-4BCE-8915-568DBA810F99}"/>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70" name="Rectangle 1589">
                    <a:extLst>
                      <a:ext uri="{FF2B5EF4-FFF2-40B4-BE49-F238E27FC236}">
                        <a16:creationId xmlns:a16="http://schemas.microsoft.com/office/drawing/2014/main" id="{C587525C-9E28-4791-A95C-E4197AF35C94}"/>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Rectangle 1590">
                    <a:extLst>
                      <a:ext uri="{FF2B5EF4-FFF2-40B4-BE49-F238E27FC236}">
                        <a16:creationId xmlns:a16="http://schemas.microsoft.com/office/drawing/2014/main" id="{A8DC3B47-C25B-4C91-B65E-7653E20D7B19}"/>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1">
                    <a:extLst>
                      <a:ext uri="{FF2B5EF4-FFF2-40B4-BE49-F238E27FC236}">
                        <a16:creationId xmlns:a16="http://schemas.microsoft.com/office/drawing/2014/main" id="{58D1F62C-9D0E-4AF3-ABE5-CB540355F92E}"/>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2">
                    <a:extLst>
                      <a:ext uri="{FF2B5EF4-FFF2-40B4-BE49-F238E27FC236}">
                        <a16:creationId xmlns:a16="http://schemas.microsoft.com/office/drawing/2014/main" id="{B1704352-C657-42D7-A344-265CAB328E20}"/>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3">
                    <a:extLst>
                      <a:ext uri="{FF2B5EF4-FFF2-40B4-BE49-F238E27FC236}">
                        <a16:creationId xmlns:a16="http://schemas.microsoft.com/office/drawing/2014/main" id="{6744E02A-2C07-43E6-8F15-0C91B735199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596">
                    <a:extLst>
                      <a:ext uri="{FF2B5EF4-FFF2-40B4-BE49-F238E27FC236}">
                        <a16:creationId xmlns:a16="http://schemas.microsoft.com/office/drawing/2014/main" id="{06B55468-31C3-4A1B-AED6-04C9FD5DFD67}"/>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3" name="Group 2662">
                <a:extLst>
                  <a:ext uri="{FF2B5EF4-FFF2-40B4-BE49-F238E27FC236}">
                    <a16:creationId xmlns:a16="http://schemas.microsoft.com/office/drawing/2014/main" id="{779806AD-6C25-4083-8E5B-C4C1E9CEB9A3}"/>
                  </a:ext>
                </a:extLst>
              </p:cNvPr>
              <p:cNvGrpSpPr/>
              <p:nvPr/>
            </p:nvGrpSpPr>
            <p:grpSpPr>
              <a:xfrm>
                <a:off x="7508988" y="1995190"/>
                <a:ext cx="2049581" cy="1005869"/>
                <a:chOff x="8356478" y="3790294"/>
                <a:chExt cx="3013725" cy="1479041"/>
              </a:xfrm>
            </p:grpSpPr>
            <p:sp>
              <p:nvSpPr>
                <p:cNvPr id="2750" name="Rectangle 2749">
                  <a:extLst>
                    <a:ext uri="{FF2B5EF4-FFF2-40B4-BE49-F238E27FC236}">
                      <a16:creationId xmlns:a16="http://schemas.microsoft.com/office/drawing/2014/main" id="{19AAA109-BC3C-4168-96DB-23409C54A3BD}"/>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751" name="Rectangle 2750">
                  <a:extLst>
                    <a:ext uri="{FF2B5EF4-FFF2-40B4-BE49-F238E27FC236}">
                      <a16:creationId xmlns:a16="http://schemas.microsoft.com/office/drawing/2014/main" id="{2B12BF84-9D64-4E09-ABC0-4838CF5E0BFC}"/>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752" name="Straight Arrow Connector 2751">
                  <a:extLst>
                    <a:ext uri="{FF2B5EF4-FFF2-40B4-BE49-F238E27FC236}">
                      <a16:creationId xmlns:a16="http://schemas.microsoft.com/office/drawing/2014/main" id="{BE4AEDCD-7CEE-4BA3-B06E-521F2FC114F7}"/>
                    </a:ext>
                  </a:extLst>
                </p:cNvPr>
                <p:cNvCxnSpPr>
                  <a:cxnSpLocks/>
                  <a:stCxn id="2750"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664" name="Group 2663">
                <a:extLst>
                  <a:ext uri="{FF2B5EF4-FFF2-40B4-BE49-F238E27FC236}">
                    <a16:creationId xmlns:a16="http://schemas.microsoft.com/office/drawing/2014/main" id="{DC04D586-E1D8-4E5C-B99B-C6BBFFDFAB46}"/>
                  </a:ext>
                </a:extLst>
              </p:cNvPr>
              <p:cNvGrpSpPr/>
              <p:nvPr/>
            </p:nvGrpSpPr>
            <p:grpSpPr>
              <a:xfrm>
                <a:off x="8556157" y="1876097"/>
                <a:ext cx="1088511" cy="894403"/>
                <a:chOff x="10800033" y="2297897"/>
                <a:chExt cx="1600558" cy="1315140"/>
              </a:xfrm>
            </p:grpSpPr>
            <p:grpSp>
              <p:nvGrpSpPr>
                <p:cNvPr id="2668" name="Group 2667">
                  <a:extLst>
                    <a:ext uri="{FF2B5EF4-FFF2-40B4-BE49-F238E27FC236}">
                      <a16:creationId xmlns:a16="http://schemas.microsoft.com/office/drawing/2014/main" id="{A89E69C7-49A1-4000-9950-EBAC8CA1B09F}"/>
                    </a:ext>
                  </a:extLst>
                </p:cNvPr>
                <p:cNvGrpSpPr>
                  <a:grpSpLocks/>
                </p:cNvGrpSpPr>
                <p:nvPr/>
              </p:nvGrpSpPr>
              <p:grpSpPr>
                <a:xfrm>
                  <a:off x="10800033" y="2339037"/>
                  <a:ext cx="613092" cy="613092"/>
                  <a:chOff x="745985" y="4768134"/>
                  <a:chExt cx="368776" cy="368777"/>
                </a:xfrm>
              </p:grpSpPr>
              <p:grpSp>
                <p:nvGrpSpPr>
                  <p:cNvPr id="2732" name="Group 64">
                    <a:extLst>
                      <a:ext uri="{FF2B5EF4-FFF2-40B4-BE49-F238E27FC236}">
                        <a16:creationId xmlns:a16="http://schemas.microsoft.com/office/drawing/2014/main" id="{270653EB-1221-4E55-A872-07DA6A4D5469}"/>
                      </a:ext>
                    </a:extLst>
                  </p:cNvPr>
                  <p:cNvGrpSpPr>
                    <a:grpSpLocks noChangeAspect="1"/>
                  </p:cNvGrpSpPr>
                  <p:nvPr/>
                </p:nvGrpSpPr>
                <p:grpSpPr bwMode="auto">
                  <a:xfrm rot="8100000">
                    <a:off x="745985" y="4768134"/>
                    <a:ext cx="368776" cy="368777"/>
                    <a:chOff x="701" y="2170"/>
                    <a:chExt cx="587" cy="587"/>
                  </a:xfrm>
                </p:grpSpPr>
                <p:sp>
                  <p:nvSpPr>
                    <p:cNvPr id="2743" name="Oval 65">
                      <a:extLst>
                        <a:ext uri="{FF2B5EF4-FFF2-40B4-BE49-F238E27FC236}">
                          <a16:creationId xmlns:a16="http://schemas.microsoft.com/office/drawing/2014/main" id="{CAB198EC-B8A8-4765-909A-393BA373DEB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44" name="Line 66">
                      <a:extLst>
                        <a:ext uri="{FF2B5EF4-FFF2-40B4-BE49-F238E27FC236}">
                          <a16:creationId xmlns:a16="http://schemas.microsoft.com/office/drawing/2014/main" id="{B127D925-037B-47B9-9F5C-0A0B3BA42522}"/>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Line 67">
                      <a:extLst>
                        <a:ext uri="{FF2B5EF4-FFF2-40B4-BE49-F238E27FC236}">
                          <a16:creationId xmlns:a16="http://schemas.microsoft.com/office/drawing/2014/main" id="{D8E099BD-6EA4-4293-B259-5EC0543ED26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6" name="Line 69">
                      <a:extLst>
                        <a:ext uri="{FF2B5EF4-FFF2-40B4-BE49-F238E27FC236}">
                          <a16:creationId xmlns:a16="http://schemas.microsoft.com/office/drawing/2014/main" id="{E6195BBB-229C-47DF-931A-384F8FBD362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7" name="Line 74">
                      <a:extLst>
                        <a:ext uri="{FF2B5EF4-FFF2-40B4-BE49-F238E27FC236}">
                          <a16:creationId xmlns:a16="http://schemas.microsoft.com/office/drawing/2014/main" id="{00850C55-42A3-4B9F-A529-D1A195F627E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8" name="Freeform 78">
                      <a:extLst>
                        <a:ext uri="{FF2B5EF4-FFF2-40B4-BE49-F238E27FC236}">
                          <a16:creationId xmlns:a16="http://schemas.microsoft.com/office/drawing/2014/main" id="{559D4D9C-1C19-49C7-A407-957B1E078F3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Freeform 80">
                      <a:extLst>
                        <a:ext uri="{FF2B5EF4-FFF2-40B4-BE49-F238E27FC236}">
                          <a16:creationId xmlns:a16="http://schemas.microsoft.com/office/drawing/2014/main" id="{AD492F38-689B-4129-AD47-B76A2E16A5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733" name="Group 2732">
                    <a:extLst>
                      <a:ext uri="{FF2B5EF4-FFF2-40B4-BE49-F238E27FC236}">
                        <a16:creationId xmlns:a16="http://schemas.microsoft.com/office/drawing/2014/main" id="{C243F852-F7C4-4AF7-8C67-26676BA9EC55}"/>
                      </a:ext>
                    </a:extLst>
                  </p:cNvPr>
                  <p:cNvGrpSpPr/>
                  <p:nvPr/>
                </p:nvGrpSpPr>
                <p:grpSpPr>
                  <a:xfrm>
                    <a:off x="837312" y="4814434"/>
                    <a:ext cx="136805" cy="278689"/>
                    <a:chOff x="2806700" y="2803319"/>
                    <a:chExt cx="433387" cy="882861"/>
                  </a:xfrm>
                </p:grpSpPr>
                <p:grpSp>
                  <p:nvGrpSpPr>
                    <p:cNvPr id="2734" name="Group 2733">
                      <a:extLst>
                        <a:ext uri="{FF2B5EF4-FFF2-40B4-BE49-F238E27FC236}">
                          <a16:creationId xmlns:a16="http://schemas.microsoft.com/office/drawing/2014/main" id="{97A60284-DE98-44D1-B913-D3B198EF8409}"/>
                        </a:ext>
                      </a:extLst>
                    </p:cNvPr>
                    <p:cNvGrpSpPr>
                      <a:grpSpLocks noChangeAspect="1"/>
                    </p:cNvGrpSpPr>
                    <p:nvPr/>
                  </p:nvGrpSpPr>
                  <p:grpSpPr bwMode="auto">
                    <a:xfrm>
                      <a:off x="2806700" y="3043242"/>
                      <a:ext cx="433387" cy="642938"/>
                      <a:chOff x="1768" y="1917"/>
                      <a:chExt cx="273" cy="405"/>
                    </a:xfrm>
                  </p:grpSpPr>
                  <p:sp>
                    <p:nvSpPr>
                      <p:cNvPr id="2736" name="Freeform 52">
                        <a:extLst>
                          <a:ext uri="{FF2B5EF4-FFF2-40B4-BE49-F238E27FC236}">
                            <a16:creationId xmlns:a16="http://schemas.microsoft.com/office/drawing/2014/main" id="{1B98D386-940A-465C-9452-B8EF67E676E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37" name="Line 54">
                        <a:extLst>
                          <a:ext uri="{FF2B5EF4-FFF2-40B4-BE49-F238E27FC236}">
                            <a16:creationId xmlns:a16="http://schemas.microsoft.com/office/drawing/2014/main" id="{E3D69D3E-4F19-4DA7-B690-592610930F43}"/>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Line 55">
                        <a:extLst>
                          <a:ext uri="{FF2B5EF4-FFF2-40B4-BE49-F238E27FC236}">
                            <a16:creationId xmlns:a16="http://schemas.microsoft.com/office/drawing/2014/main" id="{C8A4F9CF-BD23-455E-9A0A-23C58F2983C3}"/>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56">
                        <a:extLst>
                          <a:ext uri="{FF2B5EF4-FFF2-40B4-BE49-F238E27FC236}">
                            <a16:creationId xmlns:a16="http://schemas.microsoft.com/office/drawing/2014/main" id="{3C0B9349-4AA0-41AC-AA01-880AA6AB993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Line 57">
                        <a:extLst>
                          <a:ext uri="{FF2B5EF4-FFF2-40B4-BE49-F238E27FC236}">
                            <a16:creationId xmlns:a16="http://schemas.microsoft.com/office/drawing/2014/main" id="{2B63E123-4831-414D-B659-F0A1C934EEAD}"/>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58">
                        <a:extLst>
                          <a:ext uri="{FF2B5EF4-FFF2-40B4-BE49-F238E27FC236}">
                            <a16:creationId xmlns:a16="http://schemas.microsoft.com/office/drawing/2014/main" id="{6C9AE756-F450-4C48-A839-995B58C73C03}"/>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Rectangle 2741">
                        <a:extLst>
                          <a:ext uri="{FF2B5EF4-FFF2-40B4-BE49-F238E27FC236}">
                            <a16:creationId xmlns:a16="http://schemas.microsoft.com/office/drawing/2014/main" id="{37B58052-5F2B-4910-9CBD-A04CC5D6DBD1}"/>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735" name="Oval 2734">
                      <a:extLst>
                        <a:ext uri="{FF2B5EF4-FFF2-40B4-BE49-F238E27FC236}">
                          <a16:creationId xmlns:a16="http://schemas.microsoft.com/office/drawing/2014/main" id="{6C07589A-6596-4896-91A6-99A0EEA4C962}"/>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9" name="Group 2668">
                  <a:extLst>
                    <a:ext uri="{FF2B5EF4-FFF2-40B4-BE49-F238E27FC236}">
                      <a16:creationId xmlns:a16="http://schemas.microsoft.com/office/drawing/2014/main" id="{4C166DC8-CF4F-48D1-99DE-EEF1D7A3B2E4}"/>
                    </a:ext>
                  </a:extLst>
                </p:cNvPr>
                <p:cNvGrpSpPr>
                  <a:grpSpLocks/>
                </p:cNvGrpSpPr>
                <p:nvPr/>
              </p:nvGrpSpPr>
              <p:grpSpPr>
                <a:xfrm>
                  <a:off x="11166615" y="2825631"/>
                  <a:ext cx="787402" cy="787406"/>
                  <a:chOff x="1454941" y="4721722"/>
                  <a:chExt cx="473625" cy="473627"/>
                </a:xfrm>
              </p:grpSpPr>
              <p:grpSp>
                <p:nvGrpSpPr>
                  <p:cNvPr id="2693" name="Group 64">
                    <a:extLst>
                      <a:ext uri="{FF2B5EF4-FFF2-40B4-BE49-F238E27FC236}">
                        <a16:creationId xmlns:a16="http://schemas.microsoft.com/office/drawing/2014/main" id="{A0899A6F-C583-4A2A-BBBC-3CEF426A411B}"/>
                      </a:ext>
                    </a:extLst>
                  </p:cNvPr>
                  <p:cNvGrpSpPr>
                    <a:grpSpLocks noChangeAspect="1"/>
                  </p:cNvGrpSpPr>
                  <p:nvPr/>
                </p:nvGrpSpPr>
                <p:grpSpPr bwMode="auto">
                  <a:xfrm rot="8100000">
                    <a:off x="1454941" y="4721722"/>
                    <a:ext cx="473625" cy="473627"/>
                    <a:chOff x="701" y="2170"/>
                    <a:chExt cx="587" cy="587"/>
                  </a:xfrm>
                </p:grpSpPr>
                <p:sp>
                  <p:nvSpPr>
                    <p:cNvPr id="2725" name="Oval 65">
                      <a:extLst>
                        <a:ext uri="{FF2B5EF4-FFF2-40B4-BE49-F238E27FC236}">
                          <a16:creationId xmlns:a16="http://schemas.microsoft.com/office/drawing/2014/main" id="{0C4D9C3E-FA7C-4490-96D1-8C9EB28F294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26" name="Line 66">
                      <a:extLst>
                        <a:ext uri="{FF2B5EF4-FFF2-40B4-BE49-F238E27FC236}">
                          <a16:creationId xmlns:a16="http://schemas.microsoft.com/office/drawing/2014/main" id="{A94027A1-ADEC-41B0-9784-C69165FF810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Line 67">
                      <a:extLst>
                        <a:ext uri="{FF2B5EF4-FFF2-40B4-BE49-F238E27FC236}">
                          <a16:creationId xmlns:a16="http://schemas.microsoft.com/office/drawing/2014/main" id="{05DBFDE7-9748-4980-B84A-68CE00236D8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Line 69">
                      <a:extLst>
                        <a:ext uri="{FF2B5EF4-FFF2-40B4-BE49-F238E27FC236}">
                          <a16:creationId xmlns:a16="http://schemas.microsoft.com/office/drawing/2014/main" id="{3F801DD0-1DA2-4598-B051-669E2131075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Line 74">
                      <a:extLst>
                        <a:ext uri="{FF2B5EF4-FFF2-40B4-BE49-F238E27FC236}">
                          <a16:creationId xmlns:a16="http://schemas.microsoft.com/office/drawing/2014/main" id="{9B82CC21-21EA-40C3-A104-5151B9EF26F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78">
                      <a:extLst>
                        <a:ext uri="{FF2B5EF4-FFF2-40B4-BE49-F238E27FC236}">
                          <a16:creationId xmlns:a16="http://schemas.microsoft.com/office/drawing/2014/main" id="{3DEF3514-24CF-450E-A997-384A80B5D1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80">
                      <a:extLst>
                        <a:ext uri="{FF2B5EF4-FFF2-40B4-BE49-F238E27FC236}">
                          <a16:creationId xmlns:a16="http://schemas.microsoft.com/office/drawing/2014/main" id="{EF3B7C8B-B944-463D-B046-3309C6C6840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94" name="Group 2693">
                    <a:extLst>
                      <a:ext uri="{FF2B5EF4-FFF2-40B4-BE49-F238E27FC236}">
                        <a16:creationId xmlns:a16="http://schemas.microsoft.com/office/drawing/2014/main" id="{DB3B51E3-953D-426E-BB24-8D256B85FE6C}"/>
                      </a:ext>
                    </a:extLst>
                  </p:cNvPr>
                  <p:cNvGrpSpPr/>
                  <p:nvPr/>
                </p:nvGrpSpPr>
                <p:grpSpPr>
                  <a:xfrm>
                    <a:off x="1511214" y="4789508"/>
                    <a:ext cx="356509" cy="349884"/>
                    <a:chOff x="468738" y="2241878"/>
                    <a:chExt cx="1655483" cy="1624719"/>
                  </a:xfrm>
                </p:grpSpPr>
                <p:sp>
                  <p:nvSpPr>
                    <p:cNvPr id="2695" name="Freeform 5">
                      <a:extLst>
                        <a:ext uri="{FF2B5EF4-FFF2-40B4-BE49-F238E27FC236}">
                          <a16:creationId xmlns:a16="http://schemas.microsoft.com/office/drawing/2014/main" id="{26D54149-EAD3-468A-8ADD-3A39AA4083B7}"/>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6">
                      <a:extLst>
                        <a:ext uri="{FF2B5EF4-FFF2-40B4-BE49-F238E27FC236}">
                          <a16:creationId xmlns:a16="http://schemas.microsoft.com/office/drawing/2014/main" id="{F95F8C72-B379-4580-A29A-67836949C7F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Line 7">
                      <a:extLst>
                        <a:ext uri="{FF2B5EF4-FFF2-40B4-BE49-F238E27FC236}">
                          <a16:creationId xmlns:a16="http://schemas.microsoft.com/office/drawing/2014/main" id="{C281E25A-E071-46D3-B8BF-A513062C9C2F}"/>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8">
                      <a:extLst>
                        <a:ext uri="{FF2B5EF4-FFF2-40B4-BE49-F238E27FC236}">
                          <a16:creationId xmlns:a16="http://schemas.microsoft.com/office/drawing/2014/main" id="{C019DD5E-0271-4351-B6B0-95F10D82096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Line 9">
                      <a:extLst>
                        <a:ext uri="{FF2B5EF4-FFF2-40B4-BE49-F238E27FC236}">
                          <a16:creationId xmlns:a16="http://schemas.microsoft.com/office/drawing/2014/main" id="{27A87AA6-C2DA-40D4-B32F-3D9B62C7105A}"/>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00" name="Group 2699">
                      <a:extLst>
                        <a:ext uri="{FF2B5EF4-FFF2-40B4-BE49-F238E27FC236}">
                          <a16:creationId xmlns:a16="http://schemas.microsoft.com/office/drawing/2014/main" id="{4A47DD98-38B9-4658-AB5F-6BD7468FED1A}"/>
                        </a:ext>
                      </a:extLst>
                    </p:cNvPr>
                    <p:cNvGrpSpPr/>
                    <p:nvPr/>
                  </p:nvGrpSpPr>
                  <p:grpSpPr>
                    <a:xfrm>
                      <a:off x="1207113" y="2241878"/>
                      <a:ext cx="178734" cy="348678"/>
                      <a:chOff x="1207113" y="2241878"/>
                      <a:chExt cx="178734" cy="348678"/>
                    </a:xfrm>
                  </p:grpSpPr>
                  <p:sp>
                    <p:nvSpPr>
                      <p:cNvPr id="2723" name="Freeform 10">
                        <a:extLst>
                          <a:ext uri="{FF2B5EF4-FFF2-40B4-BE49-F238E27FC236}">
                            <a16:creationId xmlns:a16="http://schemas.microsoft.com/office/drawing/2014/main" id="{C2FFD16A-8AD7-4306-B2E1-EB9980FDFE1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Line 11">
                        <a:extLst>
                          <a:ext uri="{FF2B5EF4-FFF2-40B4-BE49-F238E27FC236}">
                            <a16:creationId xmlns:a16="http://schemas.microsoft.com/office/drawing/2014/main" id="{4EA6297A-04B1-4E0A-A44C-D2CFBD95B69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701" name="Freeform 12">
                      <a:extLst>
                        <a:ext uri="{FF2B5EF4-FFF2-40B4-BE49-F238E27FC236}">
                          <a16:creationId xmlns:a16="http://schemas.microsoft.com/office/drawing/2014/main" id="{8606DFE0-8434-4247-96D9-35C12098DC9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Line 13">
                      <a:extLst>
                        <a:ext uri="{FF2B5EF4-FFF2-40B4-BE49-F238E27FC236}">
                          <a16:creationId xmlns:a16="http://schemas.microsoft.com/office/drawing/2014/main" id="{8CCEDBE7-E5FD-4723-A16A-CBAB4E95A0CC}"/>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4">
                      <a:extLst>
                        <a:ext uri="{FF2B5EF4-FFF2-40B4-BE49-F238E27FC236}">
                          <a16:creationId xmlns:a16="http://schemas.microsoft.com/office/drawing/2014/main" id="{2DA813E2-AB61-4156-A224-730BCB9FD46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Line 15">
                      <a:extLst>
                        <a:ext uri="{FF2B5EF4-FFF2-40B4-BE49-F238E27FC236}">
                          <a16:creationId xmlns:a16="http://schemas.microsoft.com/office/drawing/2014/main" id="{C3570522-BF74-4C4E-A905-3A6E16C9675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6">
                      <a:extLst>
                        <a:ext uri="{FF2B5EF4-FFF2-40B4-BE49-F238E27FC236}">
                          <a16:creationId xmlns:a16="http://schemas.microsoft.com/office/drawing/2014/main" id="{C4D28821-97D6-4ABA-AAD6-CF209E974A8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Line 17">
                      <a:extLst>
                        <a:ext uri="{FF2B5EF4-FFF2-40B4-BE49-F238E27FC236}">
                          <a16:creationId xmlns:a16="http://schemas.microsoft.com/office/drawing/2014/main" id="{18250D4C-E681-438D-8A68-49D247DDC4FE}"/>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8">
                      <a:extLst>
                        <a:ext uri="{FF2B5EF4-FFF2-40B4-BE49-F238E27FC236}">
                          <a16:creationId xmlns:a16="http://schemas.microsoft.com/office/drawing/2014/main" id="{8750C3FE-4710-468E-8B83-93F999E0547D}"/>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8" name="Line 19">
                      <a:extLst>
                        <a:ext uri="{FF2B5EF4-FFF2-40B4-BE49-F238E27FC236}">
                          <a16:creationId xmlns:a16="http://schemas.microsoft.com/office/drawing/2014/main" id="{6122351E-C179-4241-9F3E-2DF74633980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35">
                      <a:extLst>
                        <a:ext uri="{FF2B5EF4-FFF2-40B4-BE49-F238E27FC236}">
                          <a16:creationId xmlns:a16="http://schemas.microsoft.com/office/drawing/2014/main" id="{A0692789-4188-465F-8127-4B965F060AD6}"/>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36">
                      <a:extLst>
                        <a:ext uri="{FF2B5EF4-FFF2-40B4-BE49-F238E27FC236}">
                          <a16:creationId xmlns:a16="http://schemas.microsoft.com/office/drawing/2014/main" id="{03C5B86D-7834-48FE-96B7-CCC8EAE56E8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37">
                      <a:extLst>
                        <a:ext uri="{FF2B5EF4-FFF2-40B4-BE49-F238E27FC236}">
                          <a16:creationId xmlns:a16="http://schemas.microsoft.com/office/drawing/2014/main" id="{5DA196F7-2D0D-46A5-917A-7A3A0A5E4B2A}"/>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2" name="Freeform 38">
                      <a:extLst>
                        <a:ext uri="{FF2B5EF4-FFF2-40B4-BE49-F238E27FC236}">
                          <a16:creationId xmlns:a16="http://schemas.microsoft.com/office/drawing/2014/main" id="{78D325D3-7612-4F61-9A6E-63EB006CC01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3" name="Freeform 39">
                      <a:extLst>
                        <a:ext uri="{FF2B5EF4-FFF2-40B4-BE49-F238E27FC236}">
                          <a16:creationId xmlns:a16="http://schemas.microsoft.com/office/drawing/2014/main" id="{2176C790-2832-4E0A-94B7-9E957804E4F8}"/>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40">
                      <a:extLst>
                        <a:ext uri="{FF2B5EF4-FFF2-40B4-BE49-F238E27FC236}">
                          <a16:creationId xmlns:a16="http://schemas.microsoft.com/office/drawing/2014/main" id="{180C6540-390D-4DF4-B2F3-7146C16F4EA4}"/>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41">
                      <a:extLst>
                        <a:ext uri="{FF2B5EF4-FFF2-40B4-BE49-F238E27FC236}">
                          <a16:creationId xmlns:a16="http://schemas.microsoft.com/office/drawing/2014/main" id="{B7D4B3DE-4043-417F-A1DB-9458119F7C1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Line 42">
                      <a:extLst>
                        <a:ext uri="{FF2B5EF4-FFF2-40B4-BE49-F238E27FC236}">
                          <a16:creationId xmlns:a16="http://schemas.microsoft.com/office/drawing/2014/main" id="{1708E1E3-43CC-4AFE-A12E-DACDEB73763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43">
                      <a:extLst>
                        <a:ext uri="{FF2B5EF4-FFF2-40B4-BE49-F238E27FC236}">
                          <a16:creationId xmlns:a16="http://schemas.microsoft.com/office/drawing/2014/main" id="{F0D7792E-9EF6-4F3E-8FC7-5F7085B9E634}"/>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44">
                      <a:extLst>
                        <a:ext uri="{FF2B5EF4-FFF2-40B4-BE49-F238E27FC236}">
                          <a16:creationId xmlns:a16="http://schemas.microsoft.com/office/drawing/2014/main" id="{56D13C92-D06E-4B21-A2EB-5B125DEF7B34}"/>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45">
                      <a:extLst>
                        <a:ext uri="{FF2B5EF4-FFF2-40B4-BE49-F238E27FC236}">
                          <a16:creationId xmlns:a16="http://schemas.microsoft.com/office/drawing/2014/main" id="{F7C426F0-E547-403A-81D2-20C35D9BAE5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20" name="Group 2719">
                      <a:extLst>
                        <a:ext uri="{FF2B5EF4-FFF2-40B4-BE49-F238E27FC236}">
                          <a16:creationId xmlns:a16="http://schemas.microsoft.com/office/drawing/2014/main" id="{686002ED-42B5-4055-8897-2A2963AE524F}"/>
                        </a:ext>
                      </a:extLst>
                    </p:cNvPr>
                    <p:cNvGrpSpPr/>
                    <p:nvPr/>
                  </p:nvGrpSpPr>
                  <p:grpSpPr>
                    <a:xfrm flipV="1">
                      <a:off x="1202047" y="3517919"/>
                      <a:ext cx="178734" cy="348678"/>
                      <a:chOff x="1207113" y="2241878"/>
                      <a:chExt cx="178734" cy="348678"/>
                    </a:xfrm>
                  </p:grpSpPr>
                  <p:sp>
                    <p:nvSpPr>
                      <p:cNvPr id="2721" name="Freeform 10">
                        <a:extLst>
                          <a:ext uri="{FF2B5EF4-FFF2-40B4-BE49-F238E27FC236}">
                            <a16:creationId xmlns:a16="http://schemas.microsoft.com/office/drawing/2014/main" id="{6F17A859-4066-4CDC-99D4-AE85681F6C1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Line 11">
                        <a:extLst>
                          <a:ext uri="{FF2B5EF4-FFF2-40B4-BE49-F238E27FC236}">
                            <a16:creationId xmlns:a16="http://schemas.microsoft.com/office/drawing/2014/main" id="{067A70BF-85F0-4410-94A2-3462279FE3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70" name="Group 2669">
                  <a:extLst>
                    <a:ext uri="{FF2B5EF4-FFF2-40B4-BE49-F238E27FC236}">
                      <a16:creationId xmlns:a16="http://schemas.microsoft.com/office/drawing/2014/main" id="{CC405CDE-AE18-4129-84B0-1F81FDC152BF}"/>
                    </a:ext>
                  </a:extLst>
                </p:cNvPr>
                <p:cNvGrpSpPr>
                  <a:grpSpLocks/>
                </p:cNvGrpSpPr>
                <p:nvPr/>
              </p:nvGrpSpPr>
              <p:grpSpPr>
                <a:xfrm>
                  <a:off x="11709639" y="2297897"/>
                  <a:ext cx="690952" cy="690956"/>
                  <a:chOff x="2268747" y="4723725"/>
                  <a:chExt cx="415610" cy="415612"/>
                </a:xfrm>
              </p:grpSpPr>
              <p:grpSp>
                <p:nvGrpSpPr>
                  <p:cNvPr id="2671" name="Group 64">
                    <a:extLst>
                      <a:ext uri="{FF2B5EF4-FFF2-40B4-BE49-F238E27FC236}">
                        <a16:creationId xmlns:a16="http://schemas.microsoft.com/office/drawing/2014/main" id="{4DC46FD6-01A0-4F0A-BD28-39DFE6D4FAFE}"/>
                      </a:ext>
                    </a:extLst>
                  </p:cNvPr>
                  <p:cNvGrpSpPr>
                    <a:grpSpLocks noChangeAspect="1"/>
                  </p:cNvGrpSpPr>
                  <p:nvPr/>
                </p:nvGrpSpPr>
                <p:grpSpPr bwMode="auto">
                  <a:xfrm rot="8100000">
                    <a:off x="2268747" y="4723725"/>
                    <a:ext cx="415610" cy="415612"/>
                    <a:chOff x="701" y="2170"/>
                    <a:chExt cx="587" cy="587"/>
                  </a:xfrm>
                </p:grpSpPr>
                <p:sp>
                  <p:nvSpPr>
                    <p:cNvPr id="2686" name="Oval 65">
                      <a:extLst>
                        <a:ext uri="{FF2B5EF4-FFF2-40B4-BE49-F238E27FC236}">
                          <a16:creationId xmlns:a16="http://schemas.microsoft.com/office/drawing/2014/main" id="{789F25FA-3859-4CA5-A2B6-F7B26F453D1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7" name="Line 66">
                      <a:extLst>
                        <a:ext uri="{FF2B5EF4-FFF2-40B4-BE49-F238E27FC236}">
                          <a16:creationId xmlns:a16="http://schemas.microsoft.com/office/drawing/2014/main" id="{C53C68C3-2252-482C-91AA-31479CF99EFF}"/>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Line 67">
                      <a:extLst>
                        <a:ext uri="{FF2B5EF4-FFF2-40B4-BE49-F238E27FC236}">
                          <a16:creationId xmlns:a16="http://schemas.microsoft.com/office/drawing/2014/main" id="{85115DD7-F1A0-4172-A025-86EA5E7B6E0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9" name="Line 69">
                      <a:extLst>
                        <a:ext uri="{FF2B5EF4-FFF2-40B4-BE49-F238E27FC236}">
                          <a16:creationId xmlns:a16="http://schemas.microsoft.com/office/drawing/2014/main" id="{01116238-EC97-4E07-BA0D-C80C2DEF05F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0" name="Line 74">
                      <a:extLst>
                        <a:ext uri="{FF2B5EF4-FFF2-40B4-BE49-F238E27FC236}">
                          <a16:creationId xmlns:a16="http://schemas.microsoft.com/office/drawing/2014/main" id="{49AC45DF-2BBC-4792-883D-4BA0D503AC1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1" name="Freeform 78">
                      <a:extLst>
                        <a:ext uri="{FF2B5EF4-FFF2-40B4-BE49-F238E27FC236}">
                          <a16:creationId xmlns:a16="http://schemas.microsoft.com/office/drawing/2014/main" id="{92036F62-5F28-492B-85E1-21D2E0C0B0F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2" name="Freeform 80">
                      <a:extLst>
                        <a:ext uri="{FF2B5EF4-FFF2-40B4-BE49-F238E27FC236}">
                          <a16:creationId xmlns:a16="http://schemas.microsoft.com/office/drawing/2014/main" id="{0829CAB6-E09F-42C5-96E7-55698FD97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72" name="Group 2671">
                    <a:extLst>
                      <a:ext uri="{FF2B5EF4-FFF2-40B4-BE49-F238E27FC236}">
                        <a16:creationId xmlns:a16="http://schemas.microsoft.com/office/drawing/2014/main" id="{3C31AEE5-D0F8-4841-AB60-B7E2DB6A4684}"/>
                      </a:ext>
                    </a:extLst>
                  </p:cNvPr>
                  <p:cNvGrpSpPr/>
                  <p:nvPr/>
                </p:nvGrpSpPr>
                <p:grpSpPr>
                  <a:xfrm>
                    <a:off x="2318076" y="4830163"/>
                    <a:ext cx="313949" cy="233075"/>
                    <a:chOff x="3707533" y="2731244"/>
                    <a:chExt cx="389644" cy="289271"/>
                  </a:xfrm>
                </p:grpSpPr>
                <p:sp>
                  <p:nvSpPr>
                    <p:cNvPr id="2673" name="Freeform 33">
                      <a:extLst>
                        <a:ext uri="{FF2B5EF4-FFF2-40B4-BE49-F238E27FC236}">
                          <a16:creationId xmlns:a16="http://schemas.microsoft.com/office/drawing/2014/main" id="{0151549A-AC14-49CF-B30B-A1C6F7DF787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34">
                      <a:extLst>
                        <a:ext uri="{FF2B5EF4-FFF2-40B4-BE49-F238E27FC236}">
                          <a16:creationId xmlns:a16="http://schemas.microsoft.com/office/drawing/2014/main" id="{9B4A5EA3-76E0-45DB-9984-6950C3A0484B}"/>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37">
                      <a:extLst>
                        <a:ext uri="{FF2B5EF4-FFF2-40B4-BE49-F238E27FC236}">
                          <a16:creationId xmlns:a16="http://schemas.microsoft.com/office/drawing/2014/main" id="{E1F32185-EA33-472F-99A4-F414D55F7A80}"/>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38">
                      <a:extLst>
                        <a:ext uri="{FF2B5EF4-FFF2-40B4-BE49-F238E27FC236}">
                          <a16:creationId xmlns:a16="http://schemas.microsoft.com/office/drawing/2014/main" id="{42B7BDD0-915F-41F9-952C-09F5AC7537B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32">
                      <a:extLst>
                        <a:ext uri="{FF2B5EF4-FFF2-40B4-BE49-F238E27FC236}">
                          <a16:creationId xmlns:a16="http://schemas.microsoft.com/office/drawing/2014/main" id="{C286092A-C4B2-4E57-B177-4E244B8F93D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35">
                      <a:extLst>
                        <a:ext uri="{FF2B5EF4-FFF2-40B4-BE49-F238E27FC236}">
                          <a16:creationId xmlns:a16="http://schemas.microsoft.com/office/drawing/2014/main" id="{9EC95140-D671-465A-BA7E-D8AB7213C97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36">
                      <a:extLst>
                        <a:ext uri="{FF2B5EF4-FFF2-40B4-BE49-F238E27FC236}">
                          <a16:creationId xmlns:a16="http://schemas.microsoft.com/office/drawing/2014/main" id="{61EC24B0-FF87-4B89-888E-5D40763649B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25">
                      <a:extLst>
                        <a:ext uri="{FF2B5EF4-FFF2-40B4-BE49-F238E27FC236}">
                          <a16:creationId xmlns:a16="http://schemas.microsoft.com/office/drawing/2014/main" id="{4BDB588A-CF09-47C8-993A-044D1DA36267}"/>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39">
                      <a:extLst>
                        <a:ext uri="{FF2B5EF4-FFF2-40B4-BE49-F238E27FC236}">
                          <a16:creationId xmlns:a16="http://schemas.microsoft.com/office/drawing/2014/main" id="{C242D08F-5DAA-4DC1-926F-1377D1A2672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26">
                      <a:extLst>
                        <a:ext uri="{FF2B5EF4-FFF2-40B4-BE49-F238E27FC236}">
                          <a16:creationId xmlns:a16="http://schemas.microsoft.com/office/drawing/2014/main" id="{DD1059B5-A0E3-4E55-877A-DFBA6D3D1F83}"/>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3" name="Rectangle 27">
                      <a:extLst>
                        <a:ext uri="{FF2B5EF4-FFF2-40B4-BE49-F238E27FC236}">
                          <a16:creationId xmlns:a16="http://schemas.microsoft.com/office/drawing/2014/main" id="{E97D6992-06F8-4D99-BD00-F107B5E1E84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4" name="Line 29">
                      <a:extLst>
                        <a:ext uri="{FF2B5EF4-FFF2-40B4-BE49-F238E27FC236}">
                          <a16:creationId xmlns:a16="http://schemas.microsoft.com/office/drawing/2014/main" id="{D16958BA-626F-4B65-9D35-AF764FCCCD5D}"/>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Line 31">
                      <a:extLst>
                        <a:ext uri="{FF2B5EF4-FFF2-40B4-BE49-F238E27FC236}">
                          <a16:creationId xmlns:a16="http://schemas.microsoft.com/office/drawing/2014/main" id="{1C11765E-38F2-45EF-8CE2-6164E0B08D2C}"/>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65" name="Group 2664">
                <a:extLst>
                  <a:ext uri="{FF2B5EF4-FFF2-40B4-BE49-F238E27FC236}">
                    <a16:creationId xmlns:a16="http://schemas.microsoft.com/office/drawing/2014/main" id="{0E2A8DB1-D60C-402C-8581-5E633E172FC8}"/>
                  </a:ext>
                </a:extLst>
              </p:cNvPr>
              <p:cNvGrpSpPr/>
              <p:nvPr/>
            </p:nvGrpSpPr>
            <p:grpSpPr>
              <a:xfrm>
                <a:off x="6802541" y="1842565"/>
                <a:ext cx="314357" cy="580832"/>
                <a:chOff x="6355981" y="199813"/>
                <a:chExt cx="314357" cy="580832"/>
              </a:xfrm>
            </p:grpSpPr>
            <p:pic>
              <p:nvPicPr>
                <p:cNvPr id="2666" name="Picture 2665">
                  <a:extLst>
                    <a:ext uri="{FF2B5EF4-FFF2-40B4-BE49-F238E27FC236}">
                      <a16:creationId xmlns:a16="http://schemas.microsoft.com/office/drawing/2014/main" id="{9FF5EF69-95C2-458A-8AD8-183F54D4A4F2}"/>
                    </a:ext>
                  </a:extLst>
                </p:cNvPr>
                <p:cNvPicPr>
                  <a:picLocks noChangeAspect="1"/>
                </p:cNvPicPr>
                <p:nvPr/>
              </p:nvPicPr>
              <p:blipFill>
                <a:blip r:embed="rId7"/>
                <a:stretch>
                  <a:fillRect/>
                </a:stretch>
              </p:blipFill>
              <p:spPr>
                <a:xfrm>
                  <a:off x="6355981" y="199813"/>
                  <a:ext cx="302738" cy="580832"/>
                </a:xfrm>
                <a:prstGeom prst="rect">
                  <a:avLst/>
                </a:prstGeom>
              </p:spPr>
            </p:pic>
            <p:sp>
              <p:nvSpPr>
                <p:cNvPr id="2667" name="Freeform 152">
                  <a:extLst>
                    <a:ext uri="{FF2B5EF4-FFF2-40B4-BE49-F238E27FC236}">
                      <a16:creationId xmlns:a16="http://schemas.microsoft.com/office/drawing/2014/main" id="{3931DE09-985E-4FF0-AFC1-D29686EAFDB4}"/>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780" name="Picture 2779">
            <a:extLst>
              <a:ext uri="{FF2B5EF4-FFF2-40B4-BE49-F238E27FC236}">
                <a16:creationId xmlns:a16="http://schemas.microsoft.com/office/drawing/2014/main" id="{9CEEAEE1-4BC9-4112-A942-758CEE72D40E}"/>
              </a:ext>
            </a:extLst>
          </p:cNvPr>
          <p:cNvPicPr>
            <a:picLocks noChangeAspect="1"/>
          </p:cNvPicPr>
          <p:nvPr/>
        </p:nvPicPr>
        <p:blipFill>
          <a:blip r:embed="rId8"/>
          <a:stretch>
            <a:fillRect/>
          </a:stretch>
        </p:blipFill>
        <p:spPr>
          <a:xfrm rot="19800000">
            <a:off x="419512" y="4519337"/>
            <a:ext cx="884802" cy="447298"/>
          </a:xfrm>
          <a:prstGeom prst="rect">
            <a:avLst/>
          </a:prstGeom>
        </p:spPr>
      </p:pic>
      <p:graphicFrame>
        <p:nvGraphicFramePr>
          <p:cNvPr id="2781" name="Table 2780">
            <a:extLst>
              <a:ext uri="{FF2B5EF4-FFF2-40B4-BE49-F238E27FC236}">
                <a16:creationId xmlns:a16="http://schemas.microsoft.com/office/drawing/2014/main" id="{5C571614-AF10-414E-9652-6718E81A3D1C}"/>
              </a:ext>
            </a:extLst>
          </p:cNvPr>
          <p:cNvGraphicFramePr>
            <a:graphicFrameLocks noGrp="1"/>
          </p:cNvGraphicFramePr>
          <p:nvPr/>
        </p:nvGraphicFramePr>
        <p:xfrm>
          <a:off x="721500" y="3068775"/>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782" name="Group 2781">
            <a:extLst>
              <a:ext uri="{FF2B5EF4-FFF2-40B4-BE49-F238E27FC236}">
                <a16:creationId xmlns:a16="http://schemas.microsoft.com/office/drawing/2014/main" id="{116A6D74-4ACA-4656-AEB9-8A711DC99F72}"/>
              </a:ext>
            </a:extLst>
          </p:cNvPr>
          <p:cNvGrpSpPr/>
          <p:nvPr/>
        </p:nvGrpSpPr>
        <p:grpSpPr>
          <a:xfrm>
            <a:off x="765376" y="3345522"/>
            <a:ext cx="381241" cy="766727"/>
            <a:chOff x="765576" y="3316088"/>
            <a:chExt cx="381340" cy="766927"/>
          </a:xfrm>
        </p:grpSpPr>
        <p:pic>
          <p:nvPicPr>
            <p:cNvPr id="2783" name="Picture 2782">
              <a:extLst>
                <a:ext uri="{FF2B5EF4-FFF2-40B4-BE49-F238E27FC236}">
                  <a16:creationId xmlns:a16="http://schemas.microsoft.com/office/drawing/2014/main" id="{5691F5DD-8685-435D-8B5D-F4A200401A90}"/>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784" name="Picture 2783">
              <a:extLst>
                <a:ext uri="{FF2B5EF4-FFF2-40B4-BE49-F238E27FC236}">
                  <a16:creationId xmlns:a16="http://schemas.microsoft.com/office/drawing/2014/main" id="{2E4A6DE5-3FD2-4F01-8540-682344C24BAE}"/>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785" name="Picture 2784">
              <a:extLst>
                <a:ext uri="{FF2B5EF4-FFF2-40B4-BE49-F238E27FC236}">
                  <a16:creationId xmlns:a16="http://schemas.microsoft.com/office/drawing/2014/main" id="{8B5E5F2B-BCA0-4138-A8BC-2F2BD3330A0E}"/>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786" name="Rectangle 2785">
            <a:extLst>
              <a:ext uri="{FF2B5EF4-FFF2-40B4-BE49-F238E27FC236}">
                <a16:creationId xmlns:a16="http://schemas.microsoft.com/office/drawing/2014/main" id="{A8F3906E-0A31-46B5-92C3-7B7725A4F6B3}"/>
              </a:ext>
            </a:extLst>
          </p:cNvPr>
          <p:cNvSpPr>
            <a:spLocks/>
          </p:cNvSpPr>
          <p:nvPr/>
        </p:nvSpPr>
        <p:spPr bwMode="gray">
          <a:xfrm>
            <a:off x="390508" y="1551301"/>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787" name="Group 2786">
            <a:extLst>
              <a:ext uri="{FF2B5EF4-FFF2-40B4-BE49-F238E27FC236}">
                <a16:creationId xmlns:a16="http://schemas.microsoft.com/office/drawing/2014/main" id="{C3247AD9-BB7D-4D45-8B5F-C54C2E18481A}"/>
              </a:ext>
            </a:extLst>
          </p:cNvPr>
          <p:cNvGrpSpPr/>
          <p:nvPr/>
        </p:nvGrpSpPr>
        <p:grpSpPr>
          <a:xfrm>
            <a:off x="3473504" y="1615862"/>
            <a:ext cx="3106888" cy="2174645"/>
            <a:chOff x="3474409" y="1753652"/>
            <a:chExt cx="3107697" cy="2175211"/>
          </a:xfrm>
        </p:grpSpPr>
        <p:sp>
          <p:nvSpPr>
            <p:cNvPr id="2788" name="Rectangle 2787">
              <a:extLst>
                <a:ext uri="{FF2B5EF4-FFF2-40B4-BE49-F238E27FC236}">
                  <a16:creationId xmlns:a16="http://schemas.microsoft.com/office/drawing/2014/main" id="{DCFF4DE0-F488-4B10-A20D-D1329C8DC2B2}"/>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2789" name="Group 2788">
              <a:extLst>
                <a:ext uri="{FF2B5EF4-FFF2-40B4-BE49-F238E27FC236}">
                  <a16:creationId xmlns:a16="http://schemas.microsoft.com/office/drawing/2014/main" id="{7794E59D-51EB-4440-9472-AE8582FF997F}"/>
                </a:ext>
              </a:extLst>
            </p:cNvPr>
            <p:cNvGrpSpPr/>
            <p:nvPr/>
          </p:nvGrpSpPr>
          <p:grpSpPr>
            <a:xfrm>
              <a:off x="3474409" y="1753652"/>
              <a:ext cx="3107697" cy="1338890"/>
              <a:chOff x="3474409" y="1753652"/>
              <a:chExt cx="3107697" cy="1338890"/>
            </a:xfrm>
          </p:grpSpPr>
          <p:sp>
            <p:nvSpPr>
              <p:cNvPr id="2790" name="Rectangle 2789">
                <a:extLst>
                  <a:ext uri="{FF2B5EF4-FFF2-40B4-BE49-F238E27FC236}">
                    <a16:creationId xmlns:a16="http://schemas.microsoft.com/office/drawing/2014/main" id="{13AAB0FA-1723-4E34-92A6-CA9766E874EA}"/>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791" name="Group 2790">
                <a:extLst>
                  <a:ext uri="{FF2B5EF4-FFF2-40B4-BE49-F238E27FC236}">
                    <a16:creationId xmlns:a16="http://schemas.microsoft.com/office/drawing/2014/main" id="{1BD3BD95-5A80-4B1F-8F64-7E08DC34255D}"/>
                  </a:ext>
                </a:extLst>
              </p:cNvPr>
              <p:cNvGrpSpPr/>
              <p:nvPr/>
            </p:nvGrpSpPr>
            <p:grpSpPr>
              <a:xfrm>
                <a:off x="3504077" y="2398698"/>
                <a:ext cx="1559613" cy="693844"/>
                <a:chOff x="3512580" y="2236718"/>
                <a:chExt cx="1563594" cy="695615"/>
              </a:xfrm>
            </p:grpSpPr>
            <p:grpSp>
              <p:nvGrpSpPr>
                <p:cNvPr id="2825" name="Group 2824">
                  <a:extLst>
                    <a:ext uri="{FF2B5EF4-FFF2-40B4-BE49-F238E27FC236}">
                      <a16:creationId xmlns:a16="http://schemas.microsoft.com/office/drawing/2014/main" id="{124585FF-1191-415A-B6D0-9A74D582E15E}"/>
                    </a:ext>
                  </a:extLst>
                </p:cNvPr>
                <p:cNvGrpSpPr>
                  <a:grpSpLocks/>
                </p:cNvGrpSpPr>
                <p:nvPr/>
              </p:nvGrpSpPr>
              <p:grpSpPr>
                <a:xfrm>
                  <a:off x="3512580" y="2240647"/>
                  <a:ext cx="418017" cy="418017"/>
                  <a:chOff x="745985" y="4768134"/>
                  <a:chExt cx="368776" cy="368777"/>
                </a:xfrm>
              </p:grpSpPr>
              <p:grpSp>
                <p:nvGrpSpPr>
                  <p:cNvPr id="2889" name="Group 64">
                    <a:extLst>
                      <a:ext uri="{FF2B5EF4-FFF2-40B4-BE49-F238E27FC236}">
                        <a16:creationId xmlns:a16="http://schemas.microsoft.com/office/drawing/2014/main" id="{34F360FD-BD05-46B0-BC38-CD49FDFC1843}"/>
                      </a:ext>
                    </a:extLst>
                  </p:cNvPr>
                  <p:cNvGrpSpPr>
                    <a:grpSpLocks noChangeAspect="1"/>
                  </p:cNvGrpSpPr>
                  <p:nvPr/>
                </p:nvGrpSpPr>
                <p:grpSpPr bwMode="auto">
                  <a:xfrm rot="8100000">
                    <a:off x="745985" y="4768134"/>
                    <a:ext cx="368776" cy="368777"/>
                    <a:chOff x="701" y="2170"/>
                    <a:chExt cx="587" cy="587"/>
                  </a:xfrm>
                </p:grpSpPr>
                <p:sp>
                  <p:nvSpPr>
                    <p:cNvPr id="2900" name="Oval 65">
                      <a:extLst>
                        <a:ext uri="{FF2B5EF4-FFF2-40B4-BE49-F238E27FC236}">
                          <a16:creationId xmlns:a16="http://schemas.microsoft.com/office/drawing/2014/main" id="{BD8842C8-6ECD-421A-8B2A-6C1F160BF892}"/>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901" name="Line 66">
                      <a:extLst>
                        <a:ext uri="{FF2B5EF4-FFF2-40B4-BE49-F238E27FC236}">
                          <a16:creationId xmlns:a16="http://schemas.microsoft.com/office/drawing/2014/main" id="{89161B8B-D868-44C9-A6FE-D8F8B6247AC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2" name="Line 67">
                      <a:extLst>
                        <a:ext uri="{FF2B5EF4-FFF2-40B4-BE49-F238E27FC236}">
                          <a16:creationId xmlns:a16="http://schemas.microsoft.com/office/drawing/2014/main" id="{92C51CB2-8361-4D59-BEE5-EBD60E915B5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3" name="Line 69">
                      <a:extLst>
                        <a:ext uri="{FF2B5EF4-FFF2-40B4-BE49-F238E27FC236}">
                          <a16:creationId xmlns:a16="http://schemas.microsoft.com/office/drawing/2014/main" id="{D1438558-54A8-4161-B191-E07D4105851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4" name="Line 74">
                      <a:extLst>
                        <a:ext uri="{FF2B5EF4-FFF2-40B4-BE49-F238E27FC236}">
                          <a16:creationId xmlns:a16="http://schemas.microsoft.com/office/drawing/2014/main" id="{6B613237-D0B5-41EF-96D4-F215053AC37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5" name="Freeform 78">
                      <a:extLst>
                        <a:ext uri="{FF2B5EF4-FFF2-40B4-BE49-F238E27FC236}">
                          <a16:creationId xmlns:a16="http://schemas.microsoft.com/office/drawing/2014/main" id="{89D39A45-A7C3-4DCB-BC12-96C06349379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6" name="Freeform 80">
                      <a:extLst>
                        <a:ext uri="{FF2B5EF4-FFF2-40B4-BE49-F238E27FC236}">
                          <a16:creationId xmlns:a16="http://schemas.microsoft.com/office/drawing/2014/main" id="{4791BBDB-1F24-4187-AF6E-81B95B57D8C7}"/>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90" name="Group 2889">
                    <a:extLst>
                      <a:ext uri="{FF2B5EF4-FFF2-40B4-BE49-F238E27FC236}">
                        <a16:creationId xmlns:a16="http://schemas.microsoft.com/office/drawing/2014/main" id="{ABB58CB3-2D65-4685-871A-A42D6CB3D812}"/>
                      </a:ext>
                    </a:extLst>
                  </p:cNvPr>
                  <p:cNvGrpSpPr/>
                  <p:nvPr/>
                </p:nvGrpSpPr>
                <p:grpSpPr>
                  <a:xfrm>
                    <a:off x="837312" y="4814434"/>
                    <a:ext cx="136805" cy="278689"/>
                    <a:chOff x="2806700" y="2803319"/>
                    <a:chExt cx="433387" cy="882861"/>
                  </a:xfrm>
                </p:grpSpPr>
                <p:grpSp>
                  <p:nvGrpSpPr>
                    <p:cNvPr id="2891" name="Group 2890">
                      <a:extLst>
                        <a:ext uri="{FF2B5EF4-FFF2-40B4-BE49-F238E27FC236}">
                          <a16:creationId xmlns:a16="http://schemas.microsoft.com/office/drawing/2014/main" id="{2EFA0C82-8378-4315-A5B4-E6DD355AF079}"/>
                        </a:ext>
                      </a:extLst>
                    </p:cNvPr>
                    <p:cNvGrpSpPr>
                      <a:grpSpLocks noChangeAspect="1"/>
                    </p:cNvGrpSpPr>
                    <p:nvPr/>
                  </p:nvGrpSpPr>
                  <p:grpSpPr bwMode="auto">
                    <a:xfrm>
                      <a:off x="2806700" y="3043242"/>
                      <a:ext cx="433387" cy="642938"/>
                      <a:chOff x="1768" y="1917"/>
                      <a:chExt cx="273" cy="405"/>
                    </a:xfrm>
                  </p:grpSpPr>
                  <p:sp>
                    <p:nvSpPr>
                      <p:cNvPr id="2893" name="Freeform 52">
                        <a:extLst>
                          <a:ext uri="{FF2B5EF4-FFF2-40B4-BE49-F238E27FC236}">
                            <a16:creationId xmlns:a16="http://schemas.microsoft.com/office/drawing/2014/main" id="{7ADBEA46-9E55-4EEB-A89A-F7CE8B07E4C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94" name="Line 54">
                        <a:extLst>
                          <a:ext uri="{FF2B5EF4-FFF2-40B4-BE49-F238E27FC236}">
                            <a16:creationId xmlns:a16="http://schemas.microsoft.com/office/drawing/2014/main" id="{535539C8-595E-41B6-90C0-C93A3526842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5" name="Line 55">
                        <a:extLst>
                          <a:ext uri="{FF2B5EF4-FFF2-40B4-BE49-F238E27FC236}">
                            <a16:creationId xmlns:a16="http://schemas.microsoft.com/office/drawing/2014/main" id="{285B76A7-0480-49DD-A462-5F69C8E9189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6" name="Freeform 56">
                        <a:extLst>
                          <a:ext uri="{FF2B5EF4-FFF2-40B4-BE49-F238E27FC236}">
                            <a16:creationId xmlns:a16="http://schemas.microsoft.com/office/drawing/2014/main" id="{BF4E3EC5-F235-4B2C-A862-DF4101D54248}"/>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7" name="Line 57">
                        <a:extLst>
                          <a:ext uri="{FF2B5EF4-FFF2-40B4-BE49-F238E27FC236}">
                            <a16:creationId xmlns:a16="http://schemas.microsoft.com/office/drawing/2014/main" id="{36218258-E493-4306-8FF7-C5CFF59BEEA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8" name="Freeform 58">
                        <a:extLst>
                          <a:ext uri="{FF2B5EF4-FFF2-40B4-BE49-F238E27FC236}">
                            <a16:creationId xmlns:a16="http://schemas.microsoft.com/office/drawing/2014/main" id="{FA084AE5-B2D3-4A26-8265-859050F16A1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9" name="Rectangle 2898">
                        <a:extLst>
                          <a:ext uri="{FF2B5EF4-FFF2-40B4-BE49-F238E27FC236}">
                            <a16:creationId xmlns:a16="http://schemas.microsoft.com/office/drawing/2014/main" id="{739E3D4B-4E7A-465D-87BF-B7368F39D79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892" name="Oval 2891">
                      <a:extLst>
                        <a:ext uri="{FF2B5EF4-FFF2-40B4-BE49-F238E27FC236}">
                          <a16:creationId xmlns:a16="http://schemas.microsoft.com/office/drawing/2014/main" id="{D5C7C20F-C863-409F-A9B2-A24DCD709165}"/>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826" name="Group 2825">
                  <a:extLst>
                    <a:ext uri="{FF2B5EF4-FFF2-40B4-BE49-F238E27FC236}">
                      <a16:creationId xmlns:a16="http://schemas.microsoft.com/office/drawing/2014/main" id="{D5C6DCF7-09F1-43DA-A170-67E2E37DC81C}"/>
                    </a:ext>
                  </a:extLst>
                </p:cNvPr>
                <p:cNvGrpSpPr>
                  <a:grpSpLocks/>
                </p:cNvGrpSpPr>
                <p:nvPr/>
              </p:nvGrpSpPr>
              <p:grpSpPr>
                <a:xfrm>
                  <a:off x="3989965" y="2395465"/>
                  <a:ext cx="536865" cy="536868"/>
                  <a:chOff x="1454941" y="4721722"/>
                  <a:chExt cx="473625" cy="473627"/>
                </a:xfrm>
              </p:grpSpPr>
              <p:grpSp>
                <p:nvGrpSpPr>
                  <p:cNvPr id="2850" name="Group 64">
                    <a:extLst>
                      <a:ext uri="{FF2B5EF4-FFF2-40B4-BE49-F238E27FC236}">
                        <a16:creationId xmlns:a16="http://schemas.microsoft.com/office/drawing/2014/main" id="{1D0A8E86-86CC-4757-904A-7F9A4904C590}"/>
                      </a:ext>
                    </a:extLst>
                  </p:cNvPr>
                  <p:cNvGrpSpPr>
                    <a:grpSpLocks noChangeAspect="1"/>
                  </p:cNvGrpSpPr>
                  <p:nvPr/>
                </p:nvGrpSpPr>
                <p:grpSpPr bwMode="auto">
                  <a:xfrm rot="8100000">
                    <a:off x="1454941" y="4721722"/>
                    <a:ext cx="473625" cy="473627"/>
                    <a:chOff x="701" y="2170"/>
                    <a:chExt cx="587" cy="587"/>
                  </a:xfrm>
                </p:grpSpPr>
                <p:sp>
                  <p:nvSpPr>
                    <p:cNvPr id="2882" name="Oval 65">
                      <a:extLst>
                        <a:ext uri="{FF2B5EF4-FFF2-40B4-BE49-F238E27FC236}">
                          <a16:creationId xmlns:a16="http://schemas.microsoft.com/office/drawing/2014/main" id="{55F913C5-2E68-4D6E-BE4A-559981517C2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83" name="Line 66">
                      <a:extLst>
                        <a:ext uri="{FF2B5EF4-FFF2-40B4-BE49-F238E27FC236}">
                          <a16:creationId xmlns:a16="http://schemas.microsoft.com/office/drawing/2014/main" id="{BC784C99-EC83-4463-81D7-D0FBC9E65519}"/>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4" name="Line 67">
                      <a:extLst>
                        <a:ext uri="{FF2B5EF4-FFF2-40B4-BE49-F238E27FC236}">
                          <a16:creationId xmlns:a16="http://schemas.microsoft.com/office/drawing/2014/main" id="{B1C95774-80EA-4C57-9970-0CE92CFC932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5" name="Line 69">
                      <a:extLst>
                        <a:ext uri="{FF2B5EF4-FFF2-40B4-BE49-F238E27FC236}">
                          <a16:creationId xmlns:a16="http://schemas.microsoft.com/office/drawing/2014/main" id="{660D7693-309E-4EE4-A996-D3ABCCBD6B47}"/>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6" name="Line 74">
                      <a:extLst>
                        <a:ext uri="{FF2B5EF4-FFF2-40B4-BE49-F238E27FC236}">
                          <a16:creationId xmlns:a16="http://schemas.microsoft.com/office/drawing/2014/main" id="{F07AB838-726C-4C27-86E6-983491355B5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7" name="Freeform 78">
                      <a:extLst>
                        <a:ext uri="{FF2B5EF4-FFF2-40B4-BE49-F238E27FC236}">
                          <a16:creationId xmlns:a16="http://schemas.microsoft.com/office/drawing/2014/main" id="{11A482CE-1ABC-4564-9D24-C76259F36D6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8" name="Freeform 80">
                      <a:extLst>
                        <a:ext uri="{FF2B5EF4-FFF2-40B4-BE49-F238E27FC236}">
                          <a16:creationId xmlns:a16="http://schemas.microsoft.com/office/drawing/2014/main" id="{BC5BDC75-52B7-431D-94A2-4AACBE5BC6E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51" name="Group 2850">
                    <a:extLst>
                      <a:ext uri="{FF2B5EF4-FFF2-40B4-BE49-F238E27FC236}">
                        <a16:creationId xmlns:a16="http://schemas.microsoft.com/office/drawing/2014/main" id="{88BEB8B0-12EF-4DA4-8A92-DAE8748EDCDF}"/>
                      </a:ext>
                    </a:extLst>
                  </p:cNvPr>
                  <p:cNvGrpSpPr/>
                  <p:nvPr/>
                </p:nvGrpSpPr>
                <p:grpSpPr>
                  <a:xfrm>
                    <a:off x="1511214" y="4789508"/>
                    <a:ext cx="356509" cy="349884"/>
                    <a:chOff x="468738" y="2241878"/>
                    <a:chExt cx="1655483" cy="1624719"/>
                  </a:xfrm>
                </p:grpSpPr>
                <p:sp>
                  <p:nvSpPr>
                    <p:cNvPr id="2852" name="Freeform 5">
                      <a:extLst>
                        <a:ext uri="{FF2B5EF4-FFF2-40B4-BE49-F238E27FC236}">
                          <a16:creationId xmlns:a16="http://schemas.microsoft.com/office/drawing/2014/main" id="{F95E5343-0075-489A-9126-5816D0B57C1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53" name="Freeform 6">
                      <a:extLst>
                        <a:ext uri="{FF2B5EF4-FFF2-40B4-BE49-F238E27FC236}">
                          <a16:creationId xmlns:a16="http://schemas.microsoft.com/office/drawing/2014/main" id="{926C41C5-CE8B-4258-A384-357C3897D06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4" name="Line 7">
                      <a:extLst>
                        <a:ext uri="{FF2B5EF4-FFF2-40B4-BE49-F238E27FC236}">
                          <a16:creationId xmlns:a16="http://schemas.microsoft.com/office/drawing/2014/main" id="{BC71F336-7C8F-48B5-8A9F-679ADD1ED15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5" name="Freeform 8">
                      <a:extLst>
                        <a:ext uri="{FF2B5EF4-FFF2-40B4-BE49-F238E27FC236}">
                          <a16:creationId xmlns:a16="http://schemas.microsoft.com/office/drawing/2014/main" id="{BCAA8535-697F-46B2-B757-A300795A3B42}"/>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6" name="Line 9">
                      <a:extLst>
                        <a:ext uri="{FF2B5EF4-FFF2-40B4-BE49-F238E27FC236}">
                          <a16:creationId xmlns:a16="http://schemas.microsoft.com/office/drawing/2014/main" id="{4AF3945B-2C65-4336-B1C4-34474A591B13}"/>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57" name="Group 2856">
                      <a:extLst>
                        <a:ext uri="{FF2B5EF4-FFF2-40B4-BE49-F238E27FC236}">
                          <a16:creationId xmlns:a16="http://schemas.microsoft.com/office/drawing/2014/main" id="{027CD6D7-7EDB-4CBF-9500-39C132148A55}"/>
                        </a:ext>
                      </a:extLst>
                    </p:cNvPr>
                    <p:cNvGrpSpPr/>
                    <p:nvPr/>
                  </p:nvGrpSpPr>
                  <p:grpSpPr>
                    <a:xfrm>
                      <a:off x="1207113" y="2241878"/>
                      <a:ext cx="178734" cy="348678"/>
                      <a:chOff x="1207113" y="2241878"/>
                      <a:chExt cx="178734" cy="348678"/>
                    </a:xfrm>
                  </p:grpSpPr>
                  <p:sp>
                    <p:nvSpPr>
                      <p:cNvPr id="2880" name="Freeform 10">
                        <a:extLst>
                          <a:ext uri="{FF2B5EF4-FFF2-40B4-BE49-F238E27FC236}">
                            <a16:creationId xmlns:a16="http://schemas.microsoft.com/office/drawing/2014/main" id="{AF625847-F6FB-42DC-904C-2578EA26467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1" name="Line 11">
                        <a:extLst>
                          <a:ext uri="{FF2B5EF4-FFF2-40B4-BE49-F238E27FC236}">
                            <a16:creationId xmlns:a16="http://schemas.microsoft.com/office/drawing/2014/main" id="{CF07C85E-C562-47E7-8EDC-BBA9272C21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858" name="Freeform 12">
                      <a:extLst>
                        <a:ext uri="{FF2B5EF4-FFF2-40B4-BE49-F238E27FC236}">
                          <a16:creationId xmlns:a16="http://schemas.microsoft.com/office/drawing/2014/main" id="{2F6B15E8-91C5-4F7D-92B5-EE6E5B0D52BF}"/>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9" name="Line 13">
                      <a:extLst>
                        <a:ext uri="{FF2B5EF4-FFF2-40B4-BE49-F238E27FC236}">
                          <a16:creationId xmlns:a16="http://schemas.microsoft.com/office/drawing/2014/main" id="{C25C8303-B4B6-4545-A9EE-2218CCE1A9C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0" name="Freeform 14">
                      <a:extLst>
                        <a:ext uri="{FF2B5EF4-FFF2-40B4-BE49-F238E27FC236}">
                          <a16:creationId xmlns:a16="http://schemas.microsoft.com/office/drawing/2014/main" id="{5F86F525-DB26-43EB-A88F-AA8234709CA9}"/>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1" name="Line 15">
                      <a:extLst>
                        <a:ext uri="{FF2B5EF4-FFF2-40B4-BE49-F238E27FC236}">
                          <a16:creationId xmlns:a16="http://schemas.microsoft.com/office/drawing/2014/main" id="{4D07ED8B-6CF9-498D-9793-8DCE67F5301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2" name="Freeform 16">
                      <a:extLst>
                        <a:ext uri="{FF2B5EF4-FFF2-40B4-BE49-F238E27FC236}">
                          <a16:creationId xmlns:a16="http://schemas.microsoft.com/office/drawing/2014/main" id="{C3C868A0-8B1A-4C52-AAD5-E812F5F5513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3" name="Line 17">
                      <a:extLst>
                        <a:ext uri="{FF2B5EF4-FFF2-40B4-BE49-F238E27FC236}">
                          <a16:creationId xmlns:a16="http://schemas.microsoft.com/office/drawing/2014/main" id="{DA743EE4-7352-49C1-830C-F6283FD29B8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4" name="Freeform 18">
                      <a:extLst>
                        <a:ext uri="{FF2B5EF4-FFF2-40B4-BE49-F238E27FC236}">
                          <a16:creationId xmlns:a16="http://schemas.microsoft.com/office/drawing/2014/main" id="{F1D213F7-7ACE-479F-BC32-F54952E2AAAF}"/>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5" name="Line 19">
                      <a:extLst>
                        <a:ext uri="{FF2B5EF4-FFF2-40B4-BE49-F238E27FC236}">
                          <a16:creationId xmlns:a16="http://schemas.microsoft.com/office/drawing/2014/main" id="{084B1E32-7A8E-4A29-9391-EC2E2A99C7C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6" name="Freeform 35">
                      <a:extLst>
                        <a:ext uri="{FF2B5EF4-FFF2-40B4-BE49-F238E27FC236}">
                          <a16:creationId xmlns:a16="http://schemas.microsoft.com/office/drawing/2014/main" id="{07831DDB-8511-4F02-9E5F-E054CCC6B18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67" name="Freeform 36">
                      <a:extLst>
                        <a:ext uri="{FF2B5EF4-FFF2-40B4-BE49-F238E27FC236}">
                          <a16:creationId xmlns:a16="http://schemas.microsoft.com/office/drawing/2014/main" id="{45EE5BE8-4EFB-4032-B939-0F0FCD937CC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8" name="Freeform 37">
                      <a:extLst>
                        <a:ext uri="{FF2B5EF4-FFF2-40B4-BE49-F238E27FC236}">
                          <a16:creationId xmlns:a16="http://schemas.microsoft.com/office/drawing/2014/main" id="{2CA16CE2-1E63-4009-B177-A60EDF712216}"/>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9" name="Freeform 38">
                      <a:extLst>
                        <a:ext uri="{FF2B5EF4-FFF2-40B4-BE49-F238E27FC236}">
                          <a16:creationId xmlns:a16="http://schemas.microsoft.com/office/drawing/2014/main" id="{53506708-F567-4C2D-B262-6B8E6C35649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0" name="Freeform 39">
                      <a:extLst>
                        <a:ext uri="{FF2B5EF4-FFF2-40B4-BE49-F238E27FC236}">
                          <a16:creationId xmlns:a16="http://schemas.microsoft.com/office/drawing/2014/main" id="{8489A8A6-C296-45CC-8457-D0BB6CD103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1" name="Freeform 40">
                      <a:extLst>
                        <a:ext uri="{FF2B5EF4-FFF2-40B4-BE49-F238E27FC236}">
                          <a16:creationId xmlns:a16="http://schemas.microsoft.com/office/drawing/2014/main" id="{0FA0DAD5-3C5F-46B1-A1F5-9A3242A1EF58}"/>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2" name="Freeform 41">
                      <a:extLst>
                        <a:ext uri="{FF2B5EF4-FFF2-40B4-BE49-F238E27FC236}">
                          <a16:creationId xmlns:a16="http://schemas.microsoft.com/office/drawing/2014/main" id="{037D707B-D71A-4707-9BE4-FBA6D5B41FC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3" name="Line 42">
                      <a:extLst>
                        <a:ext uri="{FF2B5EF4-FFF2-40B4-BE49-F238E27FC236}">
                          <a16:creationId xmlns:a16="http://schemas.microsoft.com/office/drawing/2014/main" id="{D05756EB-1D2F-446F-805E-C41A1546D61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4" name="Freeform 43">
                      <a:extLst>
                        <a:ext uri="{FF2B5EF4-FFF2-40B4-BE49-F238E27FC236}">
                          <a16:creationId xmlns:a16="http://schemas.microsoft.com/office/drawing/2014/main" id="{815E68C6-649A-49A2-8E90-F112CC17E46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5" name="Freeform 44">
                      <a:extLst>
                        <a:ext uri="{FF2B5EF4-FFF2-40B4-BE49-F238E27FC236}">
                          <a16:creationId xmlns:a16="http://schemas.microsoft.com/office/drawing/2014/main" id="{0CC4FD28-502F-4CF2-A652-4F1E7256136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6" name="Freeform 45">
                      <a:extLst>
                        <a:ext uri="{FF2B5EF4-FFF2-40B4-BE49-F238E27FC236}">
                          <a16:creationId xmlns:a16="http://schemas.microsoft.com/office/drawing/2014/main" id="{1A876F80-ADA2-4F0F-8485-7971CAFB081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77" name="Group 2876">
                      <a:extLst>
                        <a:ext uri="{FF2B5EF4-FFF2-40B4-BE49-F238E27FC236}">
                          <a16:creationId xmlns:a16="http://schemas.microsoft.com/office/drawing/2014/main" id="{08394D4F-641E-4D1E-85B7-186B78A49A0F}"/>
                        </a:ext>
                      </a:extLst>
                    </p:cNvPr>
                    <p:cNvGrpSpPr/>
                    <p:nvPr/>
                  </p:nvGrpSpPr>
                  <p:grpSpPr>
                    <a:xfrm flipV="1">
                      <a:off x="1202047" y="3517919"/>
                      <a:ext cx="178734" cy="348678"/>
                      <a:chOff x="1207113" y="2241878"/>
                      <a:chExt cx="178734" cy="348678"/>
                    </a:xfrm>
                  </p:grpSpPr>
                  <p:sp>
                    <p:nvSpPr>
                      <p:cNvPr id="2878" name="Freeform 10">
                        <a:extLst>
                          <a:ext uri="{FF2B5EF4-FFF2-40B4-BE49-F238E27FC236}">
                            <a16:creationId xmlns:a16="http://schemas.microsoft.com/office/drawing/2014/main" id="{D86E445A-22D5-45CB-9184-DA4CE11E836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9" name="Line 11">
                        <a:extLst>
                          <a:ext uri="{FF2B5EF4-FFF2-40B4-BE49-F238E27FC236}">
                            <a16:creationId xmlns:a16="http://schemas.microsoft.com/office/drawing/2014/main" id="{3A8F6D2A-4C65-4FFD-9565-7F677D51A5A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7" name="Group 2826">
                  <a:extLst>
                    <a:ext uri="{FF2B5EF4-FFF2-40B4-BE49-F238E27FC236}">
                      <a16:creationId xmlns:a16="http://schemas.microsoft.com/office/drawing/2014/main" id="{20B66575-AEC5-44A6-8963-CCD13E5E7614}"/>
                    </a:ext>
                  </a:extLst>
                </p:cNvPr>
                <p:cNvGrpSpPr>
                  <a:grpSpLocks/>
                </p:cNvGrpSpPr>
                <p:nvPr/>
              </p:nvGrpSpPr>
              <p:grpSpPr>
                <a:xfrm>
                  <a:off x="4605070" y="2236718"/>
                  <a:ext cx="471104" cy="471107"/>
                  <a:chOff x="2268747" y="4723725"/>
                  <a:chExt cx="415610" cy="415612"/>
                </a:xfrm>
              </p:grpSpPr>
              <p:grpSp>
                <p:nvGrpSpPr>
                  <p:cNvPr id="2828" name="Group 64">
                    <a:extLst>
                      <a:ext uri="{FF2B5EF4-FFF2-40B4-BE49-F238E27FC236}">
                        <a16:creationId xmlns:a16="http://schemas.microsoft.com/office/drawing/2014/main" id="{0B78C658-552D-415D-9BE6-F47813A66A6B}"/>
                      </a:ext>
                    </a:extLst>
                  </p:cNvPr>
                  <p:cNvGrpSpPr>
                    <a:grpSpLocks noChangeAspect="1"/>
                  </p:cNvGrpSpPr>
                  <p:nvPr/>
                </p:nvGrpSpPr>
                <p:grpSpPr bwMode="auto">
                  <a:xfrm rot="8100000">
                    <a:off x="2268747" y="4723725"/>
                    <a:ext cx="415610" cy="415612"/>
                    <a:chOff x="701" y="2170"/>
                    <a:chExt cx="587" cy="587"/>
                  </a:xfrm>
                </p:grpSpPr>
                <p:sp>
                  <p:nvSpPr>
                    <p:cNvPr id="2843" name="Oval 65">
                      <a:extLst>
                        <a:ext uri="{FF2B5EF4-FFF2-40B4-BE49-F238E27FC236}">
                          <a16:creationId xmlns:a16="http://schemas.microsoft.com/office/drawing/2014/main" id="{FEB63568-0FAD-45BD-8B72-840BAEAA8A7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4" name="Line 66">
                      <a:extLst>
                        <a:ext uri="{FF2B5EF4-FFF2-40B4-BE49-F238E27FC236}">
                          <a16:creationId xmlns:a16="http://schemas.microsoft.com/office/drawing/2014/main" id="{D3E4DDD4-CF49-4143-8302-649229FB1EF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5" name="Line 67">
                      <a:extLst>
                        <a:ext uri="{FF2B5EF4-FFF2-40B4-BE49-F238E27FC236}">
                          <a16:creationId xmlns:a16="http://schemas.microsoft.com/office/drawing/2014/main" id="{14A79A59-660D-41A6-AD8E-9493FCB7E13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6" name="Line 69">
                      <a:extLst>
                        <a:ext uri="{FF2B5EF4-FFF2-40B4-BE49-F238E27FC236}">
                          <a16:creationId xmlns:a16="http://schemas.microsoft.com/office/drawing/2014/main" id="{2CAE62EE-6361-4862-A174-EE039A66D1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7" name="Line 74">
                      <a:extLst>
                        <a:ext uri="{FF2B5EF4-FFF2-40B4-BE49-F238E27FC236}">
                          <a16:creationId xmlns:a16="http://schemas.microsoft.com/office/drawing/2014/main" id="{02F0128E-8BB1-4DAF-917A-2A2C2D8CE42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8" name="Freeform 78">
                      <a:extLst>
                        <a:ext uri="{FF2B5EF4-FFF2-40B4-BE49-F238E27FC236}">
                          <a16:creationId xmlns:a16="http://schemas.microsoft.com/office/drawing/2014/main" id="{9FB9136D-C0CB-47FE-B315-E28DB827A1E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9" name="Freeform 80">
                      <a:extLst>
                        <a:ext uri="{FF2B5EF4-FFF2-40B4-BE49-F238E27FC236}">
                          <a16:creationId xmlns:a16="http://schemas.microsoft.com/office/drawing/2014/main" id="{E71D0A86-D961-4E75-BDE5-89C21EAC722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29" name="Group 2828">
                    <a:extLst>
                      <a:ext uri="{FF2B5EF4-FFF2-40B4-BE49-F238E27FC236}">
                        <a16:creationId xmlns:a16="http://schemas.microsoft.com/office/drawing/2014/main" id="{2BCBE843-5A8C-49F5-B254-BFC2341FF2E6}"/>
                      </a:ext>
                    </a:extLst>
                  </p:cNvPr>
                  <p:cNvGrpSpPr/>
                  <p:nvPr/>
                </p:nvGrpSpPr>
                <p:grpSpPr>
                  <a:xfrm>
                    <a:off x="2318076" y="4830163"/>
                    <a:ext cx="313949" cy="233075"/>
                    <a:chOff x="3707533" y="2731244"/>
                    <a:chExt cx="389644" cy="289271"/>
                  </a:xfrm>
                </p:grpSpPr>
                <p:sp>
                  <p:nvSpPr>
                    <p:cNvPr id="2830" name="Freeform 33">
                      <a:extLst>
                        <a:ext uri="{FF2B5EF4-FFF2-40B4-BE49-F238E27FC236}">
                          <a16:creationId xmlns:a16="http://schemas.microsoft.com/office/drawing/2014/main" id="{29152E43-7908-4D39-89B6-041B0E1B412E}"/>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1" name="Freeform 34">
                      <a:extLst>
                        <a:ext uri="{FF2B5EF4-FFF2-40B4-BE49-F238E27FC236}">
                          <a16:creationId xmlns:a16="http://schemas.microsoft.com/office/drawing/2014/main" id="{BF0A0776-1555-4302-9FBF-A869A0AE2362}"/>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2" name="Freeform 37">
                      <a:extLst>
                        <a:ext uri="{FF2B5EF4-FFF2-40B4-BE49-F238E27FC236}">
                          <a16:creationId xmlns:a16="http://schemas.microsoft.com/office/drawing/2014/main" id="{4F650D9E-F1A1-4C1F-9C61-651319FBE12C}"/>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3" name="Freeform 38">
                      <a:extLst>
                        <a:ext uri="{FF2B5EF4-FFF2-40B4-BE49-F238E27FC236}">
                          <a16:creationId xmlns:a16="http://schemas.microsoft.com/office/drawing/2014/main" id="{47E2741C-C085-4C85-AC60-65C9BEEEAD73}"/>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4" name="Freeform 32">
                      <a:extLst>
                        <a:ext uri="{FF2B5EF4-FFF2-40B4-BE49-F238E27FC236}">
                          <a16:creationId xmlns:a16="http://schemas.microsoft.com/office/drawing/2014/main" id="{4E3BFA5F-0405-4EB9-8A82-EC3D5EE58A11}"/>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5" name="Freeform 35">
                      <a:extLst>
                        <a:ext uri="{FF2B5EF4-FFF2-40B4-BE49-F238E27FC236}">
                          <a16:creationId xmlns:a16="http://schemas.microsoft.com/office/drawing/2014/main" id="{64E6FFBE-3262-4471-A8E8-CFA65DE68772}"/>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6" name="Freeform 36">
                      <a:extLst>
                        <a:ext uri="{FF2B5EF4-FFF2-40B4-BE49-F238E27FC236}">
                          <a16:creationId xmlns:a16="http://schemas.microsoft.com/office/drawing/2014/main" id="{68E017D6-DE86-4DC3-879C-25F447894245}"/>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7" name="Freeform 25">
                      <a:extLst>
                        <a:ext uri="{FF2B5EF4-FFF2-40B4-BE49-F238E27FC236}">
                          <a16:creationId xmlns:a16="http://schemas.microsoft.com/office/drawing/2014/main" id="{16AEEF82-6561-4FF7-86DA-1A994F08BB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8" name="Freeform 39">
                      <a:extLst>
                        <a:ext uri="{FF2B5EF4-FFF2-40B4-BE49-F238E27FC236}">
                          <a16:creationId xmlns:a16="http://schemas.microsoft.com/office/drawing/2014/main" id="{16AFA8D7-A657-46E0-8C95-1795E246F25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9" name="Freeform 26">
                      <a:extLst>
                        <a:ext uri="{FF2B5EF4-FFF2-40B4-BE49-F238E27FC236}">
                          <a16:creationId xmlns:a16="http://schemas.microsoft.com/office/drawing/2014/main" id="{B5CA1FD5-5DC8-4504-8756-18BA60FF056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0" name="Rectangle 27">
                      <a:extLst>
                        <a:ext uri="{FF2B5EF4-FFF2-40B4-BE49-F238E27FC236}">
                          <a16:creationId xmlns:a16="http://schemas.microsoft.com/office/drawing/2014/main" id="{D3F64414-0401-4981-91B3-580162745303}"/>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1" name="Line 29">
                      <a:extLst>
                        <a:ext uri="{FF2B5EF4-FFF2-40B4-BE49-F238E27FC236}">
                          <a16:creationId xmlns:a16="http://schemas.microsoft.com/office/drawing/2014/main" id="{2774969A-FF8D-4AC1-9C49-433CA8EC5908}"/>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2" name="Line 31">
                      <a:extLst>
                        <a:ext uri="{FF2B5EF4-FFF2-40B4-BE49-F238E27FC236}">
                          <a16:creationId xmlns:a16="http://schemas.microsoft.com/office/drawing/2014/main" id="{0211C476-CFD9-49F7-9384-137C7C5B378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792" name="Group 2791">
                <a:extLst>
                  <a:ext uri="{FF2B5EF4-FFF2-40B4-BE49-F238E27FC236}">
                    <a16:creationId xmlns:a16="http://schemas.microsoft.com/office/drawing/2014/main" id="{8D466FB1-F8F3-4685-AF3B-7826EA3DF614}"/>
                  </a:ext>
                </a:extLst>
              </p:cNvPr>
              <p:cNvGrpSpPr/>
              <p:nvPr/>
            </p:nvGrpSpPr>
            <p:grpSpPr>
              <a:xfrm>
                <a:off x="5261891" y="1974470"/>
                <a:ext cx="1115908" cy="967814"/>
                <a:chOff x="7338624" y="178556"/>
                <a:chExt cx="1115908" cy="967814"/>
              </a:xfrm>
            </p:grpSpPr>
            <p:grpSp>
              <p:nvGrpSpPr>
                <p:cNvPr id="2796" name="Group 2795">
                  <a:extLst>
                    <a:ext uri="{FF2B5EF4-FFF2-40B4-BE49-F238E27FC236}">
                      <a16:creationId xmlns:a16="http://schemas.microsoft.com/office/drawing/2014/main" id="{06209C85-5216-409F-AFBD-5348CB451E37}"/>
                    </a:ext>
                  </a:extLst>
                </p:cNvPr>
                <p:cNvGrpSpPr/>
                <p:nvPr/>
              </p:nvGrpSpPr>
              <p:grpSpPr>
                <a:xfrm flipH="1">
                  <a:off x="7603032" y="178556"/>
                  <a:ext cx="524442" cy="697246"/>
                  <a:chOff x="8607957" y="605299"/>
                  <a:chExt cx="2806962" cy="3731864"/>
                </a:xfrm>
              </p:grpSpPr>
              <p:sp>
                <p:nvSpPr>
                  <p:cNvPr id="2798" name="iBar:31/138">
                    <a:extLst>
                      <a:ext uri="{FF2B5EF4-FFF2-40B4-BE49-F238E27FC236}">
                        <a16:creationId xmlns:a16="http://schemas.microsoft.com/office/drawing/2014/main" id="{0C089B0A-E6FA-431E-9503-756545FE9A52}"/>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99" name="Rectangle 2798">
                    <a:extLst>
                      <a:ext uri="{FF2B5EF4-FFF2-40B4-BE49-F238E27FC236}">
                        <a16:creationId xmlns:a16="http://schemas.microsoft.com/office/drawing/2014/main" id="{B63C5322-A7FC-4515-A98C-E8F7A50AF9C5}"/>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00" name="Group 2799">
                    <a:extLst>
                      <a:ext uri="{FF2B5EF4-FFF2-40B4-BE49-F238E27FC236}">
                        <a16:creationId xmlns:a16="http://schemas.microsoft.com/office/drawing/2014/main" id="{CAE771CE-47CD-41D9-9477-8C2B3F1DC5AE}"/>
                      </a:ext>
                    </a:extLst>
                  </p:cNvPr>
                  <p:cNvGrpSpPr/>
                  <p:nvPr/>
                </p:nvGrpSpPr>
                <p:grpSpPr>
                  <a:xfrm>
                    <a:off x="8776645" y="2392984"/>
                    <a:ext cx="2463737" cy="1844316"/>
                    <a:chOff x="8566719" y="2617154"/>
                    <a:chExt cx="2463737" cy="1844316"/>
                  </a:xfrm>
                </p:grpSpPr>
                <p:sp>
                  <p:nvSpPr>
                    <p:cNvPr id="2814" name="Rectangle 2813">
                      <a:extLst>
                        <a:ext uri="{FF2B5EF4-FFF2-40B4-BE49-F238E27FC236}">
                          <a16:creationId xmlns:a16="http://schemas.microsoft.com/office/drawing/2014/main" id="{6EEB185A-FA68-46BA-B5F7-FF8E542218E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5" name="Group 2814">
                      <a:extLst>
                        <a:ext uri="{FF2B5EF4-FFF2-40B4-BE49-F238E27FC236}">
                          <a16:creationId xmlns:a16="http://schemas.microsoft.com/office/drawing/2014/main" id="{6B577423-DEE6-4B13-8BAE-A5F1C12366E0}"/>
                        </a:ext>
                      </a:extLst>
                    </p:cNvPr>
                    <p:cNvGrpSpPr/>
                    <p:nvPr/>
                  </p:nvGrpSpPr>
                  <p:grpSpPr>
                    <a:xfrm>
                      <a:off x="8720849" y="2791577"/>
                      <a:ext cx="2190282" cy="1669893"/>
                      <a:chOff x="5195358" y="4591383"/>
                      <a:chExt cx="1906459" cy="1380076"/>
                    </a:xfrm>
                  </p:grpSpPr>
                  <p:grpSp>
                    <p:nvGrpSpPr>
                      <p:cNvPr id="2816" name="Group 2815">
                        <a:extLst>
                          <a:ext uri="{FF2B5EF4-FFF2-40B4-BE49-F238E27FC236}">
                            <a16:creationId xmlns:a16="http://schemas.microsoft.com/office/drawing/2014/main" id="{02DC404D-9158-4789-A6EF-E8E33AFC3F38}"/>
                          </a:ext>
                        </a:extLst>
                      </p:cNvPr>
                      <p:cNvGrpSpPr/>
                      <p:nvPr/>
                    </p:nvGrpSpPr>
                    <p:grpSpPr>
                      <a:xfrm>
                        <a:off x="5195358" y="4591383"/>
                        <a:ext cx="1020183" cy="1224086"/>
                        <a:chOff x="10650533" y="3663550"/>
                        <a:chExt cx="575867" cy="836067"/>
                      </a:xfrm>
                    </p:grpSpPr>
                    <p:grpSp>
                      <p:nvGrpSpPr>
                        <p:cNvPr id="2818" name="Group 2817">
                          <a:extLst>
                            <a:ext uri="{FF2B5EF4-FFF2-40B4-BE49-F238E27FC236}">
                              <a16:creationId xmlns:a16="http://schemas.microsoft.com/office/drawing/2014/main" id="{56967A2B-DCDF-4691-AB19-E65A647F688C}"/>
                            </a:ext>
                          </a:extLst>
                        </p:cNvPr>
                        <p:cNvGrpSpPr/>
                        <p:nvPr/>
                      </p:nvGrpSpPr>
                      <p:grpSpPr>
                        <a:xfrm>
                          <a:off x="10650533" y="3663550"/>
                          <a:ext cx="575867" cy="728623"/>
                          <a:chOff x="5717961" y="2827338"/>
                          <a:chExt cx="282576" cy="387350"/>
                        </a:xfrm>
                      </p:grpSpPr>
                      <p:sp>
                        <p:nvSpPr>
                          <p:cNvPr id="2820" name="Freeform 1754">
                            <a:extLst>
                              <a:ext uri="{FF2B5EF4-FFF2-40B4-BE49-F238E27FC236}">
                                <a16:creationId xmlns:a16="http://schemas.microsoft.com/office/drawing/2014/main" id="{48D81758-0BD3-4BC2-8A9C-672770B23946}"/>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1" name="Freeform 1755">
                            <a:extLst>
                              <a:ext uri="{FF2B5EF4-FFF2-40B4-BE49-F238E27FC236}">
                                <a16:creationId xmlns:a16="http://schemas.microsoft.com/office/drawing/2014/main" id="{21E665D1-8057-4407-B125-616CC884D074}"/>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22" name="Freeform 1756">
                            <a:extLst>
                              <a:ext uri="{FF2B5EF4-FFF2-40B4-BE49-F238E27FC236}">
                                <a16:creationId xmlns:a16="http://schemas.microsoft.com/office/drawing/2014/main" id="{E53CAFE7-10F1-4E63-B613-C33ABB664E78}"/>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3" name="Freeform 1757">
                            <a:extLst>
                              <a:ext uri="{FF2B5EF4-FFF2-40B4-BE49-F238E27FC236}">
                                <a16:creationId xmlns:a16="http://schemas.microsoft.com/office/drawing/2014/main" id="{AD5074DC-6F0C-4B6F-BB1A-51C7BD1C5652}"/>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4" name="Freeform 1758">
                            <a:extLst>
                              <a:ext uri="{FF2B5EF4-FFF2-40B4-BE49-F238E27FC236}">
                                <a16:creationId xmlns:a16="http://schemas.microsoft.com/office/drawing/2014/main" id="{18B663CB-B41F-4E7C-8176-7375F0B25B14}"/>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19" name="TextBox 2818">
                          <a:extLst>
                            <a:ext uri="{FF2B5EF4-FFF2-40B4-BE49-F238E27FC236}">
                              <a16:creationId xmlns:a16="http://schemas.microsoft.com/office/drawing/2014/main" id="{D8E75A9D-28C1-4973-8E18-E5E890C26965}"/>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17" name="TextBox 2816">
                        <a:extLst>
                          <a:ext uri="{FF2B5EF4-FFF2-40B4-BE49-F238E27FC236}">
                            <a16:creationId xmlns:a16="http://schemas.microsoft.com/office/drawing/2014/main" id="{853CDE77-7803-4C51-A3D4-145B5B1F464C}"/>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01" name="Group 2800">
                    <a:extLst>
                      <a:ext uri="{FF2B5EF4-FFF2-40B4-BE49-F238E27FC236}">
                        <a16:creationId xmlns:a16="http://schemas.microsoft.com/office/drawing/2014/main" id="{11E23F22-1711-4BFA-BEE6-5A6CA4B0CE68}"/>
                      </a:ext>
                    </a:extLst>
                  </p:cNvPr>
                  <p:cNvGrpSpPr/>
                  <p:nvPr/>
                </p:nvGrpSpPr>
                <p:grpSpPr>
                  <a:xfrm>
                    <a:off x="9538998" y="605299"/>
                    <a:ext cx="944881" cy="858986"/>
                    <a:chOff x="3369813" y="4950013"/>
                    <a:chExt cx="440826" cy="400751"/>
                  </a:xfrm>
                </p:grpSpPr>
                <p:sp>
                  <p:nvSpPr>
                    <p:cNvPr id="2810" name="Oval 2809">
                      <a:extLst>
                        <a:ext uri="{FF2B5EF4-FFF2-40B4-BE49-F238E27FC236}">
                          <a16:creationId xmlns:a16="http://schemas.microsoft.com/office/drawing/2014/main" id="{BF0157EA-688E-4939-B9F1-868555B7187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1" name="Group 226">
                      <a:extLst>
                        <a:ext uri="{FF2B5EF4-FFF2-40B4-BE49-F238E27FC236}">
                          <a16:creationId xmlns:a16="http://schemas.microsoft.com/office/drawing/2014/main" id="{71D96959-B519-469F-AA76-FF0FE732BE12}"/>
                        </a:ext>
                      </a:extLst>
                    </p:cNvPr>
                    <p:cNvGrpSpPr>
                      <a:grpSpLocks noChangeAspect="1"/>
                    </p:cNvGrpSpPr>
                    <p:nvPr/>
                  </p:nvGrpSpPr>
                  <p:grpSpPr bwMode="auto">
                    <a:xfrm>
                      <a:off x="3437467" y="4997630"/>
                      <a:ext cx="305517" cy="305517"/>
                      <a:chOff x="5048" y="783"/>
                      <a:chExt cx="340" cy="340"/>
                    </a:xfrm>
                    <a:solidFill>
                      <a:schemeClr val="bg1"/>
                    </a:solidFill>
                  </p:grpSpPr>
                  <p:sp>
                    <p:nvSpPr>
                      <p:cNvPr id="2812" name="Freeform 227">
                        <a:extLst>
                          <a:ext uri="{FF2B5EF4-FFF2-40B4-BE49-F238E27FC236}">
                            <a16:creationId xmlns:a16="http://schemas.microsoft.com/office/drawing/2014/main" id="{B207C4B4-1621-4B73-A71C-00BD29C4E45E}"/>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13" name="Freeform 228">
                        <a:extLst>
                          <a:ext uri="{FF2B5EF4-FFF2-40B4-BE49-F238E27FC236}">
                            <a16:creationId xmlns:a16="http://schemas.microsoft.com/office/drawing/2014/main" id="{5BDE4F2D-73C9-43C8-801D-3450C262B166}"/>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02" name="Straight Connector 2801">
                    <a:extLst>
                      <a:ext uri="{FF2B5EF4-FFF2-40B4-BE49-F238E27FC236}">
                        <a16:creationId xmlns:a16="http://schemas.microsoft.com/office/drawing/2014/main" id="{AD571AF0-1EAB-4A78-B5B4-212370F55BC6}"/>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3" name="Straight Connector 2802">
                    <a:extLst>
                      <a:ext uri="{FF2B5EF4-FFF2-40B4-BE49-F238E27FC236}">
                        <a16:creationId xmlns:a16="http://schemas.microsoft.com/office/drawing/2014/main" id="{60F301C5-6142-400D-9BD8-5DF731614AE6}"/>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4" name="Straight Connector 2803">
                    <a:extLst>
                      <a:ext uri="{FF2B5EF4-FFF2-40B4-BE49-F238E27FC236}">
                        <a16:creationId xmlns:a16="http://schemas.microsoft.com/office/drawing/2014/main" id="{7DF853C1-A4C9-48AE-8F20-C00D3BF008DB}"/>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5" name="Straight Connector 2804">
                    <a:extLst>
                      <a:ext uri="{FF2B5EF4-FFF2-40B4-BE49-F238E27FC236}">
                        <a16:creationId xmlns:a16="http://schemas.microsoft.com/office/drawing/2014/main" id="{97C7D714-8264-4AAE-9157-A346586CF590}"/>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6" name="Straight Connector 2805">
                    <a:extLst>
                      <a:ext uri="{FF2B5EF4-FFF2-40B4-BE49-F238E27FC236}">
                        <a16:creationId xmlns:a16="http://schemas.microsoft.com/office/drawing/2014/main" id="{470586D9-B704-4186-878A-287485B89909}"/>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7" name="Straight Connector 2806">
                    <a:extLst>
                      <a:ext uri="{FF2B5EF4-FFF2-40B4-BE49-F238E27FC236}">
                        <a16:creationId xmlns:a16="http://schemas.microsoft.com/office/drawing/2014/main" id="{278CEEF0-E2F7-46A6-9CE0-3D56FCDDBD26}"/>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8" name="Straight Connector 2807">
                    <a:extLst>
                      <a:ext uri="{FF2B5EF4-FFF2-40B4-BE49-F238E27FC236}">
                        <a16:creationId xmlns:a16="http://schemas.microsoft.com/office/drawing/2014/main" id="{53F27D4B-A913-40CD-8C2C-5F8A38843994}"/>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9" name="Straight Connector 2808">
                    <a:extLst>
                      <a:ext uri="{FF2B5EF4-FFF2-40B4-BE49-F238E27FC236}">
                        <a16:creationId xmlns:a16="http://schemas.microsoft.com/office/drawing/2014/main" id="{22B5377F-1190-47D2-805A-89FCADB34C70}"/>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97" name="Rectangle 2796">
                  <a:extLst>
                    <a:ext uri="{FF2B5EF4-FFF2-40B4-BE49-F238E27FC236}">
                      <a16:creationId xmlns:a16="http://schemas.microsoft.com/office/drawing/2014/main" id="{C1D6A21D-CB89-4ABE-9507-B2CE584DA4FB}"/>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793" name="Group 2792">
                <a:extLst>
                  <a:ext uri="{FF2B5EF4-FFF2-40B4-BE49-F238E27FC236}">
                    <a16:creationId xmlns:a16="http://schemas.microsoft.com/office/drawing/2014/main" id="{6CC34D40-BE95-4D15-AB7A-B17A019C47AB}"/>
                  </a:ext>
                </a:extLst>
              </p:cNvPr>
              <p:cNvGrpSpPr/>
              <p:nvPr/>
            </p:nvGrpSpPr>
            <p:grpSpPr>
              <a:xfrm>
                <a:off x="6189282" y="2207036"/>
                <a:ext cx="309777" cy="570271"/>
                <a:chOff x="6298183" y="258138"/>
                <a:chExt cx="309777" cy="570271"/>
              </a:xfrm>
            </p:grpSpPr>
            <p:pic>
              <p:nvPicPr>
                <p:cNvPr id="2794" name="Picture 2793">
                  <a:extLst>
                    <a:ext uri="{FF2B5EF4-FFF2-40B4-BE49-F238E27FC236}">
                      <a16:creationId xmlns:a16="http://schemas.microsoft.com/office/drawing/2014/main" id="{0E7A6E2B-4605-4DA6-AE02-CB8D45B49117}"/>
                    </a:ext>
                  </a:extLst>
                </p:cNvPr>
                <p:cNvPicPr>
                  <a:picLocks noChangeAspect="1"/>
                </p:cNvPicPr>
                <p:nvPr/>
              </p:nvPicPr>
              <p:blipFill>
                <a:blip r:embed="rId6"/>
                <a:stretch>
                  <a:fillRect/>
                </a:stretch>
              </p:blipFill>
              <p:spPr>
                <a:xfrm>
                  <a:off x="6298183" y="258138"/>
                  <a:ext cx="309777" cy="570271"/>
                </a:xfrm>
                <a:prstGeom prst="rect">
                  <a:avLst/>
                </a:prstGeom>
              </p:spPr>
            </p:pic>
            <p:sp>
              <p:nvSpPr>
                <p:cNvPr id="2795" name="Freeform 152">
                  <a:extLst>
                    <a:ext uri="{FF2B5EF4-FFF2-40B4-BE49-F238E27FC236}">
                      <a16:creationId xmlns:a16="http://schemas.microsoft.com/office/drawing/2014/main" id="{11143CDA-A172-4D6A-AC5A-B3D89FA26C6E}"/>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907" name="Rectangle 2906">
            <a:extLst>
              <a:ext uri="{FF2B5EF4-FFF2-40B4-BE49-F238E27FC236}">
                <a16:creationId xmlns:a16="http://schemas.microsoft.com/office/drawing/2014/main" id="{F5435F74-2F30-4298-A9F7-EFE16CA2F23A}"/>
              </a:ext>
            </a:extLst>
          </p:cNvPr>
          <p:cNvSpPr>
            <a:spLocks/>
          </p:cNvSpPr>
          <p:nvPr/>
        </p:nvSpPr>
        <p:spPr bwMode="gray">
          <a:xfrm>
            <a:off x="3376490" y="1551301"/>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908" name="Group 2907">
            <a:extLst>
              <a:ext uri="{FF2B5EF4-FFF2-40B4-BE49-F238E27FC236}">
                <a16:creationId xmlns:a16="http://schemas.microsoft.com/office/drawing/2014/main" id="{A381721A-89DD-4A37-B6EC-BB2ABBD5DCAE}"/>
              </a:ext>
            </a:extLst>
          </p:cNvPr>
          <p:cNvGrpSpPr/>
          <p:nvPr/>
        </p:nvGrpSpPr>
        <p:grpSpPr>
          <a:xfrm>
            <a:off x="411159" y="1081204"/>
            <a:ext cx="11430427" cy="561479"/>
            <a:chOff x="347472" y="1051180"/>
            <a:chExt cx="11667743" cy="561625"/>
          </a:xfrm>
        </p:grpSpPr>
        <p:grpSp>
          <p:nvGrpSpPr>
            <p:cNvPr id="2909" name="Group 2908">
              <a:extLst>
                <a:ext uri="{FF2B5EF4-FFF2-40B4-BE49-F238E27FC236}">
                  <a16:creationId xmlns:a16="http://schemas.microsoft.com/office/drawing/2014/main" id="{F9E1C4B6-7EEF-4FFD-8D22-69CF6A19DAC8}"/>
                </a:ext>
              </a:extLst>
            </p:cNvPr>
            <p:cNvGrpSpPr/>
            <p:nvPr/>
          </p:nvGrpSpPr>
          <p:grpSpPr>
            <a:xfrm>
              <a:off x="347472" y="1051180"/>
              <a:ext cx="11667743" cy="561625"/>
              <a:chOff x="347472" y="1051180"/>
              <a:chExt cx="11667743" cy="561625"/>
            </a:xfrm>
          </p:grpSpPr>
          <p:grpSp>
            <p:nvGrpSpPr>
              <p:cNvPr id="2911" name="Group 2910">
                <a:extLst>
                  <a:ext uri="{FF2B5EF4-FFF2-40B4-BE49-F238E27FC236}">
                    <a16:creationId xmlns:a16="http://schemas.microsoft.com/office/drawing/2014/main" id="{1A506020-E823-42A8-AB9E-2D77FAD65373}"/>
                  </a:ext>
                </a:extLst>
              </p:cNvPr>
              <p:cNvGrpSpPr/>
              <p:nvPr/>
            </p:nvGrpSpPr>
            <p:grpSpPr>
              <a:xfrm>
                <a:off x="347472" y="1154250"/>
                <a:ext cx="11667743" cy="458555"/>
                <a:chOff x="390609" y="1132914"/>
                <a:chExt cx="11511569" cy="458555"/>
              </a:xfrm>
            </p:grpSpPr>
            <p:sp>
              <p:nvSpPr>
                <p:cNvPr id="2913" name="Rectangle: Rounded Corners 2912">
                  <a:extLst>
                    <a:ext uri="{FF2B5EF4-FFF2-40B4-BE49-F238E27FC236}">
                      <a16:creationId xmlns:a16="http://schemas.microsoft.com/office/drawing/2014/main" id="{7533A0EC-94C7-4C0A-AB7B-96557292AE0E}"/>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4" name="Rectangle 2913">
                  <a:extLst>
                    <a:ext uri="{FF2B5EF4-FFF2-40B4-BE49-F238E27FC236}">
                      <a16:creationId xmlns:a16="http://schemas.microsoft.com/office/drawing/2014/main" id="{74C3D7AA-2D5C-4CAD-BEB8-67A05CF0EF0C}"/>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915" name="Rectangle 2914">
                  <a:extLst>
                    <a:ext uri="{FF2B5EF4-FFF2-40B4-BE49-F238E27FC236}">
                      <a16:creationId xmlns:a16="http://schemas.microsoft.com/office/drawing/2014/main" id="{A65652F9-7063-42FE-8C01-DBEB6CC95DDE}"/>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916" name="Rectangle 2915">
                  <a:extLst>
                    <a:ext uri="{FF2B5EF4-FFF2-40B4-BE49-F238E27FC236}">
                      <a16:creationId xmlns:a16="http://schemas.microsoft.com/office/drawing/2014/main" id="{D7015FFC-DFE6-44BC-A034-802412C8EE25}"/>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917" name="Isosceles Triangle 2916">
                  <a:extLst>
                    <a:ext uri="{FF2B5EF4-FFF2-40B4-BE49-F238E27FC236}">
                      <a16:creationId xmlns:a16="http://schemas.microsoft.com/office/drawing/2014/main" id="{7DC5BAC1-1F0C-4FC6-BBCF-040EE39EF20C}"/>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8" name="Isosceles Triangle 2917">
                  <a:extLst>
                    <a:ext uri="{FF2B5EF4-FFF2-40B4-BE49-F238E27FC236}">
                      <a16:creationId xmlns:a16="http://schemas.microsoft.com/office/drawing/2014/main" id="{EEC60567-2B0C-49F3-80D9-993F27EDDF61}"/>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2" name="Isosceles Triangle 2911">
                <a:extLst>
                  <a:ext uri="{FF2B5EF4-FFF2-40B4-BE49-F238E27FC236}">
                    <a16:creationId xmlns:a16="http://schemas.microsoft.com/office/drawing/2014/main" id="{93D26FAC-3BB2-43AA-8D35-B49A0E7C708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0" name="Isosceles Triangle 2909">
              <a:extLst>
                <a:ext uri="{FF2B5EF4-FFF2-40B4-BE49-F238E27FC236}">
                  <a16:creationId xmlns:a16="http://schemas.microsoft.com/office/drawing/2014/main" id="{A0C9D15C-3562-4E93-B022-1364C948360C}"/>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9" name="Rectangle 2918">
            <a:extLst>
              <a:ext uri="{FF2B5EF4-FFF2-40B4-BE49-F238E27FC236}">
                <a16:creationId xmlns:a16="http://schemas.microsoft.com/office/drawing/2014/main" id="{0C92D794-A7B8-4D83-B2A0-9769CE853102}"/>
              </a:ext>
            </a:extLst>
          </p:cNvPr>
          <p:cNvSpPr>
            <a:spLocks/>
          </p:cNvSpPr>
          <p:nvPr/>
        </p:nvSpPr>
        <p:spPr bwMode="gray">
          <a:xfrm>
            <a:off x="3357900" y="1086969"/>
            <a:ext cx="8571637" cy="5349935"/>
          </a:xfrm>
          <a:prstGeom prst="rect">
            <a:avLst/>
          </a:prstGeom>
          <a:solidFill>
            <a:schemeClr val="bg1">
              <a:alpha val="89804"/>
            </a:schemeClr>
          </a:solidFill>
          <a:ln w="38100" algn="ctr">
            <a:noFill/>
            <a:miter lim="800000"/>
            <a:headEnd/>
            <a:tailEnd/>
          </a:ln>
          <a:effectLst/>
        </p:spPr>
        <p:txBody>
          <a:bodyPr wrap="square" lIns="28409" tIns="28409" rIns="28409" bIns="28409" rtlCol="0" anchor="t"/>
          <a:lstStyle/>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p:txBody>
      </p:sp>
      <p:sp>
        <p:nvSpPr>
          <p:cNvPr id="2920" name="Rectangle 2919">
            <a:extLst>
              <a:ext uri="{FF2B5EF4-FFF2-40B4-BE49-F238E27FC236}">
                <a16:creationId xmlns:a16="http://schemas.microsoft.com/office/drawing/2014/main" id="{2526F9D0-B22B-45D4-A652-60AB87C17C90}"/>
              </a:ext>
            </a:extLst>
          </p:cNvPr>
          <p:cNvSpPr/>
          <p:nvPr/>
        </p:nvSpPr>
        <p:spPr bwMode="gray">
          <a:xfrm>
            <a:off x="3487250" y="1330353"/>
            <a:ext cx="8230517" cy="4981832"/>
          </a:xfrm>
          <a:prstGeom prst="rect">
            <a:avLst/>
          </a:prstGeom>
          <a:solidFill>
            <a:srgbClr val="A0DCFF"/>
          </a:solidFill>
          <a:ln w="28575" algn="ctr">
            <a:noFill/>
            <a:prstDash val="dash"/>
            <a:miter lim="800000"/>
            <a:headEnd/>
            <a:tailEnd/>
          </a:ln>
        </p:spPr>
        <p:txBody>
          <a:bodyPr wrap="square" lIns="46872" tIns="28482" rIns="28482" bIns="28482" rtlCol="0" anchor="t"/>
          <a:lstStyle/>
          <a:p>
            <a:pPr algn="ctr" defTabSz="624960">
              <a:lnSpc>
                <a:spcPct val="106000"/>
              </a:lnSpc>
              <a:defRPr/>
            </a:pPr>
            <a:endParaRPr lang="en-US" sz="1053" b="1" dirty="0">
              <a:solidFill>
                <a:prstClr val="black"/>
              </a:solidFill>
              <a:latin typeface="Verdana"/>
            </a:endParaRPr>
          </a:p>
        </p:txBody>
      </p:sp>
      <p:grpSp>
        <p:nvGrpSpPr>
          <p:cNvPr id="2922" name="Group 2921">
            <a:extLst>
              <a:ext uri="{FF2B5EF4-FFF2-40B4-BE49-F238E27FC236}">
                <a16:creationId xmlns:a16="http://schemas.microsoft.com/office/drawing/2014/main" id="{7C1748CD-1C81-439F-8FA9-7FA1BF64A69E}"/>
              </a:ext>
            </a:extLst>
          </p:cNvPr>
          <p:cNvGrpSpPr/>
          <p:nvPr/>
        </p:nvGrpSpPr>
        <p:grpSpPr>
          <a:xfrm>
            <a:off x="3961052" y="3551563"/>
            <a:ext cx="7315200" cy="249877"/>
            <a:chOff x="2654299" y="4396581"/>
            <a:chExt cx="7296571" cy="249241"/>
          </a:xfrm>
        </p:grpSpPr>
        <p:cxnSp>
          <p:nvCxnSpPr>
            <p:cNvPr id="2923" name="iBar:209/371">
              <a:extLst>
                <a:ext uri="{FF2B5EF4-FFF2-40B4-BE49-F238E27FC236}">
                  <a16:creationId xmlns:a16="http://schemas.microsoft.com/office/drawing/2014/main" id="{806850BD-F602-4ED2-B5B9-A76E62F0C614}"/>
                </a:ext>
              </a:extLst>
            </p:cNvPr>
            <p:cNvCxnSpPr/>
            <p:nvPr/>
          </p:nvCxnSpPr>
          <p:spPr>
            <a:xfrm>
              <a:off x="2654299" y="4521200"/>
              <a:ext cx="7296571"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24" name="TxtBox:209/371">
              <a:extLst>
                <a:ext uri="{FF2B5EF4-FFF2-40B4-BE49-F238E27FC236}">
                  <a16:creationId xmlns:a16="http://schemas.microsoft.com/office/drawing/2014/main" id="{6A8FCDE1-45E6-46CD-BA7A-2B39695399C4}"/>
                </a:ext>
              </a:extLst>
            </p:cNvPr>
            <p:cNvSpPr/>
            <p:nvPr/>
          </p:nvSpPr>
          <p:spPr bwMode="gray">
            <a:xfrm>
              <a:off x="5065944" y="4396581"/>
              <a:ext cx="2473296" cy="249241"/>
            </a:xfrm>
            <a:prstGeom prst="rect">
              <a:avLst/>
            </a:prstGeom>
            <a:solidFill>
              <a:srgbClr val="A0DCFF"/>
            </a:solidFill>
            <a:ln w="19050" algn="ctr">
              <a:noFill/>
              <a:miter lim="800000"/>
              <a:headEnd/>
              <a:tailEnd/>
            </a:ln>
          </p:spPr>
          <p:txBody>
            <a:bodyPr wrap="none" lIns="91673" tIns="0" rIns="91673" bIns="0" rtlCol="0" anchor="ctr">
              <a:spAutoFit/>
            </a:bodyPr>
            <a:lstStyle/>
            <a:p>
              <a:pPr algn="ctr">
                <a:lnSpc>
                  <a:spcPct val="106000"/>
                </a:lnSpc>
              </a:pPr>
              <a:r>
                <a:rPr lang="en-US" sz="1600" b="1" dirty="0">
                  <a:solidFill>
                    <a:srgbClr val="000000"/>
                  </a:solidFill>
                </a:rPr>
                <a:t>Supporting documentation</a:t>
              </a:r>
            </a:p>
          </p:txBody>
        </p:sp>
      </p:grpSp>
      <p:sp>
        <p:nvSpPr>
          <p:cNvPr id="2925" name="Rectangle 2924">
            <a:extLst>
              <a:ext uri="{FF2B5EF4-FFF2-40B4-BE49-F238E27FC236}">
                <a16:creationId xmlns:a16="http://schemas.microsoft.com/office/drawing/2014/main" id="{B5ABF539-D297-4F35-8AF3-20DBA1BB6E1D}"/>
              </a:ext>
            </a:extLst>
          </p:cNvPr>
          <p:cNvSpPr/>
          <p:nvPr/>
        </p:nvSpPr>
        <p:spPr bwMode="gray">
          <a:xfrm>
            <a:off x="6419457" y="2178894"/>
            <a:ext cx="4862854" cy="737846"/>
          </a:xfrm>
          <a:prstGeom prst="rect">
            <a:avLst/>
          </a:prstGeom>
          <a:solidFill>
            <a:schemeClr val="bg1"/>
          </a:solidFill>
          <a:ln w="28575" algn="ctr">
            <a:solidFill>
              <a:srgbClr val="007680"/>
            </a:solidFill>
            <a:prstDash val="sysDash"/>
            <a:miter lim="800000"/>
            <a:headEnd/>
            <a:tailEnd/>
          </a:ln>
        </p:spPr>
        <p:txBody>
          <a:bodyPr wrap="square" lIns="68746" tIns="68746" rIns="68746" bIns="68746" rtlCol="0" anchor="ctr">
            <a:noAutofit/>
          </a:bodyPr>
          <a:lstStyle/>
          <a:p>
            <a:pPr>
              <a:lnSpc>
                <a:spcPct val="106000"/>
              </a:lnSpc>
              <a:spcBef>
                <a:spcPts val="602"/>
              </a:spcBef>
              <a:spcAft>
                <a:spcPts val="602"/>
              </a:spcAft>
            </a:pPr>
            <a:r>
              <a:rPr lang="en-US" sz="1400" b="1" dirty="0"/>
              <a:t>Requires supporting documentation:</a:t>
            </a:r>
          </a:p>
          <a:p>
            <a:pPr marL="171896" indent="-171896">
              <a:lnSpc>
                <a:spcPct val="106000"/>
              </a:lnSpc>
              <a:spcAft>
                <a:spcPts val="602"/>
              </a:spcAft>
              <a:buFont typeface="Arial" panose="020B0604020202020204" pitchFamily="34" charset="0"/>
              <a:buChar char="•"/>
            </a:pPr>
            <a:r>
              <a:rPr lang="en-US" sz="1400" dirty="0"/>
              <a:t>Additional functional details that guide development</a:t>
            </a:r>
          </a:p>
        </p:txBody>
      </p:sp>
      <p:cxnSp>
        <p:nvCxnSpPr>
          <p:cNvPr id="2941" name="Straight Connector 198">
            <a:extLst>
              <a:ext uri="{FF2B5EF4-FFF2-40B4-BE49-F238E27FC236}">
                <a16:creationId xmlns:a16="http://schemas.microsoft.com/office/drawing/2014/main" id="{518988B5-9395-4000-B8B0-3FD90C321E73}"/>
              </a:ext>
            </a:extLst>
          </p:cNvPr>
          <p:cNvCxnSpPr>
            <a:cxnSpLocks/>
            <a:stCxn id="2925" idx="1"/>
            <a:endCxn id="2943" idx="3"/>
          </p:cNvCxnSpPr>
          <p:nvPr/>
        </p:nvCxnSpPr>
        <p:spPr>
          <a:xfrm flipH="1">
            <a:off x="5365942" y="2547817"/>
            <a:ext cx="1053515" cy="3960"/>
          </a:xfrm>
          <a:prstGeom prst="straightConnector1">
            <a:avLst/>
          </a:prstGeom>
          <a:ln w="28575">
            <a:solidFill>
              <a:srgbClr val="75787B"/>
            </a:solidFill>
            <a:prstDash val="dash"/>
          </a:ln>
        </p:spPr>
        <p:style>
          <a:lnRef idx="1">
            <a:schemeClr val="accent1"/>
          </a:lnRef>
          <a:fillRef idx="0">
            <a:schemeClr val="accent1"/>
          </a:fillRef>
          <a:effectRef idx="0">
            <a:schemeClr val="accent1"/>
          </a:effectRef>
          <a:fontRef idx="minor">
            <a:schemeClr val="tx1"/>
          </a:fontRef>
        </p:style>
      </p:cxnSp>
      <p:grpSp>
        <p:nvGrpSpPr>
          <p:cNvPr id="2942" name="Group 2941">
            <a:extLst>
              <a:ext uri="{FF2B5EF4-FFF2-40B4-BE49-F238E27FC236}">
                <a16:creationId xmlns:a16="http://schemas.microsoft.com/office/drawing/2014/main" id="{A6F3367D-1EF1-447B-93F8-4669EF4DFE70}"/>
              </a:ext>
            </a:extLst>
          </p:cNvPr>
          <p:cNvGrpSpPr/>
          <p:nvPr/>
        </p:nvGrpSpPr>
        <p:grpSpPr>
          <a:xfrm>
            <a:off x="3950746" y="1858838"/>
            <a:ext cx="1415196" cy="1385877"/>
            <a:chOff x="6225413" y="2498584"/>
            <a:chExt cx="1882368" cy="1843371"/>
          </a:xfrm>
        </p:grpSpPr>
        <p:sp>
          <p:nvSpPr>
            <p:cNvPr id="2943" name="Rectangle 2942">
              <a:extLst>
                <a:ext uri="{FF2B5EF4-FFF2-40B4-BE49-F238E27FC236}">
                  <a16:creationId xmlns:a16="http://schemas.microsoft.com/office/drawing/2014/main" id="{661D8CB1-7CDE-4959-92CD-3696F4392323}"/>
                </a:ext>
              </a:extLst>
            </p:cNvPr>
            <p:cNvSpPr/>
            <p:nvPr/>
          </p:nvSpPr>
          <p:spPr bwMode="gray">
            <a:xfrm>
              <a:off x="6225413" y="2498584"/>
              <a:ext cx="1882368" cy="1843371"/>
            </a:xfrm>
            <a:prstGeom prst="rect">
              <a:avLst/>
            </a:prstGeom>
            <a:solidFill>
              <a:schemeClr val="bg1"/>
            </a:solidFill>
            <a:ln w="28575" algn="ctr">
              <a:solidFill>
                <a:srgbClr val="007680"/>
              </a:solidFill>
              <a:prstDash val="sysDash"/>
              <a:miter lim="800000"/>
              <a:headEnd/>
              <a:tailEnd/>
            </a:ln>
          </p:spPr>
          <p:txBody>
            <a:bodyPr wrap="square" lIns="68746" tIns="68746" rIns="68746" bIns="68746" rtlCol="0" anchor="t">
              <a:noAutofit/>
            </a:bodyPr>
            <a:lstStyle/>
            <a:p>
              <a:pPr algn="ctr">
                <a:lnSpc>
                  <a:spcPct val="106000"/>
                </a:lnSpc>
              </a:pPr>
              <a:r>
                <a:rPr lang="en-US" sz="1354" b="1" dirty="0">
                  <a:latin typeface="Open Sans" panose="020B0606030504020204" pitchFamily="34" charset="0"/>
                  <a:ea typeface="Open Sans" panose="020B0606030504020204" pitchFamily="34" charset="0"/>
                  <a:cs typeface="Open Sans" panose="020B0606030504020204" pitchFamily="34" charset="0"/>
                </a:rPr>
                <a:t>User Stories</a:t>
              </a:r>
            </a:p>
          </p:txBody>
        </p:sp>
        <p:pic>
          <p:nvPicPr>
            <p:cNvPr id="2944" name="Picture 2943">
              <a:extLst>
                <a:ext uri="{FF2B5EF4-FFF2-40B4-BE49-F238E27FC236}">
                  <a16:creationId xmlns:a16="http://schemas.microsoft.com/office/drawing/2014/main" id="{9AAFF7C4-0BF9-4061-85AF-EF9D535D083E}"/>
                </a:ext>
              </a:extLst>
            </p:cNvPr>
            <p:cNvPicPr>
              <a:picLocks noChangeAspect="1"/>
            </p:cNvPicPr>
            <p:nvPr/>
          </p:nvPicPr>
          <p:blipFill>
            <a:blip r:embed="rId9"/>
            <a:stretch>
              <a:fillRect/>
            </a:stretch>
          </p:blipFill>
          <p:spPr>
            <a:xfrm>
              <a:off x="6730257" y="3282227"/>
              <a:ext cx="803030" cy="1003786"/>
            </a:xfrm>
            <a:prstGeom prst="rect">
              <a:avLst/>
            </a:prstGeom>
          </p:spPr>
        </p:pic>
      </p:grpSp>
      <p:sp>
        <p:nvSpPr>
          <p:cNvPr id="863" name="TextBox 862">
            <a:extLst>
              <a:ext uri="{FF2B5EF4-FFF2-40B4-BE49-F238E27FC236}">
                <a16:creationId xmlns:a16="http://schemas.microsoft.com/office/drawing/2014/main" id="{E7F9CB37-DF1C-499A-A566-A1FC4FF2346B}"/>
              </a:ext>
            </a:extLst>
          </p:cNvPr>
          <p:cNvSpPr txBox="1"/>
          <p:nvPr/>
        </p:nvSpPr>
        <p:spPr>
          <a:xfrm>
            <a:off x="4464984" y="4040550"/>
            <a:ext cx="6145386" cy="1458860"/>
          </a:xfrm>
          <a:prstGeom prst="rect">
            <a:avLst/>
          </a:prstGeom>
          <a:solidFill>
            <a:schemeClr val="bg1"/>
          </a:solidFill>
        </p:spPr>
        <p:txBody>
          <a:bodyPr wrap="square" lIns="80832" tIns="40416" rIns="80832" bIns="40416" rtlCol="0" anchor="ctr">
            <a:noAutofit/>
          </a:bodyPr>
          <a:lstStyle/>
          <a:p>
            <a:pPr marL="124102" marR="0" lvl="0" indent="-124102" defTabSz="914400" eaLnBrk="1" fontAlgn="auto" latinLnBrk="0" hangingPunct="1">
              <a:lnSpc>
                <a:spcPct val="100000"/>
              </a:lnSpc>
              <a:spcBef>
                <a:spcPts val="0"/>
              </a:spcBef>
              <a:spcAft>
                <a:spcPts val="600"/>
              </a:spcAft>
              <a:buClrTx/>
              <a:buSzTx/>
              <a:buFont typeface="Arial"/>
              <a:buChar char="•"/>
              <a:tabLst/>
              <a:defRPr/>
            </a:pPr>
            <a:r>
              <a:rPr kumimoji="0" lang="en-US" sz="1400" b="0" i="0" u="none" strike="noStrike" kern="0" cap="none" spc="0" normalizeH="0" baseline="0" noProof="0" dirty="0">
                <a:ln>
                  <a:noFill/>
                </a:ln>
                <a:solidFill>
                  <a:prstClr val="black"/>
                </a:solidFill>
                <a:effectLst/>
                <a:uLnTx/>
                <a:uFillTx/>
                <a:cs typeface="Verdana" panose="020B0604030504040204" pitchFamily="34" charset="0"/>
              </a:rPr>
              <a:t>For reference during the sprint</a:t>
            </a:r>
          </a:p>
          <a:p>
            <a:pPr marL="124102" marR="0" lvl="0" indent="-124102" defTabSz="914400" eaLnBrk="1" fontAlgn="auto" latinLnBrk="0" hangingPunct="1">
              <a:lnSpc>
                <a:spcPct val="100000"/>
              </a:lnSpc>
              <a:spcBef>
                <a:spcPts val="0"/>
              </a:spcBef>
              <a:spcAft>
                <a:spcPts val="600"/>
              </a:spcAft>
              <a:buClrTx/>
              <a:buSzTx/>
              <a:buFont typeface="Arial"/>
              <a:buChar char="•"/>
              <a:tabLst/>
              <a:defRPr/>
            </a:pPr>
            <a:r>
              <a:rPr kumimoji="0" lang="en-US" sz="1400" b="0" i="0" u="none" strike="noStrike" kern="0" cap="none" spc="0" normalizeH="0" baseline="0" noProof="0" dirty="0">
                <a:ln>
                  <a:noFill/>
                </a:ln>
                <a:solidFill>
                  <a:prstClr val="black"/>
                </a:solidFill>
                <a:effectLst/>
                <a:uLnTx/>
                <a:uFillTx/>
                <a:cs typeface="Verdana" panose="020B0604030504040204" pitchFamily="34" charset="0"/>
              </a:rPr>
              <a:t>Enough design so the Scrum Team can estimate and start developing </a:t>
            </a:r>
          </a:p>
          <a:p>
            <a:pPr marL="124102" indent="-124102">
              <a:spcAft>
                <a:spcPts val="600"/>
              </a:spcAft>
              <a:buFont typeface="Arial"/>
              <a:buChar char="•"/>
              <a:defRPr/>
            </a:pPr>
            <a:r>
              <a:rPr lang="en-US" sz="1400" kern="0" dirty="0">
                <a:solidFill>
                  <a:prstClr val="black"/>
                </a:solidFill>
                <a:cs typeface="Verdana" panose="020B0604030504040204" pitchFamily="34" charset="0"/>
              </a:rPr>
              <a:t>Used by the </a:t>
            </a:r>
            <a:r>
              <a:rPr lang="en-US" sz="1400" b="1" kern="0" dirty="0">
                <a:solidFill>
                  <a:prstClr val="black"/>
                </a:solidFill>
                <a:cs typeface="Verdana" panose="020B0604030504040204" pitchFamily="34" charset="0"/>
              </a:rPr>
              <a:t>Development team </a:t>
            </a:r>
            <a:r>
              <a:rPr lang="en-US" sz="1400" kern="0" dirty="0">
                <a:solidFill>
                  <a:prstClr val="black"/>
                </a:solidFill>
                <a:cs typeface="Verdana" panose="020B0604030504040204" pitchFamily="34" charset="0"/>
              </a:rPr>
              <a:t>to understand the functional details that meet the business needs (e.g., a wireframe for a new user interface)"</a:t>
            </a:r>
          </a:p>
        </p:txBody>
      </p:sp>
    </p:spTree>
    <p:custDataLst>
      <p:tags r:id="rId1"/>
    </p:custDataLst>
    <p:extLst>
      <p:ext uri="{BB962C8B-B14F-4D97-AF65-F5344CB8AC3E}">
        <p14:creationId xmlns:p14="http://schemas.microsoft.com/office/powerpoint/2010/main" val="30454963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b="15295"/>
          <a:stretch/>
        </p:blipFill>
        <p:spPr>
          <a:xfrm>
            <a:off x="0" y="-6434"/>
            <a:ext cx="12192000" cy="6864434"/>
          </a:xfrm>
          <a:prstGeom prst="rect">
            <a:avLst/>
          </a:prstGeom>
        </p:spPr>
      </p:pic>
      <p:sp>
        <p:nvSpPr>
          <p:cNvPr id="10" name="Rectangle 9">
            <a:extLst>
              <a:ext uri="{FF2B5EF4-FFF2-40B4-BE49-F238E27FC236}">
                <a16:creationId xmlns:a16="http://schemas.microsoft.com/office/drawing/2014/main" id="{D82EFE2B-8264-4C94-9F10-1C9DD67CBF48}"/>
              </a:ext>
            </a:extLst>
          </p:cNvPr>
          <p:cNvSpPr/>
          <p:nvPr/>
        </p:nvSpPr>
        <p:spPr>
          <a:xfrm>
            <a:off x="0" y="4267115"/>
            <a:ext cx="12192000" cy="478507"/>
          </a:xfrm>
          <a:prstGeom prst="rect">
            <a:avLst/>
          </a:prstGeom>
          <a:solidFill>
            <a:srgbClr val="7C5931">
              <a:alpha val="25000"/>
            </a:srgbClr>
          </a:solidFill>
          <a:ln w="19050" algn="ctr">
            <a:noFill/>
            <a:miter lim="800000"/>
            <a:headEnd/>
            <a:tailEnd/>
          </a:ln>
        </p:spPr>
        <p:txBody>
          <a:bodyPr wrap="square" lIns="66836" tIns="66836" rIns="66836" bIns="66836" rtlCol="0" anchor="ctr"/>
          <a:lstStyle/>
          <a:p>
            <a:pPr algn="ctr">
              <a:lnSpc>
                <a:spcPct val="106000"/>
              </a:lnSpc>
            </a:pPr>
            <a:r>
              <a:rPr lang="en-US" sz="2400" b="1" dirty="0">
                <a:solidFill>
                  <a:schemeClr val="bg1"/>
                </a:solidFill>
                <a:sym typeface="Frutiger Next Pro Light" charset="0"/>
              </a:rPr>
              <a:t>We will share the deck and links to additional materials after the session today.</a:t>
            </a:r>
          </a:p>
        </p:txBody>
      </p:sp>
      <p:sp>
        <p:nvSpPr>
          <p:cNvPr id="3" name="Text Placeholder 2"/>
          <p:cNvSpPr>
            <a:spLocks noGrp="1"/>
          </p:cNvSpPr>
          <p:nvPr>
            <p:ph type="body" sz="quarter" idx="13"/>
          </p:nvPr>
        </p:nvSpPr>
        <p:spPr>
          <a:noFill/>
        </p:spPr>
        <p:txBody>
          <a:bodyPr anchor="t"/>
          <a:lstStyle/>
          <a:p>
            <a:r>
              <a:rPr lang="en-GB" sz="2005" dirty="0">
                <a:solidFill>
                  <a:schemeClr val="bg1"/>
                </a:solidFill>
                <a:latin typeface="+mj-lt"/>
              </a:rPr>
              <a:t>Meet your presenter</a:t>
            </a:r>
          </a:p>
        </p:txBody>
      </p:sp>
      <p:sp>
        <p:nvSpPr>
          <p:cNvPr id="14" name="Title 13">
            <a:extLst>
              <a:ext uri="{FF2B5EF4-FFF2-40B4-BE49-F238E27FC236}">
                <a16:creationId xmlns:a16="http://schemas.microsoft.com/office/drawing/2014/main" id="{4AE44567-21BF-4827-89A4-DD5D4E483D73}"/>
              </a:ext>
            </a:extLst>
          </p:cNvPr>
          <p:cNvSpPr>
            <a:spLocks noGrp="1"/>
          </p:cNvSpPr>
          <p:nvPr>
            <p:ph type="title"/>
          </p:nvPr>
        </p:nvSpPr>
        <p:spPr/>
        <p:txBody>
          <a:bodyPr/>
          <a:lstStyle/>
          <a:p>
            <a:r>
              <a:rPr lang="en-US" sz="2005" dirty="0">
                <a:solidFill>
                  <a:schemeClr val="bg1"/>
                </a:solidFill>
              </a:rPr>
              <a:t>Introduction to Agile</a:t>
            </a:r>
          </a:p>
        </p:txBody>
      </p:sp>
      <p:sp>
        <p:nvSpPr>
          <p:cNvPr id="9" name="Title 4"/>
          <p:cNvSpPr txBox="1">
            <a:spLocks/>
          </p:cNvSpPr>
          <p:nvPr/>
        </p:nvSpPr>
        <p:spPr bwMode="gray">
          <a:xfrm>
            <a:off x="1802145" y="1079320"/>
            <a:ext cx="6290179" cy="352073"/>
          </a:xfrm>
          <a:prstGeom prst="rect">
            <a:avLst/>
          </a:prstGeom>
        </p:spPr>
        <p:txBody>
          <a:bodyPr vert="horz" lIns="0" tIns="0" rIns="0" bIns="0" rtlCol="0" anchor="t" anchorCtr="0">
            <a:normAutofit/>
          </a:bodyPr>
          <a:lstStyle>
            <a:lvl1pPr algn="l" defTabSz="914378" rtl="0" eaLnBrk="1" latinLnBrk="0" hangingPunct="1">
              <a:spcBef>
                <a:spcPct val="0"/>
              </a:spcBef>
              <a:buNone/>
              <a:defRPr sz="2000" kern="1200">
                <a:solidFill>
                  <a:schemeClr val="tx1"/>
                </a:solidFill>
                <a:latin typeface="+mj-lt"/>
                <a:ea typeface="+mj-ea"/>
                <a:cs typeface="+mj-cs"/>
              </a:defRPr>
            </a:lvl1pPr>
          </a:lstStyle>
          <a:p>
            <a:pPr defTabSz="685756">
              <a:defRPr/>
            </a:pPr>
            <a:endParaRPr lang="en-GB" sz="1500" dirty="0">
              <a:solidFill>
                <a:schemeClr val="bg1"/>
              </a:solidFill>
              <a:latin typeface="Verdana"/>
            </a:endParaRPr>
          </a:p>
        </p:txBody>
      </p:sp>
    </p:spTree>
    <p:custDataLst>
      <p:tags r:id="rId1"/>
    </p:custDataLst>
    <p:extLst>
      <p:ext uri="{BB962C8B-B14F-4D97-AF65-F5344CB8AC3E}">
        <p14:creationId xmlns:p14="http://schemas.microsoft.com/office/powerpoint/2010/main" val="149952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3" name="Rectangle 962">
            <a:extLst>
              <a:ext uri="{FF2B5EF4-FFF2-40B4-BE49-F238E27FC236}">
                <a16:creationId xmlns:a16="http://schemas.microsoft.com/office/drawing/2014/main" id="{99139436-551C-407F-B2B8-CBC6356700E8}"/>
              </a:ext>
            </a:extLst>
          </p:cNvPr>
          <p:cNvSpPr/>
          <p:nvPr/>
        </p:nvSpPr>
        <p:spPr bwMode="gray">
          <a:xfrm>
            <a:off x="2095654" y="1640242"/>
            <a:ext cx="629963" cy="1303469"/>
          </a:xfrm>
          <a:prstGeom prst="rect">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itle 3">
            <a:extLst>
              <a:ext uri="{FF2B5EF4-FFF2-40B4-BE49-F238E27FC236}">
                <a16:creationId xmlns:a16="http://schemas.microsoft.com/office/drawing/2014/main" id="{A21F36B2-2A37-4842-A8E4-8168BE7C77FB}"/>
              </a:ext>
            </a:extLst>
          </p:cNvPr>
          <p:cNvSpPr>
            <a:spLocks noGrp="1"/>
          </p:cNvSpPr>
          <p:nvPr>
            <p:ph type="title"/>
          </p:nvPr>
        </p:nvSpPr>
        <p:spPr/>
        <p:txBody>
          <a:bodyPr/>
          <a:lstStyle/>
          <a:p>
            <a:r>
              <a:rPr lang="en-US" dirty="0"/>
              <a:t>Discovery: Define DoR and DoD</a:t>
            </a:r>
          </a:p>
        </p:txBody>
      </p:sp>
      <p:sp>
        <p:nvSpPr>
          <p:cNvPr id="379" name="Text Placeholder 26">
            <a:extLst>
              <a:ext uri="{FF2B5EF4-FFF2-40B4-BE49-F238E27FC236}">
                <a16:creationId xmlns:a16="http://schemas.microsoft.com/office/drawing/2014/main" id="{5AB413F5-343C-4AAA-B9AC-12FE3978929D}"/>
              </a:ext>
            </a:extLst>
          </p:cNvPr>
          <p:cNvSpPr>
            <a:spLocks noGrp="1"/>
          </p:cNvSpPr>
          <p:nvPr>
            <p:ph type="body" sz="quarter" idx="13"/>
          </p:nvPr>
        </p:nvSpPr>
        <p:spPr/>
        <p:txBody>
          <a:bodyPr/>
          <a:lstStyle/>
          <a:p>
            <a:r>
              <a:rPr lang="en-US" dirty="0"/>
              <a:t> </a:t>
            </a:r>
          </a:p>
        </p:txBody>
      </p:sp>
      <p:graphicFrame>
        <p:nvGraphicFramePr>
          <p:cNvPr id="2088" name="Table 2087">
            <a:extLst>
              <a:ext uri="{FF2B5EF4-FFF2-40B4-BE49-F238E27FC236}">
                <a16:creationId xmlns:a16="http://schemas.microsoft.com/office/drawing/2014/main" id="{25698676-5C58-4D35-A8B7-8E336A7551CC}"/>
              </a:ext>
            </a:extLst>
          </p:cNvPr>
          <p:cNvGraphicFramePr>
            <a:graphicFrameLocks noGrp="1"/>
          </p:cNvGraphicFramePr>
          <p:nvPr/>
        </p:nvGraphicFramePr>
        <p:xfrm>
          <a:off x="4178627" y="3158850"/>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089" name="Rectangle 2088">
            <a:extLst>
              <a:ext uri="{FF2B5EF4-FFF2-40B4-BE49-F238E27FC236}">
                <a16:creationId xmlns:a16="http://schemas.microsoft.com/office/drawing/2014/main" id="{538DBED8-B7FE-4836-95D1-D23E7CB3103C}"/>
              </a:ext>
            </a:extLst>
          </p:cNvPr>
          <p:cNvSpPr>
            <a:spLocks/>
          </p:cNvSpPr>
          <p:nvPr/>
        </p:nvSpPr>
        <p:spPr bwMode="gray">
          <a:xfrm>
            <a:off x="9918827" y="1551301"/>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090" name="Table 2089">
            <a:extLst>
              <a:ext uri="{FF2B5EF4-FFF2-40B4-BE49-F238E27FC236}">
                <a16:creationId xmlns:a16="http://schemas.microsoft.com/office/drawing/2014/main" id="{CCD5D59F-617C-4091-9BEC-F2BEDDEF7D01}"/>
              </a:ext>
            </a:extLst>
          </p:cNvPr>
          <p:cNvGraphicFramePr>
            <a:graphicFrameLocks noGrp="1"/>
          </p:cNvGraphicFramePr>
          <p:nvPr/>
        </p:nvGraphicFramePr>
        <p:xfrm>
          <a:off x="468615" y="4440018"/>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091" name="Group 2090">
            <a:extLst>
              <a:ext uri="{FF2B5EF4-FFF2-40B4-BE49-F238E27FC236}">
                <a16:creationId xmlns:a16="http://schemas.microsoft.com/office/drawing/2014/main" id="{FA3C1DA5-2A52-4D78-9CB8-5B1ED2BE5D13}"/>
              </a:ext>
            </a:extLst>
          </p:cNvPr>
          <p:cNvGrpSpPr/>
          <p:nvPr/>
        </p:nvGrpSpPr>
        <p:grpSpPr>
          <a:xfrm>
            <a:off x="7902088" y="3305977"/>
            <a:ext cx="1851680" cy="1646153"/>
            <a:chOff x="7893402" y="3412713"/>
            <a:chExt cx="1856890" cy="1650785"/>
          </a:xfrm>
        </p:grpSpPr>
        <p:sp>
          <p:nvSpPr>
            <p:cNvPr id="2092" name="Rectangle 2091">
              <a:extLst>
                <a:ext uri="{FF2B5EF4-FFF2-40B4-BE49-F238E27FC236}">
                  <a16:creationId xmlns:a16="http://schemas.microsoft.com/office/drawing/2014/main" id="{1C669E47-2425-4A9C-B6FA-BCDD9F5F0914}"/>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2093" name="Rectangle 2092">
              <a:extLst>
                <a:ext uri="{FF2B5EF4-FFF2-40B4-BE49-F238E27FC236}">
                  <a16:creationId xmlns:a16="http://schemas.microsoft.com/office/drawing/2014/main" id="{1226DC2C-2BA0-42DD-BAC4-98CD84DB843D}"/>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2094" name="Group 2093">
              <a:extLst>
                <a:ext uri="{FF2B5EF4-FFF2-40B4-BE49-F238E27FC236}">
                  <a16:creationId xmlns:a16="http://schemas.microsoft.com/office/drawing/2014/main" id="{4018B3BA-F4A9-4CB0-A81F-A4E27B5E73DB}"/>
                </a:ext>
              </a:extLst>
            </p:cNvPr>
            <p:cNvGrpSpPr>
              <a:grpSpLocks/>
            </p:cNvGrpSpPr>
            <p:nvPr/>
          </p:nvGrpSpPr>
          <p:grpSpPr>
            <a:xfrm>
              <a:off x="8732469" y="4576554"/>
              <a:ext cx="486942" cy="486944"/>
              <a:chOff x="9882273" y="6953856"/>
              <a:chExt cx="473625" cy="473627"/>
            </a:xfrm>
          </p:grpSpPr>
          <p:grpSp>
            <p:nvGrpSpPr>
              <p:cNvPr id="2118" name="Group 64">
                <a:extLst>
                  <a:ext uri="{FF2B5EF4-FFF2-40B4-BE49-F238E27FC236}">
                    <a16:creationId xmlns:a16="http://schemas.microsoft.com/office/drawing/2014/main" id="{DC979671-E4F1-468E-9C3B-01580A58710E}"/>
                  </a:ext>
                </a:extLst>
              </p:cNvPr>
              <p:cNvGrpSpPr>
                <a:grpSpLocks noChangeAspect="1"/>
              </p:cNvGrpSpPr>
              <p:nvPr/>
            </p:nvGrpSpPr>
            <p:grpSpPr bwMode="auto">
              <a:xfrm rot="8100000">
                <a:off x="9882273" y="6953856"/>
                <a:ext cx="473625" cy="473627"/>
                <a:chOff x="701" y="2170"/>
                <a:chExt cx="587" cy="587"/>
              </a:xfrm>
            </p:grpSpPr>
            <p:sp>
              <p:nvSpPr>
                <p:cNvPr id="2150" name="Oval 65">
                  <a:extLst>
                    <a:ext uri="{FF2B5EF4-FFF2-40B4-BE49-F238E27FC236}">
                      <a16:creationId xmlns:a16="http://schemas.microsoft.com/office/drawing/2014/main" id="{CD508788-B640-40DF-91A5-A3F245D0F39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1" name="Line 66">
                  <a:extLst>
                    <a:ext uri="{FF2B5EF4-FFF2-40B4-BE49-F238E27FC236}">
                      <a16:creationId xmlns:a16="http://schemas.microsoft.com/office/drawing/2014/main" id="{17316FC2-914A-4B92-B759-336E06AC88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2" name="Line 67">
                  <a:extLst>
                    <a:ext uri="{FF2B5EF4-FFF2-40B4-BE49-F238E27FC236}">
                      <a16:creationId xmlns:a16="http://schemas.microsoft.com/office/drawing/2014/main" id="{B11E12E1-EA7C-4ABE-8A24-2DF55E515C8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3" name="Line 69">
                  <a:extLst>
                    <a:ext uri="{FF2B5EF4-FFF2-40B4-BE49-F238E27FC236}">
                      <a16:creationId xmlns:a16="http://schemas.microsoft.com/office/drawing/2014/main" id="{7178D00E-79F4-49D9-862D-ECBC0715D6E2}"/>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4" name="Line 74">
                  <a:extLst>
                    <a:ext uri="{FF2B5EF4-FFF2-40B4-BE49-F238E27FC236}">
                      <a16:creationId xmlns:a16="http://schemas.microsoft.com/office/drawing/2014/main" id="{C489AE26-4BAE-4983-8E24-D960A7FAA69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Freeform 78">
                  <a:extLst>
                    <a:ext uri="{FF2B5EF4-FFF2-40B4-BE49-F238E27FC236}">
                      <a16:creationId xmlns:a16="http://schemas.microsoft.com/office/drawing/2014/main" id="{AF00986A-31DC-4BFC-902E-48818E8388E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80">
                  <a:extLst>
                    <a:ext uri="{FF2B5EF4-FFF2-40B4-BE49-F238E27FC236}">
                      <a16:creationId xmlns:a16="http://schemas.microsoft.com/office/drawing/2014/main" id="{21A42C36-6533-48C9-8BF4-00F522A96D3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9" name="Group 2118">
                <a:extLst>
                  <a:ext uri="{FF2B5EF4-FFF2-40B4-BE49-F238E27FC236}">
                    <a16:creationId xmlns:a16="http://schemas.microsoft.com/office/drawing/2014/main" id="{3093853F-A565-4B6A-A062-79427CC86038}"/>
                  </a:ext>
                </a:extLst>
              </p:cNvPr>
              <p:cNvGrpSpPr/>
              <p:nvPr/>
            </p:nvGrpSpPr>
            <p:grpSpPr>
              <a:xfrm>
                <a:off x="9938546" y="7021642"/>
                <a:ext cx="356509" cy="349884"/>
                <a:chOff x="468738" y="2241878"/>
                <a:chExt cx="1655483" cy="1624719"/>
              </a:xfrm>
            </p:grpSpPr>
            <p:sp>
              <p:nvSpPr>
                <p:cNvPr id="2120" name="Freeform 5">
                  <a:extLst>
                    <a:ext uri="{FF2B5EF4-FFF2-40B4-BE49-F238E27FC236}">
                      <a16:creationId xmlns:a16="http://schemas.microsoft.com/office/drawing/2014/main" id="{DF09CF73-ABB3-40B9-8FBB-D7ED124A0A2A}"/>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6">
                  <a:extLst>
                    <a:ext uri="{FF2B5EF4-FFF2-40B4-BE49-F238E27FC236}">
                      <a16:creationId xmlns:a16="http://schemas.microsoft.com/office/drawing/2014/main" id="{469EF966-E092-499D-B70A-6F772E4289D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2" name="Line 7">
                  <a:extLst>
                    <a:ext uri="{FF2B5EF4-FFF2-40B4-BE49-F238E27FC236}">
                      <a16:creationId xmlns:a16="http://schemas.microsoft.com/office/drawing/2014/main" id="{68424CB0-3822-4E76-959F-68323CDE000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3" name="Freeform 8">
                  <a:extLst>
                    <a:ext uri="{FF2B5EF4-FFF2-40B4-BE49-F238E27FC236}">
                      <a16:creationId xmlns:a16="http://schemas.microsoft.com/office/drawing/2014/main" id="{2C2B8825-FEEA-4EF4-A3A8-EB1ED69B0966}"/>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9">
                  <a:extLst>
                    <a:ext uri="{FF2B5EF4-FFF2-40B4-BE49-F238E27FC236}">
                      <a16:creationId xmlns:a16="http://schemas.microsoft.com/office/drawing/2014/main" id="{DFB0CFB8-48B3-48CA-8AA1-80952C2AE8B1}"/>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25" name="Group 2124">
                  <a:extLst>
                    <a:ext uri="{FF2B5EF4-FFF2-40B4-BE49-F238E27FC236}">
                      <a16:creationId xmlns:a16="http://schemas.microsoft.com/office/drawing/2014/main" id="{1ED2C071-F483-4A41-B8D4-4327750C9BA6}"/>
                    </a:ext>
                  </a:extLst>
                </p:cNvPr>
                <p:cNvGrpSpPr/>
                <p:nvPr/>
              </p:nvGrpSpPr>
              <p:grpSpPr>
                <a:xfrm>
                  <a:off x="1207113" y="2241878"/>
                  <a:ext cx="178734" cy="348678"/>
                  <a:chOff x="1207113" y="2241878"/>
                  <a:chExt cx="178734" cy="348678"/>
                </a:xfrm>
              </p:grpSpPr>
              <p:sp>
                <p:nvSpPr>
                  <p:cNvPr id="2148" name="Freeform 10">
                    <a:extLst>
                      <a:ext uri="{FF2B5EF4-FFF2-40B4-BE49-F238E27FC236}">
                        <a16:creationId xmlns:a16="http://schemas.microsoft.com/office/drawing/2014/main" id="{438CA79C-0E56-4806-A11B-2D07AE2D42C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9" name="Line 11">
                    <a:extLst>
                      <a:ext uri="{FF2B5EF4-FFF2-40B4-BE49-F238E27FC236}">
                        <a16:creationId xmlns:a16="http://schemas.microsoft.com/office/drawing/2014/main" id="{D6580E37-9642-4BAB-A5CC-A13F838A7BC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26" name="Freeform 12">
                  <a:extLst>
                    <a:ext uri="{FF2B5EF4-FFF2-40B4-BE49-F238E27FC236}">
                      <a16:creationId xmlns:a16="http://schemas.microsoft.com/office/drawing/2014/main" id="{EDE422A2-19C8-4FF4-ADF8-74987CA83A4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13">
                  <a:extLst>
                    <a:ext uri="{FF2B5EF4-FFF2-40B4-BE49-F238E27FC236}">
                      <a16:creationId xmlns:a16="http://schemas.microsoft.com/office/drawing/2014/main" id="{C9546F35-D363-43F4-ABA9-C150E6954C9E}"/>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Freeform 14">
                  <a:extLst>
                    <a:ext uri="{FF2B5EF4-FFF2-40B4-BE49-F238E27FC236}">
                      <a16:creationId xmlns:a16="http://schemas.microsoft.com/office/drawing/2014/main" id="{CB8E3185-30C3-470C-B0B3-9F66CD973A8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15">
                  <a:extLst>
                    <a:ext uri="{FF2B5EF4-FFF2-40B4-BE49-F238E27FC236}">
                      <a16:creationId xmlns:a16="http://schemas.microsoft.com/office/drawing/2014/main" id="{13BE7968-3BB6-41FC-BAB8-E1A73691EC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16">
                  <a:extLst>
                    <a:ext uri="{FF2B5EF4-FFF2-40B4-BE49-F238E27FC236}">
                      <a16:creationId xmlns:a16="http://schemas.microsoft.com/office/drawing/2014/main" id="{B0240DB1-129C-4FCF-A019-ED60AC06124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Line 17">
                  <a:extLst>
                    <a:ext uri="{FF2B5EF4-FFF2-40B4-BE49-F238E27FC236}">
                      <a16:creationId xmlns:a16="http://schemas.microsoft.com/office/drawing/2014/main" id="{05D62E0F-2C6B-4925-A5A7-F81B3324A44F}"/>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2" name="Freeform 18">
                  <a:extLst>
                    <a:ext uri="{FF2B5EF4-FFF2-40B4-BE49-F238E27FC236}">
                      <a16:creationId xmlns:a16="http://schemas.microsoft.com/office/drawing/2014/main" id="{7053162F-E754-4060-918F-4D906F46E68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3" name="Line 19">
                  <a:extLst>
                    <a:ext uri="{FF2B5EF4-FFF2-40B4-BE49-F238E27FC236}">
                      <a16:creationId xmlns:a16="http://schemas.microsoft.com/office/drawing/2014/main" id="{08DDFC9B-5D9E-4DD6-8107-D97357B0D6E2}"/>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4" name="Freeform 35">
                  <a:extLst>
                    <a:ext uri="{FF2B5EF4-FFF2-40B4-BE49-F238E27FC236}">
                      <a16:creationId xmlns:a16="http://schemas.microsoft.com/office/drawing/2014/main" id="{6FEC5306-B5F6-4EB8-9EB5-37900CA9141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36">
                  <a:extLst>
                    <a:ext uri="{FF2B5EF4-FFF2-40B4-BE49-F238E27FC236}">
                      <a16:creationId xmlns:a16="http://schemas.microsoft.com/office/drawing/2014/main" id="{2C534636-34FD-42BE-9C36-888A03C22F1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Freeform 37">
                  <a:extLst>
                    <a:ext uri="{FF2B5EF4-FFF2-40B4-BE49-F238E27FC236}">
                      <a16:creationId xmlns:a16="http://schemas.microsoft.com/office/drawing/2014/main" id="{27BCF1F2-3B23-4647-B34D-648D1F4ECA04}"/>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38">
                  <a:extLst>
                    <a:ext uri="{FF2B5EF4-FFF2-40B4-BE49-F238E27FC236}">
                      <a16:creationId xmlns:a16="http://schemas.microsoft.com/office/drawing/2014/main" id="{36CAF972-97C0-44E9-B5A9-59EC880A70AB}"/>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8" name="Freeform 39">
                  <a:extLst>
                    <a:ext uri="{FF2B5EF4-FFF2-40B4-BE49-F238E27FC236}">
                      <a16:creationId xmlns:a16="http://schemas.microsoft.com/office/drawing/2014/main" id="{A08BC316-26DD-41C2-9898-56E0E309D1EF}"/>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9" name="Freeform 40">
                  <a:extLst>
                    <a:ext uri="{FF2B5EF4-FFF2-40B4-BE49-F238E27FC236}">
                      <a16:creationId xmlns:a16="http://schemas.microsoft.com/office/drawing/2014/main" id="{31CD5408-1815-4D3B-B571-D2F2823C3297}"/>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0" name="Freeform 41">
                  <a:extLst>
                    <a:ext uri="{FF2B5EF4-FFF2-40B4-BE49-F238E27FC236}">
                      <a16:creationId xmlns:a16="http://schemas.microsoft.com/office/drawing/2014/main" id="{43FC500F-07FF-4B24-9337-6DB73D7858A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42">
                  <a:extLst>
                    <a:ext uri="{FF2B5EF4-FFF2-40B4-BE49-F238E27FC236}">
                      <a16:creationId xmlns:a16="http://schemas.microsoft.com/office/drawing/2014/main" id="{F4B72077-F12B-4384-9AC7-7FD03D4FF21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43">
                  <a:extLst>
                    <a:ext uri="{FF2B5EF4-FFF2-40B4-BE49-F238E27FC236}">
                      <a16:creationId xmlns:a16="http://schemas.microsoft.com/office/drawing/2014/main" id="{7750E75D-CC56-4175-AE30-04F8CC701AB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Freeform 44">
                  <a:extLst>
                    <a:ext uri="{FF2B5EF4-FFF2-40B4-BE49-F238E27FC236}">
                      <a16:creationId xmlns:a16="http://schemas.microsoft.com/office/drawing/2014/main" id="{1A946C20-548B-46FF-B5CD-65BF1FF000E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45">
                  <a:extLst>
                    <a:ext uri="{FF2B5EF4-FFF2-40B4-BE49-F238E27FC236}">
                      <a16:creationId xmlns:a16="http://schemas.microsoft.com/office/drawing/2014/main" id="{400F5C81-5325-42B2-B211-DB982165927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45" name="Group 2144">
                  <a:extLst>
                    <a:ext uri="{FF2B5EF4-FFF2-40B4-BE49-F238E27FC236}">
                      <a16:creationId xmlns:a16="http://schemas.microsoft.com/office/drawing/2014/main" id="{D46CF3AD-21EF-4637-837D-5939D8D23242}"/>
                    </a:ext>
                  </a:extLst>
                </p:cNvPr>
                <p:cNvGrpSpPr/>
                <p:nvPr/>
              </p:nvGrpSpPr>
              <p:grpSpPr>
                <a:xfrm flipV="1">
                  <a:off x="1202047" y="3517919"/>
                  <a:ext cx="178734" cy="348678"/>
                  <a:chOff x="1207113" y="2241878"/>
                  <a:chExt cx="178734" cy="348678"/>
                </a:xfrm>
              </p:grpSpPr>
              <p:sp>
                <p:nvSpPr>
                  <p:cNvPr id="2146" name="Freeform 10">
                    <a:extLst>
                      <a:ext uri="{FF2B5EF4-FFF2-40B4-BE49-F238E27FC236}">
                        <a16:creationId xmlns:a16="http://schemas.microsoft.com/office/drawing/2014/main" id="{F34AD819-060B-4E0C-A180-6511085434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1">
                    <a:extLst>
                      <a:ext uri="{FF2B5EF4-FFF2-40B4-BE49-F238E27FC236}">
                        <a16:creationId xmlns:a16="http://schemas.microsoft.com/office/drawing/2014/main" id="{0AA11204-94B8-4FC9-96F8-F3AF3A9B70F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95" name="Group 2094">
              <a:extLst>
                <a:ext uri="{FF2B5EF4-FFF2-40B4-BE49-F238E27FC236}">
                  <a16:creationId xmlns:a16="http://schemas.microsoft.com/office/drawing/2014/main" id="{0ED9436C-183E-42D4-B43A-2014C88E39EB}"/>
                </a:ext>
              </a:extLst>
            </p:cNvPr>
            <p:cNvGrpSpPr>
              <a:grpSpLocks/>
            </p:cNvGrpSpPr>
            <p:nvPr/>
          </p:nvGrpSpPr>
          <p:grpSpPr>
            <a:xfrm>
              <a:off x="9270466" y="4594229"/>
              <a:ext cx="427295" cy="427297"/>
              <a:chOff x="10412894" y="6962721"/>
              <a:chExt cx="415610" cy="415612"/>
            </a:xfrm>
          </p:grpSpPr>
          <p:grpSp>
            <p:nvGrpSpPr>
              <p:cNvPr id="2096" name="Group 64">
                <a:extLst>
                  <a:ext uri="{FF2B5EF4-FFF2-40B4-BE49-F238E27FC236}">
                    <a16:creationId xmlns:a16="http://schemas.microsoft.com/office/drawing/2014/main" id="{18AB1D0E-E6DA-4F88-AD8B-0F57D0222A59}"/>
                  </a:ext>
                </a:extLst>
              </p:cNvPr>
              <p:cNvGrpSpPr>
                <a:grpSpLocks noChangeAspect="1"/>
              </p:cNvGrpSpPr>
              <p:nvPr/>
            </p:nvGrpSpPr>
            <p:grpSpPr bwMode="auto">
              <a:xfrm rot="8100000">
                <a:off x="10412894" y="6962721"/>
                <a:ext cx="415610" cy="415612"/>
                <a:chOff x="701" y="2170"/>
                <a:chExt cx="587" cy="587"/>
              </a:xfrm>
            </p:grpSpPr>
            <p:sp>
              <p:nvSpPr>
                <p:cNvPr id="2111" name="Oval 65">
                  <a:extLst>
                    <a:ext uri="{FF2B5EF4-FFF2-40B4-BE49-F238E27FC236}">
                      <a16:creationId xmlns:a16="http://schemas.microsoft.com/office/drawing/2014/main" id="{65B5FA5E-E998-4CEB-A4A4-72026F3663B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2" name="Line 66">
                  <a:extLst>
                    <a:ext uri="{FF2B5EF4-FFF2-40B4-BE49-F238E27FC236}">
                      <a16:creationId xmlns:a16="http://schemas.microsoft.com/office/drawing/2014/main" id="{05F85E74-0E05-47A5-9608-3C1284BE590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3" name="Line 67">
                  <a:extLst>
                    <a:ext uri="{FF2B5EF4-FFF2-40B4-BE49-F238E27FC236}">
                      <a16:creationId xmlns:a16="http://schemas.microsoft.com/office/drawing/2014/main" id="{D5322D42-CFC4-463C-88C1-72670B1112A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4" name="Line 69">
                  <a:extLst>
                    <a:ext uri="{FF2B5EF4-FFF2-40B4-BE49-F238E27FC236}">
                      <a16:creationId xmlns:a16="http://schemas.microsoft.com/office/drawing/2014/main" id="{969B36A9-CDCC-46AA-BAF4-1FC82B21089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5" name="Line 74">
                  <a:extLst>
                    <a:ext uri="{FF2B5EF4-FFF2-40B4-BE49-F238E27FC236}">
                      <a16:creationId xmlns:a16="http://schemas.microsoft.com/office/drawing/2014/main" id="{0050B60D-0A87-487D-B843-7F84A67ABB3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78">
                  <a:extLst>
                    <a:ext uri="{FF2B5EF4-FFF2-40B4-BE49-F238E27FC236}">
                      <a16:creationId xmlns:a16="http://schemas.microsoft.com/office/drawing/2014/main" id="{665E0959-7968-40CE-A68B-11548CEDD17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80">
                  <a:extLst>
                    <a:ext uri="{FF2B5EF4-FFF2-40B4-BE49-F238E27FC236}">
                      <a16:creationId xmlns:a16="http://schemas.microsoft.com/office/drawing/2014/main" id="{9A0D8841-54F6-4583-99A9-C4C39E5FDEF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97" name="Group 2096">
                <a:extLst>
                  <a:ext uri="{FF2B5EF4-FFF2-40B4-BE49-F238E27FC236}">
                    <a16:creationId xmlns:a16="http://schemas.microsoft.com/office/drawing/2014/main" id="{527F3619-7399-42FA-8989-D8DDDB6FA903}"/>
                  </a:ext>
                </a:extLst>
              </p:cNvPr>
              <p:cNvGrpSpPr/>
              <p:nvPr/>
            </p:nvGrpSpPr>
            <p:grpSpPr>
              <a:xfrm>
                <a:off x="10462223" y="7069159"/>
                <a:ext cx="313949" cy="233075"/>
                <a:chOff x="3707533" y="2731244"/>
                <a:chExt cx="389644" cy="289271"/>
              </a:xfrm>
            </p:grpSpPr>
            <p:sp>
              <p:nvSpPr>
                <p:cNvPr id="2098" name="Freeform 33">
                  <a:extLst>
                    <a:ext uri="{FF2B5EF4-FFF2-40B4-BE49-F238E27FC236}">
                      <a16:creationId xmlns:a16="http://schemas.microsoft.com/office/drawing/2014/main" id="{AC3AEB44-05B3-42BA-AE24-50CD2B225FF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Freeform 34">
                  <a:extLst>
                    <a:ext uri="{FF2B5EF4-FFF2-40B4-BE49-F238E27FC236}">
                      <a16:creationId xmlns:a16="http://schemas.microsoft.com/office/drawing/2014/main" id="{E336B930-67A1-4737-949A-E74DE1C5FCC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0" name="Freeform 37">
                  <a:extLst>
                    <a:ext uri="{FF2B5EF4-FFF2-40B4-BE49-F238E27FC236}">
                      <a16:creationId xmlns:a16="http://schemas.microsoft.com/office/drawing/2014/main" id="{14930BF9-4558-4F6C-BDA1-5177AFA7041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1" name="Freeform 38">
                  <a:extLst>
                    <a:ext uri="{FF2B5EF4-FFF2-40B4-BE49-F238E27FC236}">
                      <a16:creationId xmlns:a16="http://schemas.microsoft.com/office/drawing/2014/main" id="{8E506DBE-06A0-48F7-8FC8-FA310CE5DFEF}"/>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2" name="Freeform 32">
                  <a:extLst>
                    <a:ext uri="{FF2B5EF4-FFF2-40B4-BE49-F238E27FC236}">
                      <a16:creationId xmlns:a16="http://schemas.microsoft.com/office/drawing/2014/main" id="{D9FA7C2A-2166-40A4-9F90-C8235166950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35">
                  <a:extLst>
                    <a:ext uri="{FF2B5EF4-FFF2-40B4-BE49-F238E27FC236}">
                      <a16:creationId xmlns:a16="http://schemas.microsoft.com/office/drawing/2014/main" id="{4134E0AC-9C1C-44E1-A6F4-B84FB54CF63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36">
                  <a:extLst>
                    <a:ext uri="{FF2B5EF4-FFF2-40B4-BE49-F238E27FC236}">
                      <a16:creationId xmlns:a16="http://schemas.microsoft.com/office/drawing/2014/main" id="{68072677-8E2F-4B76-9069-90CA4F41394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5" name="Freeform 25">
                  <a:extLst>
                    <a:ext uri="{FF2B5EF4-FFF2-40B4-BE49-F238E27FC236}">
                      <a16:creationId xmlns:a16="http://schemas.microsoft.com/office/drawing/2014/main" id="{461D146A-49BD-4547-967F-FF3854DF9A45}"/>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6" name="Freeform 39">
                  <a:extLst>
                    <a:ext uri="{FF2B5EF4-FFF2-40B4-BE49-F238E27FC236}">
                      <a16:creationId xmlns:a16="http://schemas.microsoft.com/office/drawing/2014/main" id="{B8D0742B-47CA-452F-ADFB-F342B2250B9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7" name="Freeform 26">
                  <a:extLst>
                    <a:ext uri="{FF2B5EF4-FFF2-40B4-BE49-F238E27FC236}">
                      <a16:creationId xmlns:a16="http://schemas.microsoft.com/office/drawing/2014/main" id="{1211F4B3-89CD-4B26-B732-E24F7A16BE1C}"/>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8" name="Rectangle 27">
                  <a:extLst>
                    <a:ext uri="{FF2B5EF4-FFF2-40B4-BE49-F238E27FC236}">
                      <a16:creationId xmlns:a16="http://schemas.microsoft.com/office/drawing/2014/main" id="{2F39C8CD-F370-44E0-B6D0-9FECBB02D298}"/>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9" name="Line 29">
                  <a:extLst>
                    <a:ext uri="{FF2B5EF4-FFF2-40B4-BE49-F238E27FC236}">
                      <a16:creationId xmlns:a16="http://schemas.microsoft.com/office/drawing/2014/main" id="{25235C23-74EF-4BBB-A9C0-21588DCA2AA7}"/>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0" name="Line 31">
                  <a:extLst>
                    <a:ext uri="{FF2B5EF4-FFF2-40B4-BE49-F238E27FC236}">
                      <a16:creationId xmlns:a16="http://schemas.microsoft.com/office/drawing/2014/main" id="{16B95BE2-9458-423B-848C-DEA5FF15EF5A}"/>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57" name="Group 2156">
            <a:extLst>
              <a:ext uri="{FF2B5EF4-FFF2-40B4-BE49-F238E27FC236}">
                <a16:creationId xmlns:a16="http://schemas.microsoft.com/office/drawing/2014/main" id="{A3F53B21-B989-4526-B9D9-3AF585A41521}"/>
              </a:ext>
            </a:extLst>
          </p:cNvPr>
          <p:cNvGrpSpPr/>
          <p:nvPr/>
        </p:nvGrpSpPr>
        <p:grpSpPr>
          <a:xfrm>
            <a:off x="5336641" y="3847678"/>
            <a:ext cx="4367346" cy="2539218"/>
            <a:chOff x="5338031" y="3986050"/>
            <a:chExt cx="4368484" cy="2539879"/>
          </a:xfrm>
        </p:grpSpPr>
        <p:grpSp>
          <p:nvGrpSpPr>
            <p:cNvPr id="2158" name="Group 2157">
              <a:extLst>
                <a:ext uri="{FF2B5EF4-FFF2-40B4-BE49-F238E27FC236}">
                  <a16:creationId xmlns:a16="http://schemas.microsoft.com/office/drawing/2014/main" id="{3816E7BD-500D-4A98-B9E8-FB4D8F1A725E}"/>
                </a:ext>
              </a:extLst>
            </p:cNvPr>
            <p:cNvGrpSpPr/>
            <p:nvPr/>
          </p:nvGrpSpPr>
          <p:grpSpPr>
            <a:xfrm>
              <a:off x="6626435" y="3986050"/>
              <a:ext cx="3080080" cy="2539879"/>
              <a:chOff x="6642908" y="3955938"/>
              <a:chExt cx="3087943" cy="2546363"/>
            </a:xfrm>
          </p:grpSpPr>
          <p:sp>
            <p:nvSpPr>
              <p:cNvPr id="2160" name="Rectangle 2159">
                <a:extLst>
                  <a:ext uri="{FF2B5EF4-FFF2-40B4-BE49-F238E27FC236}">
                    <a16:creationId xmlns:a16="http://schemas.microsoft.com/office/drawing/2014/main" id="{EE33E1DD-D86F-406F-AA75-ECA8B97CF39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161" name="Group 2160">
                <a:extLst>
                  <a:ext uri="{FF2B5EF4-FFF2-40B4-BE49-F238E27FC236}">
                    <a16:creationId xmlns:a16="http://schemas.microsoft.com/office/drawing/2014/main" id="{7B4AEC85-A9CF-42C1-A5D6-A84A74E512AB}"/>
                  </a:ext>
                </a:extLst>
              </p:cNvPr>
              <p:cNvGrpSpPr/>
              <p:nvPr/>
            </p:nvGrpSpPr>
            <p:grpSpPr>
              <a:xfrm>
                <a:off x="8222643" y="5655421"/>
                <a:ext cx="1030675" cy="846880"/>
                <a:chOff x="10800033" y="2297897"/>
                <a:chExt cx="1600558" cy="1315140"/>
              </a:xfrm>
            </p:grpSpPr>
            <p:grpSp>
              <p:nvGrpSpPr>
                <p:cNvPr id="2163" name="Group 2162">
                  <a:extLst>
                    <a:ext uri="{FF2B5EF4-FFF2-40B4-BE49-F238E27FC236}">
                      <a16:creationId xmlns:a16="http://schemas.microsoft.com/office/drawing/2014/main" id="{F488A4EA-6B19-4A29-A51F-11947BEC20E8}"/>
                    </a:ext>
                  </a:extLst>
                </p:cNvPr>
                <p:cNvGrpSpPr>
                  <a:grpSpLocks/>
                </p:cNvGrpSpPr>
                <p:nvPr/>
              </p:nvGrpSpPr>
              <p:grpSpPr>
                <a:xfrm>
                  <a:off x="10800033" y="2339037"/>
                  <a:ext cx="613092" cy="613092"/>
                  <a:chOff x="745985" y="4768134"/>
                  <a:chExt cx="368776" cy="368777"/>
                </a:xfrm>
              </p:grpSpPr>
              <p:grpSp>
                <p:nvGrpSpPr>
                  <p:cNvPr id="2227" name="Group 64">
                    <a:extLst>
                      <a:ext uri="{FF2B5EF4-FFF2-40B4-BE49-F238E27FC236}">
                        <a16:creationId xmlns:a16="http://schemas.microsoft.com/office/drawing/2014/main" id="{D91A28E9-E819-4B33-AAFA-F5B134B3A5E7}"/>
                      </a:ext>
                    </a:extLst>
                  </p:cNvPr>
                  <p:cNvGrpSpPr>
                    <a:grpSpLocks noChangeAspect="1"/>
                  </p:cNvGrpSpPr>
                  <p:nvPr/>
                </p:nvGrpSpPr>
                <p:grpSpPr bwMode="auto">
                  <a:xfrm rot="8100000">
                    <a:off x="745985" y="4768134"/>
                    <a:ext cx="368776" cy="368777"/>
                    <a:chOff x="701" y="2170"/>
                    <a:chExt cx="587" cy="587"/>
                  </a:xfrm>
                </p:grpSpPr>
                <p:sp>
                  <p:nvSpPr>
                    <p:cNvPr id="2238" name="Oval 65">
                      <a:extLst>
                        <a:ext uri="{FF2B5EF4-FFF2-40B4-BE49-F238E27FC236}">
                          <a16:creationId xmlns:a16="http://schemas.microsoft.com/office/drawing/2014/main" id="{710C7CD0-ACC7-47F5-BB17-B72C612A2E1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9" name="Line 66">
                      <a:extLst>
                        <a:ext uri="{FF2B5EF4-FFF2-40B4-BE49-F238E27FC236}">
                          <a16:creationId xmlns:a16="http://schemas.microsoft.com/office/drawing/2014/main" id="{15A62BF2-D8B8-41B3-AC7E-E56578BE5BD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0" name="Line 67">
                      <a:extLst>
                        <a:ext uri="{FF2B5EF4-FFF2-40B4-BE49-F238E27FC236}">
                          <a16:creationId xmlns:a16="http://schemas.microsoft.com/office/drawing/2014/main" id="{1053D753-1A28-4C20-A676-471C2793D4E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1" name="Line 69">
                      <a:extLst>
                        <a:ext uri="{FF2B5EF4-FFF2-40B4-BE49-F238E27FC236}">
                          <a16:creationId xmlns:a16="http://schemas.microsoft.com/office/drawing/2014/main" id="{B0E2D47E-7749-4395-8C1D-88844E97260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2" name="Line 74">
                      <a:extLst>
                        <a:ext uri="{FF2B5EF4-FFF2-40B4-BE49-F238E27FC236}">
                          <a16:creationId xmlns:a16="http://schemas.microsoft.com/office/drawing/2014/main" id="{95E6537A-B125-4F46-840E-7229804DA1D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3" name="Freeform 78">
                      <a:extLst>
                        <a:ext uri="{FF2B5EF4-FFF2-40B4-BE49-F238E27FC236}">
                          <a16:creationId xmlns:a16="http://schemas.microsoft.com/office/drawing/2014/main" id="{40470C41-8FA4-4CD9-B6F6-FA46F0EAEA5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4" name="Freeform 80">
                      <a:extLst>
                        <a:ext uri="{FF2B5EF4-FFF2-40B4-BE49-F238E27FC236}">
                          <a16:creationId xmlns:a16="http://schemas.microsoft.com/office/drawing/2014/main" id="{E34B0C0C-7D50-4ACB-8A43-B80A013ADEFD}"/>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28" name="Group 2227">
                    <a:extLst>
                      <a:ext uri="{FF2B5EF4-FFF2-40B4-BE49-F238E27FC236}">
                        <a16:creationId xmlns:a16="http://schemas.microsoft.com/office/drawing/2014/main" id="{DC7B0C1E-C593-4046-B3C7-EEF440A9906D}"/>
                      </a:ext>
                    </a:extLst>
                  </p:cNvPr>
                  <p:cNvGrpSpPr/>
                  <p:nvPr/>
                </p:nvGrpSpPr>
                <p:grpSpPr>
                  <a:xfrm>
                    <a:off x="837312" y="4814434"/>
                    <a:ext cx="136805" cy="278689"/>
                    <a:chOff x="2806700" y="2803319"/>
                    <a:chExt cx="433387" cy="882861"/>
                  </a:xfrm>
                </p:grpSpPr>
                <p:grpSp>
                  <p:nvGrpSpPr>
                    <p:cNvPr id="2229" name="Group 2228">
                      <a:extLst>
                        <a:ext uri="{FF2B5EF4-FFF2-40B4-BE49-F238E27FC236}">
                          <a16:creationId xmlns:a16="http://schemas.microsoft.com/office/drawing/2014/main" id="{E802251B-916F-4056-918C-34F9F2E305B3}"/>
                        </a:ext>
                      </a:extLst>
                    </p:cNvPr>
                    <p:cNvGrpSpPr>
                      <a:grpSpLocks noChangeAspect="1"/>
                    </p:cNvGrpSpPr>
                    <p:nvPr/>
                  </p:nvGrpSpPr>
                  <p:grpSpPr bwMode="auto">
                    <a:xfrm>
                      <a:off x="2806700" y="3043242"/>
                      <a:ext cx="433387" cy="642938"/>
                      <a:chOff x="1768" y="1917"/>
                      <a:chExt cx="273" cy="405"/>
                    </a:xfrm>
                  </p:grpSpPr>
                  <p:sp>
                    <p:nvSpPr>
                      <p:cNvPr id="2231" name="Freeform 52">
                        <a:extLst>
                          <a:ext uri="{FF2B5EF4-FFF2-40B4-BE49-F238E27FC236}">
                            <a16:creationId xmlns:a16="http://schemas.microsoft.com/office/drawing/2014/main" id="{192C617C-54ED-41D7-BF54-B1191B86290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2" name="Line 54">
                        <a:extLst>
                          <a:ext uri="{FF2B5EF4-FFF2-40B4-BE49-F238E27FC236}">
                            <a16:creationId xmlns:a16="http://schemas.microsoft.com/office/drawing/2014/main" id="{F1D93AA1-C9F5-4CD3-8C84-58E16DD8C70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3" name="Line 55">
                        <a:extLst>
                          <a:ext uri="{FF2B5EF4-FFF2-40B4-BE49-F238E27FC236}">
                            <a16:creationId xmlns:a16="http://schemas.microsoft.com/office/drawing/2014/main" id="{A76C7802-1BDB-493F-B4DE-9244B410BC8E}"/>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4" name="Freeform 56">
                        <a:extLst>
                          <a:ext uri="{FF2B5EF4-FFF2-40B4-BE49-F238E27FC236}">
                            <a16:creationId xmlns:a16="http://schemas.microsoft.com/office/drawing/2014/main" id="{E5574C13-BA7F-496E-BAE8-DA3839AC7C1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5" name="Line 57">
                        <a:extLst>
                          <a:ext uri="{FF2B5EF4-FFF2-40B4-BE49-F238E27FC236}">
                            <a16:creationId xmlns:a16="http://schemas.microsoft.com/office/drawing/2014/main" id="{CA15A088-9F57-47EE-B688-D99FF24C952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6" name="Freeform 58">
                        <a:extLst>
                          <a:ext uri="{FF2B5EF4-FFF2-40B4-BE49-F238E27FC236}">
                            <a16:creationId xmlns:a16="http://schemas.microsoft.com/office/drawing/2014/main" id="{058FE3D1-C0C3-4751-ABBA-B8B392B6A96F}"/>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7" name="Rectangle 2236">
                        <a:extLst>
                          <a:ext uri="{FF2B5EF4-FFF2-40B4-BE49-F238E27FC236}">
                            <a16:creationId xmlns:a16="http://schemas.microsoft.com/office/drawing/2014/main" id="{60D10146-0BB3-45E6-B554-ED8BA9B78FE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230" name="Oval 2229">
                      <a:extLst>
                        <a:ext uri="{FF2B5EF4-FFF2-40B4-BE49-F238E27FC236}">
                          <a16:creationId xmlns:a16="http://schemas.microsoft.com/office/drawing/2014/main" id="{0E89C224-7192-4BCD-9B0A-0A944110F01F}"/>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64" name="Group 2163">
                  <a:extLst>
                    <a:ext uri="{FF2B5EF4-FFF2-40B4-BE49-F238E27FC236}">
                      <a16:creationId xmlns:a16="http://schemas.microsoft.com/office/drawing/2014/main" id="{B10CBD6C-F7C8-4A57-9ACA-D1A199EA9DCF}"/>
                    </a:ext>
                  </a:extLst>
                </p:cNvPr>
                <p:cNvGrpSpPr>
                  <a:grpSpLocks/>
                </p:cNvGrpSpPr>
                <p:nvPr/>
              </p:nvGrpSpPr>
              <p:grpSpPr>
                <a:xfrm>
                  <a:off x="11166615" y="2825631"/>
                  <a:ext cx="787402" cy="787406"/>
                  <a:chOff x="1454941" y="4721722"/>
                  <a:chExt cx="473625" cy="473627"/>
                </a:xfrm>
              </p:grpSpPr>
              <p:grpSp>
                <p:nvGrpSpPr>
                  <p:cNvPr id="2188" name="Group 64">
                    <a:extLst>
                      <a:ext uri="{FF2B5EF4-FFF2-40B4-BE49-F238E27FC236}">
                        <a16:creationId xmlns:a16="http://schemas.microsoft.com/office/drawing/2014/main" id="{ABCE2FB1-37F0-43DF-BD59-2612C72D4837}"/>
                      </a:ext>
                    </a:extLst>
                  </p:cNvPr>
                  <p:cNvGrpSpPr>
                    <a:grpSpLocks noChangeAspect="1"/>
                  </p:cNvGrpSpPr>
                  <p:nvPr/>
                </p:nvGrpSpPr>
                <p:grpSpPr bwMode="auto">
                  <a:xfrm rot="8100000">
                    <a:off x="1454941" y="4721722"/>
                    <a:ext cx="473625" cy="473627"/>
                    <a:chOff x="701" y="2170"/>
                    <a:chExt cx="587" cy="587"/>
                  </a:xfrm>
                </p:grpSpPr>
                <p:sp>
                  <p:nvSpPr>
                    <p:cNvPr id="2220" name="Oval 65">
                      <a:extLst>
                        <a:ext uri="{FF2B5EF4-FFF2-40B4-BE49-F238E27FC236}">
                          <a16:creationId xmlns:a16="http://schemas.microsoft.com/office/drawing/2014/main" id="{15961140-1A10-4BFB-89AC-F38F1D154A0B}"/>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21" name="Line 66">
                      <a:extLst>
                        <a:ext uri="{FF2B5EF4-FFF2-40B4-BE49-F238E27FC236}">
                          <a16:creationId xmlns:a16="http://schemas.microsoft.com/office/drawing/2014/main" id="{006B9D65-8AE7-4509-8B64-FC4D4FC0ADF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2" name="Line 67">
                      <a:extLst>
                        <a:ext uri="{FF2B5EF4-FFF2-40B4-BE49-F238E27FC236}">
                          <a16:creationId xmlns:a16="http://schemas.microsoft.com/office/drawing/2014/main" id="{422739C9-BFEC-4494-9964-A8C5EAD50B9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Line 69">
                      <a:extLst>
                        <a:ext uri="{FF2B5EF4-FFF2-40B4-BE49-F238E27FC236}">
                          <a16:creationId xmlns:a16="http://schemas.microsoft.com/office/drawing/2014/main" id="{58DF49C2-AA2E-484D-8385-4ECF473647B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4" name="Line 74">
                      <a:extLst>
                        <a:ext uri="{FF2B5EF4-FFF2-40B4-BE49-F238E27FC236}">
                          <a16:creationId xmlns:a16="http://schemas.microsoft.com/office/drawing/2014/main" id="{4BD4124B-A4DE-462F-8F88-48258FCF99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5" name="Freeform 78">
                      <a:extLst>
                        <a:ext uri="{FF2B5EF4-FFF2-40B4-BE49-F238E27FC236}">
                          <a16:creationId xmlns:a16="http://schemas.microsoft.com/office/drawing/2014/main" id="{2520C878-1E4A-4B6B-BDFB-B88CEE25C4A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6" name="Freeform 80">
                      <a:extLst>
                        <a:ext uri="{FF2B5EF4-FFF2-40B4-BE49-F238E27FC236}">
                          <a16:creationId xmlns:a16="http://schemas.microsoft.com/office/drawing/2014/main" id="{2F761D6F-C8D8-4C87-983A-3C4B884C532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89" name="Group 2188">
                    <a:extLst>
                      <a:ext uri="{FF2B5EF4-FFF2-40B4-BE49-F238E27FC236}">
                        <a16:creationId xmlns:a16="http://schemas.microsoft.com/office/drawing/2014/main" id="{DEBD9B1D-166D-4170-B078-B2D377479FC6}"/>
                      </a:ext>
                    </a:extLst>
                  </p:cNvPr>
                  <p:cNvGrpSpPr/>
                  <p:nvPr/>
                </p:nvGrpSpPr>
                <p:grpSpPr>
                  <a:xfrm>
                    <a:off x="1511214" y="4789508"/>
                    <a:ext cx="356509" cy="349884"/>
                    <a:chOff x="468738" y="2241878"/>
                    <a:chExt cx="1655483" cy="1624719"/>
                  </a:xfrm>
                </p:grpSpPr>
                <p:sp>
                  <p:nvSpPr>
                    <p:cNvPr id="2190" name="Freeform 5">
                      <a:extLst>
                        <a:ext uri="{FF2B5EF4-FFF2-40B4-BE49-F238E27FC236}">
                          <a16:creationId xmlns:a16="http://schemas.microsoft.com/office/drawing/2014/main" id="{1D9A7314-AB98-4761-8699-586F6357DB6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91" name="Freeform 6">
                      <a:extLst>
                        <a:ext uri="{FF2B5EF4-FFF2-40B4-BE49-F238E27FC236}">
                          <a16:creationId xmlns:a16="http://schemas.microsoft.com/office/drawing/2014/main" id="{A64CF44D-CEA9-4DA5-8182-101680E2A41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2" name="Line 7">
                      <a:extLst>
                        <a:ext uri="{FF2B5EF4-FFF2-40B4-BE49-F238E27FC236}">
                          <a16:creationId xmlns:a16="http://schemas.microsoft.com/office/drawing/2014/main" id="{1C4A0DF9-5457-4922-9056-C7D3B4051B7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3" name="Freeform 8">
                      <a:extLst>
                        <a:ext uri="{FF2B5EF4-FFF2-40B4-BE49-F238E27FC236}">
                          <a16:creationId xmlns:a16="http://schemas.microsoft.com/office/drawing/2014/main" id="{738F72B4-50FB-4505-8A6C-54B5F20EE781}"/>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4" name="Line 9">
                      <a:extLst>
                        <a:ext uri="{FF2B5EF4-FFF2-40B4-BE49-F238E27FC236}">
                          <a16:creationId xmlns:a16="http://schemas.microsoft.com/office/drawing/2014/main" id="{5F21B2A7-081B-495B-B6F4-7E3C88CE811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95" name="Group 2194">
                      <a:extLst>
                        <a:ext uri="{FF2B5EF4-FFF2-40B4-BE49-F238E27FC236}">
                          <a16:creationId xmlns:a16="http://schemas.microsoft.com/office/drawing/2014/main" id="{0A3425A1-A771-4B1A-BA01-B5C61884E4A0}"/>
                        </a:ext>
                      </a:extLst>
                    </p:cNvPr>
                    <p:cNvGrpSpPr/>
                    <p:nvPr/>
                  </p:nvGrpSpPr>
                  <p:grpSpPr>
                    <a:xfrm>
                      <a:off x="1207113" y="2241878"/>
                      <a:ext cx="178734" cy="348678"/>
                      <a:chOff x="1207113" y="2241878"/>
                      <a:chExt cx="178734" cy="348678"/>
                    </a:xfrm>
                  </p:grpSpPr>
                  <p:sp>
                    <p:nvSpPr>
                      <p:cNvPr id="2218" name="Freeform 10">
                        <a:extLst>
                          <a:ext uri="{FF2B5EF4-FFF2-40B4-BE49-F238E27FC236}">
                            <a16:creationId xmlns:a16="http://schemas.microsoft.com/office/drawing/2014/main" id="{25371420-3620-4971-9DE1-63F97042398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Line 11">
                        <a:extLst>
                          <a:ext uri="{FF2B5EF4-FFF2-40B4-BE49-F238E27FC236}">
                            <a16:creationId xmlns:a16="http://schemas.microsoft.com/office/drawing/2014/main" id="{AC1D5B7B-67AB-4978-8205-867EF6E4AD2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96" name="Freeform 12">
                      <a:extLst>
                        <a:ext uri="{FF2B5EF4-FFF2-40B4-BE49-F238E27FC236}">
                          <a16:creationId xmlns:a16="http://schemas.microsoft.com/office/drawing/2014/main" id="{5FA19EC1-1058-4D85-88E9-468EF6D086ED}"/>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7" name="Line 13">
                      <a:extLst>
                        <a:ext uri="{FF2B5EF4-FFF2-40B4-BE49-F238E27FC236}">
                          <a16:creationId xmlns:a16="http://schemas.microsoft.com/office/drawing/2014/main" id="{FA969646-702F-47BD-A0EE-85918BC0E84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8" name="Freeform 14">
                      <a:extLst>
                        <a:ext uri="{FF2B5EF4-FFF2-40B4-BE49-F238E27FC236}">
                          <a16:creationId xmlns:a16="http://schemas.microsoft.com/office/drawing/2014/main" id="{F1B550C5-A998-4C1F-B315-604276039DE5}"/>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9" name="Line 15">
                      <a:extLst>
                        <a:ext uri="{FF2B5EF4-FFF2-40B4-BE49-F238E27FC236}">
                          <a16:creationId xmlns:a16="http://schemas.microsoft.com/office/drawing/2014/main" id="{DF241370-6A53-4766-B73B-14DA40B43B5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0" name="Freeform 16">
                      <a:extLst>
                        <a:ext uri="{FF2B5EF4-FFF2-40B4-BE49-F238E27FC236}">
                          <a16:creationId xmlns:a16="http://schemas.microsoft.com/office/drawing/2014/main" id="{105A38EC-5CE9-4B76-AD85-E8F3D024F71E}"/>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Line 17">
                      <a:extLst>
                        <a:ext uri="{FF2B5EF4-FFF2-40B4-BE49-F238E27FC236}">
                          <a16:creationId xmlns:a16="http://schemas.microsoft.com/office/drawing/2014/main" id="{1BF1C07B-DAF8-4146-BE40-719ED5C2DB33}"/>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2" name="Freeform 18">
                      <a:extLst>
                        <a:ext uri="{FF2B5EF4-FFF2-40B4-BE49-F238E27FC236}">
                          <a16:creationId xmlns:a16="http://schemas.microsoft.com/office/drawing/2014/main" id="{250378F1-E840-46EC-B2E2-05279B9F821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Line 19">
                      <a:extLst>
                        <a:ext uri="{FF2B5EF4-FFF2-40B4-BE49-F238E27FC236}">
                          <a16:creationId xmlns:a16="http://schemas.microsoft.com/office/drawing/2014/main" id="{2B18A366-0440-4FCA-BE1C-4918E42C72A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35">
                      <a:extLst>
                        <a:ext uri="{FF2B5EF4-FFF2-40B4-BE49-F238E27FC236}">
                          <a16:creationId xmlns:a16="http://schemas.microsoft.com/office/drawing/2014/main" id="{C314256A-E020-459A-94BB-CA59309A4CBB}"/>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36">
                      <a:extLst>
                        <a:ext uri="{FF2B5EF4-FFF2-40B4-BE49-F238E27FC236}">
                          <a16:creationId xmlns:a16="http://schemas.microsoft.com/office/drawing/2014/main" id="{60073856-1516-4212-BEAA-3A051DB31F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37">
                      <a:extLst>
                        <a:ext uri="{FF2B5EF4-FFF2-40B4-BE49-F238E27FC236}">
                          <a16:creationId xmlns:a16="http://schemas.microsoft.com/office/drawing/2014/main" id="{16CD7A93-B640-444E-9124-76CD43E0D73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38">
                      <a:extLst>
                        <a:ext uri="{FF2B5EF4-FFF2-40B4-BE49-F238E27FC236}">
                          <a16:creationId xmlns:a16="http://schemas.microsoft.com/office/drawing/2014/main" id="{F3B3FC43-39A3-4B3D-8C16-995C4B732FBE}"/>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39">
                      <a:extLst>
                        <a:ext uri="{FF2B5EF4-FFF2-40B4-BE49-F238E27FC236}">
                          <a16:creationId xmlns:a16="http://schemas.microsoft.com/office/drawing/2014/main" id="{5065377B-057A-4857-A3CD-131B34E2A81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40">
                      <a:extLst>
                        <a:ext uri="{FF2B5EF4-FFF2-40B4-BE49-F238E27FC236}">
                          <a16:creationId xmlns:a16="http://schemas.microsoft.com/office/drawing/2014/main" id="{2395F9BD-C87A-4553-ACF2-0143AFF2E3D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41">
                      <a:extLst>
                        <a:ext uri="{FF2B5EF4-FFF2-40B4-BE49-F238E27FC236}">
                          <a16:creationId xmlns:a16="http://schemas.microsoft.com/office/drawing/2014/main" id="{87AFFDBB-FE77-4963-90EE-7D3C0F8A2BFE}"/>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Line 42">
                      <a:extLst>
                        <a:ext uri="{FF2B5EF4-FFF2-40B4-BE49-F238E27FC236}">
                          <a16:creationId xmlns:a16="http://schemas.microsoft.com/office/drawing/2014/main" id="{E1A3EF65-3462-4F94-9DB7-D17FF1442F51}"/>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43">
                      <a:extLst>
                        <a:ext uri="{FF2B5EF4-FFF2-40B4-BE49-F238E27FC236}">
                          <a16:creationId xmlns:a16="http://schemas.microsoft.com/office/drawing/2014/main" id="{0BA60547-C8B3-4174-BD62-DF1EEBBC417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44">
                      <a:extLst>
                        <a:ext uri="{FF2B5EF4-FFF2-40B4-BE49-F238E27FC236}">
                          <a16:creationId xmlns:a16="http://schemas.microsoft.com/office/drawing/2014/main" id="{819EB172-557D-45B6-B1ED-00A2E71486F3}"/>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45">
                      <a:extLst>
                        <a:ext uri="{FF2B5EF4-FFF2-40B4-BE49-F238E27FC236}">
                          <a16:creationId xmlns:a16="http://schemas.microsoft.com/office/drawing/2014/main" id="{05587E12-F6B4-47EB-988A-8AA4534D8C28}"/>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15" name="Group 2214">
                      <a:extLst>
                        <a:ext uri="{FF2B5EF4-FFF2-40B4-BE49-F238E27FC236}">
                          <a16:creationId xmlns:a16="http://schemas.microsoft.com/office/drawing/2014/main" id="{636468B7-3621-461D-860D-F8C75732E462}"/>
                        </a:ext>
                      </a:extLst>
                    </p:cNvPr>
                    <p:cNvGrpSpPr/>
                    <p:nvPr/>
                  </p:nvGrpSpPr>
                  <p:grpSpPr>
                    <a:xfrm flipV="1">
                      <a:off x="1202047" y="3517919"/>
                      <a:ext cx="178734" cy="348678"/>
                      <a:chOff x="1207113" y="2241878"/>
                      <a:chExt cx="178734" cy="348678"/>
                    </a:xfrm>
                  </p:grpSpPr>
                  <p:sp>
                    <p:nvSpPr>
                      <p:cNvPr id="2216" name="Freeform 10">
                        <a:extLst>
                          <a:ext uri="{FF2B5EF4-FFF2-40B4-BE49-F238E27FC236}">
                            <a16:creationId xmlns:a16="http://schemas.microsoft.com/office/drawing/2014/main" id="{410DF577-895F-4E70-96FE-951F4D56A55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Line 11">
                        <a:extLst>
                          <a:ext uri="{FF2B5EF4-FFF2-40B4-BE49-F238E27FC236}">
                            <a16:creationId xmlns:a16="http://schemas.microsoft.com/office/drawing/2014/main" id="{40A4026E-F1FE-4204-A4A2-17BFAA8891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65" name="Group 2164">
                  <a:extLst>
                    <a:ext uri="{FF2B5EF4-FFF2-40B4-BE49-F238E27FC236}">
                      <a16:creationId xmlns:a16="http://schemas.microsoft.com/office/drawing/2014/main" id="{A4C0D400-C02F-478B-B1B9-2501C058B2EF}"/>
                    </a:ext>
                  </a:extLst>
                </p:cNvPr>
                <p:cNvGrpSpPr>
                  <a:grpSpLocks/>
                </p:cNvGrpSpPr>
                <p:nvPr/>
              </p:nvGrpSpPr>
              <p:grpSpPr>
                <a:xfrm>
                  <a:off x="11709639" y="2297897"/>
                  <a:ext cx="690952" cy="690956"/>
                  <a:chOff x="2268747" y="4723725"/>
                  <a:chExt cx="415610" cy="415612"/>
                </a:xfrm>
              </p:grpSpPr>
              <p:grpSp>
                <p:nvGrpSpPr>
                  <p:cNvPr id="2166" name="Group 64">
                    <a:extLst>
                      <a:ext uri="{FF2B5EF4-FFF2-40B4-BE49-F238E27FC236}">
                        <a16:creationId xmlns:a16="http://schemas.microsoft.com/office/drawing/2014/main" id="{B17BE4DE-5375-442D-93A8-26D9889996D1}"/>
                      </a:ext>
                    </a:extLst>
                  </p:cNvPr>
                  <p:cNvGrpSpPr>
                    <a:grpSpLocks noChangeAspect="1"/>
                  </p:cNvGrpSpPr>
                  <p:nvPr/>
                </p:nvGrpSpPr>
                <p:grpSpPr bwMode="auto">
                  <a:xfrm rot="8100000">
                    <a:off x="2268747" y="4723725"/>
                    <a:ext cx="415610" cy="415612"/>
                    <a:chOff x="701" y="2170"/>
                    <a:chExt cx="587" cy="587"/>
                  </a:xfrm>
                </p:grpSpPr>
                <p:sp>
                  <p:nvSpPr>
                    <p:cNvPr id="2181" name="Oval 65">
                      <a:extLst>
                        <a:ext uri="{FF2B5EF4-FFF2-40B4-BE49-F238E27FC236}">
                          <a16:creationId xmlns:a16="http://schemas.microsoft.com/office/drawing/2014/main" id="{2EA549F0-7DF9-4B97-9922-CE022AD61A9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2" name="Line 66">
                      <a:extLst>
                        <a:ext uri="{FF2B5EF4-FFF2-40B4-BE49-F238E27FC236}">
                          <a16:creationId xmlns:a16="http://schemas.microsoft.com/office/drawing/2014/main" id="{1626D8DC-E5C3-4622-9799-B3F457B33655}"/>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3" name="Line 67">
                      <a:extLst>
                        <a:ext uri="{FF2B5EF4-FFF2-40B4-BE49-F238E27FC236}">
                          <a16:creationId xmlns:a16="http://schemas.microsoft.com/office/drawing/2014/main" id="{8C443901-746E-4E3C-9975-9C7FDAE9584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9">
                      <a:extLst>
                        <a:ext uri="{FF2B5EF4-FFF2-40B4-BE49-F238E27FC236}">
                          <a16:creationId xmlns:a16="http://schemas.microsoft.com/office/drawing/2014/main" id="{DEC89C1E-4381-4EBD-B1C1-2E75571B377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74">
                      <a:extLst>
                        <a:ext uri="{FF2B5EF4-FFF2-40B4-BE49-F238E27FC236}">
                          <a16:creationId xmlns:a16="http://schemas.microsoft.com/office/drawing/2014/main" id="{426BA79C-657F-4D18-AA4C-7F1387458C2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Freeform 78">
                      <a:extLst>
                        <a:ext uri="{FF2B5EF4-FFF2-40B4-BE49-F238E27FC236}">
                          <a16:creationId xmlns:a16="http://schemas.microsoft.com/office/drawing/2014/main" id="{F0B56726-E777-4F0E-9913-AC854618759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80">
                      <a:extLst>
                        <a:ext uri="{FF2B5EF4-FFF2-40B4-BE49-F238E27FC236}">
                          <a16:creationId xmlns:a16="http://schemas.microsoft.com/office/drawing/2014/main" id="{34C04358-9512-4CD4-886E-84CD468CF73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67" name="Group 2166">
                    <a:extLst>
                      <a:ext uri="{FF2B5EF4-FFF2-40B4-BE49-F238E27FC236}">
                        <a16:creationId xmlns:a16="http://schemas.microsoft.com/office/drawing/2014/main" id="{28E34054-7D3B-4D8B-809C-73B1468F8192}"/>
                      </a:ext>
                    </a:extLst>
                  </p:cNvPr>
                  <p:cNvGrpSpPr/>
                  <p:nvPr/>
                </p:nvGrpSpPr>
                <p:grpSpPr>
                  <a:xfrm>
                    <a:off x="2318076" y="4830163"/>
                    <a:ext cx="313949" cy="233075"/>
                    <a:chOff x="3707533" y="2731244"/>
                    <a:chExt cx="389644" cy="289271"/>
                  </a:xfrm>
                </p:grpSpPr>
                <p:sp>
                  <p:nvSpPr>
                    <p:cNvPr id="2168" name="Freeform 33">
                      <a:extLst>
                        <a:ext uri="{FF2B5EF4-FFF2-40B4-BE49-F238E27FC236}">
                          <a16:creationId xmlns:a16="http://schemas.microsoft.com/office/drawing/2014/main" id="{B4FE439A-D777-407F-8F08-0BC6EBC1C2D6}"/>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34">
                      <a:extLst>
                        <a:ext uri="{FF2B5EF4-FFF2-40B4-BE49-F238E27FC236}">
                          <a16:creationId xmlns:a16="http://schemas.microsoft.com/office/drawing/2014/main" id="{A7917E2E-9536-4410-93D6-656EDC14276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37">
                      <a:extLst>
                        <a:ext uri="{FF2B5EF4-FFF2-40B4-BE49-F238E27FC236}">
                          <a16:creationId xmlns:a16="http://schemas.microsoft.com/office/drawing/2014/main" id="{7418AC65-96AB-48C2-A3DC-C781B6A5601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1" name="Freeform 38">
                      <a:extLst>
                        <a:ext uri="{FF2B5EF4-FFF2-40B4-BE49-F238E27FC236}">
                          <a16:creationId xmlns:a16="http://schemas.microsoft.com/office/drawing/2014/main" id="{557D2715-D97B-4738-98D4-E23F68AE6988}"/>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2" name="Freeform 32">
                      <a:extLst>
                        <a:ext uri="{FF2B5EF4-FFF2-40B4-BE49-F238E27FC236}">
                          <a16:creationId xmlns:a16="http://schemas.microsoft.com/office/drawing/2014/main" id="{DEC47B83-3F1C-4953-A0B9-C3D43DFC4F0E}"/>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3" name="Freeform 35">
                      <a:extLst>
                        <a:ext uri="{FF2B5EF4-FFF2-40B4-BE49-F238E27FC236}">
                          <a16:creationId xmlns:a16="http://schemas.microsoft.com/office/drawing/2014/main" id="{14C3980E-5D17-42A2-9AF6-DF0BD721DAB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4" name="Freeform 36">
                      <a:extLst>
                        <a:ext uri="{FF2B5EF4-FFF2-40B4-BE49-F238E27FC236}">
                          <a16:creationId xmlns:a16="http://schemas.microsoft.com/office/drawing/2014/main" id="{E2126AF0-F9CB-46E6-B4B5-C82F0087B75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5" name="Freeform 25">
                      <a:extLst>
                        <a:ext uri="{FF2B5EF4-FFF2-40B4-BE49-F238E27FC236}">
                          <a16:creationId xmlns:a16="http://schemas.microsoft.com/office/drawing/2014/main" id="{11D152C7-7F05-49D9-80E9-C5D5E192028C}"/>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Freeform 39">
                      <a:extLst>
                        <a:ext uri="{FF2B5EF4-FFF2-40B4-BE49-F238E27FC236}">
                          <a16:creationId xmlns:a16="http://schemas.microsoft.com/office/drawing/2014/main" id="{3E5E4F9B-F62E-4CFC-8045-EA707BEB219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7" name="Freeform 26">
                      <a:extLst>
                        <a:ext uri="{FF2B5EF4-FFF2-40B4-BE49-F238E27FC236}">
                          <a16:creationId xmlns:a16="http://schemas.microsoft.com/office/drawing/2014/main" id="{1FB77C3F-FFFA-4A3E-84CC-B47EE967B735}"/>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8" name="Rectangle 27">
                      <a:extLst>
                        <a:ext uri="{FF2B5EF4-FFF2-40B4-BE49-F238E27FC236}">
                          <a16:creationId xmlns:a16="http://schemas.microsoft.com/office/drawing/2014/main" id="{3EED932C-C3FE-4DAC-BA81-3C9564ECF7CC}"/>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9" name="Line 29">
                      <a:extLst>
                        <a:ext uri="{FF2B5EF4-FFF2-40B4-BE49-F238E27FC236}">
                          <a16:creationId xmlns:a16="http://schemas.microsoft.com/office/drawing/2014/main" id="{22E7952B-986D-4EF6-9D90-4EB2570B4F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Line 31">
                      <a:extLst>
                        <a:ext uri="{FF2B5EF4-FFF2-40B4-BE49-F238E27FC236}">
                          <a16:creationId xmlns:a16="http://schemas.microsoft.com/office/drawing/2014/main" id="{2E09664D-FC2E-4C7B-BD8B-EB6B09534C71}"/>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162" name="Rectangle 2161">
                <a:extLst>
                  <a:ext uri="{FF2B5EF4-FFF2-40B4-BE49-F238E27FC236}">
                    <a16:creationId xmlns:a16="http://schemas.microsoft.com/office/drawing/2014/main" id="{AE3A9622-2C3B-4723-82C0-04A11F7A67D5}"/>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159" name="Rectangle 2158">
              <a:extLst>
                <a:ext uri="{FF2B5EF4-FFF2-40B4-BE49-F238E27FC236}">
                  <a16:creationId xmlns:a16="http://schemas.microsoft.com/office/drawing/2014/main" id="{7B1DC118-2B61-4544-A6B5-CE5166EAF1B2}"/>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245" name="Group 2244">
            <a:extLst>
              <a:ext uri="{FF2B5EF4-FFF2-40B4-BE49-F238E27FC236}">
                <a16:creationId xmlns:a16="http://schemas.microsoft.com/office/drawing/2014/main" id="{596718D9-B325-4276-BE50-22747C501F7B}"/>
              </a:ext>
            </a:extLst>
          </p:cNvPr>
          <p:cNvGrpSpPr/>
          <p:nvPr/>
        </p:nvGrpSpPr>
        <p:grpSpPr>
          <a:xfrm>
            <a:off x="5581513" y="3847679"/>
            <a:ext cx="2022711" cy="2582790"/>
            <a:chOff x="5596776" y="3955938"/>
            <a:chExt cx="2028403" cy="2590058"/>
          </a:xfrm>
        </p:grpSpPr>
        <p:sp>
          <p:nvSpPr>
            <p:cNvPr id="2246" name="Rectangle 2245">
              <a:extLst>
                <a:ext uri="{FF2B5EF4-FFF2-40B4-BE49-F238E27FC236}">
                  <a16:creationId xmlns:a16="http://schemas.microsoft.com/office/drawing/2014/main" id="{03BB922D-F8C3-47FC-AA81-6A5C008CECFB}"/>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247" name="Group 2246">
              <a:extLst>
                <a:ext uri="{FF2B5EF4-FFF2-40B4-BE49-F238E27FC236}">
                  <a16:creationId xmlns:a16="http://schemas.microsoft.com/office/drawing/2014/main" id="{AB14F307-12B8-4AE9-92BB-F70CE51DB976}"/>
                </a:ext>
              </a:extLst>
            </p:cNvPr>
            <p:cNvGrpSpPr/>
            <p:nvPr/>
          </p:nvGrpSpPr>
          <p:grpSpPr>
            <a:xfrm>
              <a:off x="5596776" y="4804677"/>
              <a:ext cx="2028403" cy="1741319"/>
              <a:chOff x="5596776" y="4804677"/>
              <a:chExt cx="2028403" cy="1741319"/>
            </a:xfrm>
          </p:grpSpPr>
          <p:sp>
            <p:nvSpPr>
              <p:cNvPr id="2248" name="Rectangle 2247">
                <a:extLst>
                  <a:ext uri="{FF2B5EF4-FFF2-40B4-BE49-F238E27FC236}">
                    <a16:creationId xmlns:a16="http://schemas.microsoft.com/office/drawing/2014/main" id="{B5C15643-696C-4B68-B4F3-27F9B158E634}"/>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249" name="Rectangle 2248">
                <a:extLst>
                  <a:ext uri="{FF2B5EF4-FFF2-40B4-BE49-F238E27FC236}">
                    <a16:creationId xmlns:a16="http://schemas.microsoft.com/office/drawing/2014/main" id="{824E8C0B-7301-415E-927C-E31738F8E963}"/>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250" name="Picture 2249">
                <a:extLst>
                  <a:ext uri="{FF2B5EF4-FFF2-40B4-BE49-F238E27FC236}">
                    <a16:creationId xmlns:a16="http://schemas.microsoft.com/office/drawing/2014/main" id="{C0A13450-F53F-471B-AEB9-B117E07C02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251" name="Group 2250">
                <a:extLst>
                  <a:ext uri="{FF2B5EF4-FFF2-40B4-BE49-F238E27FC236}">
                    <a16:creationId xmlns:a16="http://schemas.microsoft.com/office/drawing/2014/main" id="{0E61A0F9-5D07-4172-B2BE-F9802232F912}"/>
                  </a:ext>
                </a:extLst>
              </p:cNvPr>
              <p:cNvGrpSpPr>
                <a:grpSpLocks/>
              </p:cNvGrpSpPr>
              <p:nvPr/>
            </p:nvGrpSpPr>
            <p:grpSpPr>
              <a:xfrm>
                <a:off x="6916019" y="5876745"/>
                <a:ext cx="476834" cy="476835"/>
                <a:chOff x="7895435" y="7917966"/>
                <a:chExt cx="473625" cy="473627"/>
              </a:xfrm>
            </p:grpSpPr>
            <p:grpSp>
              <p:nvGrpSpPr>
                <p:cNvPr id="2252" name="Group 64">
                  <a:extLst>
                    <a:ext uri="{FF2B5EF4-FFF2-40B4-BE49-F238E27FC236}">
                      <a16:creationId xmlns:a16="http://schemas.microsoft.com/office/drawing/2014/main" id="{C72A6242-D538-4F2C-B3CA-7E31CC7B97BA}"/>
                    </a:ext>
                  </a:extLst>
                </p:cNvPr>
                <p:cNvGrpSpPr>
                  <a:grpSpLocks noChangeAspect="1"/>
                </p:cNvGrpSpPr>
                <p:nvPr/>
              </p:nvGrpSpPr>
              <p:grpSpPr bwMode="auto">
                <a:xfrm rot="8100000">
                  <a:off x="7895435" y="7917966"/>
                  <a:ext cx="473625" cy="473627"/>
                  <a:chOff x="701" y="2170"/>
                  <a:chExt cx="587" cy="587"/>
                </a:xfrm>
              </p:grpSpPr>
              <p:sp>
                <p:nvSpPr>
                  <p:cNvPr id="2284" name="Oval 65">
                    <a:extLst>
                      <a:ext uri="{FF2B5EF4-FFF2-40B4-BE49-F238E27FC236}">
                        <a16:creationId xmlns:a16="http://schemas.microsoft.com/office/drawing/2014/main" id="{72CD75EB-BF3E-4603-8B5F-76E6AAA1404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5" name="Line 66">
                    <a:extLst>
                      <a:ext uri="{FF2B5EF4-FFF2-40B4-BE49-F238E27FC236}">
                        <a16:creationId xmlns:a16="http://schemas.microsoft.com/office/drawing/2014/main" id="{C2ABC0FA-E95F-4846-8E5B-60C4FBF614A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67">
                    <a:extLst>
                      <a:ext uri="{FF2B5EF4-FFF2-40B4-BE49-F238E27FC236}">
                        <a16:creationId xmlns:a16="http://schemas.microsoft.com/office/drawing/2014/main" id="{78BD8519-5A33-45C0-8EAD-7490E9E31E7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7" name="Line 69">
                    <a:extLst>
                      <a:ext uri="{FF2B5EF4-FFF2-40B4-BE49-F238E27FC236}">
                        <a16:creationId xmlns:a16="http://schemas.microsoft.com/office/drawing/2014/main" id="{4F6079F1-90DE-4314-9807-A9534643861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8" name="Line 74">
                    <a:extLst>
                      <a:ext uri="{FF2B5EF4-FFF2-40B4-BE49-F238E27FC236}">
                        <a16:creationId xmlns:a16="http://schemas.microsoft.com/office/drawing/2014/main" id="{6D38F3F5-61E8-41D1-90C0-8623D31AB56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Freeform 78">
                    <a:extLst>
                      <a:ext uri="{FF2B5EF4-FFF2-40B4-BE49-F238E27FC236}">
                        <a16:creationId xmlns:a16="http://schemas.microsoft.com/office/drawing/2014/main" id="{4FFF2C2E-7700-46EE-8D2B-4A891EB9A263}"/>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80">
                    <a:extLst>
                      <a:ext uri="{FF2B5EF4-FFF2-40B4-BE49-F238E27FC236}">
                        <a16:creationId xmlns:a16="http://schemas.microsoft.com/office/drawing/2014/main" id="{1122B5A9-3C84-4127-BD29-A75546B1522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3" name="Group 2252">
                  <a:extLst>
                    <a:ext uri="{FF2B5EF4-FFF2-40B4-BE49-F238E27FC236}">
                      <a16:creationId xmlns:a16="http://schemas.microsoft.com/office/drawing/2014/main" id="{BD6D89E2-0839-4366-A46C-1684A8249CCE}"/>
                    </a:ext>
                  </a:extLst>
                </p:cNvPr>
                <p:cNvGrpSpPr/>
                <p:nvPr/>
              </p:nvGrpSpPr>
              <p:grpSpPr>
                <a:xfrm>
                  <a:off x="7951708" y="7985752"/>
                  <a:ext cx="356509" cy="349884"/>
                  <a:chOff x="468738" y="2241878"/>
                  <a:chExt cx="1655483" cy="1624719"/>
                </a:xfrm>
              </p:grpSpPr>
              <p:sp>
                <p:nvSpPr>
                  <p:cNvPr id="2254" name="Freeform 5">
                    <a:extLst>
                      <a:ext uri="{FF2B5EF4-FFF2-40B4-BE49-F238E27FC236}">
                        <a16:creationId xmlns:a16="http://schemas.microsoft.com/office/drawing/2014/main" id="{0653FA21-B855-4F64-ABA6-8F7F26150D5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55" name="Freeform 6">
                    <a:extLst>
                      <a:ext uri="{FF2B5EF4-FFF2-40B4-BE49-F238E27FC236}">
                        <a16:creationId xmlns:a16="http://schemas.microsoft.com/office/drawing/2014/main" id="{3EEE02F6-99B8-44B6-A1AB-129B9A2D36D1}"/>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6" name="Line 7">
                    <a:extLst>
                      <a:ext uri="{FF2B5EF4-FFF2-40B4-BE49-F238E27FC236}">
                        <a16:creationId xmlns:a16="http://schemas.microsoft.com/office/drawing/2014/main" id="{90AE3C5E-3F0F-4BE2-9E91-F0C330609DA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7" name="Freeform 8">
                    <a:extLst>
                      <a:ext uri="{FF2B5EF4-FFF2-40B4-BE49-F238E27FC236}">
                        <a16:creationId xmlns:a16="http://schemas.microsoft.com/office/drawing/2014/main" id="{E22ACE02-9420-4BCC-8D52-9BE7FC9D81D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8" name="Line 9">
                    <a:extLst>
                      <a:ext uri="{FF2B5EF4-FFF2-40B4-BE49-F238E27FC236}">
                        <a16:creationId xmlns:a16="http://schemas.microsoft.com/office/drawing/2014/main" id="{9D6358CD-970F-4D04-8F13-9E65006FDE4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59" name="Group 2258">
                    <a:extLst>
                      <a:ext uri="{FF2B5EF4-FFF2-40B4-BE49-F238E27FC236}">
                        <a16:creationId xmlns:a16="http://schemas.microsoft.com/office/drawing/2014/main" id="{4647B62F-46AC-4F4F-8170-2E739DB9CFBE}"/>
                      </a:ext>
                    </a:extLst>
                  </p:cNvPr>
                  <p:cNvGrpSpPr/>
                  <p:nvPr/>
                </p:nvGrpSpPr>
                <p:grpSpPr>
                  <a:xfrm>
                    <a:off x="1207113" y="2241878"/>
                    <a:ext cx="178734" cy="348678"/>
                    <a:chOff x="1207113" y="2241878"/>
                    <a:chExt cx="178734" cy="348678"/>
                  </a:xfrm>
                </p:grpSpPr>
                <p:sp>
                  <p:nvSpPr>
                    <p:cNvPr id="2282" name="Freeform 10">
                      <a:extLst>
                        <a:ext uri="{FF2B5EF4-FFF2-40B4-BE49-F238E27FC236}">
                          <a16:creationId xmlns:a16="http://schemas.microsoft.com/office/drawing/2014/main" id="{46854A5F-4070-4A86-9B3D-060898EF8DA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3" name="Line 11">
                      <a:extLst>
                        <a:ext uri="{FF2B5EF4-FFF2-40B4-BE49-F238E27FC236}">
                          <a16:creationId xmlns:a16="http://schemas.microsoft.com/office/drawing/2014/main" id="{49AB5A88-DEE1-42E4-85D7-0ECD6FE40B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60" name="Freeform 12">
                    <a:extLst>
                      <a:ext uri="{FF2B5EF4-FFF2-40B4-BE49-F238E27FC236}">
                        <a16:creationId xmlns:a16="http://schemas.microsoft.com/office/drawing/2014/main" id="{2300F74C-6849-42A6-AB6A-692104E3665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1" name="Line 13">
                    <a:extLst>
                      <a:ext uri="{FF2B5EF4-FFF2-40B4-BE49-F238E27FC236}">
                        <a16:creationId xmlns:a16="http://schemas.microsoft.com/office/drawing/2014/main" id="{27BBF1D8-6172-4BE0-A288-26B9081155B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14">
                    <a:extLst>
                      <a:ext uri="{FF2B5EF4-FFF2-40B4-BE49-F238E27FC236}">
                        <a16:creationId xmlns:a16="http://schemas.microsoft.com/office/drawing/2014/main" id="{1A0E8633-E13B-41E8-B429-1F58A35142A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3" name="Line 15">
                    <a:extLst>
                      <a:ext uri="{FF2B5EF4-FFF2-40B4-BE49-F238E27FC236}">
                        <a16:creationId xmlns:a16="http://schemas.microsoft.com/office/drawing/2014/main" id="{7C25BDBF-306B-4FF3-A2C0-3FFF40E99EAD}"/>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16">
                    <a:extLst>
                      <a:ext uri="{FF2B5EF4-FFF2-40B4-BE49-F238E27FC236}">
                        <a16:creationId xmlns:a16="http://schemas.microsoft.com/office/drawing/2014/main" id="{0D3617B8-E7D3-4E1A-9A38-846DF11C0CB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5" name="Line 17">
                    <a:extLst>
                      <a:ext uri="{FF2B5EF4-FFF2-40B4-BE49-F238E27FC236}">
                        <a16:creationId xmlns:a16="http://schemas.microsoft.com/office/drawing/2014/main" id="{6306F9CC-64AE-417A-A2EA-C4A7146711B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18">
                    <a:extLst>
                      <a:ext uri="{FF2B5EF4-FFF2-40B4-BE49-F238E27FC236}">
                        <a16:creationId xmlns:a16="http://schemas.microsoft.com/office/drawing/2014/main" id="{E72E4136-DDFA-4084-8228-ADA12BE42C9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7" name="Line 19">
                    <a:extLst>
                      <a:ext uri="{FF2B5EF4-FFF2-40B4-BE49-F238E27FC236}">
                        <a16:creationId xmlns:a16="http://schemas.microsoft.com/office/drawing/2014/main" id="{E7619B44-B2C5-4FCF-ABA8-178E9BE2E79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5">
                    <a:extLst>
                      <a:ext uri="{FF2B5EF4-FFF2-40B4-BE49-F238E27FC236}">
                        <a16:creationId xmlns:a16="http://schemas.microsoft.com/office/drawing/2014/main" id="{30FC848C-A264-4C36-AA77-5BA5B0D0C18C}"/>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36">
                    <a:extLst>
                      <a:ext uri="{FF2B5EF4-FFF2-40B4-BE49-F238E27FC236}">
                        <a16:creationId xmlns:a16="http://schemas.microsoft.com/office/drawing/2014/main" id="{0436AAF8-A9E1-4FCE-9DC6-EBB2FD0588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0" name="Freeform 37">
                    <a:extLst>
                      <a:ext uri="{FF2B5EF4-FFF2-40B4-BE49-F238E27FC236}">
                        <a16:creationId xmlns:a16="http://schemas.microsoft.com/office/drawing/2014/main" id="{10F2FB4B-92A9-45AB-9CE1-9AD50732BD2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1" name="Freeform 38">
                    <a:extLst>
                      <a:ext uri="{FF2B5EF4-FFF2-40B4-BE49-F238E27FC236}">
                        <a16:creationId xmlns:a16="http://schemas.microsoft.com/office/drawing/2014/main" id="{FE722393-6BB9-4A5A-98BF-D4876777A2E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2" name="Freeform 39">
                    <a:extLst>
                      <a:ext uri="{FF2B5EF4-FFF2-40B4-BE49-F238E27FC236}">
                        <a16:creationId xmlns:a16="http://schemas.microsoft.com/office/drawing/2014/main" id="{88CADD58-5B4A-476A-BE4A-D2CCF9D15BE6}"/>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3" name="Freeform 40">
                    <a:extLst>
                      <a:ext uri="{FF2B5EF4-FFF2-40B4-BE49-F238E27FC236}">
                        <a16:creationId xmlns:a16="http://schemas.microsoft.com/office/drawing/2014/main" id="{152C18AC-19C3-4697-A15C-F43B6A61509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Freeform 41">
                    <a:extLst>
                      <a:ext uri="{FF2B5EF4-FFF2-40B4-BE49-F238E27FC236}">
                        <a16:creationId xmlns:a16="http://schemas.microsoft.com/office/drawing/2014/main" id="{4639A05C-6087-4E97-A772-E66E85C37A8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42">
                    <a:extLst>
                      <a:ext uri="{FF2B5EF4-FFF2-40B4-BE49-F238E27FC236}">
                        <a16:creationId xmlns:a16="http://schemas.microsoft.com/office/drawing/2014/main" id="{0D27C245-CE15-435D-9C25-F3E9D1F2B87B}"/>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Freeform 43">
                    <a:extLst>
                      <a:ext uri="{FF2B5EF4-FFF2-40B4-BE49-F238E27FC236}">
                        <a16:creationId xmlns:a16="http://schemas.microsoft.com/office/drawing/2014/main" id="{9C165DC9-3DC0-4651-B883-E82F608DBDC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Freeform 44">
                    <a:extLst>
                      <a:ext uri="{FF2B5EF4-FFF2-40B4-BE49-F238E27FC236}">
                        <a16:creationId xmlns:a16="http://schemas.microsoft.com/office/drawing/2014/main" id="{8BAE83BE-3698-4C26-9575-E546490E770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45">
                    <a:extLst>
                      <a:ext uri="{FF2B5EF4-FFF2-40B4-BE49-F238E27FC236}">
                        <a16:creationId xmlns:a16="http://schemas.microsoft.com/office/drawing/2014/main" id="{A310B445-8B7A-44EF-B972-9BDBC2819AD6}"/>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79" name="Group 2278">
                    <a:extLst>
                      <a:ext uri="{FF2B5EF4-FFF2-40B4-BE49-F238E27FC236}">
                        <a16:creationId xmlns:a16="http://schemas.microsoft.com/office/drawing/2014/main" id="{359AA665-FA51-45A6-8CC9-B36FB28042EE}"/>
                      </a:ext>
                    </a:extLst>
                  </p:cNvPr>
                  <p:cNvGrpSpPr/>
                  <p:nvPr/>
                </p:nvGrpSpPr>
                <p:grpSpPr>
                  <a:xfrm flipV="1">
                    <a:off x="1202047" y="3517919"/>
                    <a:ext cx="178734" cy="348678"/>
                    <a:chOff x="1207113" y="2241878"/>
                    <a:chExt cx="178734" cy="348678"/>
                  </a:xfrm>
                </p:grpSpPr>
                <p:sp>
                  <p:nvSpPr>
                    <p:cNvPr id="2280" name="Freeform 10">
                      <a:extLst>
                        <a:ext uri="{FF2B5EF4-FFF2-40B4-BE49-F238E27FC236}">
                          <a16:creationId xmlns:a16="http://schemas.microsoft.com/office/drawing/2014/main" id="{79C2BAE8-234E-43FE-9122-B0E1DF14BEA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1" name="Line 11">
                      <a:extLst>
                        <a:ext uri="{FF2B5EF4-FFF2-40B4-BE49-F238E27FC236}">
                          <a16:creationId xmlns:a16="http://schemas.microsoft.com/office/drawing/2014/main" id="{C8E41F0F-82EB-44DB-B172-26F6FCDB907D}"/>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291" name="Group 2290">
            <a:extLst>
              <a:ext uri="{FF2B5EF4-FFF2-40B4-BE49-F238E27FC236}">
                <a16:creationId xmlns:a16="http://schemas.microsoft.com/office/drawing/2014/main" id="{82D36B90-9FCA-46DF-B916-C7EFFF1AF0DE}"/>
              </a:ext>
            </a:extLst>
          </p:cNvPr>
          <p:cNvGrpSpPr/>
          <p:nvPr/>
        </p:nvGrpSpPr>
        <p:grpSpPr>
          <a:xfrm>
            <a:off x="495092" y="1726072"/>
            <a:ext cx="1451488" cy="649270"/>
            <a:chOff x="1688915" y="1573673"/>
            <a:chExt cx="1455572" cy="651097"/>
          </a:xfrm>
        </p:grpSpPr>
        <p:sp>
          <p:nvSpPr>
            <p:cNvPr id="2292" name="Right Arrow 551">
              <a:extLst>
                <a:ext uri="{FF2B5EF4-FFF2-40B4-BE49-F238E27FC236}">
                  <a16:creationId xmlns:a16="http://schemas.microsoft.com/office/drawing/2014/main" id="{08704D7F-A011-42E6-A7D1-539040737BB7}"/>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293" name="Group 2292">
              <a:extLst>
                <a:ext uri="{FF2B5EF4-FFF2-40B4-BE49-F238E27FC236}">
                  <a16:creationId xmlns:a16="http://schemas.microsoft.com/office/drawing/2014/main" id="{43A29FF4-15CE-4DB9-8823-A6C1C1E7E670}"/>
                </a:ext>
              </a:extLst>
            </p:cNvPr>
            <p:cNvGrpSpPr>
              <a:grpSpLocks/>
            </p:cNvGrpSpPr>
            <p:nvPr/>
          </p:nvGrpSpPr>
          <p:grpSpPr>
            <a:xfrm>
              <a:off x="1688915" y="1795002"/>
              <a:ext cx="418017" cy="418017"/>
              <a:chOff x="745985" y="4768134"/>
              <a:chExt cx="368776" cy="368777"/>
            </a:xfrm>
          </p:grpSpPr>
          <p:grpSp>
            <p:nvGrpSpPr>
              <p:cNvPr id="2357" name="Group 64">
                <a:extLst>
                  <a:ext uri="{FF2B5EF4-FFF2-40B4-BE49-F238E27FC236}">
                    <a16:creationId xmlns:a16="http://schemas.microsoft.com/office/drawing/2014/main" id="{45A4255D-24C3-4932-A718-372CFFEBB6E2}"/>
                  </a:ext>
                </a:extLst>
              </p:cNvPr>
              <p:cNvGrpSpPr>
                <a:grpSpLocks noChangeAspect="1"/>
              </p:cNvGrpSpPr>
              <p:nvPr/>
            </p:nvGrpSpPr>
            <p:grpSpPr bwMode="auto">
              <a:xfrm rot="8100000">
                <a:off x="745985" y="4768134"/>
                <a:ext cx="368776" cy="368777"/>
                <a:chOff x="701" y="2170"/>
                <a:chExt cx="587" cy="587"/>
              </a:xfrm>
            </p:grpSpPr>
            <p:sp>
              <p:nvSpPr>
                <p:cNvPr id="2368" name="Oval 65">
                  <a:extLst>
                    <a:ext uri="{FF2B5EF4-FFF2-40B4-BE49-F238E27FC236}">
                      <a16:creationId xmlns:a16="http://schemas.microsoft.com/office/drawing/2014/main" id="{2D23E31A-0A0D-49B9-A7F6-0C9E38714AB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Line 66">
                  <a:extLst>
                    <a:ext uri="{FF2B5EF4-FFF2-40B4-BE49-F238E27FC236}">
                      <a16:creationId xmlns:a16="http://schemas.microsoft.com/office/drawing/2014/main" id="{9EA35FC4-364F-4A50-B75D-30BDD4396C3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67">
                  <a:extLst>
                    <a:ext uri="{FF2B5EF4-FFF2-40B4-BE49-F238E27FC236}">
                      <a16:creationId xmlns:a16="http://schemas.microsoft.com/office/drawing/2014/main" id="{C49546F8-F738-4BD3-9506-8A0B5B18C2E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Line 69">
                  <a:extLst>
                    <a:ext uri="{FF2B5EF4-FFF2-40B4-BE49-F238E27FC236}">
                      <a16:creationId xmlns:a16="http://schemas.microsoft.com/office/drawing/2014/main" id="{33DD8474-3860-4B59-A872-07B4D9FC499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74">
                  <a:extLst>
                    <a:ext uri="{FF2B5EF4-FFF2-40B4-BE49-F238E27FC236}">
                      <a16:creationId xmlns:a16="http://schemas.microsoft.com/office/drawing/2014/main" id="{B884B2EF-C60D-4AC4-843F-0569CEDF3CF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3" name="Freeform 78">
                  <a:extLst>
                    <a:ext uri="{FF2B5EF4-FFF2-40B4-BE49-F238E27FC236}">
                      <a16:creationId xmlns:a16="http://schemas.microsoft.com/office/drawing/2014/main" id="{9D8480CE-14F9-43F1-920C-CE5D992350C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4" name="Freeform 80">
                  <a:extLst>
                    <a:ext uri="{FF2B5EF4-FFF2-40B4-BE49-F238E27FC236}">
                      <a16:creationId xmlns:a16="http://schemas.microsoft.com/office/drawing/2014/main" id="{999CD18A-8B73-434F-900C-B58352709B6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58" name="Group 2357">
                <a:extLst>
                  <a:ext uri="{FF2B5EF4-FFF2-40B4-BE49-F238E27FC236}">
                    <a16:creationId xmlns:a16="http://schemas.microsoft.com/office/drawing/2014/main" id="{5AD2B93D-D908-4824-991D-178CBD7C459F}"/>
                  </a:ext>
                </a:extLst>
              </p:cNvPr>
              <p:cNvGrpSpPr/>
              <p:nvPr/>
            </p:nvGrpSpPr>
            <p:grpSpPr>
              <a:xfrm>
                <a:off x="837312" y="4814434"/>
                <a:ext cx="136805" cy="278689"/>
                <a:chOff x="2806700" y="2803319"/>
                <a:chExt cx="433387" cy="882861"/>
              </a:xfrm>
            </p:grpSpPr>
            <p:grpSp>
              <p:nvGrpSpPr>
                <p:cNvPr id="2359" name="Group 2358">
                  <a:extLst>
                    <a:ext uri="{FF2B5EF4-FFF2-40B4-BE49-F238E27FC236}">
                      <a16:creationId xmlns:a16="http://schemas.microsoft.com/office/drawing/2014/main" id="{094EAC7A-68D6-4343-B795-E6802C043629}"/>
                    </a:ext>
                  </a:extLst>
                </p:cNvPr>
                <p:cNvGrpSpPr>
                  <a:grpSpLocks noChangeAspect="1"/>
                </p:cNvGrpSpPr>
                <p:nvPr/>
              </p:nvGrpSpPr>
              <p:grpSpPr bwMode="auto">
                <a:xfrm>
                  <a:off x="2806700" y="3043242"/>
                  <a:ext cx="433387" cy="642938"/>
                  <a:chOff x="1768" y="1917"/>
                  <a:chExt cx="273" cy="405"/>
                </a:xfrm>
              </p:grpSpPr>
              <p:sp>
                <p:nvSpPr>
                  <p:cNvPr id="2361" name="Freeform 52">
                    <a:extLst>
                      <a:ext uri="{FF2B5EF4-FFF2-40B4-BE49-F238E27FC236}">
                        <a16:creationId xmlns:a16="http://schemas.microsoft.com/office/drawing/2014/main" id="{61882AED-B320-4541-ABFA-ECBCDF06A81C}"/>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2" name="Line 54">
                    <a:extLst>
                      <a:ext uri="{FF2B5EF4-FFF2-40B4-BE49-F238E27FC236}">
                        <a16:creationId xmlns:a16="http://schemas.microsoft.com/office/drawing/2014/main" id="{C0BF3190-6367-4893-9EC5-442228A3957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55">
                    <a:extLst>
                      <a:ext uri="{FF2B5EF4-FFF2-40B4-BE49-F238E27FC236}">
                        <a16:creationId xmlns:a16="http://schemas.microsoft.com/office/drawing/2014/main" id="{5B012137-BCE2-4577-B554-0EB39837BB4B}"/>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56">
                    <a:extLst>
                      <a:ext uri="{FF2B5EF4-FFF2-40B4-BE49-F238E27FC236}">
                        <a16:creationId xmlns:a16="http://schemas.microsoft.com/office/drawing/2014/main" id="{CCAE48A1-B818-4BF8-BDC6-2231C6C2B2A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Line 57">
                    <a:extLst>
                      <a:ext uri="{FF2B5EF4-FFF2-40B4-BE49-F238E27FC236}">
                        <a16:creationId xmlns:a16="http://schemas.microsoft.com/office/drawing/2014/main" id="{4991A450-651C-417B-A147-07F9E4EA1717}"/>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6" name="Freeform 58">
                    <a:extLst>
                      <a:ext uri="{FF2B5EF4-FFF2-40B4-BE49-F238E27FC236}">
                        <a16:creationId xmlns:a16="http://schemas.microsoft.com/office/drawing/2014/main" id="{6C8FEB99-5345-4159-9A98-FFA24784928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7" name="Rectangle 2366">
                    <a:extLst>
                      <a:ext uri="{FF2B5EF4-FFF2-40B4-BE49-F238E27FC236}">
                        <a16:creationId xmlns:a16="http://schemas.microsoft.com/office/drawing/2014/main" id="{DEBC5C6D-D290-4A5F-8769-F00AF636459D}"/>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60" name="Oval 2359">
                  <a:extLst>
                    <a:ext uri="{FF2B5EF4-FFF2-40B4-BE49-F238E27FC236}">
                      <a16:creationId xmlns:a16="http://schemas.microsoft.com/office/drawing/2014/main" id="{D16194F5-2761-4126-B6C7-633AF88C2D2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94" name="Group 2293">
              <a:extLst>
                <a:ext uri="{FF2B5EF4-FFF2-40B4-BE49-F238E27FC236}">
                  <a16:creationId xmlns:a16="http://schemas.microsoft.com/office/drawing/2014/main" id="{C6E701D3-58D6-44E9-8590-405ED74DA4E8}"/>
                </a:ext>
              </a:extLst>
            </p:cNvPr>
            <p:cNvGrpSpPr>
              <a:grpSpLocks/>
            </p:cNvGrpSpPr>
            <p:nvPr/>
          </p:nvGrpSpPr>
          <p:grpSpPr>
            <a:xfrm>
              <a:off x="2196256" y="1795002"/>
              <a:ext cx="429139" cy="429142"/>
              <a:chOff x="1454941" y="4721722"/>
              <a:chExt cx="473625" cy="473627"/>
            </a:xfrm>
          </p:grpSpPr>
          <p:grpSp>
            <p:nvGrpSpPr>
              <p:cNvPr id="2318" name="Group 64">
                <a:extLst>
                  <a:ext uri="{FF2B5EF4-FFF2-40B4-BE49-F238E27FC236}">
                    <a16:creationId xmlns:a16="http://schemas.microsoft.com/office/drawing/2014/main" id="{E42FB29D-11B6-4ACE-8370-FCF72A23499A}"/>
                  </a:ext>
                </a:extLst>
              </p:cNvPr>
              <p:cNvGrpSpPr>
                <a:grpSpLocks noChangeAspect="1"/>
              </p:cNvGrpSpPr>
              <p:nvPr/>
            </p:nvGrpSpPr>
            <p:grpSpPr bwMode="auto">
              <a:xfrm rot="8100000">
                <a:off x="1454941" y="4721722"/>
                <a:ext cx="473625" cy="473627"/>
                <a:chOff x="701" y="2170"/>
                <a:chExt cx="587" cy="587"/>
              </a:xfrm>
            </p:grpSpPr>
            <p:sp>
              <p:nvSpPr>
                <p:cNvPr id="2350" name="Oval 65">
                  <a:extLst>
                    <a:ext uri="{FF2B5EF4-FFF2-40B4-BE49-F238E27FC236}">
                      <a16:creationId xmlns:a16="http://schemas.microsoft.com/office/drawing/2014/main" id="{51AD352E-7942-4665-93B7-56D7C3F831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Line 66">
                  <a:extLst>
                    <a:ext uri="{FF2B5EF4-FFF2-40B4-BE49-F238E27FC236}">
                      <a16:creationId xmlns:a16="http://schemas.microsoft.com/office/drawing/2014/main" id="{09145D1F-66AC-47C0-B404-99C578980C1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2" name="Line 67">
                  <a:extLst>
                    <a:ext uri="{FF2B5EF4-FFF2-40B4-BE49-F238E27FC236}">
                      <a16:creationId xmlns:a16="http://schemas.microsoft.com/office/drawing/2014/main" id="{D9D32373-D080-46A7-8230-5D041A6E78A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3" name="Line 69">
                  <a:extLst>
                    <a:ext uri="{FF2B5EF4-FFF2-40B4-BE49-F238E27FC236}">
                      <a16:creationId xmlns:a16="http://schemas.microsoft.com/office/drawing/2014/main" id="{0739E971-762E-4507-BA96-7237A9C7DD14}"/>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4" name="Line 74">
                  <a:extLst>
                    <a:ext uri="{FF2B5EF4-FFF2-40B4-BE49-F238E27FC236}">
                      <a16:creationId xmlns:a16="http://schemas.microsoft.com/office/drawing/2014/main" id="{7786D655-8BBE-4232-8E68-0B9FA9D1C34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78">
                  <a:extLst>
                    <a:ext uri="{FF2B5EF4-FFF2-40B4-BE49-F238E27FC236}">
                      <a16:creationId xmlns:a16="http://schemas.microsoft.com/office/drawing/2014/main" id="{508966EE-9159-4DD8-A751-43B8EC978B3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6" name="Freeform 80">
                  <a:extLst>
                    <a:ext uri="{FF2B5EF4-FFF2-40B4-BE49-F238E27FC236}">
                      <a16:creationId xmlns:a16="http://schemas.microsoft.com/office/drawing/2014/main" id="{EAC26E66-685D-4608-89A1-F10A153C057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19" name="Group 2318">
                <a:extLst>
                  <a:ext uri="{FF2B5EF4-FFF2-40B4-BE49-F238E27FC236}">
                    <a16:creationId xmlns:a16="http://schemas.microsoft.com/office/drawing/2014/main" id="{6F9AA22B-1F65-4B1E-9C87-47E987F3582B}"/>
                  </a:ext>
                </a:extLst>
              </p:cNvPr>
              <p:cNvGrpSpPr/>
              <p:nvPr/>
            </p:nvGrpSpPr>
            <p:grpSpPr>
              <a:xfrm>
                <a:off x="1511214" y="4789508"/>
                <a:ext cx="356509" cy="349884"/>
                <a:chOff x="468738" y="2241878"/>
                <a:chExt cx="1655483" cy="1624719"/>
              </a:xfrm>
            </p:grpSpPr>
            <p:sp>
              <p:nvSpPr>
                <p:cNvPr id="2320" name="Freeform 5">
                  <a:extLst>
                    <a:ext uri="{FF2B5EF4-FFF2-40B4-BE49-F238E27FC236}">
                      <a16:creationId xmlns:a16="http://schemas.microsoft.com/office/drawing/2014/main" id="{1C70A36E-B1CC-4DD6-A684-14D84C901A8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1" name="Freeform 6">
                  <a:extLst>
                    <a:ext uri="{FF2B5EF4-FFF2-40B4-BE49-F238E27FC236}">
                      <a16:creationId xmlns:a16="http://schemas.microsoft.com/office/drawing/2014/main" id="{B8A9288D-C7ED-47AF-9C98-F0E7435DB36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2" name="Line 7">
                  <a:extLst>
                    <a:ext uri="{FF2B5EF4-FFF2-40B4-BE49-F238E27FC236}">
                      <a16:creationId xmlns:a16="http://schemas.microsoft.com/office/drawing/2014/main" id="{28BC763E-5E35-41A4-8F3E-1C73DC7B621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3" name="Freeform 8">
                  <a:extLst>
                    <a:ext uri="{FF2B5EF4-FFF2-40B4-BE49-F238E27FC236}">
                      <a16:creationId xmlns:a16="http://schemas.microsoft.com/office/drawing/2014/main" id="{255B6E54-53F0-427C-814C-AD758D88341A}"/>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4" name="Line 9">
                  <a:extLst>
                    <a:ext uri="{FF2B5EF4-FFF2-40B4-BE49-F238E27FC236}">
                      <a16:creationId xmlns:a16="http://schemas.microsoft.com/office/drawing/2014/main" id="{E2EFB0AE-A008-4A6F-B850-9D235074B9C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25" name="Group 2324">
                  <a:extLst>
                    <a:ext uri="{FF2B5EF4-FFF2-40B4-BE49-F238E27FC236}">
                      <a16:creationId xmlns:a16="http://schemas.microsoft.com/office/drawing/2014/main" id="{CA6B4872-FF48-46AD-AD78-2FE32E26FFBA}"/>
                    </a:ext>
                  </a:extLst>
                </p:cNvPr>
                <p:cNvGrpSpPr/>
                <p:nvPr/>
              </p:nvGrpSpPr>
              <p:grpSpPr>
                <a:xfrm>
                  <a:off x="1207113" y="2241878"/>
                  <a:ext cx="178734" cy="348678"/>
                  <a:chOff x="1207113" y="2241878"/>
                  <a:chExt cx="178734" cy="348678"/>
                </a:xfrm>
              </p:grpSpPr>
              <p:sp>
                <p:nvSpPr>
                  <p:cNvPr id="2348" name="Freeform 10">
                    <a:extLst>
                      <a:ext uri="{FF2B5EF4-FFF2-40B4-BE49-F238E27FC236}">
                        <a16:creationId xmlns:a16="http://schemas.microsoft.com/office/drawing/2014/main" id="{B6049F59-9585-439A-98AE-C481AB994BD3}"/>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9" name="Line 11">
                    <a:extLst>
                      <a:ext uri="{FF2B5EF4-FFF2-40B4-BE49-F238E27FC236}">
                        <a16:creationId xmlns:a16="http://schemas.microsoft.com/office/drawing/2014/main" id="{91028E61-AAA0-4B52-960C-ECBD1EAB48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26" name="Freeform 12">
                  <a:extLst>
                    <a:ext uri="{FF2B5EF4-FFF2-40B4-BE49-F238E27FC236}">
                      <a16:creationId xmlns:a16="http://schemas.microsoft.com/office/drawing/2014/main" id="{15652DC4-9FAD-4402-A83B-7ABB09328EF8}"/>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13">
                  <a:extLst>
                    <a:ext uri="{FF2B5EF4-FFF2-40B4-BE49-F238E27FC236}">
                      <a16:creationId xmlns:a16="http://schemas.microsoft.com/office/drawing/2014/main" id="{3B771E34-142A-45F7-A0BE-53871E5BBDD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14">
                  <a:extLst>
                    <a:ext uri="{FF2B5EF4-FFF2-40B4-BE49-F238E27FC236}">
                      <a16:creationId xmlns:a16="http://schemas.microsoft.com/office/drawing/2014/main" id="{1910D1C8-9CD2-4D26-AF1D-54712413296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Line 15">
                  <a:extLst>
                    <a:ext uri="{FF2B5EF4-FFF2-40B4-BE49-F238E27FC236}">
                      <a16:creationId xmlns:a16="http://schemas.microsoft.com/office/drawing/2014/main" id="{3C5869CB-8033-4DF3-AD20-8E76D21BEE2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0" name="Freeform 16">
                  <a:extLst>
                    <a:ext uri="{FF2B5EF4-FFF2-40B4-BE49-F238E27FC236}">
                      <a16:creationId xmlns:a16="http://schemas.microsoft.com/office/drawing/2014/main" id="{A9777979-CA6B-49D7-8708-0F818E3E934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1" name="Line 17">
                  <a:extLst>
                    <a:ext uri="{FF2B5EF4-FFF2-40B4-BE49-F238E27FC236}">
                      <a16:creationId xmlns:a16="http://schemas.microsoft.com/office/drawing/2014/main" id="{9AA4284B-34A2-4FCA-81E9-C5BBCD088B6A}"/>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Freeform 18">
                  <a:extLst>
                    <a:ext uri="{FF2B5EF4-FFF2-40B4-BE49-F238E27FC236}">
                      <a16:creationId xmlns:a16="http://schemas.microsoft.com/office/drawing/2014/main" id="{7CE2602E-C266-4BD5-9CA2-9CC95C4B3104}"/>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19">
                  <a:extLst>
                    <a:ext uri="{FF2B5EF4-FFF2-40B4-BE49-F238E27FC236}">
                      <a16:creationId xmlns:a16="http://schemas.microsoft.com/office/drawing/2014/main" id="{B3EF2A59-24DC-4423-BEF3-B355E0DBCBD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Freeform 35">
                  <a:extLst>
                    <a:ext uri="{FF2B5EF4-FFF2-40B4-BE49-F238E27FC236}">
                      <a16:creationId xmlns:a16="http://schemas.microsoft.com/office/drawing/2014/main" id="{ED2FC11D-E6EC-4642-846A-1FC71C044ED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36">
                  <a:extLst>
                    <a:ext uri="{FF2B5EF4-FFF2-40B4-BE49-F238E27FC236}">
                      <a16:creationId xmlns:a16="http://schemas.microsoft.com/office/drawing/2014/main" id="{3DE502E9-5516-42A0-B366-6020E34545C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37">
                  <a:extLst>
                    <a:ext uri="{FF2B5EF4-FFF2-40B4-BE49-F238E27FC236}">
                      <a16:creationId xmlns:a16="http://schemas.microsoft.com/office/drawing/2014/main" id="{13AED33A-73B0-4CF8-8E7C-E482AE8BD17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7" name="Freeform 38">
                  <a:extLst>
                    <a:ext uri="{FF2B5EF4-FFF2-40B4-BE49-F238E27FC236}">
                      <a16:creationId xmlns:a16="http://schemas.microsoft.com/office/drawing/2014/main" id="{21902428-6C16-4A53-9563-2CBD6383F088}"/>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8" name="Freeform 39">
                  <a:extLst>
                    <a:ext uri="{FF2B5EF4-FFF2-40B4-BE49-F238E27FC236}">
                      <a16:creationId xmlns:a16="http://schemas.microsoft.com/office/drawing/2014/main" id="{0C865A20-7E53-4608-93A9-10895C127E8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9" name="Freeform 40">
                  <a:extLst>
                    <a:ext uri="{FF2B5EF4-FFF2-40B4-BE49-F238E27FC236}">
                      <a16:creationId xmlns:a16="http://schemas.microsoft.com/office/drawing/2014/main" id="{4D93FEB6-AF6E-4977-8D00-9BFA689C51B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0" name="Freeform 41">
                  <a:extLst>
                    <a:ext uri="{FF2B5EF4-FFF2-40B4-BE49-F238E27FC236}">
                      <a16:creationId xmlns:a16="http://schemas.microsoft.com/office/drawing/2014/main" id="{68168044-3829-4FA8-B699-C1B96DE71BD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1" name="Line 42">
                  <a:extLst>
                    <a:ext uri="{FF2B5EF4-FFF2-40B4-BE49-F238E27FC236}">
                      <a16:creationId xmlns:a16="http://schemas.microsoft.com/office/drawing/2014/main" id="{13642081-49EB-46BD-A80A-5D9DC278693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2" name="Freeform 43">
                  <a:extLst>
                    <a:ext uri="{FF2B5EF4-FFF2-40B4-BE49-F238E27FC236}">
                      <a16:creationId xmlns:a16="http://schemas.microsoft.com/office/drawing/2014/main" id="{98C32E50-A6DA-44F7-BA5C-60135F45E7E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3" name="Freeform 44">
                  <a:extLst>
                    <a:ext uri="{FF2B5EF4-FFF2-40B4-BE49-F238E27FC236}">
                      <a16:creationId xmlns:a16="http://schemas.microsoft.com/office/drawing/2014/main" id="{1D298466-73F9-4CC0-AFAA-564C7B233608}"/>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4" name="Freeform 45">
                  <a:extLst>
                    <a:ext uri="{FF2B5EF4-FFF2-40B4-BE49-F238E27FC236}">
                      <a16:creationId xmlns:a16="http://schemas.microsoft.com/office/drawing/2014/main" id="{4F65E722-66AD-4D1A-A032-EBFE199D92D7}"/>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45" name="Group 2344">
                  <a:extLst>
                    <a:ext uri="{FF2B5EF4-FFF2-40B4-BE49-F238E27FC236}">
                      <a16:creationId xmlns:a16="http://schemas.microsoft.com/office/drawing/2014/main" id="{A5666C53-80FF-46F0-8DB8-A3070D538240}"/>
                    </a:ext>
                  </a:extLst>
                </p:cNvPr>
                <p:cNvGrpSpPr/>
                <p:nvPr/>
              </p:nvGrpSpPr>
              <p:grpSpPr>
                <a:xfrm flipV="1">
                  <a:off x="1202047" y="3517919"/>
                  <a:ext cx="178734" cy="348678"/>
                  <a:chOff x="1207113" y="2241878"/>
                  <a:chExt cx="178734" cy="348678"/>
                </a:xfrm>
              </p:grpSpPr>
              <p:sp>
                <p:nvSpPr>
                  <p:cNvPr id="2346" name="Freeform 10">
                    <a:extLst>
                      <a:ext uri="{FF2B5EF4-FFF2-40B4-BE49-F238E27FC236}">
                        <a16:creationId xmlns:a16="http://schemas.microsoft.com/office/drawing/2014/main" id="{8D484941-D0F1-4EEA-B0F7-66A92F5D8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7" name="Line 11">
                    <a:extLst>
                      <a:ext uri="{FF2B5EF4-FFF2-40B4-BE49-F238E27FC236}">
                        <a16:creationId xmlns:a16="http://schemas.microsoft.com/office/drawing/2014/main" id="{7E75D629-CDE5-45AB-BBF7-7830060F70C1}"/>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95" name="Group 2294">
              <a:extLst>
                <a:ext uri="{FF2B5EF4-FFF2-40B4-BE49-F238E27FC236}">
                  <a16:creationId xmlns:a16="http://schemas.microsoft.com/office/drawing/2014/main" id="{977426F9-49D7-4246-AE29-753723C23D83}"/>
                </a:ext>
              </a:extLst>
            </p:cNvPr>
            <p:cNvGrpSpPr>
              <a:grpSpLocks/>
            </p:cNvGrpSpPr>
            <p:nvPr/>
          </p:nvGrpSpPr>
          <p:grpSpPr>
            <a:xfrm>
              <a:off x="2714719" y="1795002"/>
              <a:ext cx="429768" cy="429768"/>
              <a:chOff x="2268747" y="4723725"/>
              <a:chExt cx="415610" cy="415612"/>
            </a:xfrm>
          </p:grpSpPr>
          <p:grpSp>
            <p:nvGrpSpPr>
              <p:cNvPr id="2296" name="Group 64">
                <a:extLst>
                  <a:ext uri="{FF2B5EF4-FFF2-40B4-BE49-F238E27FC236}">
                    <a16:creationId xmlns:a16="http://schemas.microsoft.com/office/drawing/2014/main" id="{CD61BC95-5205-4CB6-964A-F0F93DB65C76}"/>
                  </a:ext>
                </a:extLst>
              </p:cNvPr>
              <p:cNvGrpSpPr>
                <a:grpSpLocks noChangeAspect="1"/>
              </p:cNvGrpSpPr>
              <p:nvPr/>
            </p:nvGrpSpPr>
            <p:grpSpPr bwMode="auto">
              <a:xfrm rot="8100000">
                <a:off x="2268747" y="4723725"/>
                <a:ext cx="415610" cy="415612"/>
                <a:chOff x="701" y="2170"/>
                <a:chExt cx="587" cy="587"/>
              </a:xfrm>
            </p:grpSpPr>
            <p:sp>
              <p:nvSpPr>
                <p:cNvPr id="2311" name="Oval 65">
                  <a:extLst>
                    <a:ext uri="{FF2B5EF4-FFF2-40B4-BE49-F238E27FC236}">
                      <a16:creationId xmlns:a16="http://schemas.microsoft.com/office/drawing/2014/main" id="{E95E76F0-0DBD-4756-8AB1-41BCFDAEDC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2" name="Line 66">
                  <a:extLst>
                    <a:ext uri="{FF2B5EF4-FFF2-40B4-BE49-F238E27FC236}">
                      <a16:creationId xmlns:a16="http://schemas.microsoft.com/office/drawing/2014/main" id="{0EEA7B7F-BD33-4319-AFC7-A41FA6A00FF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3" name="Line 67">
                  <a:extLst>
                    <a:ext uri="{FF2B5EF4-FFF2-40B4-BE49-F238E27FC236}">
                      <a16:creationId xmlns:a16="http://schemas.microsoft.com/office/drawing/2014/main" id="{7ED66836-5179-4300-93A5-28396A1DD6C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9">
                  <a:extLst>
                    <a:ext uri="{FF2B5EF4-FFF2-40B4-BE49-F238E27FC236}">
                      <a16:creationId xmlns:a16="http://schemas.microsoft.com/office/drawing/2014/main" id="{201622C1-FF4C-4153-A72D-CC7D5F56D7D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74">
                  <a:extLst>
                    <a:ext uri="{FF2B5EF4-FFF2-40B4-BE49-F238E27FC236}">
                      <a16:creationId xmlns:a16="http://schemas.microsoft.com/office/drawing/2014/main" id="{1B885A0B-596D-4FBE-8011-DA86161A063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Freeform 78">
                  <a:extLst>
                    <a:ext uri="{FF2B5EF4-FFF2-40B4-BE49-F238E27FC236}">
                      <a16:creationId xmlns:a16="http://schemas.microsoft.com/office/drawing/2014/main" id="{DD59343D-6E88-4C6E-9314-7DDD16E7292F}"/>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80">
                  <a:extLst>
                    <a:ext uri="{FF2B5EF4-FFF2-40B4-BE49-F238E27FC236}">
                      <a16:creationId xmlns:a16="http://schemas.microsoft.com/office/drawing/2014/main" id="{47F407BB-6515-4E34-8EB6-220377727C1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97" name="Group 2296">
                <a:extLst>
                  <a:ext uri="{FF2B5EF4-FFF2-40B4-BE49-F238E27FC236}">
                    <a16:creationId xmlns:a16="http://schemas.microsoft.com/office/drawing/2014/main" id="{77D76966-B393-434A-9AC0-21C7B86AB209}"/>
                  </a:ext>
                </a:extLst>
              </p:cNvPr>
              <p:cNvGrpSpPr/>
              <p:nvPr/>
            </p:nvGrpSpPr>
            <p:grpSpPr>
              <a:xfrm>
                <a:off x="2318076" y="4830163"/>
                <a:ext cx="313949" cy="233075"/>
                <a:chOff x="3707533" y="2731244"/>
                <a:chExt cx="389644" cy="289271"/>
              </a:xfrm>
            </p:grpSpPr>
            <p:sp>
              <p:nvSpPr>
                <p:cNvPr id="2298" name="Freeform 33">
                  <a:extLst>
                    <a:ext uri="{FF2B5EF4-FFF2-40B4-BE49-F238E27FC236}">
                      <a16:creationId xmlns:a16="http://schemas.microsoft.com/office/drawing/2014/main" id="{774588ED-2271-4B77-BAC5-D55E19C4A39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4">
                  <a:extLst>
                    <a:ext uri="{FF2B5EF4-FFF2-40B4-BE49-F238E27FC236}">
                      <a16:creationId xmlns:a16="http://schemas.microsoft.com/office/drawing/2014/main" id="{642E7CBC-1697-411B-A358-1CB4FAEF63FA}"/>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7">
                  <a:extLst>
                    <a:ext uri="{FF2B5EF4-FFF2-40B4-BE49-F238E27FC236}">
                      <a16:creationId xmlns:a16="http://schemas.microsoft.com/office/drawing/2014/main" id="{AB19BBF7-2FE0-472B-A633-84A022D19486}"/>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38">
                  <a:extLst>
                    <a:ext uri="{FF2B5EF4-FFF2-40B4-BE49-F238E27FC236}">
                      <a16:creationId xmlns:a16="http://schemas.microsoft.com/office/drawing/2014/main" id="{EF579692-8DB5-47C7-BAB4-9EF0B4B72E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32">
                  <a:extLst>
                    <a:ext uri="{FF2B5EF4-FFF2-40B4-BE49-F238E27FC236}">
                      <a16:creationId xmlns:a16="http://schemas.microsoft.com/office/drawing/2014/main" id="{B0568587-49BB-428D-919D-1DF5BAFE8060}"/>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3" name="Freeform 35">
                  <a:extLst>
                    <a:ext uri="{FF2B5EF4-FFF2-40B4-BE49-F238E27FC236}">
                      <a16:creationId xmlns:a16="http://schemas.microsoft.com/office/drawing/2014/main" id="{F9A7F40F-92CB-4549-8790-2ECF4EC0086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36">
                  <a:extLst>
                    <a:ext uri="{FF2B5EF4-FFF2-40B4-BE49-F238E27FC236}">
                      <a16:creationId xmlns:a16="http://schemas.microsoft.com/office/drawing/2014/main" id="{ABED669A-4D6E-41E1-B2BA-8D2B66428BD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25">
                  <a:extLst>
                    <a:ext uri="{FF2B5EF4-FFF2-40B4-BE49-F238E27FC236}">
                      <a16:creationId xmlns:a16="http://schemas.microsoft.com/office/drawing/2014/main" id="{CC1542F3-A8A5-4B6B-953F-87E430F7E12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39">
                  <a:extLst>
                    <a:ext uri="{FF2B5EF4-FFF2-40B4-BE49-F238E27FC236}">
                      <a16:creationId xmlns:a16="http://schemas.microsoft.com/office/drawing/2014/main" id="{0E4F895C-7C44-4F2A-BBD4-24B5DE12A968}"/>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7" name="Freeform 26">
                  <a:extLst>
                    <a:ext uri="{FF2B5EF4-FFF2-40B4-BE49-F238E27FC236}">
                      <a16:creationId xmlns:a16="http://schemas.microsoft.com/office/drawing/2014/main" id="{34264F60-E1DA-444D-B773-40F79BF1757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8" name="Rectangle 27">
                  <a:extLst>
                    <a:ext uri="{FF2B5EF4-FFF2-40B4-BE49-F238E27FC236}">
                      <a16:creationId xmlns:a16="http://schemas.microsoft.com/office/drawing/2014/main" id="{1C993D86-94AA-40E6-B90F-9C0FA4859551}"/>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9" name="Line 29">
                  <a:extLst>
                    <a:ext uri="{FF2B5EF4-FFF2-40B4-BE49-F238E27FC236}">
                      <a16:creationId xmlns:a16="http://schemas.microsoft.com/office/drawing/2014/main" id="{D7CB9835-A7A9-42E4-86E0-2B9606048DA9}"/>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0" name="Line 31">
                  <a:extLst>
                    <a:ext uri="{FF2B5EF4-FFF2-40B4-BE49-F238E27FC236}">
                      <a16:creationId xmlns:a16="http://schemas.microsoft.com/office/drawing/2014/main" id="{CF312B08-C71C-4D3C-8BF2-8B8E56C9381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75" name="Group 2374">
            <a:extLst>
              <a:ext uri="{FF2B5EF4-FFF2-40B4-BE49-F238E27FC236}">
                <a16:creationId xmlns:a16="http://schemas.microsoft.com/office/drawing/2014/main" id="{6F1467A9-02D8-4628-8E0A-231D5AA2C62B}"/>
              </a:ext>
            </a:extLst>
          </p:cNvPr>
          <p:cNvGrpSpPr/>
          <p:nvPr/>
        </p:nvGrpSpPr>
        <p:grpSpPr>
          <a:xfrm>
            <a:off x="10069943" y="2131578"/>
            <a:ext cx="1723479" cy="3110477"/>
            <a:chOff x="10072567" y="2269503"/>
            <a:chExt cx="1723928" cy="3111287"/>
          </a:xfrm>
        </p:grpSpPr>
        <p:grpSp>
          <p:nvGrpSpPr>
            <p:cNvPr id="2376" name="Group 2375">
              <a:extLst>
                <a:ext uri="{FF2B5EF4-FFF2-40B4-BE49-F238E27FC236}">
                  <a16:creationId xmlns:a16="http://schemas.microsoft.com/office/drawing/2014/main" id="{1DC8F8AB-AE6B-433A-A8B6-B8D11DEB0C6C}"/>
                </a:ext>
              </a:extLst>
            </p:cNvPr>
            <p:cNvGrpSpPr/>
            <p:nvPr/>
          </p:nvGrpSpPr>
          <p:grpSpPr>
            <a:xfrm>
              <a:off x="10075218" y="2269503"/>
              <a:ext cx="1586257" cy="2254230"/>
              <a:chOff x="9895314" y="2107193"/>
              <a:chExt cx="1590306" cy="2259985"/>
            </a:xfrm>
          </p:grpSpPr>
          <p:grpSp>
            <p:nvGrpSpPr>
              <p:cNvPr id="2378" name="Group 2377">
                <a:extLst>
                  <a:ext uri="{FF2B5EF4-FFF2-40B4-BE49-F238E27FC236}">
                    <a16:creationId xmlns:a16="http://schemas.microsoft.com/office/drawing/2014/main" id="{623370E1-0EE5-47AB-8332-21F6C5A14921}"/>
                  </a:ext>
                </a:extLst>
              </p:cNvPr>
              <p:cNvGrpSpPr/>
              <p:nvPr/>
            </p:nvGrpSpPr>
            <p:grpSpPr>
              <a:xfrm>
                <a:off x="9895314" y="2107193"/>
                <a:ext cx="1231250" cy="1189486"/>
                <a:chOff x="7839761" y="1053755"/>
                <a:chExt cx="927651" cy="896185"/>
              </a:xfrm>
            </p:grpSpPr>
            <p:sp>
              <p:nvSpPr>
                <p:cNvPr id="2495" name="TextBox 2494">
                  <a:extLst>
                    <a:ext uri="{FF2B5EF4-FFF2-40B4-BE49-F238E27FC236}">
                      <a16:creationId xmlns:a16="http://schemas.microsoft.com/office/drawing/2014/main" id="{2B5C86AA-9CC3-4F04-ACEF-B1D5B6EC2660}"/>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96" name="Group 2495">
                  <a:extLst>
                    <a:ext uri="{FF2B5EF4-FFF2-40B4-BE49-F238E27FC236}">
                      <a16:creationId xmlns:a16="http://schemas.microsoft.com/office/drawing/2014/main" id="{8C26EEF5-93D4-4A65-B29B-EC31AAC0809F}"/>
                    </a:ext>
                  </a:extLst>
                </p:cNvPr>
                <p:cNvGrpSpPr/>
                <p:nvPr/>
              </p:nvGrpSpPr>
              <p:grpSpPr>
                <a:xfrm>
                  <a:off x="7839761" y="1053755"/>
                  <a:ext cx="927651" cy="523122"/>
                  <a:chOff x="7839761" y="1053755"/>
                  <a:chExt cx="927651" cy="523122"/>
                </a:xfrm>
              </p:grpSpPr>
              <p:sp>
                <p:nvSpPr>
                  <p:cNvPr id="2497" name="Line 66">
                    <a:extLst>
                      <a:ext uri="{FF2B5EF4-FFF2-40B4-BE49-F238E27FC236}">
                        <a16:creationId xmlns:a16="http://schemas.microsoft.com/office/drawing/2014/main" id="{0E224E35-D40B-455A-AFEE-E49F9072283B}"/>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8" name="Line 67">
                    <a:extLst>
                      <a:ext uri="{FF2B5EF4-FFF2-40B4-BE49-F238E27FC236}">
                        <a16:creationId xmlns:a16="http://schemas.microsoft.com/office/drawing/2014/main" id="{A03376AC-A659-4F26-8483-005FC5AE5A93}"/>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9" name="Line 74">
                    <a:extLst>
                      <a:ext uri="{FF2B5EF4-FFF2-40B4-BE49-F238E27FC236}">
                        <a16:creationId xmlns:a16="http://schemas.microsoft.com/office/drawing/2014/main" id="{B113259C-5FF6-49BF-AC35-2173978239E0}"/>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0" name="Freeform 78">
                    <a:extLst>
                      <a:ext uri="{FF2B5EF4-FFF2-40B4-BE49-F238E27FC236}">
                        <a16:creationId xmlns:a16="http://schemas.microsoft.com/office/drawing/2014/main" id="{5BD90649-4991-47E5-B8F3-F8037F170692}"/>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1" name="Freeform 80">
                    <a:extLst>
                      <a:ext uri="{FF2B5EF4-FFF2-40B4-BE49-F238E27FC236}">
                        <a16:creationId xmlns:a16="http://schemas.microsoft.com/office/drawing/2014/main" id="{D1CAD3D0-0D25-40C2-A571-37DE7AC28529}"/>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2" name="Freeform 1575">
                    <a:extLst>
                      <a:ext uri="{FF2B5EF4-FFF2-40B4-BE49-F238E27FC236}">
                        <a16:creationId xmlns:a16="http://schemas.microsoft.com/office/drawing/2014/main" id="{E6E84BBC-EFDA-4D72-A9BF-F47A363D42FD}"/>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3" name="Freeform 1576">
                    <a:extLst>
                      <a:ext uri="{FF2B5EF4-FFF2-40B4-BE49-F238E27FC236}">
                        <a16:creationId xmlns:a16="http://schemas.microsoft.com/office/drawing/2014/main" id="{0C3B113C-0F6E-4C13-A033-92217B0A1095}"/>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4" name="Freeform 1577">
                    <a:extLst>
                      <a:ext uri="{FF2B5EF4-FFF2-40B4-BE49-F238E27FC236}">
                        <a16:creationId xmlns:a16="http://schemas.microsoft.com/office/drawing/2014/main" id="{906AA8A8-61F8-406E-86B6-9E0C936E1928}"/>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5" name="Freeform 1578">
                    <a:extLst>
                      <a:ext uri="{FF2B5EF4-FFF2-40B4-BE49-F238E27FC236}">
                        <a16:creationId xmlns:a16="http://schemas.microsoft.com/office/drawing/2014/main" id="{FD189EDA-48F5-453D-8537-3BD14ADB6F13}"/>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6" name="Freeform 1579">
                    <a:extLst>
                      <a:ext uri="{FF2B5EF4-FFF2-40B4-BE49-F238E27FC236}">
                        <a16:creationId xmlns:a16="http://schemas.microsoft.com/office/drawing/2014/main" id="{987BD3C4-011F-4DC5-9256-BC3588BE125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7" name="Freeform 1580">
                    <a:extLst>
                      <a:ext uri="{FF2B5EF4-FFF2-40B4-BE49-F238E27FC236}">
                        <a16:creationId xmlns:a16="http://schemas.microsoft.com/office/drawing/2014/main" id="{C38B3F0C-BEE2-49FE-91AA-85DF9E9CF6B7}"/>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1581">
                    <a:extLst>
                      <a:ext uri="{FF2B5EF4-FFF2-40B4-BE49-F238E27FC236}">
                        <a16:creationId xmlns:a16="http://schemas.microsoft.com/office/drawing/2014/main" id="{A6A4202D-3106-45AB-8DB8-2AA74310A335}"/>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Freeform 1582">
                    <a:extLst>
                      <a:ext uri="{FF2B5EF4-FFF2-40B4-BE49-F238E27FC236}">
                        <a16:creationId xmlns:a16="http://schemas.microsoft.com/office/drawing/2014/main" id="{F19890FB-8396-4D00-A965-D64B63D8DAA4}"/>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1583">
                    <a:extLst>
                      <a:ext uri="{FF2B5EF4-FFF2-40B4-BE49-F238E27FC236}">
                        <a16:creationId xmlns:a16="http://schemas.microsoft.com/office/drawing/2014/main" id="{066D9041-8CA4-4BC1-9BF9-776CB6CEEF6B}"/>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Freeform 1584">
                    <a:extLst>
                      <a:ext uri="{FF2B5EF4-FFF2-40B4-BE49-F238E27FC236}">
                        <a16:creationId xmlns:a16="http://schemas.microsoft.com/office/drawing/2014/main" id="{B7ACFD54-9997-428F-9FF7-A05FB26DAD68}"/>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2" name="Freeform 1585">
                    <a:extLst>
                      <a:ext uri="{FF2B5EF4-FFF2-40B4-BE49-F238E27FC236}">
                        <a16:creationId xmlns:a16="http://schemas.microsoft.com/office/drawing/2014/main" id="{7E524910-857F-4B0C-81B8-18455967030C}"/>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3" name="Freeform 1586">
                    <a:extLst>
                      <a:ext uri="{FF2B5EF4-FFF2-40B4-BE49-F238E27FC236}">
                        <a16:creationId xmlns:a16="http://schemas.microsoft.com/office/drawing/2014/main" id="{F4CDAA51-7536-491C-A8AD-92C85B25BBCF}"/>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4" name="Freeform 1587">
                    <a:extLst>
                      <a:ext uri="{FF2B5EF4-FFF2-40B4-BE49-F238E27FC236}">
                        <a16:creationId xmlns:a16="http://schemas.microsoft.com/office/drawing/2014/main" id="{DE24308F-F7A4-46A9-8BCA-1E51617EF7F1}"/>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588">
                    <a:extLst>
                      <a:ext uri="{FF2B5EF4-FFF2-40B4-BE49-F238E27FC236}">
                        <a16:creationId xmlns:a16="http://schemas.microsoft.com/office/drawing/2014/main" id="{76DA9D8C-3ED5-4B0D-B245-088818574980}"/>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6" name="Rectangle 1589">
                    <a:extLst>
                      <a:ext uri="{FF2B5EF4-FFF2-40B4-BE49-F238E27FC236}">
                        <a16:creationId xmlns:a16="http://schemas.microsoft.com/office/drawing/2014/main" id="{C14E9EAF-EF9F-4819-950B-7295F7DB2A0D}"/>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Rectangle 1590">
                    <a:extLst>
                      <a:ext uri="{FF2B5EF4-FFF2-40B4-BE49-F238E27FC236}">
                        <a16:creationId xmlns:a16="http://schemas.microsoft.com/office/drawing/2014/main" id="{5508DBB9-AD3D-437A-8278-15DEA1E525D4}"/>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Freeform 1591">
                    <a:extLst>
                      <a:ext uri="{FF2B5EF4-FFF2-40B4-BE49-F238E27FC236}">
                        <a16:creationId xmlns:a16="http://schemas.microsoft.com/office/drawing/2014/main" id="{2440E61C-F620-413F-BB77-CFA9A52F4F3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592">
                    <a:extLst>
                      <a:ext uri="{FF2B5EF4-FFF2-40B4-BE49-F238E27FC236}">
                        <a16:creationId xmlns:a16="http://schemas.microsoft.com/office/drawing/2014/main" id="{7057E6AA-F9D0-44DE-AB10-A4A38C36FC68}"/>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Freeform 1593">
                    <a:extLst>
                      <a:ext uri="{FF2B5EF4-FFF2-40B4-BE49-F238E27FC236}">
                        <a16:creationId xmlns:a16="http://schemas.microsoft.com/office/drawing/2014/main" id="{35E71B75-4768-4FE9-872F-A274CF9261A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1594">
                    <a:extLst>
                      <a:ext uri="{FF2B5EF4-FFF2-40B4-BE49-F238E27FC236}">
                        <a16:creationId xmlns:a16="http://schemas.microsoft.com/office/drawing/2014/main" id="{EF528B88-3CD9-44E2-9CD9-C01C473590E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1595">
                    <a:extLst>
                      <a:ext uri="{FF2B5EF4-FFF2-40B4-BE49-F238E27FC236}">
                        <a16:creationId xmlns:a16="http://schemas.microsoft.com/office/drawing/2014/main" id="{6CE53CB9-B37D-4FAC-B97F-6CB6C32EEDD7}"/>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1596">
                    <a:extLst>
                      <a:ext uri="{FF2B5EF4-FFF2-40B4-BE49-F238E27FC236}">
                        <a16:creationId xmlns:a16="http://schemas.microsoft.com/office/drawing/2014/main" id="{406DA41B-327E-428A-B582-B847772A731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1672">
                    <a:extLst>
                      <a:ext uri="{FF2B5EF4-FFF2-40B4-BE49-F238E27FC236}">
                        <a16:creationId xmlns:a16="http://schemas.microsoft.com/office/drawing/2014/main" id="{EEB6D1B7-F3A3-4CBA-AA02-F7111F0C72A3}"/>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1673">
                    <a:extLst>
                      <a:ext uri="{FF2B5EF4-FFF2-40B4-BE49-F238E27FC236}">
                        <a16:creationId xmlns:a16="http://schemas.microsoft.com/office/drawing/2014/main" id="{5DA7DB5A-278D-4824-95B5-A875DCE53CF4}"/>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1674">
                    <a:extLst>
                      <a:ext uri="{FF2B5EF4-FFF2-40B4-BE49-F238E27FC236}">
                        <a16:creationId xmlns:a16="http://schemas.microsoft.com/office/drawing/2014/main" id="{1C08B6AF-5978-466D-AB6F-519B8F01DF2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1675">
                    <a:extLst>
                      <a:ext uri="{FF2B5EF4-FFF2-40B4-BE49-F238E27FC236}">
                        <a16:creationId xmlns:a16="http://schemas.microsoft.com/office/drawing/2014/main" id="{0ED064DC-5FD5-4FD4-B5B6-E7BE9F213E3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Freeform 1676">
                    <a:extLst>
                      <a:ext uri="{FF2B5EF4-FFF2-40B4-BE49-F238E27FC236}">
                        <a16:creationId xmlns:a16="http://schemas.microsoft.com/office/drawing/2014/main" id="{606C1274-9CF4-4E82-9E39-9DBD4E01FD2F}"/>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1677">
                    <a:extLst>
                      <a:ext uri="{FF2B5EF4-FFF2-40B4-BE49-F238E27FC236}">
                        <a16:creationId xmlns:a16="http://schemas.microsoft.com/office/drawing/2014/main" id="{120B60DA-7145-4E84-A5FB-1A6ED91742A6}"/>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1678">
                    <a:extLst>
                      <a:ext uri="{FF2B5EF4-FFF2-40B4-BE49-F238E27FC236}">
                        <a16:creationId xmlns:a16="http://schemas.microsoft.com/office/drawing/2014/main" id="{2F3C57A9-149C-4186-82D2-0DC34FABBD0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1679">
                    <a:extLst>
                      <a:ext uri="{FF2B5EF4-FFF2-40B4-BE49-F238E27FC236}">
                        <a16:creationId xmlns:a16="http://schemas.microsoft.com/office/drawing/2014/main" id="{6F19BB5F-DF1A-4C17-9A44-A37C9E2BACBD}"/>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2" name="Freeform 1680">
                    <a:extLst>
                      <a:ext uri="{FF2B5EF4-FFF2-40B4-BE49-F238E27FC236}">
                        <a16:creationId xmlns:a16="http://schemas.microsoft.com/office/drawing/2014/main" id="{C006D238-3871-4A33-8ECC-85C842037FA0}"/>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3" name="Freeform 1681">
                    <a:extLst>
                      <a:ext uri="{FF2B5EF4-FFF2-40B4-BE49-F238E27FC236}">
                        <a16:creationId xmlns:a16="http://schemas.microsoft.com/office/drawing/2014/main" id="{7DB52A53-C52A-49D8-AB62-5B1D875DAD0E}"/>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Freeform 1682">
                    <a:extLst>
                      <a:ext uri="{FF2B5EF4-FFF2-40B4-BE49-F238E27FC236}">
                        <a16:creationId xmlns:a16="http://schemas.microsoft.com/office/drawing/2014/main" id="{DFADAF61-ED1C-4D69-BFA7-B1CE935D06D5}"/>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5" name="Freeform 1683">
                    <a:extLst>
                      <a:ext uri="{FF2B5EF4-FFF2-40B4-BE49-F238E27FC236}">
                        <a16:creationId xmlns:a16="http://schemas.microsoft.com/office/drawing/2014/main" id="{1B19035F-772E-41B6-AC46-B68359E2381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Freeform 1684">
                    <a:extLst>
                      <a:ext uri="{FF2B5EF4-FFF2-40B4-BE49-F238E27FC236}">
                        <a16:creationId xmlns:a16="http://schemas.microsoft.com/office/drawing/2014/main" id="{24CC6228-E00E-4974-A16B-DF6291FF7CEA}"/>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7" name="Freeform 1685">
                    <a:extLst>
                      <a:ext uri="{FF2B5EF4-FFF2-40B4-BE49-F238E27FC236}">
                        <a16:creationId xmlns:a16="http://schemas.microsoft.com/office/drawing/2014/main" id="{0AB8C672-7589-4662-9568-C9026C70150B}"/>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8" name="Freeform 1686">
                    <a:extLst>
                      <a:ext uri="{FF2B5EF4-FFF2-40B4-BE49-F238E27FC236}">
                        <a16:creationId xmlns:a16="http://schemas.microsoft.com/office/drawing/2014/main" id="{137E2898-2856-4E69-A9B8-E6A773010EB4}"/>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Freeform 1687">
                    <a:extLst>
                      <a:ext uri="{FF2B5EF4-FFF2-40B4-BE49-F238E27FC236}">
                        <a16:creationId xmlns:a16="http://schemas.microsoft.com/office/drawing/2014/main" id="{0B3AE3E3-E30E-48D8-955D-200133453EE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Freeform 1688">
                    <a:extLst>
                      <a:ext uri="{FF2B5EF4-FFF2-40B4-BE49-F238E27FC236}">
                        <a16:creationId xmlns:a16="http://schemas.microsoft.com/office/drawing/2014/main" id="{A03D8CE0-AC06-434A-B4F0-DD1CC2DB12D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Freeform 1689">
                    <a:extLst>
                      <a:ext uri="{FF2B5EF4-FFF2-40B4-BE49-F238E27FC236}">
                        <a16:creationId xmlns:a16="http://schemas.microsoft.com/office/drawing/2014/main" id="{A1FC801A-06A8-4A68-A010-ED5D9059BFFB}"/>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1690">
                    <a:extLst>
                      <a:ext uri="{FF2B5EF4-FFF2-40B4-BE49-F238E27FC236}">
                        <a16:creationId xmlns:a16="http://schemas.microsoft.com/office/drawing/2014/main" id="{940E5F70-E120-4DC4-A6BA-A6C5EBB76A3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1691">
                    <a:extLst>
                      <a:ext uri="{FF2B5EF4-FFF2-40B4-BE49-F238E27FC236}">
                        <a16:creationId xmlns:a16="http://schemas.microsoft.com/office/drawing/2014/main" id="{5801D90A-78A1-461A-8281-0DAC5E59FC39}"/>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4" name="Freeform 1692">
                    <a:extLst>
                      <a:ext uri="{FF2B5EF4-FFF2-40B4-BE49-F238E27FC236}">
                        <a16:creationId xmlns:a16="http://schemas.microsoft.com/office/drawing/2014/main" id="{8DEDFF0A-AA68-4F37-BF22-AC5D76E6203C}"/>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5" name="Freeform 1693">
                    <a:extLst>
                      <a:ext uri="{FF2B5EF4-FFF2-40B4-BE49-F238E27FC236}">
                        <a16:creationId xmlns:a16="http://schemas.microsoft.com/office/drawing/2014/main" id="{8A2D3678-EA8F-43D6-883B-78F9A6F214CF}"/>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6" name="Freeform 1694">
                    <a:extLst>
                      <a:ext uri="{FF2B5EF4-FFF2-40B4-BE49-F238E27FC236}">
                        <a16:creationId xmlns:a16="http://schemas.microsoft.com/office/drawing/2014/main" id="{00C644A8-0EAA-459D-A99A-0A8D02C4043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7" name="Freeform 1695">
                    <a:extLst>
                      <a:ext uri="{FF2B5EF4-FFF2-40B4-BE49-F238E27FC236}">
                        <a16:creationId xmlns:a16="http://schemas.microsoft.com/office/drawing/2014/main" id="{2D063084-7BD1-490F-9EFA-026B81E8E93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8" name="Freeform 1696">
                    <a:extLst>
                      <a:ext uri="{FF2B5EF4-FFF2-40B4-BE49-F238E27FC236}">
                        <a16:creationId xmlns:a16="http://schemas.microsoft.com/office/drawing/2014/main" id="{8AA07749-EDF2-4D1E-B769-62D70B52FF61}"/>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9" name="Freeform 1697">
                    <a:extLst>
                      <a:ext uri="{FF2B5EF4-FFF2-40B4-BE49-F238E27FC236}">
                        <a16:creationId xmlns:a16="http://schemas.microsoft.com/office/drawing/2014/main" id="{B8E4AEED-E90F-471B-80BD-F209EA7E695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79" name="Group 2378">
                <a:extLst>
                  <a:ext uri="{FF2B5EF4-FFF2-40B4-BE49-F238E27FC236}">
                    <a16:creationId xmlns:a16="http://schemas.microsoft.com/office/drawing/2014/main" id="{E969343E-FE02-4A98-A837-76C025B194A4}"/>
                  </a:ext>
                </a:extLst>
              </p:cNvPr>
              <p:cNvGrpSpPr/>
              <p:nvPr/>
            </p:nvGrpSpPr>
            <p:grpSpPr>
              <a:xfrm>
                <a:off x="10074842" y="2518176"/>
                <a:ext cx="1231250" cy="1313698"/>
                <a:chOff x="12023909" y="2412144"/>
                <a:chExt cx="1231250" cy="1313698"/>
              </a:xfrm>
            </p:grpSpPr>
            <p:sp>
              <p:nvSpPr>
                <p:cNvPr id="2438" name="Rectangle: Rounded Corners 2437">
                  <a:extLst>
                    <a:ext uri="{FF2B5EF4-FFF2-40B4-BE49-F238E27FC236}">
                      <a16:creationId xmlns:a16="http://schemas.microsoft.com/office/drawing/2014/main" id="{AF1D7B56-D8AF-48E0-B06C-43FADC544F4A}"/>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439" name="Group 2438">
                  <a:extLst>
                    <a:ext uri="{FF2B5EF4-FFF2-40B4-BE49-F238E27FC236}">
                      <a16:creationId xmlns:a16="http://schemas.microsoft.com/office/drawing/2014/main" id="{F3F64A8B-8607-4FB2-B715-FEFF086181DD}"/>
                    </a:ext>
                  </a:extLst>
                </p:cNvPr>
                <p:cNvGrpSpPr/>
                <p:nvPr/>
              </p:nvGrpSpPr>
              <p:grpSpPr>
                <a:xfrm>
                  <a:off x="12023909" y="2526190"/>
                  <a:ext cx="1231250" cy="1189484"/>
                  <a:chOff x="7839761" y="1053755"/>
                  <a:chExt cx="927651" cy="896184"/>
                </a:xfrm>
              </p:grpSpPr>
              <p:sp>
                <p:nvSpPr>
                  <p:cNvPr id="2440" name="TextBox 2439">
                    <a:extLst>
                      <a:ext uri="{FF2B5EF4-FFF2-40B4-BE49-F238E27FC236}">
                        <a16:creationId xmlns:a16="http://schemas.microsoft.com/office/drawing/2014/main" id="{3327D23B-27C1-421E-99D4-C1A996F7657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41" name="Group 2440">
                    <a:extLst>
                      <a:ext uri="{FF2B5EF4-FFF2-40B4-BE49-F238E27FC236}">
                        <a16:creationId xmlns:a16="http://schemas.microsoft.com/office/drawing/2014/main" id="{4B634D41-D14B-40C1-BB74-499871B2FC76}"/>
                      </a:ext>
                    </a:extLst>
                  </p:cNvPr>
                  <p:cNvGrpSpPr/>
                  <p:nvPr/>
                </p:nvGrpSpPr>
                <p:grpSpPr>
                  <a:xfrm>
                    <a:off x="7839761" y="1053755"/>
                    <a:ext cx="927651" cy="523122"/>
                    <a:chOff x="7839761" y="1053755"/>
                    <a:chExt cx="927651" cy="523122"/>
                  </a:xfrm>
                </p:grpSpPr>
                <p:sp>
                  <p:nvSpPr>
                    <p:cNvPr id="2442" name="Line 66">
                      <a:extLst>
                        <a:ext uri="{FF2B5EF4-FFF2-40B4-BE49-F238E27FC236}">
                          <a16:creationId xmlns:a16="http://schemas.microsoft.com/office/drawing/2014/main" id="{F5E51A6D-3E23-497F-960D-91F3100205FC}"/>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3" name="Line 67">
                      <a:extLst>
                        <a:ext uri="{FF2B5EF4-FFF2-40B4-BE49-F238E27FC236}">
                          <a16:creationId xmlns:a16="http://schemas.microsoft.com/office/drawing/2014/main" id="{9A1084EF-6AC6-46D1-ADB8-0959755A978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4" name="Line 74">
                      <a:extLst>
                        <a:ext uri="{FF2B5EF4-FFF2-40B4-BE49-F238E27FC236}">
                          <a16:creationId xmlns:a16="http://schemas.microsoft.com/office/drawing/2014/main" id="{E8DF8C03-69F7-47B6-B324-97B05FD1F52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5" name="Freeform 78">
                      <a:extLst>
                        <a:ext uri="{FF2B5EF4-FFF2-40B4-BE49-F238E27FC236}">
                          <a16:creationId xmlns:a16="http://schemas.microsoft.com/office/drawing/2014/main" id="{65C78AE3-8C32-4749-B291-0C436B3C6571}"/>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6" name="Freeform 80">
                      <a:extLst>
                        <a:ext uri="{FF2B5EF4-FFF2-40B4-BE49-F238E27FC236}">
                          <a16:creationId xmlns:a16="http://schemas.microsoft.com/office/drawing/2014/main" id="{290E3A86-DD1C-48B6-8F04-11482055EB9A}"/>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7" name="Freeform 1575">
                      <a:extLst>
                        <a:ext uri="{FF2B5EF4-FFF2-40B4-BE49-F238E27FC236}">
                          <a16:creationId xmlns:a16="http://schemas.microsoft.com/office/drawing/2014/main" id="{4D25363C-0392-40A4-8E92-E9105D07319B}"/>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8" name="Freeform 1576">
                      <a:extLst>
                        <a:ext uri="{FF2B5EF4-FFF2-40B4-BE49-F238E27FC236}">
                          <a16:creationId xmlns:a16="http://schemas.microsoft.com/office/drawing/2014/main" id="{372228A8-2FAD-46C2-967D-53DA75D225D6}"/>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9" name="Freeform 1577">
                      <a:extLst>
                        <a:ext uri="{FF2B5EF4-FFF2-40B4-BE49-F238E27FC236}">
                          <a16:creationId xmlns:a16="http://schemas.microsoft.com/office/drawing/2014/main" id="{9001955B-529A-4328-9727-B4E94AB0CCF4}"/>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0" name="Freeform 1578">
                      <a:extLst>
                        <a:ext uri="{FF2B5EF4-FFF2-40B4-BE49-F238E27FC236}">
                          <a16:creationId xmlns:a16="http://schemas.microsoft.com/office/drawing/2014/main" id="{367FED26-485B-44A7-AFB0-3D07A0991A44}"/>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1" name="Freeform 1579">
                      <a:extLst>
                        <a:ext uri="{FF2B5EF4-FFF2-40B4-BE49-F238E27FC236}">
                          <a16:creationId xmlns:a16="http://schemas.microsoft.com/office/drawing/2014/main" id="{79A14E87-7915-484B-8ECA-E9E33B3FCB7F}"/>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2" name="Freeform 1580">
                      <a:extLst>
                        <a:ext uri="{FF2B5EF4-FFF2-40B4-BE49-F238E27FC236}">
                          <a16:creationId xmlns:a16="http://schemas.microsoft.com/office/drawing/2014/main" id="{DF3D1265-054C-44D6-B385-F87F62B6D3E1}"/>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3" name="Freeform 1581">
                      <a:extLst>
                        <a:ext uri="{FF2B5EF4-FFF2-40B4-BE49-F238E27FC236}">
                          <a16:creationId xmlns:a16="http://schemas.microsoft.com/office/drawing/2014/main" id="{70EE5B1B-F9C2-4E19-9A49-1F8B6A40B9B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4" name="Freeform 1582">
                      <a:extLst>
                        <a:ext uri="{FF2B5EF4-FFF2-40B4-BE49-F238E27FC236}">
                          <a16:creationId xmlns:a16="http://schemas.microsoft.com/office/drawing/2014/main" id="{8EEEA3AD-BA02-474E-A2D4-4E79F4AB7E9F}"/>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5" name="Freeform 1583">
                      <a:extLst>
                        <a:ext uri="{FF2B5EF4-FFF2-40B4-BE49-F238E27FC236}">
                          <a16:creationId xmlns:a16="http://schemas.microsoft.com/office/drawing/2014/main" id="{C83DF9B3-EEB3-4B7A-ADB7-247B6F43CB5C}"/>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6" name="Freeform 1584">
                      <a:extLst>
                        <a:ext uri="{FF2B5EF4-FFF2-40B4-BE49-F238E27FC236}">
                          <a16:creationId xmlns:a16="http://schemas.microsoft.com/office/drawing/2014/main" id="{7DBFC115-239D-46BC-8476-CDF3CBC4F242}"/>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7" name="Freeform 1585">
                      <a:extLst>
                        <a:ext uri="{FF2B5EF4-FFF2-40B4-BE49-F238E27FC236}">
                          <a16:creationId xmlns:a16="http://schemas.microsoft.com/office/drawing/2014/main" id="{FBAAAA0E-0BD0-4052-87C1-C3DF25B1A12B}"/>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8" name="Freeform 1586">
                      <a:extLst>
                        <a:ext uri="{FF2B5EF4-FFF2-40B4-BE49-F238E27FC236}">
                          <a16:creationId xmlns:a16="http://schemas.microsoft.com/office/drawing/2014/main" id="{3933F2A8-7231-4F1B-9C7E-36B3799E9F4B}"/>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9" name="Freeform 1587">
                      <a:extLst>
                        <a:ext uri="{FF2B5EF4-FFF2-40B4-BE49-F238E27FC236}">
                          <a16:creationId xmlns:a16="http://schemas.microsoft.com/office/drawing/2014/main" id="{BAFB11BC-52C2-436A-9077-F649BD16CF75}"/>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0" name="Freeform 1588">
                      <a:extLst>
                        <a:ext uri="{FF2B5EF4-FFF2-40B4-BE49-F238E27FC236}">
                          <a16:creationId xmlns:a16="http://schemas.microsoft.com/office/drawing/2014/main" id="{EABE68F3-BCB1-4041-91B3-FBEA389EC54E}"/>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1" name="Rectangle 1589">
                      <a:extLst>
                        <a:ext uri="{FF2B5EF4-FFF2-40B4-BE49-F238E27FC236}">
                          <a16:creationId xmlns:a16="http://schemas.microsoft.com/office/drawing/2014/main" id="{6CB652D6-C859-453B-BE90-EC3CCE2F1199}"/>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2" name="Rectangle 1590">
                      <a:extLst>
                        <a:ext uri="{FF2B5EF4-FFF2-40B4-BE49-F238E27FC236}">
                          <a16:creationId xmlns:a16="http://schemas.microsoft.com/office/drawing/2014/main" id="{3F5C6005-5BF3-43EC-AAB3-B090C234307F}"/>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3" name="Freeform 1591">
                      <a:extLst>
                        <a:ext uri="{FF2B5EF4-FFF2-40B4-BE49-F238E27FC236}">
                          <a16:creationId xmlns:a16="http://schemas.microsoft.com/office/drawing/2014/main" id="{447DD01B-7F71-4ED5-BD98-28B7C8389FFD}"/>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4" name="Freeform 1592">
                      <a:extLst>
                        <a:ext uri="{FF2B5EF4-FFF2-40B4-BE49-F238E27FC236}">
                          <a16:creationId xmlns:a16="http://schemas.microsoft.com/office/drawing/2014/main" id="{91FF6244-B972-4656-8AF5-251EBC11F35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5" name="Freeform 1593">
                      <a:extLst>
                        <a:ext uri="{FF2B5EF4-FFF2-40B4-BE49-F238E27FC236}">
                          <a16:creationId xmlns:a16="http://schemas.microsoft.com/office/drawing/2014/main" id="{3D5419D9-F8A1-4D29-AC50-8AFB43383C42}"/>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6" name="Freeform 1594">
                      <a:extLst>
                        <a:ext uri="{FF2B5EF4-FFF2-40B4-BE49-F238E27FC236}">
                          <a16:creationId xmlns:a16="http://schemas.microsoft.com/office/drawing/2014/main" id="{405EEF72-27B4-4E31-BB01-550DAAE44DDD}"/>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7" name="Freeform 1595">
                      <a:extLst>
                        <a:ext uri="{FF2B5EF4-FFF2-40B4-BE49-F238E27FC236}">
                          <a16:creationId xmlns:a16="http://schemas.microsoft.com/office/drawing/2014/main" id="{368D6F56-D422-4CFA-AD1F-D235E7D84DC9}"/>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8" name="Freeform 1596">
                      <a:extLst>
                        <a:ext uri="{FF2B5EF4-FFF2-40B4-BE49-F238E27FC236}">
                          <a16:creationId xmlns:a16="http://schemas.microsoft.com/office/drawing/2014/main" id="{C735E8E0-ACEB-41EA-BBF4-5E69AC3B4B1E}"/>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9" name="Freeform 1672">
                      <a:extLst>
                        <a:ext uri="{FF2B5EF4-FFF2-40B4-BE49-F238E27FC236}">
                          <a16:creationId xmlns:a16="http://schemas.microsoft.com/office/drawing/2014/main" id="{025C8503-9480-42F8-88F9-3BDB42B929EB}"/>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0" name="Freeform 1673">
                      <a:extLst>
                        <a:ext uri="{FF2B5EF4-FFF2-40B4-BE49-F238E27FC236}">
                          <a16:creationId xmlns:a16="http://schemas.microsoft.com/office/drawing/2014/main" id="{B4AADBD9-1F84-49EA-969A-DBA7F4EBE787}"/>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1" name="Freeform 1674">
                      <a:extLst>
                        <a:ext uri="{FF2B5EF4-FFF2-40B4-BE49-F238E27FC236}">
                          <a16:creationId xmlns:a16="http://schemas.microsoft.com/office/drawing/2014/main" id="{0CDB8C3D-FF11-44B0-8D44-6F89F2923628}"/>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2" name="Freeform 1675">
                      <a:extLst>
                        <a:ext uri="{FF2B5EF4-FFF2-40B4-BE49-F238E27FC236}">
                          <a16:creationId xmlns:a16="http://schemas.microsoft.com/office/drawing/2014/main" id="{C6331B20-B547-44C9-A78B-4A58170187EE}"/>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3" name="Freeform 1676">
                      <a:extLst>
                        <a:ext uri="{FF2B5EF4-FFF2-40B4-BE49-F238E27FC236}">
                          <a16:creationId xmlns:a16="http://schemas.microsoft.com/office/drawing/2014/main" id="{C2EB9BEC-836E-4DA9-AB08-5FBD1CEAB4BE}"/>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4" name="Freeform 1677">
                      <a:extLst>
                        <a:ext uri="{FF2B5EF4-FFF2-40B4-BE49-F238E27FC236}">
                          <a16:creationId xmlns:a16="http://schemas.microsoft.com/office/drawing/2014/main" id="{147C919C-61E7-45F9-B412-FA216C18E83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5" name="Freeform 1678">
                      <a:extLst>
                        <a:ext uri="{FF2B5EF4-FFF2-40B4-BE49-F238E27FC236}">
                          <a16:creationId xmlns:a16="http://schemas.microsoft.com/office/drawing/2014/main" id="{822E146F-A8A0-40EE-A439-5F00E90CFD6C}"/>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6" name="Freeform 1679">
                      <a:extLst>
                        <a:ext uri="{FF2B5EF4-FFF2-40B4-BE49-F238E27FC236}">
                          <a16:creationId xmlns:a16="http://schemas.microsoft.com/office/drawing/2014/main" id="{C5FB7257-596D-4586-8FF2-6792E533A7E7}"/>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7" name="Freeform 1680">
                      <a:extLst>
                        <a:ext uri="{FF2B5EF4-FFF2-40B4-BE49-F238E27FC236}">
                          <a16:creationId xmlns:a16="http://schemas.microsoft.com/office/drawing/2014/main" id="{D3B8E644-AAF4-4A9D-9F52-D1BA042A38EA}"/>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8" name="Freeform 1681">
                      <a:extLst>
                        <a:ext uri="{FF2B5EF4-FFF2-40B4-BE49-F238E27FC236}">
                          <a16:creationId xmlns:a16="http://schemas.microsoft.com/office/drawing/2014/main" id="{2C94F140-481A-4267-B496-6DC7E874F8EB}"/>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9" name="Freeform 1682">
                      <a:extLst>
                        <a:ext uri="{FF2B5EF4-FFF2-40B4-BE49-F238E27FC236}">
                          <a16:creationId xmlns:a16="http://schemas.microsoft.com/office/drawing/2014/main" id="{7A1A22FB-94D1-4011-A1BD-7DBE818657A3}"/>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0" name="Freeform 1683">
                      <a:extLst>
                        <a:ext uri="{FF2B5EF4-FFF2-40B4-BE49-F238E27FC236}">
                          <a16:creationId xmlns:a16="http://schemas.microsoft.com/office/drawing/2014/main" id="{4D49E035-DD5F-4B62-A2FC-712AA0185418}"/>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1" name="Freeform 1684">
                      <a:extLst>
                        <a:ext uri="{FF2B5EF4-FFF2-40B4-BE49-F238E27FC236}">
                          <a16:creationId xmlns:a16="http://schemas.microsoft.com/office/drawing/2014/main" id="{361BA7F0-ADE8-45FD-BCBE-F73C2409B516}"/>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2" name="Freeform 1685">
                      <a:extLst>
                        <a:ext uri="{FF2B5EF4-FFF2-40B4-BE49-F238E27FC236}">
                          <a16:creationId xmlns:a16="http://schemas.microsoft.com/office/drawing/2014/main" id="{CE34B47B-7244-40D6-B58B-295046EBBF98}"/>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3" name="Freeform 1686">
                      <a:extLst>
                        <a:ext uri="{FF2B5EF4-FFF2-40B4-BE49-F238E27FC236}">
                          <a16:creationId xmlns:a16="http://schemas.microsoft.com/office/drawing/2014/main" id="{93797A41-D47B-498E-9B2D-5DCAA2B1ECC7}"/>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4" name="Freeform 1687">
                      <a:extLst>
                        <a:ext uri="{FF2B5EF4-FFF2-40B4-BE49-F238E27FC236}">
                          <a16:creationId xmlns:a16="http://schemas.microsoft.com/office/drawing/2014/main" id="{22EE044E-15F8-45C5-8DD4-884BD5AF7EF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5" name="Freeform 1688">
                      <a:extLst>
                        <a:ext uri="{FF2B5EF4-FFF2-40B4-BE49-F238E27FC236}">
                          <a16:creationId xmlns:a16="http://schemas.microsoft.com/office/drawing/2014/main" id="{9C1C1FB1-94F0-4DCF-85B2-7F28C74F39F7}"/>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6" name="Freeform 1689">
                      <a:extLst>
                        <a:ext uri="{FF2B5EF4-FFF2-40B4-BE49-F238E27FC236}">
                          <a16:creationId xmlns:a16="http://schemas.microsoft.com/office/drawing/2014/main" id="{44B2BC52-481D-4BC2-AA13-688AEB818B3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7" name="Freeform 1690">
                      <a:extLst>
                        <a:ext uri="{FF2B5EF4-FFF2-40B4-BE49-F238E27FC236}">
                          <a16:creationId xmlns:a16="http://schemas.microsoft.com/office/drawing/2014/main" id="{7373923F-BB79-40E9-8FD6-FAF3462007B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8" name="Freeform 1691">
                      <a:extLst>
                        <a:ext uri="{FF2B5EF4-FFF2-40B4-BE49-F238E27FC236}">
                          <a16:creationId xmlns:a16="http://schemas.microsoft.com/office/drawing/2014/main" id="{1FA89372-8393-49B4-A4B7-F0EE8583833E}"/>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9" name="Freeform 1692">
                      <a:extLst>
                        <a:ext uri="{FF2B5EF4-FFF2-40B4-BE49-F238E27FC236}">
                          <a16:creationId xmlns:a16="http://schemas.microsoft.com/office/drawing/2014/main" id="{E2FE1CC5-EDA9-466F-9657-697E2989079F}"/>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0" name="Freeform 1693">
                      <a:extLst>
                        <a:ext uri="{FF2B5EF4-FFF2-40B4-BE49-F238E27FC236}">
                          <a16:creationId xmlns:a16="http://schemas.microsoft.com/office/drawing/2014/main" id="{1D8E0D90-624F-4B91-A019-E567EE3164FB}"/>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1" name="Freeform 1694">
                      <a:extLst>
                        <a:ext uri="{FF2B5EF4-FFF2-40B4-BE49-F238E27FC236}">
                          <a16:creationId xmlns:a16="http://schemas.microsoft.com/office/drawing/2014/main" id="{44691AC3-40FE-4CEA-8FD1-8E075B57347C}"/>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2" name="Freeform 1695">
                      <a:extLst>
                        <a:ext uri="{FF2B5EF4-FFF2-40B4-BE49-F238E27FC236}">
                          <a16:creationId xmlns:a16="http://schemas.microsoft.com/office/drawing/2014/main" id="{25E8A13D-101E-4201-BEFC-465EF69CF386}"/>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3" name="Freeform 1696">
                      <a:extLst>
                        <a:ext uri="{FF2B5EF4-FFF2-40B4-BE49-F238E27FC236}">
                          <a16:creationId xmlns:a16="http://schemas.microsoft.com/office/drawing/2014/main" id="{0B80BB4C-1B57-4208-840C-A999CDC93970}"/>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4" name="Freeform 1697">
                      <a:extLst>
                        <a:ext uri="{FF2B5EF4-FFF2-40B4-BE49-F238E27FC236}">
                          <a16:creationId xmlns:a16="http://schemas.microsoft.com/office/drawing/2014/main" id="{ACD61306-296C-4AB1-8A52-42D96A2BB5E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80" name="Group 2379">
                <a:extLst>
                  <a:ext uri="{FF2B5EF4-FFF2-40B4-BE49-F238E27FC236}">
                    <a16:creationId xmlns:a16="http://schemas.microsoft.com/office/drawing/2014/main" id="{FFC3E585-1D13-4787-9027-5919714AB77F}"/>
                  </a:ext>
                </a:extLst>
              </p:cNvPr>
              <p:cNvGrpSpPr/>
              <p:nvPr/>
            </p:nvGrpSpPr>
            <p:grpSpPr>
              <a:xfrm>
                <a:off x="10254370" y="3053480"/>
                <a:ext cx="1231250" cy="1313698"/>
                <a:chOff x="12023909" y="2412144"/>
                <a:chExt cx="1231250" cy="1313698"/>
              </a:xfrm>
            </p:grpSpPr>
            <p:sp>
              <p:nvSpPr>
                <p:cNvPr id="2381" name="Rectangle: Rounded Corners 2380">
                  <a:extLst>
                    <a:ext uri="{FF2B5EF4-FFF2-40B4-BE49-F238E27FC236}">
                      <a16:creationId xmlns:a16="http://schemas.microsoft.com/office/drawing/2014/main" id="{05A5F541-CE7B-43F6-A3F4-9FCF0AA52083}"/>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382" name="Group 2381">
                  <a:extLst>
                    <a:ext uri="{FF2B5EF4-FFF2-40B4-BE49-F238E27FC236}">
                      <a16:creationId xmlns:a16="http://schemas.microsoft.com/office/drawing/2014/main" id="{7A52E961-1A67-4779-9FDF-90FF0A6DD9C6}"/>
                    </a:ext>
                  </a:extLst>
                </p:cNvPr>
                <p:cNvGrpSpPr/>
                <p:nvPr/>
              </p:nvGrpSpPr>
              <p:grpSpPr>
                <a:xfrm>
                  <a:off x="12023909" y="2526190"/>
                  <a:ext cx="1231250" cy="1189484"/>
                  <a:chOff x="7839761" y="1053755"/>
                  <a:chExt cx="927651" cy="896184"/>
                </a:xfrm>
              </p:grpSpPr>
              <p:sp>
                <p:nvSpPr>
                  <p:cNvPr id="2383" name="TextBox 2382">
                    <a:extLst>
                      <a:ext uri="{FF2B5EF4-FFF2-40B4-BE49-F238E27FC236}">
                        <a16:creationId xmlns:a16="http://schemas.microsoft.com/office/drawing/2014/main" id="{10475F5B-D473-4244-814D-777D208FC63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384" name="Group 2383">
                    <a:extLst>
                      <a:ext uri="{FF2B5EF4-FFF2-40B4-BE49-F238E27FC236}">
                        <a16:creationId xmlns:a16="http://schemas.microsoft.com/office/drawing/2014/main" id="{D85A5810-A0B7-4727-ADE1-D432A8FD09BF}"/>
                      </a:ext>
                    </a:extLst>
                  </p:cNvPr>
                  <p:cNvGrpSpPr/>
                  <p:nvPr/>
                </p:nvGrpSpPr>
                <p:grpSpPr>
                  <a:xfrm>
                    <a:off x="7839761" y="1053755"/>
                    <a:ext cx="927651" cy="523122"/>
                    <a:chOff x="7839761" y="1053755"/>
                    <a:chExt cx="927651" cy="523122"/>
                  </a:xfrm>
                </p:grpSpPr>
                <p:sp>
                  <p:nvSpPr>
                    <p:cNvPr id="2385" name="Line 66">
                      <a:extLst>
                        <a:ext uri="{FF2B5EF4-FFF2-40B4-BE49-F238E27FC236}">
                          <a16:creationId xmlns:a16="http://schemas.microsoft.com/office/drawing/2014/main" id="{4D5BDF05-8AB9-4D0C-9936-6E5221701357}"/>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6" name="Line 67">
                      <a:extLst>
                        <a:ext uri="{FF2B5EF4-FFF2-40B4-BE49-F238E27FC236}">
                          <a16:creationId xmlns:a16="http://schemas.microsoft.com/office/drawing/2014/main" id="{EEE70E7D-E88D-4730-B591-9151AAF6AEFC}"/>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7" name="Line 74">
                      <a:extLst>
                        <a:ext uri="{FF2B5EF4-FFF2-40B4-BE49-F238E27FC236}">
                          <a16:creationId xmlns:a16="http://schemas.microsoft.com/office/drawing/2014/main" id="{AF24F0B3-60B5-4555-994D-83D496662726}"/>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78">
                      <a:extLst>
                        <a:ext uri="{FF2B5EF4-FFF2-40B4-BE49-F238E27FC236}">
                          <a16:creationId xmlns:a16="http://schemas.microsoft.com/office/drawing/2014/main" id="{48DE2164-D559-4B14-BD4D-4E4F2C15B217}"/>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Freeform 80">
                      <a:extLst>
                        <a:ext uri="{FF2B5EF4-FFF2-40B4-BE49-F238E27FC236}">
                          <a16:creationId xmlns:a16="http://schemas.microsoft.com/office/drawing/2014/main" id="{6E57422F-86DC-4AE2-90E2-5FE1DD5FF2D7}"/>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1575">
                      <a:extLst>
                        <a:ext uri="{FF2B5EF4-FFF2-40B4-BE49-F238E27FC236}">
                          <a16:creationId xmlns:a16="http://schemas.microsoft.com/office/drawing/2014/main" id="{3247854F-01BC-44F5-9741-9C1E250D2657}"/>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1576">
                      <a:extLst>
                        <a:ext uri="{FF2B5EF4-FFF2-40B4-BE49-F238E27FC236}">
                          <a16:creationId xmlns:a16="http://schemas.microsoft.com/office/drawing/2014/main" id="{59D4CB40-2F18-4509-8B19-A6F5998A7153}"/>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1577">
                      <a:extLst>
                        <a:ext uri="{FF2B5EF4-FFF2-40B4-BE49-F238E27FC236}">
                          <a16:creationId xmlns:a16="http://schemas.microsoft.com/office/drawing/2014/main" id="{8875CFCC-F6A3-488A-B4FC-E5665A339A6D}"/>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3" name="Freeform 1578">
                      <a:extLst>
                        <a:ext uri="{FF2B5EF4-FFF2-40B4-BE49-F238E27FC236}">
                          <a16:creationId xmlns:a16="http://schemas.microsoft.com/office/drawing/2014/main" id="{2A8A8D95-C870-432C-A5E6-BB7355198482}"/>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4" name="Freeform 1579">
                      <a:extLst>
                        <a:ext uri="{FF2B5EF4-FFF2-40B4-BE49-F238E27FC236}">
                          <a16:creationId xmlns:a16="http://schemas.microsoft.com/office/drawing/2014/main" id="{E7B8E060-68B2-4080-B658-6BE76D84DEA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Freeform 1580">
                      <a:extLst>
                        <a:ext uri="{FF2B5EF4-FFF2-40B4-BE49-F238E27FC236}">
                          <a16:creationId xmlns:a16="http://schemas.microsoft.com/office/drawing/2014/main" id="{007187D5-1B56-4D50-AF29-45393CFBBFC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6" name="Freeform 1581">
                      <a:extLst>
                        <a:ext uri="{FF2B5EF4-FFF2-40B4-BE49-F238E27FC236}">
                          <a16:creationId xmlns:a16="http://schemas.microsoft.com/office/drawing/2014/main" id="{87FC41A0-BBC5-4952-9B8F-223A5CD10F74}"/>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Freeform 1582">
                      <a:extLst>
                        <a:ext uri="{FF2B5EF4-FFF2-40B4-BE49-F238E27FC236}">
                          <a16:creationId xmlns:a16="http://schemas.microsoft.com/office/drawing/2014/main" id="{62E19466-3A2D-4D15-AD75-B8EF5D94F40A}"/>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8" name="Freeform 1583">
                      <a:extLst>
                        <a:ext uri="{FF2B5EF4-FFF2-40B4-BE49-F238E27FC236}">
                          <a16:creationId xmlns:a16="http://schemas.microsoft.com/office/drawing/2014/main" id="{543017A5-5BB1-4C0A-BC6A-89ADE55B90D4}"/>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9" name="Freeform 1584">
                      <a:extLst>
                        <a:ext uri="{FF2B5EF4-FFF2-40B4-BE49-F238E27FC236}">
                          <a16:creationId xmlns:a16="http://schemas.microsoft.com/office/drawing/2014/main" id="{0B5A2709-EAB6-42C2-AC81-A75ACE2D6290}"/>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0" name="Freeform 1585">
                      <a:extLst>
                        <a:ext uri="{FF2B5EF4-FFF2-40B4-BE49-F238E27FC236}">
                          <a16:creationId xmlns:a16="http://schemas.microsoft.com/office/drawing/2014/main" id="{EFA2B0B4-1714-4B51-A790-3E14DE418220}"/>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1" name="Freeform 1586">
                      <a:extLst>
                        <a:ext uri="{FF2B5EF4-FFF2-40B4-BE49-F238E27FC236}">
                          <a16:creationId xmlns:a16="http://schemas.microsoft.com/office/drawing/2014/main" id="{37A02652-D95B-4A32-A8FF-A18666DB6B2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2" name="Freeform 1587">
                      <a:extLst>
                        <a:ext uri="{FF2B5EF4-FFF2-40B4-BE49-F238E27FC236}">
                          <a16:creationId xmlns:a16="http://schemas.microsoft.com/office/drawing/2014/main" id="{D674FEAD-2C3F-4CD9-9A09-46DAB1EB91B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1588">
                      <a:extLst>
                        <a:ext uri="{FF2B5EF4-FFF2-40B4-BE49-F238E27FC236}">
                          <a16:creationId xmlns:a16="http://schemas.microsoft.com/office/drawing/2014/main" id="{161E3166-7BAB-4F0B-8039-A1325AA6F3D1}"/>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4" name="Rectangle 1589">
                      <a:extLst>
                        <a:ext uri="{FF2B5EF4-FFF2-40B4-BE49-F238E27FC236}">
                          <a16:creationId xmlns:a16="http://schemas.microsoft.com/office/drawing/2014/main" id="{CA7A642B-23AF-4FB6-8A19-446BB3179BAF}"/>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5" name="Rectangle 1590">
                      <a:extLst>
                        <a:ext uri="{FF2B5EF4-FFF2-40B4-BE49-F238E27FC236}">
                          <a16:creationId xmlns:a16="http://schemas.microsoft.com/office/drawing/2014/main" id="{26E6A0EA-4C1A-42AE-A015-0565599540B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6" name="Freeform 1591">
                      <a:extLst>
                        <a:ext uri="{FF2B5EF4-FFF2-40B4-BE49-F238E27FC236}">
                          <a16:creationId xmlns:a16="http://schemas.microsoft.com/office/drawing/2014/main" id="{D7C31A1F-7DEE-49CD-90BF-F6D3973DD215}"/>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7" name="Freeform 1592">
                      <a:extLst>
                        <a:ext uri="{FF2B5EF4-FFF2-40B4-BE49-F238E27FC236}">
                          <a16:creationId xmlns:a16="http://schemas.microsoft.com/office/drawing/2014/main" id="{6E89F0EB-FB54-4C2D-8FF3-75AA8BFF110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8" name="Freeform 1593">
                      <a:extLst>
                        <a:ext uri="{FF2B5EF4-FFF2-40B4-BE49-F238E27FC236}">
                          <a16:creationId xmlns:a16="http://schemas.microsoft.com/office/drawing/2014/main" id="{46B295E8-BDEB-4C2D-9527-00B194A9421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9" name="Freeform 1594">
                      <a:extLst>
                        <a:ext uri="{FF2B5EF4-FFF2-40B4-BE49-F238E27FC236}">
                          <a16:creationId xmlns:a16="http://schemas.microsoft.com/office/drawing/2014/main" id="{99A978CF-70B6-41A9-B7D6-D9DCFAE69B8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0" name="Freeform 1595">
                      <a:extLst>
                        <a:ext uri="{FF2B5EF4-FFF2-40B4-BE49-F238E27FC236}">
                          <a16:creationId xmlns:a16="http://schemas.microsoft.com/office/drawing/2014/main" id="{95DF9872-F96F-4DEE-8E9E-99167FFE230D}"/>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Freeform 1596">
                      <a:extLst>
                        <a:ext uri="{FF2B5EF4-FFF2-40B4-BE49-F238E27FC236}">
                          <a16:creationId xmlns:a16="http://schemas.microsoft.com/office/drawing/2014/main" id="{F974AF27-C210-4DEE-B2B8-04ED139DB68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1672">
                      <a:extLst>
                        <a:ext uri="{FF2B5EF4-FFF2-40B4-BE49-F238E27FC236}">
                          <a16:creationId xmlns:a16="http://schemas.microsoft.com/office/drawing/2014/main" id="{21FE80A1-55FF-4F03-B5E4-5C2FDCAFCCD9}"/>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Freeform 1673">
                      <a:extLst>
                        <a:ext uri="{FF2B5EF4-FFF2-40B4-BE49-F238E27FC236}">
                          <a16:creationId xmlns:a16="http://schemas.microsoft.com/office/drawing/2014/main" id="{8466F4B9-1DF6-4CDA-819A-0625023BCE22}"/>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1674">
                      <a:extLst>
                        <a:ext uri="{FF2B5EF4-FFF2-40B4-BE49-F238E27FC236}">
                          <a16:creationId xmlns:a16="http://schemas.microsoft.com/office/drawing/2014/main" id="{13DC24B5-1D95-482D-9F59-EDCA018AEF5B}"/>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Freeform 1675">
                      <a:extLst>
                        <a:ext uri="{FF2B5EF4-FFF2-40B4-BE49-F238E27FC236}">
                          <a16:creationId xmlns:a16="http://schemas.microsoft.com/office/drawing/2014/main" id="{1B1C6715-3E36-4764-B8C7-A710A0DBB42A}"/>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6" name="Freeform 1676">
                      <a:extLst>
                        <a:ext uri="{FF2B5EF4-FFF2-40B4-BE49-F238E27FC236}">
                          <a16:creationId xmlns:a16="http://schemas.microsoft.com/office/drawing/2014/main" id="{164C8603-4592-4205-A845-F3CFBCE350FB}"/>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7" name="Freeform 1677">
                      <a:extLst>
                        <a:ext uri="{FF2B5EF4-FFF2-40B4-BE49-F238E27FC236}">
                          <a16:creationId xmlns:a16="http://schemas.microsoft.com/office/drawing/2014/main" id="{6294573F-4EAA-4EFF-98AB-D8C3F866A52E}"/>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Freeform 1678">
                      <a:extLst>
                        <a:ext uri="{FF2B5EF4-FFF2-40B4-BE49-F238E27FC236}">
                          <a16:creationId xmlns:a16="http://schemas.microsoft.com/office/drawing/2014/main" id="{85F4228C-E266-458E-9740-4874A0A936A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Freeform 1679">
                      <a:extLst>
                        <a:ext uri="{FF2B5EF4-FFF2-40B4-BE49-F238E27FC236}">
                          <a16:creationId xmlns:a16="http://schemas.microsoft.com/office/drawing/2014/main" id="{7ED44B2C-862F-40EA-9169-FA7B5F33977F}"/>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Freeform 1680">
                      <a:extLst>
                        <a:ext uri="{FF2B5EF4-FFF2-40B4-BE49-F238E27FC236}">
                          <a16:creationId xmlns:a16="http://schemas.microsoft.com/office/drawing/2014/main" id="{762AD06F-CC23-42EF-AF53-804137CB20EB}"/>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1681">
                      <a:extLst>
                        <a:ext uri="{FF2B5EF4-FFF2-40B4-BE49-F238E27FC236}">
                          <a16:creationId xmlns:a16="http://schemas.microsoft.com/office/drawing/2014/main" id="{D9DC93CD-A908-459D-8179-11A71A2EA65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1682">
                      <a:extLst>
                        <a:ext uri="{FF2B5EF4-FFF2-40B4-BE49-F238E27FC236}">
                          <a16:creationId xmlns:a16="http://schemas.microsoft.com/office/drawing/2014/main" id="{D8FD2FBD-1657-4AC2-B08B-258028AB1E9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3" name="Freeform 1683">
                      <a:extLst>
                        <a:ext uri="{FF2B5EF4-FFF2-40B4-BE49-F238E27FC236}">
                          <a16:creationId xmlns:a16="http://schemas.microsoft.com/office/drawing/2014/main" id="{4142D5DB-DF42-488D-8EAA-349EE691496B}"/>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4" name="Freeform 1684">
                      <a:extLst>
                        <a:ext uri="{FF2B5EF4-FFF2-40B4-BE49-F238E27FC236}">
                          <a16:creationId xmlns:a16="http://schemas.microsoft.com/office/drawing/2014/main" id="{1D498592-86F6-41D7-B042-50B49D34B67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5" name="Freeform 1685">
                      <a:extLst>
                        <a:ext uri="{FF2B5EF4-FFF2-40B4-BE49-F238E27FC236}">
                          <a16:creationId xmlns:a16="http://schemas.microsoft.com/office/drawing/2014/main" id="{84E9F0CF-8D9F-4C14-A045-10C218E42B8A}"/>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6" name="Freeform 1686">
                      <a:extLst>
                        <a:ext uri="{FF2B5EF4-FFF2-40B4-BE49-F238E27FC236}">
                          <a16:creationId xmlns:a16="http://schemas.microsoft.com/office/drawing/2014/main" id="{AE38F2F4-D701-4A2A-81DF-A06076D4FFE8}"/>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7" name="Freeform 1687">
                      <a:extLst>
                        <a:ext uri="{FF2B5EF4-FFF2-40B4-BE49-F238E27FC236}">
                          <a16:creationId xmlns:a16="http://schemas.microsoft.com/office/drawing/2014/main" id="{461E1B31-489A-4C36-AF4C-EA35FD50D573}"/>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8" name="Freeform 1688">
                      <a:extLst>
                        <a:ext uri="{FF2B5EF4-FFF2-40B4-BE49-F238E27FC236}">
                          <a16:creationId xmlns:a16="http://schemas.microsoft.com/office/drawing/2014/main" id="{7734DE4E-535C-478A-9A26-DE04B89EEF2C}"/>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9" name="Freeform 1689">
                      <a:extLst>
                        <a:ext uri="{FF2B5EF4-FFF2-40B4-BE49-F238E27FC236}">
                          <a16:creationId xmlns:a16="http://schemas.microsoft.com/office/drawing/2014/main" id="{FECB615F-B614-4B52-B6DA-8652986BB48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0" name="Freeform 1690">
                      <a:extLst>
                        <a:ext uri="{FF2B5EF4-FFF2-40B4-BE49-F238E27FC236}">
                          <a16:creationId xmlns:a16="http://schemas.microsoft.com/office/drawing/2014/main" id="{C564DE4A-EC4B-4D6A-9F7B-DF417087A253}"/>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1" name="Freeform 1691">
                      <a:extLst>
                        <a:ext uri="{FF2B5EF4-FFF2-40B4-BE49-F238E27FC236}">
                          <a16:creationId xmlns:a16="http://schemas.microsoft.com/office/drawing/2014/main" id="{2B5035C6-4A58-4CBD-AB05-E0BACEC8105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2" name="Freeform 1692">
                      <a:extLst>
                        <a:ext uri="{FF2B5EF4-FFF2-40B4-BE49-F238E27FC236}">
                          <a16:creationId xmlns:a16="http://schemas.microsoft.com/office/drawing/2014/main" id="{5505ABC9-578A-4ED0-AD77-0B3177D4301E}"/>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3" name="Freeform 1693">
                      <a:extLst>
                        <a:ext uri="{FF2B5EF4-FFF2-40B4-BE49-F238E27FC236}">
                          <a16:creationId xmlns:a16="http://schemas.microsoft.com/office/drawing/2014/main" id="{86181943-C0A9-440A-B2D8-02AA9243763D}"/>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4" name="Freeform 1694">
                      <a:extLst>
                        <a:ext uri="{FF2B5EF4-FFF2-40B4-BE49-F238E27FC236}">
                          <a16:creationId xmlns:a16="http://schemas.microsoft.com/office/drawing/2014/main" id="{0F02ACD1-10A8-4BEF-A44F-73B915E2B6BF}"/>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5" name="Freeform 1695">
                      <a:extLst>
                        <a:ext uri="{FF2B5EF4-FFF2-40B4-BE49-F238E27FC236}">
                          <a16:creationId xmlns:a16="http://schemas.microsoft.com/office/drawing/2014/main" id="{C3511B33-6FC4-4AC0-8C93-74E6F1E10503}"/>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6" name="Freeform 1696">
                      <a:extLst>
                        <a:ext uri="{FF2B5EF4-FFF2-40B4-BE49-F238E27FC236}">
                          <a16:creationId xmlns:a16="http://schemas.microsoft.com/office/drawing/2014/main" id="{D56A2DC5-6B64-44F4-B662-82FF8A3E271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7" name="Freeform 1697">
                      <a:extLst>
                        <a:ext uri="{FF2B5EF4-FFF2-40B4-BE49-F238E27FC236}">
                          <a16:creationId xmlns:a16="http://schemas.microsoft.com/office/drawing/2014/main" id="{50CAF6CB-134D-40C6-BC8B-8F2A7A229B88}"/>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377" name="Rectangle 2376">
              <a:extLst>
                <a:ext uri="{FF2B5EF4-FFF2-40B4-BE49-F238E27FC236}">
                  <a16:creationId xmlns:a16="http://schemas.microsoft.com/office/drawing/2014/main" id="{99E5C539-D3F8-4075-B6A5-08257CF9C719}"/>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2550" name="Group 2549">
            <a:extLst>
              <a:ext uri="{FF2B5EF4-FFF2-40B4-BE49-F238E27FC236}">
                <a16:creationId xmlns:a16="http://schemas.microsoft.com/office/drawing/2014/main" id="{3E0AE51B-14D6-48BC-BAF6-C84022DF070C}"/>
              </a:ext>
            </a:extLst>
          </p:cNvPr>
          <p:cNvGrpSpPr/>
          <p:nvPr/>
        </p:nvGrpSpPr>
        <p:grpSpPr>
          <a:xfrm>
            <a:off x="3480033" y="3477736"/>
            <a:ext cx="4581486" cy="2892141"/>
            <a:chOff x="3480940" y="3616012"/>
            <a:chExt cx="4582679" cy="2892894"/>
          </a:xfrm>
        </p:grpSpPr>
        <p:grpSp>
          <p:nvGrpSpPr>
            <p:cNvPr id="2551" name="Group 2550">
              <a:extLst>
                <a:ext uri="{FF2B5EF4-FFF2-40B4-BE49-F238E27FC236}">
                  <a16:creationId xmlns:a16="http://schemas.microsoft.com/office/drawing/2014/main" id="{D799E28B-E475-4C47-90DA-CF772C21780F}"/>
                </a:ext>
              </a:extLst>
            </p:cNvPr>
            <p:cNvGrpSpPr/>
            <p:nvPr/>
          </p:nvGrpSpPr>
          <p:grpSpPr>
            <a:xfrm>
              <a:off x="3480940" y="4590574"/>
              <a:ext cx="2021522" cy="1918332"/>
              <a:chOff x="3480940" y="4590574"/>
              <a:chExt cx="2021522" cy="1918332"/>
            </a:xfrm>
          </p:grpSpPr>
          <p:grpSp>
            <p:nvGrpSpPr>
              <p:cNvPr id="2562" name="Group 2561">
                <a:extLst>
                  <a:ext uri="{FF2B5EF4-FFF2-40B4-BE49-F238E27FC236}">
                    <a16:creationId xmlns:a16="http://schemas.microsoft.com/office/drawing/2014/main" id="{9C0AB398-29FB-436D-B480-1E17D6E49F46}"/>
                  </a:ext>
                </a:extLst>
              </p:cNvPr>
              <p:cNvGrpSpPr/>
              <p:nvPr/>
            </p:nvGrpSpPr>
            <p:grpSpPr>
              <a:xfrm>
                <a:off x="3480940" y="4590574"/>
                <a:ext cx="2021522" cy="1918332"/>
                <a:chOff x="3489383" y="4562005"/>
                <a:chExt cx="2026683" cy="1923229"/>
              </a:xfrm>
            </p:grpSpPr>
            <p:sp>
              <p:nvSpPr>
                <p:cNvPr id="2566" name="Rectangle 2565">
                  <a:extLst>
                    <a:ext uri="{FF2B5EF4-FFF2-40B4-BE49-F238E27FC236}">
                      <a16:creationId xmlns:a16="http://schemas.microsoft.com/office/drawing/2014/main" id="{19DC4D5A-2DE1-463A-A079-CC6CE96D890F}"/>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567" name="Picture 2566">
                  <a:extLst>
                    <a:ext uri="{FF2B5EF4-FFF2-40B4-BE49-F238E27FC236}">
                      <a16:creationId xmlns:a16="http://schemas.microsoft.com/office/drawing/2014/main" id="{833C0D28-A695-4844-A456-4D19FF1DFB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568" name="Rectangle 2567">
                  <a:extLst>
                    <a:ext uri="{FF2B5EF4-FFF2-40B4-BE49-F238E27FC236}">
                      <a16:creationId xmlns:a16="http://schemas.microsoft.com/office/drawing/2014/main" id="{E9152862-B2BB-4998-8C8E-5DF1F6870987}"/>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569" name="Group 2568">
                  <a:extLst>
                    <a:ext uri="{FF2B5EF4-FFF2-40B4-BE49-F238E27FC236}">
                      <a16:creationId xmlns:a16="http://schemas.microsoft.com/office/drawing/2014/main" id="{9F2740F3-1EED-444A-B76A-1B59C458AB57}"/>
                    </a:ext>
                  </a:extLst>
                </p:cNvPr>
                <p:cNvGrpSpPr/>
                <p:nvPr/>
              </p:nvGrpSpPr>
              <p:grpSpPr>
                <a:xfrm>
                  <a:off x="4439956" y="4676083"/>
                  <a:ext cx="1030675" cy="846880"/>
                  <a:chOff x="10800033" y="2297897"/>
                  <a:chExt cx="1600558" cy="1315140"/>
                </a:xfrm>
              </p:grpSpPr>
              <p:grpSp>
                <p:nvGrpSpPr>
                  <p:cNvPr id="2570" name="Group 2569">
                    <a:extLst>
                      <a:ext uri="{FF2B5EF4-FFF2-40B4-BE49-F238E27FC236}">
                        <a16:creationId xmlns:a16="http://schemas.microsoft.com/office/drawing/2014/main" id="{F075F749-BE74-495A-A0E4-2FA1DFBC139D}"/>
                      </a:ext>
                    </a:extLst>
                  </p:cNvPr>
                  <p:cNvGrpSpPr>
                    <a:grpSpLocks/>
                  </p:cNvGrpSpPr>
                  <p:nvPr/>
                </p:nvGrpSpPr>
                <p:grpSpPr>
                  <a:xfrm>
                    <a:off x="10800033" y="2339037"/>
                    <a:ext cx="613092" cy="613092"/>
                    <a:chOff x="745985" y="4768134"/>
                    <a:chExt cx="368776" cy="368777"/>
                  </a:xfrm>
                </p:grpSpPr>
                <p:grpSp>
                  <p:nvGrpSpPr>
                    <p:cNvPr id="2634" name="Group 64">
                      <a:extLst>
                        <a:ext uri="{FF2B5EF4-FFF2-40B4-BE49-F238E27FC236}">
                          <a16:creationId xmlns:a16="http://schemas.microsoft.com/office/drawing/2014/main" id="{394FBB97-BB17-4076-BA7F-6E44C259DA31}"/>
                        </a:ext>
                      </a:extLst>
                    </p:cNvPr>
                    <p:cNvGrpSpPr>
                      <a:grpSpLocks noChangeAspect="1"/>
                    </p:cNvGrpSpPr>
                    <p:nvPr/>
                  </p:nvGrpSpPr>
                  <p:grpSpPr bwMode="auto">
                    <a:xfrm rot="8100000">
                      <a:off x="745985" y="4768134"/>
                      <a:ext cx="368776" cy="368777"/>
                      <a:chOff x="701" y="2170"/>
                      <a:chExt cx="587" cy="587"/>
                    </a:xfrm>
                  </p:grpSpPr>
                  <p:sp>
                    <p:nvSpPr>
                      <p:cNvPr id="2645" name="Oval 65">
                        <a:extLst>
                          <a:ext uri="{FF2B5EF4-FFF2-40B4-BE49-F238E27FC236}">
                            <a16:creationId xmlns:a16="http://schemas.microsoft.com/office/drawing/2014/main" id="{D99513BE-F489-472D-AD4C-35876DF37983}"/>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46" name="Line 66">
                        <a:extLst>
                          <a:ext uri="{FF2B5EF4-FFF2-40B4-BE49-F238E27FC236}">
                            <a16:creationId xmlns:a16="http://schemas.microsoft.com/office/drawing/2014/main" id="{A6362BC5-7C70-4C28-9301-F5F860A5ACD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Line 67">
                        <a:extLst>
                          <a:ext uri="{FF2B5EF4-FFF2-40B4-BE49-F238E27FC236}">
                            <a16:creationId xmlns:a16="http://schemas.microsoft.com/office/drawing/2014/main" id="{8BEBF1E1-7017-469E-B1FF-3766FB6F81F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Line 69">
                        <a:extLst>
                          <a:ext uri="{FF2B5EF4-FFF2-40B4-BE49-F238E27FC236}">
                            <a16:creationId xmlns:a16="http://schemas.microsoft.com/office/drawing/2014/main" id="{593E4B9B-67E2-4823-B463-BCBF04373F9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Line 74">
                        <a:extLst>
                          <a:ext uri="{FF2B5EF4-FFF2-40B4-BE49-F238E27FC236}">
                            <a16:creationId xmlns:a16="http://schemas.microsoft.com/office/drawing/2014/main" id="{CBE50248-C269-4141-AEDB-BF932F1D71E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78">
                        <a:extLst>
                          <a:ext uri="{FF2B5EF4-FFF2-40B4-BE49-F238E27FC236}">
                            <a16:creationId xmlns:a16="http://schemas.microsoft.com/office/drawing/2014/main" id="{F8AAD8A0-3AD4-4D1C-8596-F992645987A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80">
                        <a:extLst>
                          <a:ext uri="{FF2B5EF4-FFF2-40B4-BE49-F238E27FC236}">
                            <a16:creationId xmlns:a16="http://schemas.microsoft.com/office/drawing/2014/main" id="{B8C6B84D-C717-420F-BC0B-FDF51ABB1ED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35" name="Group 2634">
                      <a:extLst>
                        <a:ext uri="{FF2B5EF4-FFF2-40B4-BE49-F238E27FC236}">
                          <a16:creationId xmlns:a16="http://schemas.microsoft.com/office/drawing/2014/main" id="{A6FE112D-A35B-4672-A6BF-C91082FDA1D8}"/>
                        </a:ext>
                      </a:extLst>
                    </p:cNvPr>
                    <p:cNvGrpSpPr/>
                    <p:nvPr/>
                  </p:nvGrpSpPr>
                  <p:grpSpPr>
                    <a:xfrm>
                      <a:off x="837312" y="4814434"/>
                      <a:ext cx="136805" cy="278689"/>
                      <a:chOff x="2806700" y="2803319"/>
                      <a:chExt cx="433387" cy="882861"/>
                    </a:xfrm>
                  </p:grpSpPr>
                  <p:grpSp>
                    <p:nvGrpSpPr>
                      <p:cNvPr id="2636" name="Group 2635">
                        <a:extLst>
                          <a:ext uri="{FF2B5EF4-FFF2-40B4-BE49-F238E27FC236}">
                            <a16:creationId xmlns:a16="http://schemas.microsoft.com/office/drawing/2014/main" id="{7958D822-9A07-41A1-964F-F3A3741CC56E}"/>
                          </a:ext>
                        </a:extLst>
                      </p:cNvPr>
                      <p:cNvGrpSpPr>
                        <a:grpSpLocks noChangeAspect="1"/>
                      </p:cNvGrpSpPr>
                      <p:nvPr/>
                    </p:nvGrpSpPr>
                    <p:grpSpPr bwMode="auto">
                      <a:xfrm>
                        <a:off x="2806700" y="3043242"/>
                        <a:ext cx="433387" cy="642938"/>
                        <a:chOff x="1768" y="1917"/>
                        <a:chExt cx="273" cy="405"/>
                      </a:xfrm>
                    </p:grpSpPr>
                    <p:sp>
                      <p:nvSpPr>
                        <p:cNvPr id="2638" name="Freeform 52">
                          <a:extLst>
                            <a:ext uri="{FF2B5EF4-FFF2-40B4-BE49-F238E27FC236}">
                              <a16:creationId xmlns:a16="http://schemas.microsoft.com/office/drawing/2014/main" id="{FBC7DF40-042D-488A-AB36-6052EC556E96}"/>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39" name="Line 54">
                          <a:extLst>
                            <a:ext uri="{FF2B5EF4-FFF2-40B4-BE49-F238E27FC236}">
                              <a16:creationId xmlns:a16="http://schemas.microsoft.com/office/drawing/2014/main" id="{883F93AB-C3A3-4B5F-A1CF-456068BC767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Line 55">
                          <a:extLst>
                            <a:ext uri="{FF2B5EF4-FFF2-40B4-BE49-F238E27FC236}">
                              <a16:creationId xmlns:a16="http://schemas.microsoft.com/office/drawing/2014/main" id="{D87EFF51-6855-44CF-A79C-2DF4A98D1D78}"/>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56">
                          <a:extLst>
                            <a:ext uri="{FF2B5EF4-FFF2-40B4-BE49-F238E27FC236}">
                              <a16:creationId xmlns:a16="http://schemas.microsoft.com/office/drawing/2014/main" id="{D134498A-294A-4A10-B100-9F8D5A91E25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Line 57">
                          <a:extLst>
                            <a:ext uri="{FF2B5EF4-FFF2-40B4-BE49-F238E27FC236}">
                              <a16:creationId xmlns:a16="http://schemas.microsoft.com/office/drawing/2014/main" id="{6654C4FD-F40F-41F0-B8CE-017936FC13D9}"/>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58">
                          <a:extLst>
                            <a:ext uri="{FF2B5EF4-FFF2-40B4-BE49-F238E27FC236}">
                              <a16:creationId xmlns:a16="http://schemas.microsoft.com/office/drawing/2014/main" id="{19555386-5E67-4B2F-B94C-AFDC1B0461F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Rectangle 2643">
                          <a:extLst>
                            <a:ext uri="{FF2B5EF4-FFF2-40B4-BE49-F238E27FC236}">
                              <a16:creationId xmlns:a16="http://schemas.microsoft.com/office/drawing/2014/main" id="{EFBD8C20-5250-432C-AC66-0060310B0E5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37" name="Oval 2636">
                        <a:extLst>
                          <a:ext uri="{FF2B5EF4-FFF2-40B4-BE49-F238E27FC236}">
                            <a16:creationId xmlns:a16="http://schemas.microsoft.com/office/drawing/2014/main" id="{9A6CA460-C797-4F41-BE4D-49D8B5015723}"/>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71" name="Group 2570">
                    <a:extLst>
                      <a:ext uri="{FF2B5EF4-FFF2-40B4-BE49-F238E27FC236}">
                        <a16:creationId xmlns:a16="http://schemas.microsoft.com/office/drawing/2014/main" id="{5306A91F-CF42-4203-8ED0-4140C16B11AE}"/>
                      </a:ext>
                    </a:extLst>
                  </p:cNvPr>
                  <p:cNvGrpSpPr>
                    <a:grpSpLocks/>
                  </p:cNvGrpSpPr>
                  <p:nvPr/>
                </p:nvGrpSpPr>
                <p:grpSpPr>
                  <a:xfrm>
                    <a:off x="11166615" y="2825631"/>
                    <a:ext cx="787402" cy="787406"/>
                    <a:chOff x="1454941" y="4721722"/>
                    <a:chExt cx="473625" cy="473627"/>
                  </a:xfrm>
                </p:grpSpPr>
                <p:grpSp>
                  <p:nvGrpSpPr>
                    <p:cNvPr id="2595" name="Group 64">
                      <a:extLst>
                        <a:ext uri="{FF2B5EF4-FFF2-40B4-BE49-F238E27FC236}">
                          <a16:creationId xmlns:a16="http://schemas.microsoft.com/office/drawing/2014/main" id="{68666D46-D43D-46E1-909D-AF14B0BBDAA3}"/>
                        </a:ext>
                      </a:extLst>
                    </p:cNvPr>
                    <p:cNvGrpSpPr>
                      <a:grpSpLocks noChangeAspect="1"/>
                    </p:cNvGrpSpPr>
                    <p:nvPr/>
                  </p:nvGrpSpPr>
                  <p:grpSpPr bwMode="auto">
                    <a:xfrm rot="8100000">
                      <a:off x="1454941" y="4721722"/>
                      <a:ext cx="473625" cy="473627"/>
                      <a:chOff x="701" y="2170"/>
                      <a:chExt cx="587" cy="587"/>
                    </a:xfrm>
                  </p:grpSpPr>
                  <p:sp>
                    <p:nvSpPr>
                      <p:cNvPr id="2627" name="Oval 65">
                        <a:extLst>
                          <a:ext uri="{FF2B5EF4-FFF2-40B4-BE49-F238E27FC236}">
                            <a16:creationId xmlns:a16="http://schemas.microsoft.com/office/drawing/2014/main" id="{48017EDA-3C29-4CEA-BC0B-80A8BD0796C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8" name="Line 66">
                        <a:extLst>
                          <a:ext uri="{FF2B5EF4-FFF2-40B4-BE49-F238E27FC236}">
                            <a16:creationId xmlns:a16="http://schemas.microsoft.com/office/drawing/2014/main" id="{ECC64540-7134-4AED-B8DC-42AEAAC639A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9" name="Line 67">
                        <a:extLst>
                          <a:ext uri="{FF2B5EF4-FFF2-40B4-BE49-F238E27FC236}">
                            <a16:creationId xmlns:a16="http://schemas.microsoft.com/office/drawing/2014/main" id="{EBC0855D-C2AD-4CE4-A679-0D1CEE5DFE8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0" name="Line 69">
                        <a:extLst>
                          <a:ext uri="{FF2B5EF4-FFF2-40B4-BE49-F238E27FC236}">
                            <a16:creationId xmlns:a16="http://schemas.microsoft.com/office/drawing/2014/main" id="{7B34E0DF-7FC3-43DD-A1D6-182D7FDAC5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1" name="Line 74">
                        <a:extLst>
                          <a:ext uri="{FF2B5EF4-FFF2-40B4-BE49-F238E27FC236}">
                            <a16:creationId xmlns:a16="http://schemas.microsoft.com/office/drawing/2014/main" id="{770634F6-E1B0-440B-AFDC-6D0B459927B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2" name="Freeform 78">
                        <a:extLst>
                          <a:ext uri="{FF2B5EF4-FFF2-40B4-BE49-F238E27FC236}">
                            <a16:creationId xmlns:a16="http://schemas.microsoft.com/office/drawing/2014/main" id="{300F9431-A749-4C71-AD48-AD88F20713B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3" name="Freeform 80">
                        <a:extLst>
                          <a:ext uri="{FF2B5EF4-FFF2-40B4-BE49-F238E27FC236}">
                            <a16:creationId xmlns:a16="http://schemas.microsoft.com/office/drawing/2014/main" id="{9E0FD27F-6C1B-400F-9C1B-00F54ADC628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96" name="Group 2595">
                      <a:extLst>
                        <a:ext uri="{FF2B5EF4-FFF2-40B4-BE49-F238E27FC236}">
                          <a16:creationId xmlns:a16="http://schemas.microsoft.com/office/drawing/2014/main" id="{CE1C56D1-BF2E-456A-8742-E449CE5B6954}"/>
                        </a:ext>
                      </a:extLst>
                    </p:cNvPr>
                    <p:cNvGrpSpPr/>
                    <p:nvPr/>
                  </p:nvGrpSpPr>
                  <p:grpSpPr>
                    <a:xfrm>
                      <a:off x="1511214" y="4789508"/>
                      <a:ext cx="356509" cy="349884"/>
                      <a:chOff x="468738" y="2241878"/>
                      <a:chExt cx="1655483" cy="1624719"/>
                    </a:xfrm>
                  </p:grpSpPr>
                  <p:sp>
                    <p:nvSpPr>
                      <p:cNvPr id="2597" name="Freeform 5">
                        <a:extLst>
                          <a:ext uri="{FF2B5EF4-FFF2-40B4-BE49-F238E27FC236}">
                            <a16:creationId xmlns:a16="http://schemas.microsoft.com/office/drawing/2014/main" id="{079EC6CC-9435-45FB-99C1-4DA947F1C1D5}"/>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8" name="Freeform 6">
                        <a:extLst>
                          <a:ext uri="{FF2B5EF4-FFF2-40B4-BE49-F238E27FC236}">
                            <a16:creationId xmlns:a16="http://schemas.microsoft.com/office/drawing/2014/main" id="{67DED1AC-696F-4863-88E4-DC7BF1B7AFC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9" name="Line 7">
                        <a:extLst>
                          <a:ext uri="{FF2B5EF4-FFF2-40B4-BE49-F238E27FC236}">
                            <a16:creationId xmlns:a16="http://schemas.microsoft.com/office/drawing/2014/main" id="{96B13123-371D-44BC-BB70-7C4F8079D61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Freeform 8">
                        <a:extLst>
                          <a:ext uri="{FF2B5EF4-FFF2-40B4-BE49-F238E27FC236}">
                            <a16:creationId xmlns:a16="http://schemas.microsoft.com/office/drawing/2014/main" id="{B3A07210-1401-48E3-A8BF-B23886CB466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1" name="Line 9">
                        <a:extLst>
                          <a:ext uri="{FF2B5EF4-FFF2-40B4-BE49-F238E27FC236}">
                            <a16:creationId xmlns:a16="http://schemas.microsoft.com/office/drawing/2014/main" id="{4FEE55D0-43F0-43C7-8DAD-C5DD766DADCD}"/>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02" name="Group 2601">
                        <a:extLst>
                          <a:ext uri="{FF2B5EF4-FFF2-40B4-BE49-F238E27FC236}">
                            <a16:creationId xmlns:a16="http://schemas.microsoft.com/office/drawing/2014/main" id="{577664B5-37A8-493E-B365-0E0ACC7C6DA7}"/>
                          </a:ext>
                        </a:extLst>
                      </p:cNvPr>
                      <p:cNvGrpSpPr/>
                      <p:nvPr/>
                    </p:nvGrpSpPr>
                    <p:grpSpPr>
                      <a:xfrm>
                        <a:off x="1207113" y="2241878"/>
                        <a:ext cx="178734" cy="348678"/>
                        <a:chOff x="1207113" y="2241878"/>
                        <a:chExt cx="178734" cy="348678"/>
                      </a:xfrm>
                    </p:grpSpPr>
                    <p:sp>
                      <p:nvSpPr>
                        <p:cNvPr id="2625" name="Freeform 10">
                          <a:extLst>
                            <a:ext uri="{FF2B5EF4-FFF2-40B4-BE49-F238E27FC236}">
                              <a16:creationId xmlns:a16="http://schemas.microsoft.com/office/drawing/2014/main" id="{E9CB101F-2595-44CC-AD60-3A73F43F42F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Line 11">
                          <a:extLst>
                            <a:ext uri="{FF2B5EF4-FFF2-40B4-BE49-F238E27FC236}">
                              <a16:creationId xmlns:a16="http://schemas.microsoft.com/office/drawing/2014/main" id="{23C1F688-8311-46B8-8B85-E7E7D6E8483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603" name="Freeform 12">
                        <a:extLst>
                          <a:ext uri="{FF2B5EF4-FFF2-40B4-BE49-F238E27FC236}">
                            <a16:creationId xmlns:a16="http://schemas.microsoft.com/office/drawing/2014/main" id="{F1354873-BD82-41AF-80DC-D721DDAC4F8A}"/>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4" name="Line 13">
                        <a:extLst>
                          <a:ext uri="{FF2B5EF4-FFF2-40B4-BE49-F238E27FC236}">
                            <a16:creationId xmlns:a16="http://schemas.microsoft.com/office/drawing/2014/main" id="{4A9B55B8-5062-4C04-BDB6-BD30FA45C77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Freeform 14">
                        <a:extLst>
                          <a:ext uri="{FF2B5EF4-FFF2-40B4-BE49-F238E27FC236}">
                            <a16:creationId xmlns:a16="http://schemas.microsoft.com/office/drawing/2014/main" id="{3D292B1F-307D-43C6-A918-7788D68A170A}"/>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15">
                        <a:extLst>
                          <a:ext uri="{FF2B5EF4-FFF2-40B4-BE49-F238E27FC236}">
                            <a16:creationId xmlns:a16="http://schemas.microsoft.com/office/drawing/2014/main" id="{F68ABD0A-ED29-43E2-8441-4741D68A0EEB}"/>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Freeform 16">
                        <a:extLst>
                          <a:ext uri="{FF2B5EF4-FFF2-40B4-BE49-F238E27FC236}">
                            <a16:creationId xmlns:a16="http://schemas.microsoft.com/office/drawing/2014/main" id="{B09506B1-ED45-4096-9E3D-87566CD29B6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Line 17">
                        <a:extLst>
                          <a:ext uri="{FF2B5EF4-FFF2-40B4-BE49-F238E27FC236}">
                            <a16:creationId xmlns:a16="http://schemas.microsoft.com/office/drawing/2014/main" id="{FD44C52F-0896-4DC8-A573-F8CB9574C9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18">
                        <a:extLst>
                          <a:ext uri="{FF2B5EF4-FFF2-40B4-BE49-F238E27FC236}">
                            <a16:creationId xmlns:a16="http://schemas.microsoft.com/office/drawing/2014/main" id="{8B280140-F2C2-406D-8F12-93B0BF8169F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0" name="Line 19">
                        <a:extLst>
                          <a:ext uri="{FF2B5EF4-FFF2-40B4-BE49-F238E27FC236}">
                            <a16:creationId xmlns:a16="http://schemas.microsoft.com/office/drawing/2014/main" id="{83F8B07E-AAC4-429D-815C-600BDC67EDC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1" name="Freeform 35">
                        <a:extLst>
                          <a:ext uri="{FF2B5EF4-FFF2-40B4-BE49-F238E27FC236}">
                            <a16:creationId xmlns:a16="http://schemas.microsoft.com/office/drawing/2014/main" id="{97B06452-C058-4055-A778-3D273FF5AD9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2" name="Freeform 36">
                        <a:extLst>
                          <a:ext uri="{FF2B5EF4-FFF2-40B4-BE49-F238E27FC236}">
                            <a16:creationId xmlns:a16="http://schemas.microsoft.com/office/drawing/2014/main" id="{D7B94512-5B7D-4E49-8A20-B7E0C59BA32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3" name="Freeform 37">
                        <a:extLst>
                          <a:ext uri="{FF2B5EF4-FFF2-40B4-BE49-F238E27FC236}">
                            <a16:creationId xmlns:a16="http://schemas.microsoft.com/office/drawing/2014/main" id="{1E9CFF19-0920-4C18-BFB6-4FA99EFAAE4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4" name="Freeform 38">
                        <a:extLst>
                          <a:ext uri="{FF2B5EF4-FFF2-40B4-BE49-F238E27FC236}">
                            <a16:creationId xmlns:a16="http://schemas.microsoft.com/office/drawing/2014/main" id="{2192574F-D87E-4799-8617-9A8269FBF2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Freeform 39">
                        <a:extLst>
                          <a:ext uri="{FF2B5EF4-FFF2-40B4-BE49-F238E27FC236}">
                            <a16:creationId xmlns:a16="http://schemas.microsoft.com/office/drawing/2014/main" id="{9FA83DBA-16E9-4E67-B605-610342F2FBB7}"/>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6" name="Freeform 40">
                        <a:extLst>
                          <a:ext uri="{FF2B5EF4-FFF2-40B4-BE49-F238E27FC236}">
                            <a16:creationId xmlns:a16="http://schemas.microsoft.com/office/drawing/2014/main" id="{794D13CB-1AC0-4D12-AEFA-19F35871F8B2}"/>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41">
                        <a:extLst>
                          <a:ext uri="{FF2B5EF4-FFF2-40B4-BE49-F238E27FC236}">
                            <a16:creationId xmlns:a16="http://schemas.microsoft.com/office/drawing/2014/main" id="{3CA60CD9-2A9F-491F-8D32-DDBDC4302D7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42">
                        <a:extLst>
                          <a:ext uri="{FF2B5EF4-FFF2-40B4-BE49-F238E27FC236}">
                            <a16:creationId xmlns:a16="http://schemas.microsoft.com/office/drawing/2014/main" id="{AC0B106E-7CF1-42EC-AAD0-953B1807B0E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43">
                        <a:extLst>
                          <a:ext uri="{FF2B5EF4-FFF2-40B4-BE49-F238E27FC236}">
                            <a16:creationId xmlns:a16="http://schemas.microsoft.com/office/drawing/2014/main" id="{60BD6986-D4CD-4ADE-9B50-18E17A0C999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Freeform 44">
                        <a:extLst>
                          <a:ext uri="{FF2B5EF4-FFF2-40B4-BE49-F238E27FC236}">
                            <a16:creationId xmlns:a16="http://schemas.microsoft.com/office/drawing/2014/main" id="{0FA51F8C-4D65-4873-A054-070A6C457B6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1" name="Freeform 45">
                        <a:extLst>
                          <a:ext uri="{FF2B5EF4-FFF2-40B4-BE49-F238E27FC236}">
                            <a16:creationId xmlns:a16="http://schemas.microsoft.com/office/drawing/2014/main" id="{E9F5D74C-2F8B-4F52-8D34-E92E4468010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22" name="Group 2621">
                        <a:extLst>
                          <a:ext uri="{FF2B5EF4-FFF2-40B4-BE49-F238E27FC236}">
                            <a16:creationId xmlns:a16="http://schemas.microsoft.com/office/drawing/2014/main" id="{4FF9ADDA-1468-4D45-AEA1-96EB78A9EE70}"/>
                          </a:ext>
                        </a:extLst>
                      </p:cNvPr>
                      <p:cNvGrpSpPr/>
                      <p:nvPr/>
                    </p:nvGrpSpPr>
                    <p:grpSpPr>
                      <a:xfrm flipV="1">
                        <a:off x="1202047" y="3517919"/>
                        <a:ext cx="178734" cy="348678"/>
                        <a:chOff x="1207113" y="2241878"/>
                        <a:chExt cx="178734" cy="348678"/>
                      </a:xfrm>
                    </p:grpSpPr>
                    <p:sp>
                      <p:nvSpPr>
                        <p:cNvPr id="2623" name="Freeform 10">
                          <a:extLst>
                            <a:ext uri="{FF2B5EF4-FFF2-40B4-BE49-F238E27FC236}">
                              <a16:creationId xmlns:a16="http://schemas.microsoft.com/office/drawing/2014/main" id="{5A6D455D-656C-4F54-B11B-755FBDCF70F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11">
                          <a:extLst>
                            <a:ext uri="{FF2B5EF4-FFF2-40B4-BE49-F238E27FC236}">
                              <a16:creationId xmlns:a16="http://schemas.microsoft.com/office/drawing/2014/main" id="{33810577-77C5-4BB1-8A88-CC1A2075B6D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72" name="Group 2571">
                    <a:extLst>
                      <a:ext uri="{FF2B5EF4-FFF2-40B4-BE49-F238E27FC236}">
                        <a16:creationId xmlns:a16="http://schemas.microsoft.com/office/drawing/2014/main" id="{C61809E5-62A9-440A-A401-E1007C351F86}"/>
                      </a:ext>
                    </a:extLst>
                  </p:cNvPr>
                  <p:cNvGrpSpPr>
                    <a:grpSpLocks/>
                  </p:cNvGrpSpPr>
                  <p:nvPr/>
                </p:nvGrpSpPr>
                <p:grpSpPr>
                  <a:xfrm>
                    <a:off x="11709639" y="2297897"/>
                    <a:ext cx="690952" cy="690956"/>
                    <a:chOff x="2268747" y="4723725"/>
                    <a:chExt cx="415610" cy="415612"/>
                  </a:xfrm>
                </p:grpSpPr>
                <p:grpSp>
                  <p:nvGrpSpPr>
                    <p:cNvPr id="2573" name="Group 64">
                      <a:extLst>
                        <a:ext uri="{FF2B5EF4-FFF2-40B4-BE49-F238E27FC236}">
                          <a16:creationId xmlns:a16="http://schemas.microsoft.com/office/drawing/2014/main" id="{9DBB6DAD-A6C6-40EE-9D11-4FDDF7A94CC3}"/>
                        </a:ext>
                      </a:extLst>
                    </p:cNvPr>
                    <p:cNvGrpSpPr>
                      <a:grpSpLocks noChangeAspect="1"/>
                    </p:cNvGrpSpPr>
                    <p:nvPr/>
                  </p:nvGrpSpPr>
                  <p:grpSpPr bwMode="auto">
                    <a:xfrm rot="8100000">
                      <a:off x="2268747" y="4723725"/>
                      <a:ext cx="415610" cy="415612"/>
                      <a:chOff x="701" y="2170"/>
                      <a:chExt cx="587" cy="587"/>
                    </a:xfrm>
                  </p:grpSpPr>
                  <p:sp>
                    <p:nvSpPr>
                      <p:cNvPr id="2588" name="Oval 65">
                        <a:extLst>
                          <a:ext uri="{FF2B5EF4-FFF2-40B4-BE49-F238E27FC236}">
                            <a16:creationId xmlns:a16="http://schemas.microsoft.com/office/drawing/2014/main" id="{2F93913E-9239-4896-982E-D4D3A9AFE9C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9" name="Line 66">
                        <a:extLst>
                          <a:ext uri="{FF2B5EF4-FFF2-40B4-BE49-F238E27FC236}">
                            <a16:creationId xmlns:a16="http://schemas.microsoft.com/office/drawing/2014/main" id="{D516032C-314F-477F-8498-CF760CA9C2A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Line 67">
                        <a:extLst>
                          <a:ext uri="{FF2B5EF4-FFF2-40B4-BE49-F238E27FC236}">
                            <a16:creationId xmlns:a16="http://schemas.microsoft.com/office/drawing/2014/main" id="{85B0E08B-5F9E-46EF-A67C-8D3A7A7AA95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1" name="Line 69">
                        <a:extLst>
                          <a:ext uri="{FF2B5EF4-FFF2-40B4-BE49-F238E27FC236}">
                            <a16:creationId xmlns:a16="http://schemas.microsoft.com/office/drawing/2014/main" id="{0664106A-4AB4-44F0-A49A-B05E83868C8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2" name="Line 74">
                        <a:extLst>
                          <a:ext uri="{FF2B5EF4-FFF2-40B4-BE49-F238E27FC236}">
                            <a16:creationId xmlns:a16="http://schemas.microsoft.com/office/drawing/2014/main" id="{8D41BA7D-C67A-4F1F-B524-BCA54A80431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78">
                        <a:extLst>
                          <a:ext uri="{FF2B5EF4-FFF2-40B4-BE49-F238E27FC236}">
                            <a16:creationId xmlns:a16="http://schemas.microsoft.com/office/drawing/2014/main" id="{4DCCC22E-3471-4F39-BEA9-CFA0AEAFC8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Freeform 80">
                        <a:extLst>
                          <a:ext uri="{FF2B5EF4-FFF2-40B4-BE49-F238E27FC236}">
                            <a16:creationId xmlns:a16="http://schemas.microsoft.com/office/drawing/2014/main" id="{14AD47E3-0647-4EC9-8616-F585647C93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4" name="Group 2573">
                      <a:extLst>
                        <a:ext uri="{FF2B5EF4-FFF2-40B4-BE49-F238E27FC236}">
                          <a16:creationId xmlns:a16="http://schemas.microsoft.com/office/drawing/2014/main" id="{BA6D1D58-9EF5-4F3D-9C9A-D92D4231AB5E}"/>
                        </a:ext>
                      </a:extLst>
                    </p:cNvPr>
                    <p:cNvGrpSpPr/>
                    <p:nvPr/>
                  </p:nvGrpSpPr>
                  <p:grpSpPr>
                    <a:xfrm>
                      <a:off x="2318076" y="4830163"/>
                      <a:ext cx="313949" cy="233075"/>
                      <a:chOff x="3707533" y="2731244"/>
                      <a:chExt cx="389644" cy="289271"/>
                    </a:xfrm>
                  </p:grpSpPr>
                  <p:sp>
                    <p:nvSpPr>
                      <p:cNvPr id="2575" name="Freeform 33">
                        <a:extLst>
                          <a:ext uri="{FF2B5EF4-FFF2-40B4-BE49-F238E27FC236}">
                            <a16:creationId xmlns:a16="http://schemas.microsoft.com/office/drawing/2014/main" id="{80A16413-CD19-4E27-B19D-1876E3D9E01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34">
                        <a:extLst>
                          <a:ext uri="{FF2B5EF4-FFF2-40B4-BE49-F238E27FC236}">
                            <a16:creationId xmlns:a16="http://schemas.microsoft.com/office/drawing/2014/main" id="{EEC10E00-0779-42FA-BA1F-124206B4AEC3}"/>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7" name="Freeform 37">
                        <a:extLst>
                          <a:ext uri="{FF2B5EF4-FFF2-40B4-BE49-F238E27FC236}">
                            <a16:creationId xmlns:a16="http://schemas.microsoft.com/office/drawing/2014/main" id="{963E082D-F51E-4420-8A3F-38B60DC37A31}"/>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8" name="Freeform 38">
                        <a:extLst>
                          <a:ext uri="{FF2B5EF4-FFF2-40B4-BE49-F238E27FC236}">
                            <a16:creationId xmlns:a16="http://schemas.microsoft.com/office/drawing/2014/main" id="{2229CE04-704A-4F27-9E8C-4699B60CF8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9" name="Freeform 32">
                        <a:extLst>
                          <a:ext uri="{FF2B5EF4-FFF2-40B4-BE49-F238E27FC236}">
                            <a16:creationId xmlns:a16="http://schemas.microsoft.com/office/drawing/2014/main" id="{16FA405E-767F-4D26-BF6E-C576C2E17C78}"/>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0" name="Freeform 35">
                        <a:extLst>
                          <a:ext uri="{FF2B5EF4-FFF2-40B4-BE49-F238E27FC236}">
                            <a16:creationId xmlns:a16="http://schemas.microsoft.com/office/drawing/2014/main" id="{0F88731B-778E-480E-900A-9228C1157CD7}"/>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36">
                        <a:extLst>
                          <a:ext uri="{FF2B5EF4-FFF2-40B4-BE49-F238E27FC236}">
                            <a16:creationId xmlns:a16="http://schemas.microsoft.com/office/drawing/2014/main" id="{F25F84DB-8F4E-415C-BB36-DB2CD3B65E6C}"/>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2" name="Freeform 25">
                        <a:extLst>
                          <a:ext uri="{FF2B5EF4-FFF2-40B4-BE49-F238E27FC236}">
                            <a16:creationId xmlns:a16="http://schemas.microsoft.com/office/drawing/2014/main" id="{02BBD59A-2CF4-40AE-95A7-FDDEB8F965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39">
                        <a:extLst>
                          <a:ext uri="{FF2B5EF4-FFF2-40B4-BE49-F238E27FC236}">
                            <a16:creationId xmlns:a16="http://schemas.microsoft.com/office/drawing/2014/main" id="{14FD731D-AF94-44C5-AA74-3DB4EBA6A96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4" name="Freeform 26">
                        <a:extLst>
                          <a:ext uri="{FF2B5EF4-FFF2-40B4-BE49-F238E27FC236}">
                            <a16:creationId xmlns:a16="http://schemas.microsoft.com/office/drawing/2014/main" id="{C9E194B8-9DAD-40BE-B56F-801BDAE7113F}"/>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5" name="Rectangle 27">
                        <a:extLst>
                          <a:ext uri="{FF2B5EF4-FFF2-40B4-BE49-F238E27FC236}">
                            <a16:creationId xmlns:a16="http://schemas.microsoft.com/office/drawing/2014/main" id="{1BF09F81-C3A8-46B8-9D87-D52CC9D3D467}"/>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6" name="Line 29">
                        <a:extLst>
                          <a:ext uri="{FF2B5EF4-FFF2-40B4-BE49-F238E27FC236}">
                            <a16:creationId xmlns:a16="http://schemas.microsoft.com/office/drawing/2014/main" id="{796B5EC7-95AE-4638-B151-4AD5F6E603C5}"/>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Line 31">
                        <a:extLst>
                          <a:ext uri="{FF2B5EF4-FFF2-40B4-BE49-F238E27FC236}">
                            <a16:creationId xmlns:a16="http://schemas.microsoft.com/office/drawing/2014/main" id="{D74D1B5A-4088-48FD-BA39-A25E047F6E5B}"/>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563" name="Group 2562">
                <a:extLst>
                  <a:ext uri="{FF2B5EF4-FFF2-40B4-BE49-F238E27FC236}">
                    <a16:creationId xmlns:a16="http://schemas.microsoft.com/office/drawing/2014/main" id="{AAF30ECC-6547-47B1-87A6-A8AAD991517A}"/>
                  </a:ext>
                </a:extLst>
              </p:cNvPr>
              <p:cNvGrpSpPr/>
              <p:nvPr/>
            </p:nvGrpSpPr>
            <p:grpSpPr>
              <a:xfrm>
                <a:off x="3584215" y="5655005"/>
                <a:ext cx="1001118" cy="830281"/>
                <a:chOff x="3592922" y="5629153"/>
                <a:chExt cx="1003674" cy="832401"/>
              </a:xfrm>
            </p:grpSpPr>
            <p:pic>
              <p:nvPicPr>
                <p:cNvPr id="2564" name="Picture 1">
                  <a:extLst>
                    <a:ext uri="{FF2B5EF4-FFF2-40B4-BE49-F238E27FC236}">
                      <a16:creationId xmlns:a16="http://schemas.microsoft.com/office/drawing/2014/main" id="{75AF8220-8A57-4FDB-B139-F9D621D94305}"/>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5" name="Rectangle 2564">
                  <a:extLst>
                    <a:ext uri="{FF2B5EF4-FFF2-40B4-BE49-F238E27FC236}">
                      <a16:creationId xmlns:a16="http://schemas.microsoft.com/office/drawing/2014/main" id="{4929924E-CEF7-4D8B-86DF-DF00A77B72EA}"/>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552" name="Group 2551">
              <a:extLst>
                <a:ext uri="{FF2B5EF4-FFF2-40B4-BE49-F238E27FC236}">
                  <a16:creationId xmlns:a16="http://schemas.microsoft.com/office/drawing/2014/main" id="{51D29E4F-03A2-4BAC-8059-D5DCBDD11A12}"/>
                </a:ext>
              </a:extLst>
            </p:cNvPr>
            <p:cNvGrpSpPr/>
            <p:nvPr/>
          </p:nvGrpSpPr>
          <p:grpSpPr>
            <a:xfrm>
              <a:off x="4527697" y="3616012"/>
              <a:ext cx="3535922" cy="312851"/>
              <a:chOff x="4538813" y="3457139"/>
              <a:chExt cx="3544948" cy="313650"/>
            </a:xfrm>
          </p:grpSpPr>
          <p:grpSp>
            <p:nvGrpSpPr>
              <p:cNvPr id="2553" name="Group 2552">
                <a:extLst>
                  <a:ext uri="{FF2B5EF4-FFF2-40B4-BE49-F238E27FC236}">
                    <a16:creationId xmlns:a16="http://schemas.microsoft.com/office/drawing/2014/main" id="{E6379E1F-991C-4636-B00D-F1EA2FB6A8A6}"/>
                  </a:ext>
                </a:extLst>
              </p:cNvPr>
              <p:cNvGrpSpPr/>
              <p:nvPr/>
            </p:nvGrpSpPr>
            <p:grpSpPr>
              <a:xfrm>
                <a:off x="4538813" y="3463012"/>
                <a:ext cx="3544948" cy="307777"/>
                <a:chOff x="4538813" y="3463012"/>
                <a:chExt cx="3544948" cy="307777"/>
              </a:xfrm>
            </p:grpSpPr>
            <p:sp>
              <p:nvSpPr>
                <p:cNvPr id="2555" name="Rectangle 2554">
                  <a:extLst>
                    <a:ext uri="{FF2B5EF4-FFF2-40B4-BE49-F238E27FC236}">
                      <a16:creationId xmlns:a16="http://schemas.microsoft.com/office/drawing/2014/main" id="{7750E31C-C095-4F8A-9D86-212FAC5C5A8D}"/>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6" name="Rectangle 2555">
                  <a:extLst>
                    <a:ext uri="{FF2B5EF4-FFF2-40B4-BE49-F238E27FC236}">
                      <a16:creationId xmlns:a16="http://schemas.microsoft.com/office/drawing/2014/main" id="{1F2EFAF6-495E-421C-9B59-459A62399704}"/>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7" name="Rectangle 2556">
                  <a:extLst>
                    <a:ext uri="{FF2B5EF4-FFF2-40B4-BE49-F238E27FC236}">
                      <a16:creationId xmlns:a16="http://schemas.microsoft.com/office/drawing/2014/main" id="{C6DF208E-6FED-42D9-975F-7FBD667FFE52}"/>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8" name="Rectangle 2557">
                  <a:extLst>
                    <a:ext uri="{FF2B5EF4-FFF2-40B4-BE49-F238E27FC236}">
                      <a16:creationId xmlns:a16="http://schemas.microsoft.com/office/drawing/2014/main" id="{5F78BF88-FDAC-42E0-A249-8550DAA3715B}"/>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9" name="Rectangle 2558">
                  <a:extLst>
                    <a:ext uri="{FF2B5EF4-FFF2-40B4-BE49-F238E27FC236}">
                      <a16:creationId xmlns:a16="http://schemas.microsoft.com/office/drawing/2014/main" id="{5C62A79A-F215-4467-88C4-C7C5AEB53BA9}"/>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0" name="Rectangle 2559">
                  <a:extLst>
                    <a:ext uri="{FF2B5EF4-FFF2-40B4-BE49-F238E27FC236}">
                      <a16:creationId xmlns:a16="http://schemas.microsoft.com/office/drawing/2014/main" id="{37B94D35-6F11-4577-80FF-BCFEF99FDF82}"/>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1" name="Rectangle 2560">
                  <a:extLst>
                    <a:ext uri="{FF2B5EF4-FFF2-40B4-BE49-F238E27FC236}">
                      <a16:creationId xmlns:a16="http://schemas.microsoft.com/office/drawing/2014/main" id="{221BF5B3-2BFB-4332-90AF-579C99572C34}"/>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554" name="Rectangle 2553">
                <a:extLst>
                  <a:ext uri="{FF2B5EF4-FFF2-40B4-BE49-F238E27FC236}">
                    <a16:creationId xmlns:a16="http://schemas.microsoft.com/office/drawing/2014/main" id="{A0ED15A4-6FBB-4630-817C-E5CA8C0D42EE}"/>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2652" name="Group 2651">
            <a:extLst>
              <a:ext uri="{FF2B5EF4-FFF2-40B4-BE49-F238E27FC236}">
                <a16:creationId xmlns:a16="http://schemas.microsoft.com/office/drawing/2014/main" id="{C21894EF-8D81-47AF-94A0-45D68D6932EE}"/>
              </a:ext>
            </a:extLst>
          </p:cNvPr>
          <p:cNvGrpSpPr/>
          <p:nvPr/>
        </p:nvGrpSpPr>
        <p:grpSpPr>
          <a:xfrm>
            <a:off x="1943243" y="1703763"/>
            <a:ext cx="1530261" cy="1365012"/>
            <a:chOff x="1943749" y="1841576"/>
            <a:chExt cx="1530660" cy="1365368"/>
          </a:xfrm>
        </p:grpSpPr>
        <p:grpSp>
          <p:nvGrpSpPr>
            <p:cNvPr id="2653" name="Group 2652">
              <a:extLst>
                <a:ext uri="{FF2B5EF4-FFF2-40B4-BE49-F238E27FC236}">
                  <a16:creationId xmlns:a16="http://schemas.microsoft.com/office/drawing/2014/main" id="{9D43AD93-F054-4F22-9C47-031FF358F2A0}"/>
                </a:ext>
              </a:extLst>
            </p:cNvPr>
            <p:cNvGrpSpPr/>
            <p:nvPr/>
          </p:nvGrpSpPr>
          <p:grpSpPr>
            <a:xfrm>
              <a:off x="1943749" y="2407609"/>
              <a:ext cx="1530660" cy="799335"/>
              <a:chOff x="1943749" y="2407609"/>
              <a:chExt cx="1530660" cy="799335"/>
            </a:xfrm>
          </p:grpSpPr>
          <p:cxnSp>
            <p:nvCxnSpPr>
              <p:cNvPr id="2655" name="Elbow Connector 558">
                <a:extLst>
                  <a:ext uri="{FF2B5EF4-FFF2-40B4-BE49-F238E27FC236}">
                    <a16:creationId xmlns:a16="http://schemas.microsoft.com/office/drawing/2014/main" id="{DEC905F3-34A7-4164-8DD6-65C69465FB24}"/>
                  </a:ext>
                </a:extLst>
              </p:cNvPr>
              <p:cNvCxnSpPr>
                <a:cxnSpLocks/>
                <a:endCxn id="2657"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656" name="Elbow Connector 558">
                <a:extLst>
                  <a:ext uri="{FF2B5EF4-FFF2-40B4-BE49-F238E27FC236}">
                    <a16:creationId xmlns:a16="http://schemas.microsoft.com/office/drawing/2014/main" id="{EF5ED769-8942-4EF3-A434-ED135F9CA3BD}"/>
                  </a:ext>
                </a:extLst>
              </p:cNvPr>
              <p:cNvCxnSpPr>
                <a:cxnSpLocks/>
                <a:stCxn id="2657" idx="3"/>
                <a:endCxn id="2790" idx="1"/>
              </p:cNvCxnSpPr>
              <p:nvPr/>
            </p:nvCxnSpPr>
            <p:spPr>
              <a:xfrm flipV="1">
                <a:off x="2543276" y="2407609"/>
                <a:ext cx="931133" cy="374066"/>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657" name="Picture 2656">
                <a:extLst>
                  <a:ext uri="{FF2B5EF4-FFF2-40B4-BE49-F238E27FC236}">
                    <a16:creationId xmlns:a16="http://schemas.microsoft.com/office/drawing/2014/main" id="{D5403F6B-3C67-477E-9311-B8DE5513186C}"/>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654" name="Picture 2653">
              <a:extLst>
                <a:ext uri="{FF2B5EF4-FFF2-40B4-BE49-F238E27FC236}">
                  <a16:creationId xmlns:a16="http://schemas.microsoft.com/office/drawing/2014/main" id="{63FFDBFE-9326-4209-A7C2-ABBAC504C2DC}"/>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2658" name="Group 2657">
            <a:extLst>
              <a:ext uri="{FF2B5EF4-FFF2-40B4-BE49-F238E27FC236}">
                <a16:creationId xmlns:a16="http://schemas.microsoft.com/office/drawing/2014/main" id="{D7FB6158-CC12-4760-BB82-DF90F7E182B9}"/>
              </a:ext>
            </a:extLst>
          </p:cNvPr>
          <p:cNvGrpSpPr/>
          <p:nvPr/>
        </p:nvGrpSpPr>
        <p:grpSpPr>
          <a:xfrm>
            <a:off x="2965498" y="1615862"/>
            <a:ext cx="6753931" cy="2719939"/>
            <a:chOff x="2966271" y="1753652"/>
            <a:chExt cx="6755690" cy="2720648"/>
          </a:xfrm>
        </p:grpSpPr>
        <p:grpSp>
          <p:nvGrpSpPr>
            <p:cNvPr id="2659" name="Group 2658">
              <a:extLst>
                <a:ext uri="{FF2B5EF4-FFF2-40B4-BE49-F238E27FC236}">
                  <a16:creationId xmlns:a16="http://schemas.microsoft.com/office/drawing/2014/main" id="{9D3D52D7-2776-44E8-9120-6174062C6346}"/>
                </a:ext>
              </a:extLst>
            </p:cNvPr>
            <p:cNvGrpSpPr/>
            <p:nvPr/>
          </p:nvGrpSpPr>
          <p:grpSpPr>
            <a:xfrm>
              <a:off x="2966271" y="3623425"/>
              <a:ext cx="5559816" cy="850875"/>
              <a:chOff x="2941193" y="3591455"/>
              <a:chExt cx="5574010" cy="853047"/>
            </a:xfrm>
          </p:grpSpPr>
          <p:grpSp>
            <p:nvGrpSpPr>
              <p:cNvPr id="2776" name="Group 2775">
                <a:extLst>
                  <a:ext uri="{FF2B5EF4-FFF2-40B4-BE49-F238E27FC236}">
                    <a16:creationId xmlns:a16="http://schemas.microsoft.com/office/drawing/2014/main" id="{00BA3D5E-4095-42F0-BD41-468FFB7C4EF9}"/>
                  </a:ext>
                </a:extLst>
              </p:cNvPr>
              <p:cNvGrpSpPr/>
              <p:nvPr/>
            </p:nvGrpSpPr>
            <p:grpSpPr>
              <a:xfrm>
                <a:off x="2941193" y="3710094"/>
                <a:ext cx="5483474" cy="734408"/>
                <a:chOff x="2941193" y="3710094"/>
                <a:chExt cx="5483474" cy="734408"/>
              </a:xfrm>
            </p:grpSpPr>
            <p:cxnSp>
              <p:nvCxnSpPr>
                <p:cNvPr id="2778" name="Elbow Connector 558">
                  <a:extLst>
                    <a:ext uri="{FF2B5EF4-FFF2-40B4-BE49-F238E27FC236}">
                      <a16:creationId xmlns:a16="http://schemas.microsoft.com/office/drawing/2014/main" id="{8B9029C7-DF2B-4965-B1E5-F32D76C0DE15}"/>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779" name="Rectangle 2778">
                  <a:extLst>
                    <a:ext uri="{FF2B5EF4-FFF2-40B4-BE49-F238E27FC236}">
                      <a16:creationId xmlns:a16="http://schemas.microsoft.com/office/drawing/2014/main" id="{C3FD32AE-1C38-473F-8AD8-C33FE8424978}"/>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777" name="Rectangle 2776">
                <a:extLst>
                  <a:ext uri="{FF2B5EF4-FFF2-40B4-BE49-F238E27FC236}">
                    <a16:creationId xmlns:a16="http://schemas.microsoft.com/office/drawing/2014/main" id="{37017EB8-7285-4A76-B7F5-C589DB18F416}"/>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2660" name="Group 2659">
              <a:extLst>
                <a:ext uri="{FF2B5EF4-FFF2-40B4-BE49-F238E27FC236}">
                  <a16:creationId xmlns:a16="http://schemas.microsoft.com/office/drawing/2014/main" id="{EBC6F251-C2B6-409D-9525-3993D71F99B9}"/>
                </a:ext>
              </a:extLst>
            </p:cNvPr>
            <p:cNvGrpSpPr/>
            <p:nvPr/>
          </p:nvGrpSpPr>
          <p:grpSpPr>
            <a:xfrm>
              <a:off x="6614264" y="1753652"/>
              <a:ext cx="3107697" cy="1310210"/>
              <a:chOff x="6614264" y="1753652"/>
              <a:chExt cx="3107697" cy="1310210"/>
            </a:xfrm>
          </p:grpSpPr>
          <p:sp>
            <p:nvSpPr>
              <p:cNvPr id="2661" name="Rectangle 2660">
                <a:extLst>
                  <a:ext uri="{FF2B5EF4-FFF2-40B4-BE49-F238E27FC236}">
                    <a16:creationId xmlns:a16="http://schemas.microsoft.com/office/drawing/2014/main" id="{58B19519-A64D-4A41-BFC7-F8F1687A412A}"/>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662" name="Group 2661">
                <a:extLst>
                  <a:ext uri="{FF2B5EF4-FFF2-40B4-BE49-F238E27FC236}">
                    <a16:creationId xmlns:a16="http://schemas.microsoft.com/office/drawing/2014/main" id="{AFA6B6C5-A4D0-4D13-B8DE-6F93B38DBBDC}"/>
                  </a:ext>
                </a:extLst>
              </p:cNvPr>
              <p:cNvGrpSpPr/>
              <p:nvPr/>
            </p:nvGrpSpPr>
            <p:grpSpPr>
              <a:xfrm>
                <a:off x="6970489" y="2381238"/>
                <a:ext cx="876005" cy="682624"/>
                <a:chOff x="8153924" y="1224949"/>
                <a:chExt cx="927652" cy="722869"/>
              </a:xfrm>
            </p:grpSpPr>
            <p:sp>
              <p:nvSpPr>
                <p:cNvPr id="2753" name="TextBox 2752">
                  <a:extLst>
                    <a:ext uri="{FF2B5EF4-FFF2-40B4-BE49-F238E27FC236}">
                      <a16:creationId xmlns:a16="http://schemas.microsoft.com/office/drawing/2014/main" id="{C7B62840-6B49-4D3C-B0B7-8DD09C4C9724}"/>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54" name="Group 2753">
                  <a:extLst>
                    <a:ext uri="{FF2B5EF4-FFF2-40B4-BE49-F238E27FC236}">
                      <a16:creationId xmlns:a16="http://schemas.microsoft.com/office/drawing/2014/main" id="{EBAC9032-D93E-4DF9-ACD6-5C6E695C1759}"/>
                    </a:ext>
                  </a:extLst>
                </p:cNvPr>
                <p:cNvGrpSpPr/>
                <p:nvPr/>
              </p:nvGrpSpPr>
              <p:grpSpPr>
                <a:xfrm>
                  <a:off x="8153924" y="1224949"/>
                  <a:ext cx="927652" cy="402840"/>
                  <a:chOff x="8153924" y="1224949"/>
                  <a:chExt cx="927652" cy="402840"/>
                </a:xfrm>
              </p:grpSpPr>
              <p:sp>
                <p:nvSpPr>
                  <p:cNvPr id="2755" name="Freeform 78">
                    <a:extLst>
                      <a:ext uri="{FF2B5EF4-FFF2-40B4-BE49-F238E27FC236}">
                        <a16:creationId xmlns:a16="http://schemas.microsoft.com/office/drawing/2014/main" id="{C95E63B4-AF85-45C6-A9BB-F7A877B6F491}"/>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80">
                    <a:extLst>
                      <a:ext uri="{FF2B5EF4-FFF2-40B4-BE49-F238E27FC236}">
                        <a16:creationId xmlns:a16="http://schemas.microsoft.com/office/drawing/2014/main" id="{37E56A3A-47CC-4041-BC53-ED875003051C}"/>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6">
                    <a:extLst>
                      <a:ext uri="{FF2B5EF4-FFF2-40B4-BE49-F238E27FC236}">
                        <a16:creationId xmlns:a16="http://schemas.microsoft.com/office/drawing/2014/main" id="{BF58212D-DAB0-4907-A2B2-605A1B054179}"/>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77">
                    <a:extLst>
                      <a:ext uri="{FF2B5EF4-FFF2-40B4-BE49-F238E27FC236}">
                        <a16:creationId xmlns:a16="http://schemas.microsoft.com/office/drawing/2014/main" id="{C1ED7B0C-DE80-402D-9DA8-E34757242AC5}"/>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78">
                    <a:extLst>
                      <a:ext uri="{FF2B5EF4-FFF2-40B4-BE49-F238E27FC236}">
                        <a16:creationId xmlns:a16="http://schemas.microsoft.com/office/drawing/2014/main" id="{FA0C0EBC-99E6-4A23-A533-F624D74AC910}"/>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79">
                    <a:extLst>
                      <a:ext uri="{FF2B5EF4-FFF2-40B4-BE49-F238E27FC236}">
                        <a16:creationId xmlns:a16="http://schemas.microsoft.com/office/drawing/2014/main" id="{1BA6C2CD-E217-41A1-9A03-C0DB70994B3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0">
                    <a:extLst>
                      <a:ext uri="{FF2B5EF4-FFF2-40B4-BE49-F238E27FC236}">
                        <a16:creationId xmlns:a16="http://schemas.microsoft.com/office/drawing/2014/main" id="{644BA3A1-EFF9-4C2F-B941-0C41E0C640E7}"/>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1">
                    <a:extLst>
                      <a:ext uri="{FF2B5EF4-FFF2-40B4-BE49-F238E27FC236}">
                        <a16:creationId xmlns:a16="http://schemas.microsoft.com/office/drawing/2014/main" id="{7AD40BE7-DD64-432C-8995-644E2ED5570F}"/>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2">
                    <a:extLst>
                      <a:ext uri="{FF2B5EF4-FFF2-40B4-BE49-F238E27FC236}">
                        <a16:creationId xmlns:a16="http://schemas.microsoft.com/office/drawing/2014/main" id="{A84BD5C3-DE9C-4B5C-8B28-08847EC28688}"/>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3">
                    <a:extLst>
                      <a:ext uri="{FF2B5EF4-FFF2-40B4-BE49-F238E27FC236}">
                        <a16:creationId xmlns:a16="http://schemas.microsoft.com/office/drawing/2014/main" id="{F3740F3E-6E6B-431E-AC8A-044920E38A4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4">
                    <a:extLst>
                      <a:ext uri="{FF2B5EF4-FFF2-40B4-BE49-F238E27FC236}">
                        <a16:creationId xmlns:a16="http://schemas.microsoft.com/office/drawing/2014/main" id="{3B0730A7-0E85-4092-8154-864C5E6AF9DB}"/>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5">
                    <a:extLst>
                      <a:ext uri="{FF2B5EF4-FFF2-40B4-BE49-F238E27FC236}">
                        <a16:creationId xmlns:a16="http://schemas.microsoft.com/office/drawing/2014/main" id="{9841AD02-BEBD-48C8-859D-6AAB2D8FAFD6}"/>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Freeform 1586">
                    <a:extLst>
                      <a:ext uri="{FF2B5EF4-FFF2-40B4-BE49-F238E27FC236}">
                        <a16:creationId xmlns:a16="http://schemas.microsoft.com/office/drawing/2014/main" id="{F22DD2CC-B909-41AD-9089-DAC533B5FCD0}"/>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8" name="Freeform 1587">
                    <a:extLst>
                      <a:ext uri="{FF2B5EF4-FFF2-40B4-BE49-F238E27FC236}">
                        <a16:creationId xmlns:a16="http://schemas.microsoft.com/office/drawing/2014/main" id="{B5E6EB29-C7FD-47A9-A155-9793CF7BADF5}"/>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88">
                    <a:extLst>
                      <a:ext uri="{FF2B5EF4-FFF2-40B4-BE49-F238E27FC236}">
                        <a16:creationId xmlns:a16="http://schemas.microsoft.com/office/drawing/2014/main" id="{B09F64A5-2CF0-4BCE-8915-568DBA810F99}"/>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70" name="Rectangle 1589">
                    <a:extLst>
                      <a:ext uri="{FF2B5EF4-FFF2-40B4-BE49-F238E27FC236}">
                        <a16:creationId xmlns:a16="http://schemas.microsoft.com/office/drawing/2014/main" id="{C587525C-9E28-4791-A95C-E4197AF35C94}"/>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Rectangle 1590">
                    <a:extLst>
                      <a:ext uri="{FF2B5EF4-FFF2-40B4-BE49-F238E27FC236}">
                        <a16:creationId xmlns:a16="http://schemas.microsoft.com/office/drawing/2014/main" id="{A8DC3B47-C25B-4C91-B65E-7653E20D7B19}"/>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1">
                    <a:extLst>
                      <a:ext uri="{FF2B5EF4-FFF2-40B4-BE49-F238E27FC236}">
                        <a16:creationId xmlns:a16="http://schemas.microsoft.com/office/drawing/2014/main" id="{58D1F62C-9D0E-4AF3-ABE5-CB540355F92E}"/>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2">
                    <a:extLst>
                      <a:ext uri="{FF2B5EF4-FFF2-40B4-BE49-F238E27FC236}">
                        <a16:creationId xmlns:a16="http://schemas.microsoft.com/office/drawing/2014/main" id="{B1704352-C657-42D7-A344-265CAB328E20}"/>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3">
                    <a:extLst>
                      <a:ext uri="{FF2B5EF4-FFF2-40B4-BE49-F238E27FC236}">
                        <a16:creationId xmlns:a16="http://schemas.microsoft.com/office/drawing/2014/main" id="{6744E02A-2C07-43E6-8F15-0C91B735199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596">
                    <a:extLst>
                      <a:ext uri="{FF2B5EF4-FFF2-40B4-BE49-F238E27FC236}">
                        <a16:creationId xmlns:a16="http://schemas.microsoft.com/office/drawing/2014/main" id="{06B55468-31C3-4A1B-AED6-04C9FD5DFD67}"/>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3" name="Group 2662">
                <a:extLst>
                  <a:ext uri="{FF2B5EF4-FFF2-40B4-BE49-F238E27FC236}">
                    <a16:creationId xmlns:a16="http://schemas.microsoft.com/office/drawing/2014/main" id="{779806AD-6C25-4083-8E5B-C4C1E9CEB9A3}"/>
                  </a:ext>
                </a:extLst>
              </p:cNvPr>
              <p:cNvGrpSpPr/>
              <p:nvPr/>
            </p:nvGrpSpPr>
            <p:grpSpPr>
              <a:xfrm>
                <a:off x="7508988" y="1995190"/>
                <a:ext cx="2049581" cy="1005869"/>
                <a:chOff x="8356478" y="3790294"/>
                <a:chExt cx="3013725" cy="1479041"/>
              </a:xfrm>
            </p:grpSpPr>
            <p:sp>
              <p:nvSpPr>
                <p:cNvPr id="2750" name="Rectangle 2749">
                  <a:extLst>
                    <a:ext uri="{FF2B5EF4-FFF2-40B4-BE49-F238E27FC236}">
                      <a16:creationId xmlns:a16="http://schemas.microsoft.com/office/drawing/2014/main" id="{19AAA109-BC3C-4168-96DB-23409C54A3BD}"/>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751" name="Rectangle 2750">
                  <a:extLst>
                    <a:ext uri="{FF2B5EF4-FFF2-40B4-BE49-F238E27FC236}">
                      <a16:creationId xmlns:a16="http://schemas.microsoft.com/office/drawing/2014/main" id="{2B12BF84-9D64-4E09-ABC0-4838CF5E0BFC}"/>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752" name="Straight Arrow Connector 2751">
                  <a:extLst>
                    <a:ext uri="{FF2B5EF4-FFF2-40B4-BE49-F238E27FC236}">
                      <a16:creationId xmlns:a16="http://schemas.microsoft.com/office/drawing/2014/main" id="{BE4AEDCD-7CEE-4BA3-B06E-521F2FC114F7}"/>
                    </a:ext>
                  </a:extLst>
                </p:cNvPr>
                <p:cNvCxnSpPr>
                  <a:cxnSpLocks/>
                  <a:stCxn id="2750"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664" name="Group 2663">
                <a:extLst>
                  <a:ext uri="{FF2B5EF4-FFF2-40B4-BE49-F238E27FC236}">
                    <a16:creationId xmlns:a16="http://schemas.microsoft.com/office/drawing/2014/main" id="{DC04D586-E1D8-4E5C-B99B-C6BBFFDFAB46}"/>
                  </a:ext>
                </a:extLst>
              </p:cNvPr>
              <p:cNvGrpSpPr/>
              <p:nvPr/>
            </p:nvGrpSpPr>
            <p:grpSpPr>
              <a:xfrm>
                <a:off x="8556157" y="1876097"/>
                <a:ext cx="1088511" cy="894403"/>
                <a:chOff x="10800033" y="2297897"/>
                <a:chExt cx="1600558" cy="1315140"/>
              </a:xfrm>
            </p:grpSpPr>
            <p:grpSp>
              <p:nvGrpSpPr>
                <p:cNvPr id="2668" name="Group 2667">
                  <a:extLst>
                    <a:ext uri="{FF2B5EF4-FFF2-40B4-BE49-F238E27FC236}">
                      <a16:creationId xmlns:a16="http://schemas.microsoft.com/office/drawing/2014/main" id="{A89E69C7-49A1-4000-9950-EBAC8CA1B09F}"/>
                    </a:ext>
                  </a:extLst>
                </p:cNvPr>
                <p:cNvGrpSpPr>
                  <a:grpSpLocks/>
                </p:cNvGrpSpPr>
                <p:nvPr/>
              </p:nvGrpSpPr>
              <p:grpSpPr>
                <a:xfrm>
                  <a:off x="10800033" y="2339037"/>
                  <a:ext cx="613092" cy="613092"/>
                  <a:chOff x="745985" y="4768134"/>
                  <a:chExt cx="368776" cy="368777"/>
                </a:xfrm>
              </p:grpSpPr>
              <p:grpSp>
                <p:nvGrpSpPr>
                  <p:cNvPr id="2732" name="Group 64">
                    <a:extLst>
                      <a:ext uri="{FF2B5EF4-FFF2-40B4-BE49-F238E27FC236}">
                        <a16:creationId xmlns:a16="http://schemas.microsoft.com/office/drawing/2014/main" id="{270653EB-1221-4E55-A872-07DA6A4D5469}"/>
                      </a:ext>
                    </a:extLst>
                  </p:cNvPr>
                  <p:cNvGrpSpPr>
                    <a:grpSpLocks noChangeAspect="1"/>
                  </p:cNvGrpSpPr>
                  <p:nvPr/>
                </p:nvGrpSpPr>
                <p:grpSpPr bwMode="auto">
                  <a:xfrm rot="8100000">
                    <a:off x="745985" y="4768134"/>
                    <a:ext cx="368776" cy="368777"/>
                    <a:chOff x="701" y="2170"/>
                    <a:chExt cx="587" cy="587"/>
                  </a:xfrm>
                </p:grpSpPr>
                <p:sp>
                  <p:nvSpPr>
                    <p:cNvPr id="2743" name="Oval 65">
                      <a:extLst>
                        <a:ext uri="{FF2B5EF4-FFF2-40B4-BE49-F238E27FC236}">
                          <a16:creationId xmlns:a16="http://schemas.microsoft.com/office/drawing/2014/main" id="{CAB198EC-B8A8-4765-909A-393BA373DEB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44" name="Line 66">
                      <a:extLst>
                        <a:ext uri="{FF2B5EF4-FFF2-40B4-BE49-F238E27FC236}">
                          <a16:creationId xmlns:a16="http://schemas.microsoft.com/office/drawing/2014/main" id="{B127D925-037B-47B9-9F5C-0A0B3BA42522}"/>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Line 67">
                      <a:extLst>
                        <a:ext uri="{FF2B5EF4-FFF2-40B4-BE49-F238E27FC236}">
                          <a16:creationId xmlns:a16="http://schemas.microsoft.com/office/drawing/2014/main" id="{D8E099BD-6EA4-4293-B259-5EC0543ED26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6" name="Line 69">
                      <a:extLst>
                        <a:ext uri="{FF2B5EF4-FFF2-40B4-BE49-F238E27FC236}">
                          <a16:creationId xmlns:a16="http://schemas.microsoft.com/office/drawing/2014/main" id="{E6195BBB-229C-47DF-931A-384F8FBD362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7" name="Line 74">
                      <a:extLst>
                        <a:ext uri="{FF2B5EF4-FFF2-40B4-BE49-F238E27FC236}">
                          <a16:creationId xmlns:a16="http://schemas.microsoft.com/office/drawing/2014/main" id="{00850C55-42A3-4B9F-A529-D1A195F627E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8" name="Freeform 78">
                      <a:extLst>
                        <a:ext uri="{FF2B5EF4-FFF2-40B4-BE49-F238E27FC236}">
                          <a16:creationId xmlns:a16="http://schemas.microsoft.com/office/drawing/2014/main" id="{559D4D9C-1C19-49C7-A407-957B1E078F3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Freeform 80">
                      <a:extLst>
                        <a:ext uri="{FF2B5EF4-FFF2-40B4-BE49-F238E27FC236}">
                          <a16:creationId xmlns:a16="http://schemas.microsoft.com/office/drawing/2014/main" id="{AD492F38-689B-4129-AD47-B76A2E16A5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733" name="Group 2732">
                    <a:extLst>
                      <a:ext uri="{FF2B5EF4-FFF2-40B4-BE49-F238E27FC236}">
                        <a16:creationId xmlns:a16="http://schemas.microsoft.com/office/drawing/2014/main" id="{C243F852-F7C4-4AF7-8C67-26676BA9EC55}"/>
                      </a:ext>
                    </a:extLst>
                  </p:cNvPr>
                  <p:cNvGrpSpPr/>
                  <p:nvPr/>
                </p:nvGrpSpPr>
                <p:grpSpPr>
                  <a:xfrm>
                    <a:off x="837312" y="4814434"/>
                    <a:ext cx="136805" cy="278689"/>
                    <a:chOff x="2806700" y="2803319"/>
                    <a:chExt cx="433387" cy="882861"/>
                  </a:xfrm>
                </p:grpSpPr>
                <p:grpSp>
                  <p:nvGrpSpPr>
                    <p:cNvPr id="2734" name="Group 2733">
                      <a:extLst>
                        <a:ext uri="{FF2B5EF4-FFF2-40B4-BE49-F238E27FC236}">
                          <a16:creationId xmlns:a16="http://schemas.microsoft.com/office/drawing/2014/main" id="{97A60284-DE98-44D1-B913-D3B198EF8409}"/>
                        </a:ext>
                      </a:extLst>
                    </p:cNvPr>
                    <p:cNvGrpSpPr>
                      <a:grpSpLocks noChangeAspect="1"/>
                    </p:cNvGrpSpPr>
                    <p:nvPr/>
                  </p:nvGrpSpPr>
                  <p:grpSpPr bwMode="auto">
                    <a:xfrm>
                      <a:off x="2806700" y="3043242"/>
                      <a:ext cx="433387" cy="642938"/>
                      <a:chOff x="1768" y="1917"/>
                      <a:chExt cx="273" cy="405"/>
                    </a:xfrm>
                  </p:grpSpPr>
                  <p:sp>
                    <p:nvSpPr>
                      <p:cNvPr id="2736" name="Freeform 52">
                        <a:extLst>
                          <a:ext uri="{FF2B5EF4-FFF2-40B4-BE49-F238E27FC236}">
                            <a16:creationId xmlns:a16="http://schemas.microsoft.com/office/drawing/2014/main" id="{1B98D386-940A-465C-9452-B8EF67E676E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37" name="Line 54">
                        <a:extLst>
                          <a:ext uri="{FF2B5EF4-FFF2-40B4-BE49-F238E27FC236}">
                            <a16:creationId xmlns:a16="http://schemas.microsoft.com/office/drawing/2014/main" id="{E3D69D3E-4F19-4DA7-B690-592610930F43}"/>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Line 55">
                        <a:extLst>
                          <a:ext uri="{FF2B5EF4-FFF2-40B4-BE49-F238E27FC236}">
                            <a16:creationId xmlns:a16="http://schemas.microsoft.com/office/drawing/2014/main" id="{C8A4F9CF-BD23-455E-9A0A-23C58F2983C3}"/>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56">
                        <a:extLst>
                          <a:ext uri="{FF2B5EF4-FFF2-40B4-BE49-F238E27FC236}">
                            <a16:creationId xmlns:a16="http://schemas.microsoft.com/office/drawing/2014/main" id="{3C0B9349-4AA0-41AC-AA01-880AA6AB993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Line 57">
                        <a:extLst>
                          <a:ext uri="{FF2B5EF4-FFF2-40B4-BE49-F238E27FC236}">
                            <a16:creationId xmlns:a16="http://schemas.microsoft.com/office/drawing/2014/main" id="{2B63E123-4831-414D-B659-F0A1C934EEAD}"/>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58">
                        <a:extLst>
                          <a:ext uri="{FF2B5EF4-FFF2-40B4-BE49-F238E27FC236}">
                            <a16:creationId xmlns:a16="http://schemas.microsoft.com/office/drawing/2014/main" id="{6C9AE756-F450-4C48-A839-995B58C73C03}"/>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Rectangle 2741">
                        <a:extLst>
                          <a:ext uri="{FF2B5EF4-FFF2-40B4-BE49-F238E27FC236}">
                            <a16:creationId xmlns:a16="http://schemas.microsoft.com/office/drawing/2014/main" id="{37B58052-5F2B-4910-9CBD-A04CC5D6DBD1}"/>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735" name="Oval 2734">
                      <a:extLst>
                        <a:ext uri="{FF2B5EF4-FFF2-40B4-BE49-F238E27FC236}">
                          <a16:creationId xmlns:a16="http://schemas.microsoft.com/office/drawing/2014/main" id="{6C07589A-6596-4896-91A6-99A0EEA4C962}"/>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9" name="Group 2668">
                  <a:extLst>
                    <a:ext uri="{FF2B5EF4-FFF2-40B4-BE49-F238E27FC236}">
                      <a16:creationId xmlns:a16="http://schemas.microsoft.com/office/drawing/2014/main" id="{4C166DC8-CF4F-48D1-99DE-EEF1D7A3B2E4}"/>
                    </a:ext>
                  </a:extLst>
                </p:cNvPr>
                <p:cNvGrpSpPr>
                  <a:grpSpLocks/>
                </p:cNvGrpSpPr>
                <p:nvPr/>
              </p:nvGrpSpPr>
              <p:grpSpPr>
                <a:xfrm>
                  <a:off x="11166615" y="2825631"/>
                  <a:ext cx="787402" cy="787406"/>
                  <a:chOff x="1454941" y="4721722"/>
                  <a:chExt cx="473625" cy="473627"/>
                </a:xfrm>
              </p:grpSpPr>
              <p:grpSp>
                <p:nvGrpSpPr>
                  <p:cNvPr id="2693" name="Group 64">
                    <a:extLst>
                      <a:ext uri="{FF2B5EF4-FFF2-40B4-BE49-F238E27FC236}">
                        <a16:creationId xmlns:a16="http://schemas.microsoft.com/office/drawing/2014/main" id="{A0899A6F-C583-4A2A-BBBC-3CEF426A411B}"/>
                      </a:ext>
                    </a:extLst>
                  </p:cNvPr>
                  <p:cNvGrpSpPr>
                    <a:grpSpLocks noChangeAspect="1"/>
                  </p:cNvGrpSpPr>
                  <p:nvPr/>
                </p:nvGrpSpPr>
                <p:grpSpPr bwMode="auto">
                  <a:xfrm rot="8100000">
                    <a:off x="1454941" y="4721722"/>
                    <a:ext cx="473625" cy="473627"/>
                    <a:chOff x="701" y="2170"/>
                    <a:chExt cx="587" cy="587"/>
                  </a:xfrm>
                </p:grpSpPr>
                <p:sp>
                  <p:nvSpPr>
                    <p:cNvPr id="2725" name="Oval 65">
                      <a:extLst>
                        <a:ext uri="{FF2B5EF4-FFF2-40B4-BE49-F238E27FC236}">
                          <a16:creationId xmlns:a16="http://schemas.microsoft.com/office/drawing/2014/main" id="{0C4D9C3E-FA7C-4490-96D1-8C9EB28F294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26" name="Line 66">
                      <a:extLst>
                        <a:ext uri="{FF2B5EF4-FFF2-40B4-BE49-F238E27FC236}">
                          <a16:creationId xmlns:a16="http://schemas.microsoft.com/office/drawing/2014/main" id="{A94027A1-ADEC-41B0-9784-C69165FF810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Line 67">
                      <a:extLst>
                        <a:ext uri="{FF2B5EF4-FFF2-40B4-BE49-F238E27FC236}">
                          <a16:creationId xmlns:a16="http://schemas.microsoft.com/office/drawing/2014/main" id="{05DBFDE7-9748-4980-B84A-68CE00236D8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Line 69">
                      <a:extLst>
                        <a:ext uri="{FF2B5EF4-FFF2-40B4-BE49-F238E27FC236}">
                          <a16:creationId xmlns:a16="http://schemas.microsoft.com/office/drawing/2014/main" id="{3F801DD0-1DA2-4598-B051-669E2131075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Line 74">
                      <a:extLst>
                        <a:ext uri="{FF2B5EF4-FFF2-40B4-BE49-F238E27FC236}">
                          <a16:creationId xmlns:a16="http://schemas.microsoft.com/office/drawing/2014/main" id="{9B82CC21-21EA-40C3-A104-5151B9EF26F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78">
                      <a:extLst>
                        <a:ext uri="{FF2B5EF4-FFF2-40B4-BE49-F238E27FC236}">
                          <a16:creationId xmlns:a16="http://schemas.microsoft.com/office/drawing/2014/main" id="{3DEF3514-24CF-450E-A997-384A80B5D1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80">
                      <a:extLst>
                        <a:ext uri="{FF2B5EF4-FFF2-40B4-BE49-F238E27FC236}">
                          <a16:creationId xmlns:a16="http://schemas.microsoft.com/office/drawing/2014/main" id="{EF3B7C8B-B944-463D-B046-3309C6C6840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94" name="Group 2693">
                    <a:extLst>
                      <a:ext uri="{FF2B5EF4-FFF2-40B4-BE49-F238E27FC236}">
                        <a16:creationId xmlns:a16="http://schemas.microsoft.com/office/drawing/2014/main" id="{DB3B51E3-953D-426E-BB24-8D256B85FE6C}"/>
                      </a:ext>
                    </a:extLst>
                  </p:cNvPr>
                  <p:cNvGrpSpPr/>
                  <p:nvPr/>
                </p:nvGrpSpPr>
                <p:grpSpPr>
                  <a:xfrm>
                    <a:off x="1511214" y="4789508"/>
                    <a:ext cx="356509" cy="349884"/>
                    <a:chOff x="468738" y="2241878"/>
                    <a:chExt cx="1655483" cy="1624719"/>
                  </a:xfrm>
                </p:grpSpPr>
                <p:sp>
                  <p:nvSpPr>
                    <p:cNvPr id="2695" name="Freeform 5">
                      <a:extLst>
                        <a:ext uri="{FF2B5EF4-FFF2-40B4-BE49-F238E27FC236}">
                          <a16:creationId xmlns:a16="http://schemas.microsoft.com/office/drawing/2014/main" id="{26D54149-EAD3-468A-8ADD-3A39AA4083B7}"/>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6">
                      <a:extLst>
                        <a:ext uri="{FF2B5EF4-FFF2-40B4-BE49-F238E27FC236}">
                          <a16:creationId xmlns:a16="http://schemas.microsoft.com/office/drawing/2014/main" id="{F95F8C72-B379-4580-A29A-67836949C7F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Line 7">
                      <a:extLst>
                        <a:ext uri="{FF2B5EF4-FFF2-40B4-BE49-F238E27FC236}">
                          <a16:creationId xmlns:a16="http://schemas.microsoft.com/office/drawing/2014/main" id="{C281E25A-E071-46D3-B8BF-A513062C9C2F}"/>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8">
                      <a:extLst>
                        <a:ext uri="{FF2B5EF4-FFF2-40B4-BE49-F238E27FC236}">
                          <a16:creationId xmlns:a16="http://schemas.microsoft.com/office/drawing/2014/main" id="{C019DD5E-0271-4351-B6B0-95F10D82096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Line 9">
                      <a:extLst>
                        <a:ext uri="{FF2B5EF4-FFF2-40B4-BE49-F238E27FC236}">
                          <a16:creationId xmlns:a16="http://schemas.microsoft.com/office/drawing/2014/main" id="{27A87AA6-C2DA-40D4-B32F-3D9B62C7105A}"/>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00" name="Group 2699">
                      <a:extLst>
                        <a:ext uri="{FF2B5EF4-FFF2-40B4-BE49-F238E27FC236}">
                          <a16:creationId xmlns:a16="http://schemas.microsoft.com/office/drawing/2014/main" id="{4A47DD98-38B9-4658-AB5F-6BD7468FED1A}"/>
                        </a:ext>
                      </a:extLst>
                    </p:cNvPr>
                    <p:cNvGrpSpPr/>
                    <p:nvPr/>
                  </p:nvGrpSpPr>
                  <p:grpSpPr>
                    <a:xfrm>
                      <a:off x="1207113" y="2241878"/>
                      <a:ext cx="178734" cy="348678"/>
                      <a:chOff x="1207113" y="2241878"/>
                      <a:chExt cx="178734" cy="348678"/>
                    </a:xfrm>
                  </p:grpSpPr>
                  <p:sp>
                    <p:nvSpPr>
                      <p:cNvPr id="2723" name="Freeform 10">
                        <a:extLst>
                          <a:ext uri="{FF2B5EF4-FFF2-40B4-BE49-F238E27FC236}">
                            <a16:creationId xmlns:a16="http://schemas.microsoft.com/office/drawing/2014/main" id="{C2FFD16A-8AD7-4306-B2E1-EB9980FDFE1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Line 11">
                        <a:extLst>
                          <a:ext uri="{FF2B5EF4-FFF2-40B4-BE49-F238E27FC236}">
                            <a16:creationId xmlns:a16="http://schemas.microsoft.com/office/drawing/2014/main" id="{4EA6297A-04B1-4E0A-A44C-D2CFBD95B69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701" name="Freeform 12">
                      <a:extLst>
                        <a:ext uri="{FF2B5EF4-FFF2-40B4-BE49-F238E27FC236}">
                          <a16:creationId xmlns:a16="http://schemas.microsoft.com/office/drawing/2014/main" id="{8606DFE0-8434-4247-96D9-35C12098DC9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Line 13">
                      <a:extLst>
                        <a:ext uri="{FF2B5EF4-FFF2-40B4-BE49-F238E27FC236}">
                          <a16:creationId xmlns:a16="http://schemas.microsoft.com/office/drawing/2014/main" id="{8CCEDBE7-E5FD-4723-A16A-CBAB4E95A0CC}"/>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4">
                      <a:extLst>
                        <a:ext uri="{FF2B5EF4-FFF2-40B4-BE49-F238E27FC236}">
                          <a16:creationId xmlns:a16="http://schemas.microsoft.com/office/drawing/2014/main" id="{2DA813E2-AB61-4156-A224-730BCB9FD46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Line 15">
                      <a:extLst>
                        <a:ext uri="{FF2B5EF4-FFF2-40B4-BE49-F238E27FC236}">
                          <a16:creationId xmlns:a16="http://schemas.microsoft.com/office/drawing/2014/main" id="{C3570522-BF74-4C4E-A905-3A6E16C9675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6">
                      <a:extLst>
                        <a:ext uri="{FF2B5EF4-FFF2-40B4-BE49-F238E27FC236}">
                          <a16:creationId xmlns:a16="http://schemas.microsoft.com/office/drawing/2014/main" id="{C4D28821-97D6-4ABA-AAD6-CF209E974A8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Line 17">
                      <a:extLst>
                        <a:ext uri="{FF2B5EF4-FFF2-40B4-BE49-F238E27FC236}">
                          <a16:creationId xmlns:a16="http://schemas.microsoft.com/office/drawing/2014/main" id="{18250D4C-E681-438D-8A68-49D247DDC4FE}"/>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8">
                      <a:extLst>
                        <a:ext uri="{FF2B5EF4-FFF2-40B4-BE49-F238E27FC236}">
                          <a16:creationId xmlns:a16="http://schemas.microsoft.com/office/drawing/2014/main" id="{8750C3FE-4710-468E-8B83-93F999E0547D}"/>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8" name="Line 19">
                      <a:extLst>
                        <a:ext uri="{FF2B5EF4-FFF2-40B4-BE49-F238E27FC236}">
                          <a16:creationId xmlns:a16="http://schemas.microsoft.com/office/drawing/2014/main" id="{6122351E-C179-4241-9F3E-2DF74633980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35">
                      <a:extLst>
                        <a:ext uri="{FF2B5EF4-FFF2-40B4-BE49-F238E27FC236}">
                          <a16:creationId xmlns:a16="http://schemas.microsoft.com/office/drawing/2014/main" id="{A0692789-4188-465F-8127-4B965F060AD6}"/>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36">
                      <a:extLst>
                        <a:ext uri="{FF2B5EF4-FFF2-40B4-BE49-F238E27FC236}">
                          <a16:creationId xmlns:a16="http://schemas.microsoft.com/office/drawing/2014/main" id="{03C5B86D-7834-48FE-96B7-CCC8EAE56E8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37">
                      <a:extLst>
                        <a:ext uri="{FF2B5EF4-FFF2-40B4-BE49-F238E27FC236}">
                          <a16:creationId xmlns:a16="http://schemas.microsoft.com/office/drawing/2014/main" id="{5DA196F7-2D0D-46A5-917A-7A3A0A5E4B2A}"/>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2" name="Freeform 38">
                      <a:extLst>
                        <a:ext uri="{FF2B5EF4-FFF2-40B4-BE49-F238E27FC236}">
                          <a16:creationId xmlns:a16="http://schemas.microsoft.com/office/drawing/2014/main" id="{78D325D3-7612-4F61-9A6E-63EB006CC01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3" name="Freeform 39">
                      <a:extLst>
                        <a:ext uri="{FF2B5EF4-FFF2-40B4-BE49-F238E27FC236}">
                          <a16:creationId xmlns:a16="http://schemas.microsoft.com/office/drawing/2014/main" id="{2176C790-2832-4E0A-94B7-9E957804E4F8}"/>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40">
                      <a:extLst>
                        <a:ext uri="{FF2B5EF4-FFF2-40B4-BE49-F238E27FC236}">
                          <a16:creationId xmlns:a16="http://schemas.microsoft.com/office/drawing/2014/main" id="{180C6540-390D-4DF4-B2F3-7146C16F4EA4}"/>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41">
                      <a:extLst>
                        <a:ext uri="{FF2B5EF4-FFF2-40B4-BE49-F238E27FC236}">
                          <a16:creationId xmlns:a16="http://schemas.microsoft.com/office/drawing/2014/main" id="{B7D4B3DE-4043-417F-A1DB-9458119F7C1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Line 42">
                      <a:extLst>
                        <a:ext uri="{FF2B5EF4-FFF2-40B4-BE49-F238E27FC236}">
                          <a16:creationId xmlns:a16="http://schemas.microsoft.com/office/drawing/2014/main" id="{1708E1E3-43CC-4AFE-A12E-DACDEB73763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43">
                      <a:extLst>
                        <a:ext uri="{FF2B5EF4-FFF2-40B4-BE49-F238E27FC236}">
                          <a16:creationId xmlns:a16="http://schemas.microsoft.com/office/drawing/2014/main" id="{F0D7792E-9EF6-4F3E-8FC7-5F7085B9E634}"/>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44">
                      <a:extLst>
                        <a:ext uri="{FF2B5EF4-FFF2-40B4-BE49-F238E27FC236}">
                          <a16:creationId xmlns:a16="http://schemas.microsoft.com/office/drawing/2014/main" id="{56D13C92-D06E-4B21-A2EB-5B125DEF7B34}"/>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45">
                      <a:extLst>
                        <a:ext uri="{FF2B5EF4-FFF2-40B4-BE49-F238E27FC236}">
                          <a16:creationId xmlns:a16="http://schemas.microsoft.com/office/drawing/2014/main" id="{F7C426F0-E547-403A-81D2-20C35D9BAE5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20" name="Group 2719">
                      <a:extLst>
                        <a:ext uri="{FF2B5EF4-FFF2-40B4-BE49-F238E27FC236}">
                          <a16:creationId xmlns:a16="http://schemas.microsoft.com/office/drawing/2014/main" id="{686002ED-42B5-4055-8897-2A2963AE524F}"/>
                        </a:ext>
                      </a:extLst>
                    </p:cNvPr>
                    <p:cNvGrpSpPr/>
                    <p:nvPr/>
                  </p:nvGrpSpPr>
                  <p:grpSpPr>
                    <a:xfrm flipV="1">
                      <a:off x="1202047" y="3517919"/>
                      <a:ext cx="178734" cy="348678"/>
                      <a:chOff x="1207113" y="2241878"/>
                      <a:chExt cx="178734" cy="348678"/>
                    </a:xfrm>
                  </p:grpSpPr>
                  <p:sp>
                    <p:nvSpPr>
                      <p:cNvPr id="2721" name="Freeform 10">
                        <a:extLst>
                          <a:ext uri="{FF2B5EF4-FFF2-40B4-BE49-F238E27FC236}">
                            <a16:creationId xmlns:a16="http://schemas.microsoft.com/office/drawing/2014/main" id="{6F17A859-4066-4CDC-99D4-AE85681F6C1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Line 11">
                        <a:extLst>
                          <a:ext uri="{FF2B5EF4-FFF2-40B4-BE49-F238E27FC236}">
                            <a16:creationId xmlns:a16="http://schemas.microsoft.com/office/drawing/2014/main" id="{067A70BF-85F0-4410-94A2-3462279FE3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70" name="Group 2669">
                  <a:extLst>
                    <a:ext uri="{FF2B5EF4-FFF2-40B4-BE49-F238E27FC236}">
                      <a16:creationId xmlns:a16="http://schemas.microsoft.com/office/drawing/2014/main" id="{CC405CDE-AE18-4129-84B0-1F81FDC152BF}"/>
                    </a:ext>
                  </a:extLst>
                </p:cNvPr>
                <p:cNvGrpSpPr>
                  <a:grpSpLocks/>
                </p:cNvGrpSpPr>
                <p:nvPr/>
              </p:nvGrpSpPr>
              <p:grpSpPr>
                <a:xfrm>
                  <a:off x="11709639" y="2297897"/>
                  <a:ext cx="690952" cy="690956"/>
                  <a:chOff x="2268747" y="4723725"/>
                  <a:chExt cx="415610" cy="415612"/>
                </a:xfrm>
              </p:grpSpPr>
              <p:grpSp>
                <p:nvGrpSpPr>
                  <p:cNvPr id="2671" name="Group 64">
                    <a:extLst>
                      <a:ext uri="{FF2B5EF4-FFF2-40B4-BE49-F238E27FC236}">
                        <a16:creationId xmlns:a16="http://schemas.microsoft.com/office/drawing/2014/main" id="{4DC46FD6-01A0-4F0A-BD28-39DFE6D4FAFE}"/>
                      </a:ext>
                    </a:extLst>
                  </p:cNvPr>
                  <p:cNvGrpSpPr>
                    <a:grpSpLocks noChangeAspect="1"/>
                  </p:cNvGrpSpPr>
                  <p:nvPr/>
                </p:nvGrpSpPr>
                <p:grpSpPr bwMode="auto">
                  <a:xfrm rot="8100000">
                    <a:off x="2268747" y="4723725"/>
                    <a:ext cx="415610" cy="415612"/>
                    <a:chOff x="701" y="2170"/>
                    <a:chExt cx="587" cy="587"/>
                  </a:xfrm>
                </p:grpSpPr>
                <p:sp>
                  <p:nvSpPr>
                    <p:cNvPr id="2686" name="Oval 65">
                      <a:extLst>
                        <a:ext uri="{FF2B5EF4-FFF2-40B4-BE49-F238E27FC236}">
                          <a16:creationId xmlns:a16="http://schemas.microsoft.com/office/drawing/2014/main" id="{789F25FA-3859-4CA5-A2B6-F7B26F453D1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7" name="Line 66">
                      <a:extLst>
                        <a:ext uri="{FF2B5EF4-FFF2-40B4-BE49-F238E27FC236}">
                          <a16:creationId xmlns:a16="http://schemas.microsoft.com/office/drawing/2014/main" id="{C53C68C3-2252-482C-91AA-31479CF99EFF}"/>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Line 67">
                      <a:extLst>
                        <a:ext uri="{FF2B5EF4-FFF2-40B4-BE49-F238E27FC236}">
                          <a16:creationId xmlns:a16="http://schemas.microsoft.com/office/drawing/2014/main" id="{85115DD7-F1A0-4172-A025-86EA5E7B6E0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9" name="Line 69">
                      <a:extLst>
                        <a:ext uri="{FF2B5EF4-FFF2-40B4-BE49-F238E27FC236}">
                          <a16:creationId xmlns:a16="http://schemas.microsoft.com/office/drawing/2014/main" id="{01116238-EC97-4E07-BA0D-C80C2DEF05F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0" name="Line 74">
                      <a:extLst>
                        <a:ext uri="{FF2B5EF4-FFF2-40B4-BE49-F238E27FC236}">
                          <a16:creationId xmlns:a16="http://schemas.microsoft.com/office/drawing/2014/main" id="{49AC45DF-2BBC-4792-883D-4BA0D503AC1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1" name="Freeform 78">
                      <a:extLst>
                        <a:ext uri="{FF2B5EF4-FFF2-40B4-BE49-F238E27FC236}">
                          <a16:creationId xmlns:a16="http://schemas.microsoft.com/office/drawing/2014/main" id="{92036F62-5F28-492B-85E1-21D2E0C0B0F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2" name="Freeform 80">
                      <a:extLst>
                        <a:ext uri="{FF2B5EF4-FFF2-40B4-BE49-F238E27FC236}">
                          <a16:creationId xmlns:a16="http://schemas.microsoft.com/office/drawing/2014/main" id="{0829CAB6-E09F-42C5-96E7-55698FD97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72" name="Group 2671">
                    <a:extLst>
                      <a:ext uri="{FF2B5EF4-FFF2-40B4-BE49-F238E27FC236}">
                        <a16:creationId xmlns:a16="http://schemas.microsoft.com/office/drawing/2014/main" id="{3C31AEE5-D0F8-4841-AB60-B7E2DB6A4684}"/>
                      </a:ext>
                    </a:extLst>
                  </p:cNvPr>
                  <p:cNvGrpSpPr/>
                  <p:nvPr/>
                </p:nvGrpSpPr>
                <p:grpSpPr>
                  <a:xfrm>
                    <a:off x="2318076" y="4830163"/>
                    <a:ext cx="313949" cy="233075"/>
                    <a:chOff x="3707533" y="2731244"/>
                    <a:chExt cx="389644" cy="289271"/>
                  </a:xfrm>
                </p:grpSpPr>
                <p:sp>
                  <p:nvSpPr>
                    <p:cNvPr id="2673" name="Freeform 33">
                      <a:extLst>
                        <a:ext uri="{FF2B5EF4-FFF2-40B4-BE49-F238E27FC236}">
                          <a16:creationId xmlns:a16="http://schemas.microsoft.com/office/drawing/2014/main" id="{0151549A-AC14-49CF-B30B-A1C6F7DF787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34">
                      <a:extLst>
                        <a:ext uri="{FF2B5EF4-FFF2-40B4-BE49-F238E27FC236}">
                          <a16:creationId xmlns:a16="http://schemas.microsoft.com/office/drawing/2014/main" id="{9B4A5EA3-76E0-45DB-9984-6950C3A0484B}"/>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37">
                      <a:extLst>
                        <a:ext uri="{FF2B5EF4-FFF2-40B4-BE49-F238E27FC236}">
                          <a16:creationId xmlns:a16="http://schemas.microsoft.com/office/drawing/2014/main" id="{E1F32185-EA33-472F-99A4-F414D55F7A80}"/>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38">
                      <a:extLst>
                        <a:ext uri="{FF2B5EF4-FFF2-40B4-BE49-F238E27FC236}">
                          <a16:creationId xmlns:a16="http://schemas.microsoft.com/office/drawing/2014/main" id="{42B7BDD0-915F-41F9-952C-09F5AC7537B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32">
                      <a:extLst>
                        <a:ext uri="{FF2B5EF4-FFF2-40B4-BE49-F238E27FC236}">
                          <a16:creationId xmlns:a16="http://schemas.microsoft.com/office/drawing/2014/main" id="{C286092A-C4B2-4E57-B177-4E244B8F93D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35">
                      <a:extLst>
                        <a:ext uri="{FF2B5EF4-FFF2-40B4-BE49-F238E27FC236}">
                          <a16:creationId xmlns:a16="http://schemas.microsoft.com/office/drawing/2014/main" id="{9EC95140-D671-465A-BA7E-D8AB7213C97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36">
                      <a:extLst>
                        <a:ext uri="{FF2B5EF4-FFF2-40B4-BE49-F238E27FC236}">
                          <a16:creationId xmlns:a16="http://schemas.microsoft.com/office/drawing/2014/main" id="{61EC24B0-FF87-4B89-888E-5D40763649B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25">
                      <a:extLst>
                        <a:ext uri="{FF2B5EF4-FFF2-40B4-BE49-F238E27FC236}">
                          <a16:creationId xmlns:a16="http://schemas.microsoft.com/office/drawing/2014/main" id="{4BDB588A-CF09-47C8-993A-044D1DA36267}"/>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39">
                      <a:extLst>
                        <a:ext uri="{FF2B5EF4-FFF2-40B4-BE49-F238E27FC236}">
                          <a16:creationId xmlns:a16="http://schemas.microsoft.com/office/drawing/2014/main" id="{C242D08F-5DAA-4DC1-926F-1377D1A2672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26">
                      <a:extLst>
                        <a:ext uri="{FF2B5EF4-FFF2-40B4-BE49-F238E27FC236}">
                          <a16:creationId xmlns:a16="http://schemas.microsoft.com/office/drawing/2014/main" id="{DD1059B5-A0E3-4E55-877A-DFBA6D3D1F83}"/>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3" name="Rectangle 27">
                      <a:extLst>
                        <a:ext uri="{FF2B5EF4-FFF2-40B4-BE49-F238E27FC236}">
                          <a16:creationId xmlns:a16="http://schemas.microsoft.com/office/drawing/2014/main" id="{E97D6992-06F8-4D99-BD00-F107B5E1E84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4" name="Line 29">
                      <a:extLst>
                        <a:ext uri="{FF2B5EF4-FFF2-40B4-BE49-F238E27FC236}">
                          <a16:creationId xmlns:a16="http://schemas.microsoft.com/office/drawing/2014/main" id="{D16958BA-626F-4B65-9D35-AF764FCCCD5D}"/>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Line 31">
                      <a:extLst>
                        <a:ext uri="{FF2B5EF4-FFF2-40B4-BE49-F238E27FC236}">
                          <a16:creationId xmlns:a16="http://schemas.microsoft.com/office/drawing/2014/main" id="{1C11765E-38F2-45EF-8CE2-6164E0B08D2C}"/>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65" name="Group 2664">
                <a:extLst>
                  <a:ext uri="{FF2B5EF4-FFF2-40B4-BE49-F238E27FC236}">
                    <a16:creationId xmlns:a16="http://schemas.microsoft.com/office/drawing/2014/main" id="{0E2A8DB1-D60C-402C-8581-5E633E172FC8}"/>
                  </a:ext>
                </a:extLst>
              </p:cNvPr>
              <p:cNvGrpSpPr/>
              <p:nvPr/>
            </p:nvGrpSpPr>
            <p:grpSpPr>
              <a:xfrm>
                <a:off x="6802541" y="1842565"/>
                <a:ext cx="314357" cy="580832"/>
                <a:chOff x="6355981" y="199813"/>
                <a:chExt cx="314357" cy="580832"/>
              </a:xfrm>
            </p:grpSpPr>
            <p:pic>
              <p:nvPicPr>
                <p:cNvPr id="2666" name="Picture 2665">
                  <a:extLst>
                    <a:ext uri="{FF2B5EF4-FFF2-40B4-BE49-F238E27FC236}">
                      <a16:creationId xmlns:a16="http://schemas.microsoft.com/office/drawing/2014/main" id="{9FF5EF69-95C2-458A-8AD8-183F54D4A4F2}"/>
                    </a:ext>
                  </a:extLst>
                </p:cNvPr>
                <p:cNvPicPr>
                  <a:picLocks noChangeAspect="1"/>
                </p:cNvPicPr>
                <p:nvPr/>
              </p:nvPicPr>
              <p:blipFill>
                <a:blip r:embed="rId7"/>
                <a:stretch>
                  <a:fillRect/>
                </a:stretch>
              </p:blipFill>
              <p:spPr>
                <a:xfrm>
                  <a:off x="6355981" y="199813"/>
                  <a:ext cx="302738" cy="580832"/>
                </a:xfrm>
                <a:prstGeom prst="rect">
                  <a:avLst/>
                </a:prstGeom>
              </p:spPr>
            </p:pic>
            <p:sp>
              <p:nvSpPr>
                <p:cNvPr id="2667" name="Freeform 152">
                  <a:extLst>
                    <a:ext uri="{FF2B5EF4-FFF2-40B4-BE49-F238E27FC236}">
                      <a16:creationId xmlns:a16="http://schemas.microsoft.com/office/drawing/2014/main" id="{3931DE09-985E-4FF0-AFC1-D29686EAFDB4}"/>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780" name="Picture 2779">
            <a:extLst>
              <a:ext uri="{FF2B5EF4-FFF2-40B4-BE49-F238E27FC236}">
                <a16:creationId xmlns:a16="http://schemas.microsoft.com/office/drawing/2014/main" id="{9CEEAEE1-4BC9-4112-A942-758CEE72D40E}"/>
              </a:ext>
            </a:extLst>
          </p:cNvPr>
          <p:cNvPicPr>
            <a:picLocks noChangeAspect="1"/>
          </p:cNvPicPr>
          <p:nvPr/>
        </p:nvPicPr>
        <p:blipFill>
          <a:blip r:embed="rId8"/>
          <a:stretch>
            <a:fillRect/>
          </a:stretch>
        </p:blipFill>
        <p:spPr>
          <a:xfrm rot="19800000">
            <a:off x="419512" y="4519337"/>
            <a:ext cx="884802" cy="447298"/>
          </a:xfrm>
          <a:prstGeom prst="rect">
            <a:avLst/>
          </a:prstGeom>
        </p:spPr>
      </p:pic>
      <p:graphicFrame>
        <p:nvGraphicFramePr>
          <p:cNvPr id="2781" name="Table 2780">
            <a:extLst>
              <a:ext uri="{FF2B5EF4-FFF2-40B4-BE49-F238E27FC236}">
                <a16:creationId xmlns:a16="http://schemas.microsoft.com/office/drawing/2014/main" id="{5C571614-AF10-414E-9652-6718E81A3D1C}"/>
              </a:ext>
            </a:extLst>
          </p:cNvPr>
          <p:cNvGraphicFramePr>
            <a:graphicFrameLocks noGrp="1"/>
          </p:cNvGraphicFramePr>
          <p:nvPr/>
        </p:nvGraphicFramePr>
        <p:xfrm>
          <a:off x="721500" y="3068775"/>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782" name="Group 2781">
            <a:extLst>
              <a:ext uri="{FF2B5EF4-FFF2-40B4-BE49-F238E27FC236}">
                <a16:creationId xmlns:a16="http://schemas.microsoft.com/office/drawing/2014/main" id="{116A6D74-4ACA-4656-AEB9-8A711DC99F72}"/>
              </a:ext>
            </a:extLst>
          </p:cNvPr>
          <p:cNvGrpSpPr/>
          <p:nvPr/>
        </p:nvGrpSpPr>
        <p:grpSpPr>
          <a:xfrm>
            <a:off x="765376" y="3345522"/>
            <a:ext cx="381241" cy="766727"/>
            <a:chOff x="765576" y="3316088"/>
            <a:chExt cx="381340" cy="766927"/>
          </a:xfrm>
        </p:grpSpPr>
        <p:pic>
          <p:nvPicPr>
            <p:cNvPr id="2783" name="Picture 2782">
              <a:extLst>
                <a:ext uri="{FF2B5EF4-FFF2-40B4-BE49-F238E27FC236}">
                  <a16:creationId xmlns:a16="http://schemas.microsoft.com/office/drawing/2014/main" id="{5691F5DD-8685-435D-8B5D-F4A200401A90}"/>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784" name="Picture 2783">
              <a:extLst>
                <a:ext uri="{FF2B5EF4-FFF2-40B4-BE49-F238E27FC236}">
                  <a16:creationId xmlns:a16="http://schemas.microsoft.com/office/drawing/2014/main" id="{2E4A6DE5-3FD2-4F01-8540-682344C24BAE}"/>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785" name="Picture 2784">
              <a:extLst>
                <a:ext uri="{FF2B5EF4-FFF2-40B4-BE49-F238E27FC236}">
                  <a16:creationId xmlns:a16="http://schemas.microsoft.com/office/drawing/2014/main" id="{8B5E5F2B-BCA0-4138-A8BC-2F2BD3330A0E}"/>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786" name="Rectangle 2785">
            <a:extLst>
              <a:ext uri="{FF2B5EF4-FFF2-40B4-BE49-F238E27FC236}">
                <a16:creationId xmlns:a16="http://schemas.microsoft.com/office/drawing/2014/main" id="{A8F3906E-0A31-46B5-92C3-7B7725A4F6B3}"/>
              </a:ext>
            </a:extLst>
          </p:cNvPr>
          <p:cNvSpPr>
            <a:spLocks/>
          </p:cNvSpPr>
          <p:nvPr/>
        </p:nvSpPr>
        <p:spPr bwMode="gray">
          <a:xfrm>
            <a:off x="390508" y="1551301"/>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787" name="Group 2786">
            <a:extLst>
              <a:ext uri="{FF2B5EF4-FFF2-40B4-BE49-F238E27FC236}">
                <a16:creationId xmlns:a16="http://schemas.microsoft.com/office/drawing/2014/main" id="{C3247AD9-BB7D-4D45-8B5F-C54C2E18481A}"/>
              </a:ext>
            </a:extLst>
          </p:cNvPr>
          <p:cNvGrpSpPr/>
          <p:nvPr/>
        </p:nvGrpSpPr>
        <p:grpSpPr>
          <a:xfrm>
            <a:off x="3473504" y="1615862"/>
            <a:ext cx="3106888" cy="2174645"/>
            <a:chOff x="3474409" y="1753652"/>
            <a:chExt cx="3107697" cy="2175211"/>
          </a:xfrm>
        </p:grpSpPr>
        <p:sp>
          <p:nvSpPr>
            <p:cNvPr id="2788" name="Rectangle 2787">
              <a:extLst>
                <a:ext uri="{FF2B5EF4-FFF2-40B4-BE49-F238E27FC236}">
                  <a16:creationId xmlns:a16="http://schemas.microsoft.com/office/drawing/2014/main" id="{DCFF4DE0-F488-4B10-A20D-D1329C8DC2B2}"/>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2789" name="Group 2788">
              <a:extLst>
                <a:ext uri="{FF2B5EF4-FFF2-40B4-BE49-F238E27FC236}">
                  <a16:creationId xmlns:a16="http://schemas.microsoft.com/office/drawing/2014/main" id="{7794E59D-51EB-4440-9472-AE8582FF997F}"/>
                </a:ext>
              </a:extLst>
            </p:cNvPr>
            <p:cNvGrpSpPr/>
            <p:nvPr/>
          </p:nvGrpSpPr>
          <p:grpSpPr>
            <a:xfrm>
              <a:off x="3474409" y="1753652"/>
              <a:ext cx="3107697" cy="1338890"/>
              <a:chOff x="3474409" y="1753652"/>
              <a:chExt cx="3107697" cy="1338890"/>
            </a:xfrm>
          </p:grpSpPr>
          <p:sp>
            <p:nvSpPr>
              <p:cNvPr id="2790" name="Rectangle 2789">
                <a:extLst>
                  <a:ext uri="{FF2B5EF4-FFF2-40B4-BE49-F238E27FC236}">
                    <a16:creationId xmlns:a16="http://schemas.microsoft.com/office/drawing/2014/main" id="{13AAB0FA-1723-4E34-92A6-CA9766E874EA}"/>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791" name="Group 2790">
                <a:extLst>
                  <a:ext uri="{FF2B5EF4-FFF2-40B4-BE49-F238E27FC236}">
                    <a16:creationId xmlns:a16="http://schemas.microsoft.com/office/drawing/2014/main" id="{1BD3BD95-5A80-4B1F-8F64-7E08DC34255D}"/>
                  </a:ext>
                </a:extLst>
              </p:cNvPr>
              <p:cNvGrpSpPr/>
              <p:nvPr/>
            </p:nvGrpSpPr>
            <p:grpSpPr>
              <a:xfrm>
                <a:off x="3504077" y="2398698"/>
                <a:ext cx="1559613" cy="693844"/>
                <a:chOff x="3512580" y="2236718"/>
                <a:chExt cx="1563594" cy="695615"/>
              </a:xfrm>
            </p:grpSpPr>
            <p:grpSp>
              <p:nvGrpSpPr>
                <p:cNvPr id="2825" name="Group 2824">
                  <a:extLst>
                    <a:ext uri="{FF2B5EF4-FFF2-40B4-BE49-F238E27FC236}">
                      <a16:creationId xmlns:a16="http://schemas.microsoft.com/office/drawing/2014/main" id="{124585FF-1191-415A-B6D0-9A74D582E15E}"/>
                    </a:ext>
                  </a:extLst>
                </p:cNvPr>
                <p:cNvGrpSpPr>
                  <a:grpSpLocks/>
                </p:cNvGrpSpPr>
                <p:nvPr/>
              </p:nvGrpSpPr>
              <p:grpSpPr>
                <a:xfrm>
                  <a:off x="3512580" y="2240647"/>
                  <a:ext cx="418017" cy="418017"/>
                  <a:chOff x="745985" y="4768134"/>
                  <a:chExt cx="368776" cy="368777"/>
                </a:xfrm>
              </p:grpSpPr>
              <p:grpSp>
                <p:nvGrpSpPr>
                  <p:cNvPr id="2889" name="Group 64">
                    <a:extLst>
                      <a:ext uri="{FF2B5EF4-FFF2-40B4-BE49-F238E27FC236}">
                        <a16:creationId xmlns:a16="http://schemas.microsoft.com/office/drawing/2014/main" id="{34F360FD-BD05-46B0-BC38-CD49FDFC1843}"/>
                      </a:ext>
                    </a:extLst>
                  </p:cNvPr>
                  <p:cNvGrpSpPr>
                    <a:grpSpLocks noChangeAspect="1"/>
                  </p:cNvGrpSpPr>
                  <p:nvPr/>
                </p:nvGrpSpPr>
                <p:grpSpPr bwMode="auto">
                  <a:xfrm rot="8100000">
                    <a:off x="745985" y="4768134"/>
                    <a:ext cx="368776" cy="368777"/>
                    <a:chOff x="701" y="2170"/>
                    <a:chExt cx="587" cy="587"/>
                  </a:xfrm>
                </p:grpSpPr>
                <p:sp>
                  <p:nvSpPr>
                    <p:cNvPr id="2900" name="Oval 65">
                      <a:extLst>
                        <a:ext uri="{FF2B5EF4-FFF2-40B4-BE49-F238E27FC236}">
                          <a16:creationId xmlns:a16="http://schemas.microsoft.com/office/drawing/2014/main" id="{BD8842C8-6ECD-421A-8B2A-6C1F160BF892}"/>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901" name="Line 66">
                      <a:extLst>
                        <a:ext uri="{FF2B5EF4-FFF2-40B4-BE49-F238E27FC236}">
                          <a16:creationId xmlns:a16="http://schemas.microsoft.com/office/drawing/2014/main" id="{89161B8B-D868-44C9-A6FE-D8F8B6247AC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2" name="Line 67">
                      <a:extLst>
                        <a:ext uri="{FF2B5EF4-FFF2-40B4-BE49-F238E27FC236}">
                          <a16:creationId xmlns:a16="http://schemas.microsoft.com/office/drawing/2014/main" id="{92C51CB2-8361-4D59-BEE5-EBD60E915B5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3" name="Line 69">
                      <a:extLst>
                        <a:ext uri="{FF2B5EF4-FFF2-40B4-BE49-F238E27FC236}">
                          <a16:creationId xmlns:a16="http://schemas.microsoft.com/office/drawing/2014/main" id="{D1438558-54A8-4161-B191-E07D4105851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4" name="Line 74">
                      <a:extLst>
                        <a:ext uri="{FF2B5EF4-FFF2-40B4-BE49-F238E27FC236}">
                          <a16:creationId xmlns:a16="http://schemas.microsoft.com/office/drawing/2014/main" id="{6B613237-D0B5-41EF-96D4-F215053AC37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5" name="Freeform 78">
                      <a:extLst>
                        <a:ext uri="{FF2B5EF4-FFF2-40B4-BE49-F238E27FC236}">
                          <a16:creationId xmlns:a16="http://schemas.microsoft.com/office/drawing/2014/main" id="{89D39A45-A7C3-4DCB-BC12-96C06349379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6" name="Freeform 80">
                      <a:extLst>
                        <a:ext uri="{FF2B5EF4-FFF2-40B4-BE49-F238E27FC236}">
                          <a16:creationId xmlns:a16="http://schemas.microsoft.com/office/drawing/2014/main" id="{4791BBDB-1F24-4187-AF6E-81B95B57D8C7}"/>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90" name="Group 2889">
                    <a:extLst>
                      <a:ext uri="{FF2B5EF4-FFF2-40B4-BE49-F238E27FC236}">
                        <a16:creationId xmlns:a16="http://schemas.microsoft.com/office/drawing/2014/main" id="{ABB58CB3-2D65-4685-871A-A42D6CB3D812}"/>
                      </a:ext>
                    </a:extLst>
                  </p:cNvPr>
                  <p:cNvGrpSpPr/>
                  <p:nvPr/>
                </p:nvGrpSpPr>
                <p:grpSpPr>
                  <a:xfrm>
                    <a:off x="837312" y="4814434"/>
                    <a:ext cx="136805" cy="278689"/>
                    <a:chOff x="2806700" y="2803319"/>
                    <a:chExt cx="433387" cy="882861"/>
                  </a:xfrm>
                </p:grpSpPr>
                <p:grpSp>
                  <p:nvGrpSpPr>
                    <p:cNvPr id="2891" name="Group 2890">
                      <a:extLst>
                        <a:ext uri="{FF2B5EF4-FFF2-40B4-BE49-F238E27FC236}">
                          <a16:creationId xmlns:a16="http://schemas.microsoft.com/office/drawing/2014/main" id="{2EFA0C82-8378-4315-A5B4-E6DD355AF079}"/>
                        </a:ext>
                      </a:extLst>
                    </p:cNvPr>
                    <p:cNvGrpSpPr>
                      <a:grpSpLocks noChangeAspect="1"/>
                    </p:cNvGrpSpPr>
                    <p:nvPr/>
                  </p:nvGrpSpPr>
                  <p:grpSpPr bwMode="auto">
                    <a:xfrm>
                      <a:off x="2806700" y="3043242"/>
                      <a:ext cx="433387" cy="642938"/>
                      <a:chOff x="1768" y="1917"/>
                      <a:chExt cx="273" cy="405"/>
                    </a:xfrm>
                  </p:grpSpPr>
                  <p:sp>
                    <p:nvSpPr>
                      <p:cNvPr id="2893" name="Freeform 52">
                        <a:extLst>
                          <a:ext uri="{FF2B5EF4-FFF2-40B4-BE49-F238E27FC236}">
                            <a16:creationId xmlns:a16="http://schemas.microsoft.com/office/drawing/2014/main" id="{7ADBEA46-9E55-4EEB-A89A-F7CE8B07E4C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94" name="Line 54">
                        <a:extLst>
                          <a:ext uri="{FF2B5EF4-FFF2-40B4-BE49-F238E27FC236}">
                            <a16:creationId xmlns:a16="http://schemas.microsoft.com/office/drawing/2014/main" id="{535539C8-595E-41B6-90C0-C93A3526842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5" name="Line 55">
                        <a:extLst>
                          <a:ext uri="{FF2B5EF4-FFF2-40B4-BE49-F238E27FC236}">
                            <a16:creationId xmlns:a16="http://schemas.microsoft.com/office/drawing/2014/main" id="{285B76A7-0480-49DD-A462-5F69C8E9189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6" name="Freeform 56">
                        <a:extLst>
                          <a:ext uri="{FF2B5EF4-FFF2-40B4-BE49-F238E27FC236}">
                            <a16:creationId xmlns:a16="http://schemas.microsoft.com/office/drawing/2014/main" id="{BF4E3EC5-F235-4B2C-A862-DF4101D54248}"/>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7" name="Line 57">
                        <a:extLst>
                          <a:ext uri="{FF2B5EF4-FFF2-40B4-BE49-F238E27FC236}">
                            <a16:creationId xmlns:a16="http://schemas.microsoft.com/office/drawing/2014/main" id="{36218258-E493-4306-8FF7-C5CFF59BEEA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8" name="Freeform 58">
                        <a:extLst>
                          <a:ext uri="{FF2B5EF4-FFF2-40B4-BE49-F238E27FC236}">
                            <a16:creationId xmlns:a16="http://schemas.microsoft.com/office/drawing/2014/main" id="{FA084AE5-B2D3-4A26-8265-859050F16A1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9" name="Rectangle 2898">
                        <a:extLst>
                          <a:ext uri="{FF2B5EF4-FFF2-40B4-BE49-F238E27FC236}">
                            <a16:creationId xmlns:a16="http://schemas.microsoft.com/office/drawing/2014/main" id="{739E3D4B-4E7A-465D-87BF-B7368F39D79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892" name="Oval 2891">
                      <a:extLst>
                        <a:ext uri="{FF2B5EF4-FFF2-40B4-BE49-F238E27FC236}">
                          <a16:creationId xmlns:a16="http://schemas.microsoft.com/office/drawing/2014/main" id="{D5C7C20F-C863-409F-A9B2-A24DCD709165}"/>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826" name="Group 2825">
                  <a:extLst>
                    <a:ext uri="{FF2B5EF4-FFF2-40B4-BE49-F238E27FC236}">
                      <a16:creationId xmlns:a16="http://schemas.microsoft.com/office/drawing/2014/main" id="{D5C6DCF7-09F1-43DA-A170-67E2E37DC81C}"/>
                    </a:ext>
                  </a:extLst>
                </p:cNvPr>
                <p:cNvGrpSpPr>
                  <a:grpSpLocks/>
                </p:cNvGrpSpPr>
                <p:nvPr/>
              </p:nvGrpSpPr>
              <p:grpSpPr>
                <a:xfrm>
                  <a:off x="3989965" y="2395465"/>
                  <a:ext cx="536865" cy="536868"/>
                  <a:chOff x="1454941" y="4721722"/>
                  <a:chExt cx="473625" cy="473627"/>
                </a:xfrm>
              </p:grpSpPr>
              <p:grpSp>
                <p:nvGrpSpPr>
                  <p:cNvPr id="2850" name="Group 64">
                    <a:extLst>
                      <a:ext uri="{FF2B5EF4-FFF2-40B4-BE49-F238E27FC236}">
                        <a16:creationId xmlns:a16="http://schemas.microsoft.com/office/drawing/2014/main" id="{1D0A8E86-86CC-4757-904A-7F9A4904C590}"/>
                      </a:ext>
                    </a:extLst>
                  </p:cNvPr>
                  <p:cNvGrpSpPr>
                    <a:grpSpLocks noChangeAspect="1"/>
                  </p:cNvGrpSpPr>
                  <p:nvPr/>
                </p:nvGrpSpPr>
                <p:grpSpPr bwMode="auto">
                  <a:xfrm rot="8100000">
                    <a:off x="1454941" y="4721722"/>
                    <a:ext cx="473625" cy="473627"/>
                    <a:chOff x="701" y="2170"/>
                    <a:chExt cx="587" cy="587"/>
                  </a:xfrm>
                </p:grpSpPr>
                <p:sp>
                  <p:nvSpPr>
                    <p:cNvPr id="2882" name="Oval 65">
                      <a:extLst>
                        <a:ext uri="{FF2B5EF4-FFF2-40B4-BE49-F238E27FC236}">
                          <a16:creationId xmlns:a16="http://schemas.microsoft.com/office/drawing/2014/main" id="{55F913C5-2E68-4D6E-BE4A-559981517C2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83" name="Line 66">
                      <a:extLst>
                        <a:ext uri="{FF2B5EF4-FFF2-40B4-BE49-F238E27FC236}">
                          <a16:creationId xmlns:a16="http://schemas.microsoft.com/office/drawing/2014/main" id="{BC784C99-EC83-4463-81D7-D0FBC9E65519}"/>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4" name="Line 67">
                      <a:extLst>
                        <a:ext uri="{FF2B5EF4-FFF2-40B4-BE49-F238E27FC236}">
                          <a16:creationId xmlns:a16="http://schemas.microsoft.com/office/drawing/2014/main" id="{B1C95774-80EA-4C57-9970-0CE92CFC932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5" name="Line 69">
                      <a:extLst>
                        <a:ext uri="{FF2B5EF4-FFF2-40B4-BE49-F238E27FC236}">
                          <a16:creationId xmlns:a16="http://schemas.microsoft.com/office/drawing/2014/main" id="{660D7693-309E-4EE4-A996-D3ABCCBD6B47}"/>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6" name="Line 74">
                      <a:extLst>
                        <a:ext uri="{FF2B5EF4-FFF2-40B4-BE49-F238E27FC236}">
                          <a16:creationId xmlns:a16="http://schemas.microsoft.com/office/drawing/2014/main" id="{F07AB838-726C-4C27-86E6-983491355B5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7" name="Freeform 78">
                      <a:extLst>
                        <a:ext uri="{FF2B5EF4-FFF2-40B4-BE49-F238E27FC236}">
                          <a16:creationId xmlns:a16="http://schemas.microsoft.com/office/drawing/2014/main" id="{11A482CE-1ABC-4564-9D24-C76259F36D6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8" name="Freeform 80">
                      <a:extLst>
                        <a:ext uri="{FF2B5EF4-FFF2-40B4-BE49-F238E27FC236}">
                          <a16:creationId xmlns:a16="http://schemas.microsoft.com/office/drawing/2014/main" id="{BC5BDC75-52B7-431D-94A2-4AACBE5BC6E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51" name="Group 2850">
                    <a:extLst>
                      <a:ext uri="{FF2B5EF4-FFF2-40B4-BE49-F238E27FC236}">
                        <a16:creationId xmlns:a16="http://schemas.microsoft.com/office/drawing/2014/main" id="{88BEB8B0-12EF-4DA4-8A92-DAE8748EDCDF}"/>
                      </a:ext>
                    </a:extLst>
                  </p:cNvPr>
                  <p:cNvGrpSpPr/>
                  <p:nvPr/>
                </p:nvGrpSpPr>
                <p:grpSpPr>
                  <a:xfrm>
                    <a:off x="1511214" y="4789508"/>
                    <a:ext cx="356509" cy="349884"/>
                    <a:chOff x="468738" y="2241878"/>
                    <a:chExt cx="1655483" cy="1624719"/>
                  </a:xfrm>
                </p:grpSpPr>
                <p:sp>
                  <p:nvSpPr>
                    <p:cNvPr id="2852" name="Freeform 5">
                      <a:extLst>
                        <a:ext uri="{FF2B5EF4-FFF2-40B4-BE49-F238E27FC236}">
                          <a16:creationId xmlns:a16="http://schemas.microsoft.com/office/drawing/2014/main" id="{F95E5343-0075-489A-9126-5816D0B57C1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53" name="Freeform 6">
                      <a:extLst>
                        <a:ext uri="{FF2B5EF4-FFF2-40B4-BE49-F238E27FC236}">
                          <a16:creationId xmlns:a16="http://schemas.microsoft.com/office/drawing/2014/main" id="{926C41C5-CE8B-4258-A384-357C3897D06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4" name="Line 7">
                      <a:extLst>
                        <a:ext uri="{FF2B5EF4-FFF2-40B4-BE49-F238E27FC236}">
                          <a16:creationId xmlns:a16="http://schemas.microsoft.com/office/drawing/2014/main" id="{BC71F336-7C8F-48B5-8A9F-679ADD1ED15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5" name="Freeform 8">
                      <a:extLst>
                        <a:ext uri="{FF2B5EF4-FFF2-40B4-BE49-F238E27FC236}">
                          <a16:creationId xmlns:a16="http://schemas.microsoft.com/office/drawing/2014/main" id="{BCAA8535-697F-46B2-B757-A300795A3B42}"/>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6" name="Line 9">
                      <a:extLst>
                        <a:ext uri="{FF2B5EF4-FFF2-40B4-BE49-F238E27FC236}">
                          <a16:creationId xmlns:a16="http://schemas.microsoft.com/office/drawing/2014/main" id="{4AF3945B-2C65-4336-B1C4-34474A591B13}"/>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57" name="Group 2856">
                      <a:extLst>
                        <a:ext uri="{FF2B5EF4-FFF2-40B4-BE49-F238E27FC236}">
                          <a16:creationId xmlns:a16="http://schemas.microsoft.com/office/drawing/2014/main" id="{027CD6D7-7EDB-4CBF-9500-39C132148A55}"/>
                        </a:ext>
                      </a:extLst>
                    </p:cNvPr>
                    <p:cNvGrpSpPr/>
                    <p:nvPr/>
                  </p:nvGrpSpPr>
                  <p:grpSpPr>
                    <a:xfrm>
                      <a:off x="1207113" y="2241878"/>
                      <a:ext cx="178734" cy="348678"/>
                      <a:chOff x="1207113" y="2241878"/>
                      <a:chExt cx="178734" cy="348678"/>
                    </a:xfrm>
                  </p:grpSpPr>
                  <p:sp>
                    <p:nvSpPr>
                      <p:cNvPr id="2880" name="Freeform 10">
                        <a:extLst>
                          <a:ext uri="{FF2B5EF4-FFF2-40B4-BE49-F238E27FC236}">
                            <a16:creationId xmlns:a16="http://schemas.microsoft.com/office/drawing/2014/main" id="{AF625847-F6FB-42DC-904C-2578EA26467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1" name="Line 11">
                        <a:extLst>
                          <a:ext uri="{FF2B5EF4-FFF2-40B4-BE49-F238E27FC236}">
                            <a16:creationId xmlns:a16="http://schemas.microsoft.com/office/drawing/2014/main" id="{CF07C85E-C562-47E7-8EDC-BBA9272C21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858" name="Freeform 12">
                      <a:extLst>
                        <a:ext uri="{FF2B5EF4-FFF2-40B4-BE49-F238E27FC236}">
                          <a16:creationId xmlns:a16="http://schemas.microsoft.com/office/drawing/2014/main" id="{2F6B15E8-91C5-4F7D-92B5-EE6E5B0D52BF}"/>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9" name="Line 13">
                      <a:extLst>
                        <a:ext uri="{FF2B5EF4-FFF2-40B4-BE49-F238E27FC236}">
                          <a16:creationId xmlns:a16="http://schemas.microsoft.com/office/drawing/2014/main" id="{C25C8303-B4B6-4545-A9EE-2218CCE1A9C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0" name="Freeform 14">
                      <a:extLst>
                        <a:ext uri="{FF2B5EF4-FFF2-40B4-BE49-F238E27FC236}">
                          <a16:creationId xmlns:a16="http://schemas.microsoft.com/office/drawing/2014/main" id="{5F86F525-DB26-43EB-A88F-AA8234709CA9}"/>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1" name="Line 15">
                      <a:extLst>
                        <a:ext uri="{FF2B5EF4-FFF2-40B4-BE49-F238E27FC236}">
                          <a16:creationId xmlns:a16="http://schemas.microsoft.com/office/drawing/2014/main" id="{4D07ED8B-6CF9-498D-9793-8DCE67F5301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2" name="Freeform 16">
                      <a:extLst>
                        <a:ext uri="{FF2B5EF4-FFF2-40B4-BE49-F238E27FC236}">
                          <a16:creationId xmlns:a16="http://schemas.microsoft.com/office/drawing/2014/main" id="{C3C868A0-8B1A-4C52-AAD5-E812F5F5513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3" name="Line 17">
                      <a:extLst>
                        <a:ext uri="{FF2B5EF4-FFF2-40B4-BE49-F238E27FC236}">
                          <a16:creationId xmlns:a16="http://schemas.microsoft.com/office/drawing/2014/main" id="{DA743EE4-7352-49C1-830C-F6283FD29B8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4" name="Freeform 18">
                      <a:extLst>
                        <a:ext uri="{FF2B5EF4-FFF2-40B4-BE49-F238E27FC236}">
                          <a16:creationId xmlns:a16="http://schemas.microsoft.com/office/drawing/2014/main" id="{F1D213F7-7ACE-479F-BC32-F54952E2AAAF}"/>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5" name="Line 19">
                      <a:extLst>
                        <a:ext uri="{FF2B5EF4-FFF2-40B4-BE49-F238E27FC236}">
                          <a16:creationId xmlns:a16="http://schemas.microsoft.com/office/drawing/2014/main" id="{084B1E32-7A8E-4A29-9391-EC2E2A99C7C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6" name="Freeform 35">
                      <a:extLst>
                        <a:ext uri="{FF2B5EF4-FFF2-40B4-BE49-F238E27FC236}">
                          <a16:creationId xmlns:a16="http://schemas.microsoft.com/office/drawing/2014/main" id="{07831DDB-8511-4F02-9E5F-E054CCC6B18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67" name="Freeform 36">
                      <a:extLst>
                        <a:ext uri="{FF2B5EF4-FFF2-40B4-BE49-F238E27FC236}">
                          <a16:creationId xmlns:a16="http://schemas.microsoft.com/office/drawing/2014/main" id="{45EE5BE8-4EFB-4032-B939-0F0FCD937CC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8" name="Freeform 37">
                      <a:extLst>
                        <a:ext uri="{FF2B5EF4-FFF2-40B4-BE49-F238E27FC236}">
                          <a16:creationId xmlns:a16="http://schemas.microsoft.com/office/drawing/2014/main" id="{2CA16CE2-1E63-4009-B177-A60EDF712216}"/>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9" name="Freeform 38">
                      <a:extLst>
                        <a:ext uri="{FF2B5EF4-FFF2-40B4-BE49-F238E27FC236}">
                          <a16:creationId xmlns:a16="http://schemas.microsoft.com/office/drawing/2014/main" id="{53506708-F567-4C2D-B262-6B8E6C35649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0" name="Freeform 39">
                      <a:extLst>
                        <a:ext uri="{FF2B5EF4-FFF2-40B4-BE49-F238E27FC236}">
                          <a16:creationId xmlns:a16="http://schemas.microsoft.com/office/drawing/2014/main" id="{8489A8A6-C296-45CC-8457-D0BB6CD103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1" name="Freeform 40">
                      <a:extLst>
                        <a:ext uri="{FF2B5EF4-FFF2-40B4-BE49-F238E27FC236}">
                          <a16:creationId xmlns:a16="http://schemas.microsoft.com/office/drawing/2014/main" id="{0FA0DAD5-3C5F-46B1-A1F5-9A3242A1EF58}"/>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2" name="Freeform 41">
                      <a:extLst>
                        <a:ext uri="{FF2B5EF4-FFF2-40B4-BE49-F238E27FC236}">
                          <a16:creationId xmlns:a16="http://schemas.microsoft.com/office/drawing/2014/main" id="{037D707B-D71A-4707-9BE4-FBA6D5B41FC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3" name="Line 42">
                      <a:extLst>
                        <a:ext uri="{FF2B5EF4-FFF2-40B4-BE49-F238E27FC236}">
                          <a16:creationId xmlns:a16="http://schemas.microsoft.com/office/drawing/2014/main" id="{D05756EB-1D2F-446F-805E-C41A1546D61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4" name="Freeform 43">
                      <a:extLst>
                        <a:ext uri="{FF2B5EF4-FFF2-40B4-BE49-F238E27FC236}">
                          <a16:creationId xmlns:a16="http://schemas.microsoft.com/office/drawing/2014/main" id="{815E68C6-649A-49A2-8E90-F112CC17E46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5" name="Freeform 44">
                      <a:extLst>
                        <a:ext uri="{FF2B5EF4-FFF2-40B4-BE49-F238E27FC236}">
                          <a16:creationId xmlns:a16="http://schemas.microsoft.com/office/drawing/2014/main" id="{0CC4FD28-502F-4CF2-A652-4F1E7256136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6" name="Freeform 45">
                      <a:extLst>
                        <a:ext uri="{FF2B5EF4-FFF2-40B4-BE49-F238E27FC236}">
                          <a16:creationId xmlns:a16="http://schemas.microsoft.com/office/drawing/2014/main" id="{1A876F80-ADA2-4F0F-8485-7971CAFB081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77" name="Group 2876">
                      <a:extLst>
                        <a:ext uri="{FF2B5EF4-FFF2-40B4-BE49-F238E27FC236}">
                          <a16:creationId xmlns:a16="http://schemas.microsoft.com/office/drawing/2014/main" id="{08394D4F-641E-4D1E-85B7-186B78A49A0F}"/>
                        </a:ext>
                      </a:extLst>
                    </p:cNvPr>
                    <p:cNvGrpSpPr/>
                    <p:nvPr/>
                  </p:nvGrpSpPr>
                  <p:grpSpPr>
                    <a:xfrm flipV="1">
                      <a:off x="1202047" y="3517919"/>
                      <a:ext cx="178734" cy="348678"/>
                      <a:chOff x="1207113" y="2241878"/>
                      <a:chExt cx="178734" cy="348678"/>
                    </a:xfrm>
                  </p:grpSpPr>
                  <p:sp>
                    <p:nvSpPr>
                      <p:cNvPr id="2878" name="Freeform 10">
                        <a:extLst>
                          <a:ext uri="{FF2B5EF4-FFF2-40B4-BE49-F238E27FC236}">
                            <a16:creationId xmlns:a16="http://schemas.microsoft.com/office/drawing/2014/main" id="{D86E445A-22D5-45CB-9184-DA4CE11E836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9" name="Line 11">
                        <a:extLst>
                          <a:ext uri="{FF2B5EF4-FFF2-40B4-BE49-F238E27FC236}">
                            <a16:creationId xmlns:a16="http://schemas.microsoft.com/office/drawing/2014/main" id="{3A8F6D2A-4C65-4FFD-9565-7F677D51A5A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7" name="Group 2826">
                  <a:extLst>
                    <a:ext uri="{FF2B5EF4-FFF2-40B4-BE49-F238E27FC236}">
                      <a16:creationId xmlns:a16="http://schemas.microsoft.com/office/drawing/2014/main" id="{20B66575-AEC5-44A6-8963-CCD13E5E7614}"/>
                    </a:ext>
                  </a:extLst>
                </p:cNvPr>
                <p:cNvGrpSpPr>
                  <a:grpSpLocks/>
                </p:cNvGrpSpPr>
                <p:nvPr/>
              </p:nvGrpSpPr>
              <p:grpSpPr>
                <a:xfrm>
                  <a:off x="4605070" y="2236718"/>
                  <a:ext cx="471104" cy="471107"/>
                  <a:chOff x="2268747" y="4723725"/>
                  <a:chExt cx="415610" cy="415612"/>
                </a:xfrm>
              </p:grpSpPr>
              <p:grpSp>
                <p:nvGrpSpPr>
                  <p:cNvPr id="2828" name="Group 64">
                    <a:extLst>
                      <a:ext uri="{FF2B5EF4-FFF2-40B4-BE49-F238E27FC236}">
                        <a16:creationId xmlns:a16="http://schemas.microsoft.com/office/drawing/2014/main" id="{0B78C658-552D-415D-9BE6-F47813A66A6B}"/>
                      </a:ext>
                    </a:extLst>
                  </p:cNvPr>
                  <p:cNvGrpSpPr>
                    <a:grpSpLocks noChangeAspect="1"/>
                  </p:cNvGrpSpPr>
                  <p:nvPr/>
                </p:nvGrpSpPr>
                <p:grpSpPr bwMode="auto">
                  <a:xfrm rot="8100000">
                    <a:off x="2268747" y="4723725"/>
                    <a:ext cx="415610" cy="415612"/>
                    <a:chOff x="701" y="2170"/>
                    <a:chExt cx="587" cy="587"/>
                  </a:xfrm>
                </p:grpSpPr>
                <p:sp>
                  <p:nvSpPr>
                    <p:cNvPr id="2843" name="Oval 65">
                      <a:extLst>
                        <a:ext uri="{FF2B5EF4-FFF2-40B4-BE49-F238E27FC236}">
                          <a16:creationId xmlns:a16="http://schemas.microsoft.com/office/drawing/2014/main" id="{FEB63568-0FAD-45BD-8B72-840BAEAA8A7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4" name="Line 66">
                      <a:extLst>
                        <a:ext uri="{FF2B5EF4-FFF2-40B4-BE49-F238E27FC236}">
                          <a16:creationId xmlns:a16="http://schemas.microsoft.com/office/drawing/2014/main" id="{D3E4DDD4-CF49-4143-8302-649229FB1EF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5" name="Line 67">
                      <a:extLst>
                        <a:ext uri="{FF2B5EF4-FFF2-40B4-BE49-F238E27FC236}">
                          <a16:creationId xmlns:a16="http://schemas.microsoft.com/office/drawing/2014/main" id="{14A79A59-660D-41A6-AD8E-9493FCB7E13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6" name="Line 69">
                      <a:extLst>
                        <a:ext uri="{FF2B5EF4-FFF2-40B4-BE49-F238E27FC236}">
                          <a16:creationId xmlns:a16="http://schemas.microsoft.com/office/drawing/2014/main" id="{2CAE62EE-6361-4862-A174-EE039A66D1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7" name="Line 74">
                      <a:extLst>
                        <a:ext uri="{FF2B5EF4-FFF2-40B4-BE49-F238E27FC236}">
                          <a16:creationId xmlns:a16="http://schemas.microsoft.com/office/drawing/2014/main" id="{02F0128E-8BB1-4DAF-917A-2A2C2D8CE42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8" name="Freeform 78">
                      <a:extLst>
                        <a:ext uri="{FF2B5EF4-FFF2-40B4-BE49-F238E27FC236}">
                          <a16:creationId xmlns:a16="http://schemas.microsoft.com/office/drawing/2014/main" id="{9FB9136D-C0CB-47FE-B315-E28DB827A1E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9" name="Freeform 80">
                      <a:extLst>
                        <a:ext uri="{FF2B5EF4-FFF2-40B4-BE49-F238E27FC236}">
                          <a16:creationId xmlns:a16="http://schemas.microsoft.com/office/drawing/2014/main" id="{E71D0A86-D961-4E75-BDE5-89C21EAC722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29" name="Group 2828">
                    <a:extLst>
                      <a:ext uri="{FF2B5EF4-FFF2-40B4-BE49-F238E27FC236}">
                        <a16:creationId xmlns:a16="http://schemas.microsoft.com/office/drawing/2014/main" id="{2BCBE843-5A8C-49F5-B254-BFC2341FF2E6}"/>
                      </a:ext>
                    </a:extLst>
                  </p:cNvPr>
                  <p:cNvGrpSpPr/>
                  <p:nvPr/>
                </p:nvGrpSpPr>
                <p:grpSpPr>
                  <a:xfrm>
                    <a:off x="2318076" y="4830163"/>
                    <a:ext cx="313949" cy="233075"/>
                    <a:chOff x="3707533" y="2731244"/>
                    <a:chExt cx="389644" cy="289271"/>
                  </a:xfrm>
                </p:grpSpPr>
                <p:sp>
                  <p:nvSpPr>
                    <p:cNvPr id="2830" name="Freeform 33">
                      <a:extLst>
                        <a:ext uri="{FF2B5EF4-FFF2-40B4-BE49-F238E27FC236}">
                          <a16:creationId xmlns:a16="http://schemas.microsoft.com/office/drawing/2014/main" id="{29152E43-7908-4D39-89B6-041B0E1B412E}"/>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1" name="Freeform 34">
                      <a:extLst>
                        <a:ext uri="{FF2B5EF4-FFF2-40B4-BE49-F238E27FC236}">
                          <a16:creationId xmlns:a16="http://schemas.microsoft.com/office/drawing/2014/main" id="{BF0A0776-1555-4302-9FBF-A869A0AE2362}"/>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2" name="Freeform 37">
                      <a:extLst>
                        <a:ext uri="{FF2B5EF4-FFF2-40B4-BE49-F238E27FC236}">
                          <a16:creationId xmlns:a16="http://schemas.microsoft.com/office/drawing/2014/main" id="{4F650D9E-F1A1-4C1F-9C61-651319FBE12C}"/>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3" name="Freeform 38">
                      <a:extLst>
                        <a:ext uri="{FF2B5EF4-FFF2-40B4-BE49-F238E27FC236}">
                          <a16:creationId xmlns:a16="http://schemas.microsoft.com/office/drawing/2014/main" id="{47E2741C-C085-4C85-AC60-65C9BEEEAD73}"/>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4" name="Freeform 32">
                      <a:extLst>
                        <a:ext uri="{FF2B5EF4-FFF2-40B4-BE49-F238E27FC236}">
                          <a16:creationId xmlns:a16="http://schemas.microsoft.com/office/drawing/2014/main" id="{4E3BFA5F-0405-4EB9-8A82-EC3D5EE58A11}"/>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5" name="Freeform 35">
                      <a:extLst>
                        <a:ext uri="{FF2B5EF4-FFF2-40B4-BE49-F238E27FC236}">
                          <a16:creationId xmlns:a16="http://schemas.microsoft.com/office/drawing/2014/main" id="{64E6FFBE-3262-4471-A8E8-CFA65DE68772}"/>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6" name="Freeform 36">
                      <a:extLst>
                        <a:ext uri="{FF2B5EF4-FFF2-40B4-BE49-F238E27FC236}">
                          <a16:creationId xmlns:a16="http://schemas.microsoft.com/office/drawing/2014/main" id="{68E017D6-DE86-4DC3-879C-25F447894245}"/>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7" name="Freeform 25">
                      <a:extLst>
                        <a:ext uri="{FF2B5EF4-FFF2-40B4-BE49-F238E27FC236}">
                          <a16:creationId xmlns:a16="http://schemas.microsoft.com/office/drawing/2014/main" id="{16AEEF82-6561-4FF7-86DA-1A994F08BB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8" name="Freeform 39">
                      <a:extLst>
                        <a:ext uri="{FF2B5EF4-FFF2-40B4-BE49-F238E27FC236}">
                          <a16:creationId xmlns:a16="http://schemas.microsoft.com/office/drawing/2014/main" id="{16AFA8D7-A657-46E0-8C95-1795E246F25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9" name="Freeform 26">
                      <a:extLst>
                        <a:ext uri="{FF2B5EF4-FFF2-40B4-BE49-F238E27FC236}">
                          <a16:creationId xmlns:a16="http://schemas.microsoft.com/office/drawing/2014/main" id="{B5CA1FD5-5DC8-4504-8756-18BA60FF056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0" name="Rectangle 27">
                      <a:extLst>
                        <a:ext uri="{FF2B5EF4-FFF2-40B4-BE49-F238E27FC236}">
                          <a16:creationId xmlns:a16="http://schemas.microsoft.com/office/drawing/2014/main" id="{D3F64414-0401-4981-91B3-580162745303}"/>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1" name="Line 29">
                      <a:extLst>
                        <a:ext uri="{FF2B5EF4-FFF2-40B4-BE49-F238E27FC236}">
                          <a16:creationId xmlns:a16="http://schemas.microsoft.com/office/drawing/2014/main" id="{2774969A-FF8D-4AC1-9C49-433CA8EC5908}"/>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2" name="Line 31">
                      <a:extLst>
                        <a:ext uri="{FF2B5EF4-FFF2-40B4-BE49-F238E27FC236}">
                          <a16:creationId xmlns:a16="http://schemas.microsoft.com/office/drawing/2014/main" id="{0211C476-CFD9-49F7-9384-137C7C5B378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792" name="Group 2791">
                <a:extLst>
                  <a:ext uri="{FF2B5EF4-FFF2-40B4-BE49-F238E27FC236}">
                    <a16:creationId xmlns:a16="http://schemas.microsoft.com/office/drawing/2014/main" id="{8D466FB1-F8F3-4685-AF3B-7826EA3DF614}"/>
                  </a:ext>
                </a:extLst>
              </p:cNvPr>
              <p:cNvGrpSpPr/>
              <p:nvPr/>
            </p:nvGrpSpPr>
            <p:grpSpPr>
              <a:xfrm>
                <a:off x="5261891" y="1974470"/>
                <a:ext cx="1115908" cy="967814"/>
                <a:chOff x="7338624" y="178556"/>
                <a:chExt cx="1115908" cy="967814"/>
              </a:xfrm>
            </p:grpSpPr>
            <p:grpSp>
              <p:nvGrpSpPr>
                <p:cNvPr id="2796" name="Group 2795">
                  <a:extLst>
                    <a:ext uri="{FF2B5EF4-FFF2-40B4-BE49-F238E27FC236}">
                      <a16:creationId xmlns:a16="http://schemas.microsoft.com/office/drawing/2014/main" id="{06209C85-5216-409F-AFBD-5348CB451E37}"/>
                    </a:ext>
                  </a:extLst>
                </p:cNvPr>
                <p:cNvGrpSpPr/>
                <p:nvPr/>
              </p:nvGrpSpPr>
              <p:grpSpPr>
                <a:xfrm flipH="1">
                  <a:off x="7603032" y="178556"/>
                  <a:ext cx="524442" cy="697246"/>
                  <a:chOff x="8607957" y="605299"/>
                  <a:chExt cx="2806962" cy="3731864"/>
                </a:xfrm>
              </p:grpSpPr>
              <p:sp>
                <p:nvSpPr>
                  <p:cNvPr id="2798" name="iBar:31/138">
                    <a:extLst>
                      <a:ext uri="{FF2B5EF4-FFF2-40B4-BE49-F238E27FC236}">
                        <a16:creationId xmlns:a16="http://schemas.microsoft.com/office/drawing/2014/main" id="{0C089B0A-E6FA-431E-9503-756545FE9A52}"/>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99" name="Rectangle 2798">
                    <a:extLst>
                      <a:ext uri="{FF2B5EF4-FFF2-40B4-BE49-F238E27FC236}">
                        <a16:creationId xmlns:a16="http://schemas.microsoft.com/office/drawing/2014/main" id="{B63C5322-A7FC-4515-A98C-E8F7A50AF9C5}"/>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00" name="Group 2799">
                    <a:extLst>
                      <a:ext uri="{FF2B5EF4-FFF2-40B4-BE49-F238E27FC236}">
                        <a16:creationId xmlns:a16="http://schemas.microsoft.com/office/drawing/2014/main" id="{CAE771CE-47CD-41D9-9477-8C2B3F1DC5AE}"/>
                      </a:ext>
                    </a:extLst>
                  </p:cNvPr>
                  <p:cNvGrpSpPr/>
                  <p:nvPr/>
                </p:nvGrpSpPr>
                <p:grpSpPr>
                  <a:xfrm>
                    <a:off x="8776645" y="2392984"/>
                    <a:ext cx="2463737" cy="1844316"/>
                    <a:chOff x="8566719" y="2617154"/>
                    <a:chExt cx="2463737" cy="1844316"/>
                  </a:xfrm>
                </p:grpSpPr>
                <p:sp>
                  <p:nvSpPr>
                    <p:cNvPr id="2814" name="Rectangle 2813">
                      <a:extLst>
                        <a:ext uri="{FF2B5EF4-FFF2-40B4-BE49-F238E27FC236}">
                          <a16:creationId xmlns:a16="http://schemas.microsoft.com/office/drawing/2014/main" id="{6EEB185A-FA68-46BA-B5F7-FF8E542218E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5" name="Group 2814">
                      <a:extLst>
                        <a:ext uri="{FF2B5EF4-FFF2-40B4-BE49-F238E27FC236}">
                          <a16:creationId xmlns:a16="http://schemas.microsoft.com/office/drawing/2014/main" id="{6B577423-DEE6-4B13-8BAE-A5F1C12366E0}"/>
                        </a:ext>
                      </a:extLst>
                    </p:cNvPr>
                    <p:cNvGrpSpPr/>
                    <p:nvPr/>
                  </p:nvGrpSpPr>
                  <p:grpSpPr>
                    <a:xfrm>
                      <a:off x="8720849" y="2791577"/>
                      <a:ext cx="2190282" cy="1669893"/>
                      <a:chOff x="5195358" y="4591383"/>
                      <a:chExt cx="1906459" cy="1380076"/>
                    </a:xfrm>
                  </p:grpSpPr>
                  <p:grpSp>
                    <p:nvGrpSpPr>
                      <p:cNvPr id="2816" name="Group 2815">
                        <a:extLst>
                          <a:ext uri="{FF2B5EF4-FFF2-40B4-BE49-F238E27FC236}">
                            <a16:creationId xmlns:a16="http://schemas.microsoft.com/office/drawing/2014/main" id="{02DC404D-9158-4789-A6EF-E8E33AFC3F38}"/>
                          </a:ext>
                        </a:extLst>
                      </p:cNvPr>
                      <p:cNvGrpSpPr/>
                      <p:nvPr/>
                    </p:nvGrpSpPr>
                    <p:grpSpPr>
                      <a:xfrm>
                        <a:off x="5195358" y="4591383"/>
                        <a:ext cx="1020183" cy="1224086"/>
                        <a:chOff x="10650533" y="3663550"/>
                        <a:chExt cx="575867" cy="836067"/>
                      </a:xfrm>
                    </p:grpSpPr>
                    <p:grpSp>
                      <p:nvGrpSpPr>
                        <p:cNvPr id="2818" name="Group 2817">
                          <a:extLst>
                            <a:ext uri="{FF2B5EF4-FFF2-40B4-BE49-F238E27FC236}">
                              <a16:creationId xmlns:a16="http://schemas.microsoft.com/office/drawing/2014/main" id="{56967A2B-DCDF-4691-AB19-E65A647F688C}"/>
                            </a:ext>
                          </a:extLst>
                        </p:cNvPr>
                        <p:cNvGrpSpPr/>
                        <p:nvPr/>
                      </p:nvGrpSpPr>
                      <p:grpSpPr>
                        <a:xfrm>
                          <a:off x="10650533" y="3663550"/>
                          <a:ext cx="575867" cy="728623"/>
                          <a:chOff x="5717961" y="2827338"/>
                          <a:chExt cx="282576" cy="387350"/>
                        </a:xfrm>
                      </p:grpSpPr>
                      <p:sp>
                        <p:nvSpPr>
                          <p:cNvPr id="2820" name="Freeform 1754">
                            <a:extLst>
                              <a:ext uri="{FF2B5EF4-FFF2-40B4-BE49-F238E27FC236}">
                                <a16:creationId xmlns:a16="http://schemas.microsoft.com/office/drawing/2014/main" id="{48D81758-0BD3-4BC2-8A9C-672770B23946}"/>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1" name="Freeform 1755">
                            <a:extLst>
                              <a:ext uri="{FF2B5EF4-FFF2-40B4-BE49-F238E27FC236}">
                                <a16:creationId xmlns:a16="http://schemas.microsoft.com/office/drawing/2014/main" id="{21E665D1-8057-4407-B125-616CC884D074}"/>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22" name="Freeform 1756">
                            <a:extLst>
                              <a:ext uri="{FF2B5EF4-FFF2-40B4-BE49-F238E27FC236}">
                                <a16:creationId xmlns:a16="http://schemas.microsoft.com/office/drawing/2014/main" id="{E53CAFE7-10F1-4E63-B613-C33ABB664E78}"/>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3" name="Freeform 1757">
                            <a:extLst>
                              <a:ext uri="{FF2B5EF4-FFF2-40B4-BE49-F238E27FC236}">
                                <a16:creationId xmlns:a16="http://schemas.microsoft.com/office/drawing/2014/main" id="{AD5074DC-6F0C-4B6F-BB1A-51C7BD1C5652}"/>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4" name="Freeform 1758">
                            <a:extLst>
                              <a:ext uri="{FF2B5EF4-FFF2-40B4-BE49-F238E27FC236}">
                                <a16:creationId xmlns:a16="http://schemas.microsoft.com/office/drawing/2014/main" id="{18B663CB-B41F-4E7C-8176-7375F0B25B14}"/>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19" name="TextBox 2818">
                          <a:extLst>
                            <a:ext uri="{FF2B5EF4-FFF2-40B4-BE49-F238E27FC236}">
                              <a16:creationId xmlns:a16="http://schemas.microsoft.com/office/drawing/2014/main" id="{D8E75A9D-28C1-4973-8E18-E5E890C26965}"/>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17" name="TextBox 2816">
                        <a:extLst>
                          <a:ext uri="{FF2B5EF4-FFF2-40B4-BE49-F238E27FC236}">
                            <a16:creationId xmlns:a16="http://schemas.microsoft.com/office/drawing/2014/main" id="{853CDE77-7803-4C51-A3D4-145B5B1F464C}"/>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01" name="Group 2800">
                    <a:extLst>
                      <a:ext uri="{FF2B5EF4-FFF2-40B4-BE49-F238E27FC236}">
                        <a16:creationId xmlns:a16="http://schemas.microsoft.com/office/drawing/2014/main" id="{11E23F22-1711-4BFA-BEE6-5A6CA4B0CE68}"/>
                      </a:ext>
                    </a:extLst>
                  </p:cNvPr>
                  <p:cNvGrpSpPr/>
                  <p:nvPr/>
                </p:nvGrpSpPr>
                <p:grpSpPr>
                  <a:xfrm>
                    <a:off x="9538998" y="605299"/>
                    <a:ext cx="944881" cy="858986"/>
                    <a:chOff x="3369813" y="4950013"/>
                    <a:chExt cx="440826" cy="400751"/>
                  </a:xfrm>
                </p:grpSpPr>
                <p:sp>
                  <p:nvSpPr>
                    <p:cNvPr id="2810" name="Oval 2809">
                      <a:extLst>
                        <a:ext uri="{FF2B5EF4-FFF2-40B4-BE49-F238E27FC236}">
                          <a16:creationId xmlns:a16="http://schemas.microsoft.com/office/drawing/2014/main" id="{BF0157EA-688E-4939-B9F1-868555B7187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1" name="Group 226">
                      <a:extLst>
                        <a:ext uri="{FF2B5EF4-FFF2-40B4-BE49-F238E27FC236}">
                          <a16:creationId xmlns:a16="http://schemas.microsoft.com/office/drawing/2014/main" id="{71D96959-B519-469F-AA76-FF0FE732BE12}"/>
                        </a:ext>
                      </a:extLst>
                    </p:cNvPr>
                    <p:cNvGrpSpPr>
                      <a:grpSpLocks noChangeAspect="1"/>
                    </p:cNvGrpSpPr>
                    <p:nvPr/>
                  </p:nvGrpSpPr>
                  <p:grpSpPr bwMode="auto">
                    <a:xfrm>
                      <a:off x="3437467" y="4997630"/>
                      <a:ext cx="305517" cy="305517"/>
                      <a:chOff x="5048" y="783"/>
                      <a:chExt cx="340" cy="340"/>
                    </a:xfrm>
                    <a:solidFill>
                      <a:schemeClr val="bg1"/>
                    </a:solidFill>
                  </p:grpSpPr>
                  <p:sp>
                    <p:nvSpPr>
                      <p:cNvPr id="2812" name="Freeform 227">
                        <a:extLst>
                          <a:ext uri="{FF2B5EF4-FFF2-40B4-BE49-F238E27FC236}">
                            <a16:creationId xmlns:a16="http://schemas.microsoft.com/office/drawing/2014/main" id="{B207C4B4-1621-4B73-A71C-00BD29C4E45E}"/>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13" name="Freeform 228">
                        <a:extLst>
                          <a:ext uri="{FF2B5EF4-FFF2-40B4-BE49-F238E27FC236}">
                            <a16:creationId xmlns:a16="http://schemas.microsoft.com/office/drawing/2014/main" id="{5BDE4F2D-73C9-43C8-801D-3450C262B166}"/>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02" name="Straight Connector 2801">
                    <a:extLst>
                      <a:ext uri="{FF2B5EF4-FFF2-40B4-BE49-F238E27FC236}">
                        <a16:creationId xmlns:a16="http://schemas.microsoft.com/office/drawing/2014/main" id="{AD571AF0-1EAB-4A78-B5B4-212370F55BC6}"/>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3" name="Straight Connector 2802">
                    <a:extLst>
                      <a:ext uri="{FF2B5EF4-FFF2-40B4-BE49-F238E27FC236}">
                        <a16:creationId xmlns:a16="http://schemas.microsoft.com/office/drawing/2014/main" id="{60F301C5-6142-400D-9BD8-5DF731614AE6}"/>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4" name="Straight Connector 2803">
                    <a:extLst>
                      <a:ext uri="{FF2B5EF4-FFF2-40B4-BE49-F238E27FC236}">
                        <a16:creationId xmlns:a16="http://schemas.microsoft.com/office/drawing/2014/main" id="{7DF853C1-A4C9-48AE-8F20-C00D3BF008DB}"/>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5" name="Straight Connector 2804">
                    <a:extLst>
                      <a:ext uri="{FF2B5EF4-FFF2-40B4-BE49-F238E27FC236}">
                        <a16:creationId xmlns:a16="http://schemas.microsoft.com/office/drawing/2014/main" id="{97C7D714-8264-4AAE-9157-A346586CF590}"/>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6" name="Straight Connector 2805">
                    <a:extLst>
                      <a:ext uri="{FF2B5EF4-FFF2-40B4-BE49-F238E27FC236}">
                        <a16:creationId xmlns:a16="http://schemas.microsoft.com/office/drawing/2014/main" id="{470586D9-B704-4186-878A-287485B89909}"/>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7" name="Straight Connector 2806">
                    <a:extLst>
                      <a:ext uri="{FF2B5EF4-FFF2-40B4-BE49-F238E27FC236}">
                        <a16:creationId xmlns:a16="http://schemas.microsoft.com/office/drawing/2014/main" id="{278CEEF0-E2F7-46A6-9CE0-3D56FCDDBD26}"/>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8" name="Straight Connector 2807">
                    <a:extLst>
                      <a:ext uri="{FF2B5EF4-FFF2-40B4-BE49-F238E27FC236}">
                        <a16:creationId xmlns:a16="http://schemas.microsoft.com/office/drawing/2014/main" id="{53F27D4B-A913-40CD-8C2C-5F8A38843994}"/>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9" name="Straight Connector 2808">
                    <a:extLst>
                      <a:ext uri="{FF2B5EF4-FFF2-40B4-BE49-F238E27FC236}">
                        <a16:creationId xmlns:a16="http://schemas.microsoft.com/office/drawing/2014/main" id="{22B5377F-1190-47D2-805A-89FCADB34C70}"/>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97" name="Rectangle 2796">
                  <a:extLst>
                    <a:ext uri="{FF2B5EF4-FFF2-40B4-BE49-F238E27FC236}">
                      <a16:creationId xmlns:a16="http://schemas.microsoft.com/office/drawing/2014/main" id="{C1D6A21D-CB89-4ABE-9507-B2CE584DA4FB}"/>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793" name="Group 2792">
                <a:extLst>
                  <a:ext uri="{FF2B5EF4-FFF2-40B4-BE49-F238E27FC236}">
                    <a16:creationId xmlns:a16="http://schemas.microsoft.com/office/drawing/2014/main" id="{6CC34D40-BE95-4D15-AB7A-B17A019C47AB}"/>
                  </a:ext>
                </a:extLst>
              </p:cNvPr>
              <p:cNvGrpSpPr/>
              <p:nvPr/>
            </p:nvGrpSpPr>
            <p:grpSpPr>
              <a:xfrm>
                <a:off x="6189282" y="2207036"/>
                <a:ext cx="309777" cy="570271"/>
                <a:chOff x="6298183" y="258138"/>
                <a:chExt cx="309777" cy="570271"/>
              </a:xfrm>
            </p:grpSpPr>
            <p:pic>
              <p:nvPicPr>
                <p:cNvPr id="2794" name="Picture 2793">
                  <a:extLst>
                    <a:ext uri="{FF2B5EF4-FFF2-40B4-BE49-F238E27FC236}">
                      <a16:creationId xmlns:a16="http://schemas.microsoft.com/office/drawing/2014/main" id="{0E7A6E2B-4605-4DA6-AE02-CB8D45B49117}"/>
                    </a:ext>
                  </a:extLst>
                </p:cNvPr>
                <p:cNvPicPr>
                  <a:picLocks noChangeAspect="1"/>
                </p:cNvPicPr>
                <p:nvPr/>
              </p:nvPicPr>
              <p:blipFill>
                <a:blip r:embed="rId6"/>
                <a:stretch>
                  <a:fillRect/>
                </a:stretch>
              </p:blipFill>
              <p:spPr>
                <a:xfrm>
                  <a:off x="6298183" y="258138"/>
                  <a:ext cx="309777" cy="570271"/>
                </a:xfrm>
                <a:prstGeom prst="rect">
                  <a:avLst/>
                </a:prstGeom>
              </p:spPr>
            </p:pic>
            <p:sp>
              <p:nvSpPr>
                <p:cNvPr id="2795" name="Freeform 152">
                  <a:extLst>
                    <a:ext uri="{FF2B5EF4-FFF2-40B4-BE49-F238E27FC236}">
                      <a16:creationId xmlns:a16="http://schemas.microsoft.com/office/drawing/2014/main" id="{11143CDA-A172-4D6A-AC5A-B3D89FA26C6E}"/>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907" name="Rectangle 2906">
            <a:extLst>
              <a:ext uri="{FF2B5EF4-FFF2-40B4-BE49-F238E27FC236}">
                <a16:creationId xmlns:a16="http://schemas.microsoft.com/office/drawing/2014/main" id="{F5435F74-2F30-4298-A9F7-EFE16CA2F23A}"/>
              </a:ext>
            </a:extLst>
          </p:cNvPr>
          <p:cNvSpPr>
            <a:spLocks/>
          </p:cNvSpPr>
          <p:nvPr/>
        </p:nvSpPr>
        <p:spPr bwMode="gray">
          <a:xfrm>
            <a:off x="3376490" y="1551301"/>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908" name="Group 2907">
            <a:extLst>
              <a:ext uri="{FF2B5EF4-FFF2-40B4-BE49-F238E27FC236}">
                <a16:creationId xmlns:a16="http://schemas.microsoft.com/office/drawing/2014/main" id="{A381721A-89DD-4A37-B6EC-BB2ABBD5DCAE}"/>
              </a:ext>
            </a:extLst>
          </p:cNvPr>
          <p:cNvGrpSpPr/>
          <p:nvPr/>
        </p:nvGrpSpPr>
        <p:grpSpPr>
          <a:xfrm>
            <a:off x="411159" y="1081204"/>
            <a:ext cx="11430427" cy="561479"/>
            <a:chOff x="347472" y="1051180"/>
            <a:chExt cx="11667743" cy="561625"/>
          </a:xfrm>
        </p:grpSpPr>
        <p:grpSp>
          <p:nvGrpSpPr>
            <p:cNvPr id="2909" name="Group 2908">
              <a:extLst>
                <a:ext uri="{FF2B5EF4-FFF2-40B4-BE49-F238E27FC236}">
                  <a16:creationId xmlns:a16="http://schemas.microsoft.com/office/drawing/2014/main" id="{F9E1C4B6-7EEF-4FFD-8D22-69CF6A19DAC8}"/>
                </a:ext>
              </a:extLst>
            </p:cNvPr>
            <p:cNvGrpSpPr/>
            <p:nvPr/>
          </p:nvGrpSpPr>
          <p:grpSpPr>
            <a:xfrm>
              <a:off x="347472" y="1051180"/>
              <a:ext cx="11667743" cy="561625"/>
              <a:chOff x="347472" y="1051180"/>
              <a:chExt cx="11667743" cy="561625"/>
            </a:xfrm>
          </p:grpSpPr>
          <p:grpSp>
            <p:nvGrpSpPr>
              <p:cNvPr id="2911" name="Group 2910">
                <a:extLst>
                  <a:ext uri="{FF2B5EF4-FFF2-40B4-BE49-F238E27FC236}">
                    <a16:creationId xmlns:a16="http://schemas.microsoft.com/office/drawing/2014/main" id="{1A506020-E823-42A8-AB9E-2D77FAD65373}"/>
                  </a:ext>
                </a:extLst>
              </p:cNvPr>
              <p:cNvGrpSpPr/>
              <p:nvPr/>
            </p:nvGrpSpPr>
            <p:grpSpPr>
              <a:xfrm>
                <a:off x="347472" y="1154250"/>
                <a:ext cx="11667743" cy="458555"/>
                <a:chOff x="390609" y="1132914"/>
                <a:chExt cx="11511569" cy="458555"/>
              </a:xfrm>
            </p:grpSpPr>
            <p:sp>
              <p:nvSpPr>
                <p:cNvPr id="2913" name="Rectangle: Rounded Corners 2912">
                  <a:extLst>
                    <a:ext uri="{FF2B5EF4-FFF2-40B4-BE49-F238E27FC236}">
                      <a16:creationId xmlns:a16="http://schemas.microsoft.com/office/drawing/2014/main" id="{7533A0EC-94C7-4C0A-AB7B-96557292AE0E}"/>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4" name="Rectangle 2913">
                  <a:extLst>
                    <a:ext uri="{FF2B5EF4-FFF2-40B4-BE49-F238E27FC236}">
                      <a16:creationId xmlns:a16="http://schemas.microsoft.com/office/drawing/2014/main" id="{74C3D7AA-2D5C-4CAD-BEB8-67A05CF0EF0C}"/>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915" name="Rectangle 2914">
                  <a:extLst>
                    <a:ext uri="{FF2B5EF4-FFF2-40B4-BE49-F238E27FC236}">
                      <a16:creationId xmlns:a16="http://schemas.microsoft.com/office/drawing/2014/main" id="{A65652F9-7063-42FE-8C01-DBEB6CC95DDE}"/>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916" name="Rectangle 2915">
                  <a:extLst>
                    <a:ext uri="{FF2B5EF4-FFF2-40B4-BE49-F238E27FC236}">
                      <a16:creationId xmlns:a16="http://schemas.microsoft.com/office/drawing/2014/main" id="{D7015FFC-DFE6-44BC-A034-802412C8EE25}"/>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917" name="Isosceles Triangle 2916">
                  <a:extLst>
                    <a:ext uri="{FF2B5EF4-FFF2-40B4-BE49-F238E27FC236}">
                      <a16:creationId xmlns:a16="http://schemas.microsoft.com/office/drawing/2014/main" id="{7DC5BAC1-1F0C-4FC6-BBCF-040EE39EF20C}"/>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8" name="Isosceles Triangle 2917">
                  <a:extLst>
                    <a:ext uri="{FF2B5EF4-FFF2-40B4-BE49-F238E27FC236}">
                      <a16:creationId xmlns:a16="http://schemas.microsoft.com/office/drawing/2014/main" id="{EEC60567-2B0C-49F3-80D9-993F27EDDF61}"/>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2" name="Isosceles Triangle 2911">
                <a:extLst>
                  <a:ext uri="{FF2B5EF4-FFF2-40B4-BE49-F238E27FC236}">
                    <a16:creationId xmlns:a16="http://schemas.microsoft.com/office/drawing/2014/main" id="{93D26FAC-3BB2-43AA-8D35-B49A0E7C708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0" name="Isosceles Triangle 2909">
              <a:extLst>
                <a:ext uri="{FF2B5EF4-FFF2-40B4-BE49-F238E27FC236}">
                  <a16:creationId xmlns:a16="http://schemas.microsoft.com/office/drawing/2014/main" id="{A0C9D15C-3562-4E93-B022-1364C948360C}"/>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9" name="Rectangle 2918">
            <a:extLst>
              <a:ext uri="{FF2B5EF4-FFF2-40B4-BE49-F238E27FC236}">
                <a16:creationId xmlns:a16="http://schemas.microsoft.com/office/drawing/2014/main" id="{0C92D794-A7B8-4D83-B2A0-9769CE853102}"/>
              </a:ext>
            </a:extLst>
          </p:cNvPr>
          <p:cNvSpPr>
            <a:spLocks/>
          </p:cNvSpPr>
          <p:nvPr/>
        </p:nvSpPr>
        <p:spPr bwMode="gray">
          <a:xfrm>
            <a:off x="3357900" y="1086969"/>
            <a:ext cx="8571637" cy="5349935"/>
          </a:xfrm>
          <a:prstGeom prst="rect">
            <a:avLst/>
          </a:prstGeom>
          <a:solidFill>
            <a:schemeClr val="bg1">
              <a:alpha val="89804"/>
            </a:schemeClr>
          </a:solidFill>
          <a:ln w="38100" algn="ctr">
            <a:noFill/>
            <a:miter lim="800000"/>
            <a:headEnd/>
            <a:tailEnd/>
          </a:ln>
          <a:effectLst/>
        </p:spPr>
        <p:txBody>
          <a:bodyPr wrap="square" lIns="28409" tIns="28409" rIns="28409" bIns="28409" rtlCol="0" anchor="t"/>
          <a:lstStyle/>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p:txBody>
      </p:sp>
      <p:sp>
        <p:nvSpPr>
          <p:cNvPr id="2920" name="Rectangle 2919">
            <a:extLst>
              <a:ext uri="{FF2B5EF4-FFF2-40B4-BE49-F238E27FC236}">
                <a16:creationId xmlns:a16="http://schemas.microsoft.com/office/drawing/2014/main" id="{2526F9D0-B22B-45D4-A652-60AB87C17C90}"/>
              </a:ext>
            </a:extLst>
          </p:cNvPr>
          <p:cNvSpPr/>
          <p:nvPr/>
        </p:nvSpPr>
        <p:spPr bwMode="gray">
          <a:xfrm>
            <a:off x="3487250" y="1330353"/>
            <a:ext cx="8601695" cy="4981832"/>
          </a:xfrm>
          <a:prstGeom prst="rect">
            <a:avLst/>
          </a:prstGeom>
          <a:solidFill>
            <a:srgbClr val="A0DCFF"/>
          </a:solidFill>
          <a:ln w="28575" algn="ctr">
            <a:noFill/>
            <a:prstDash val="dash"/>
            <a:miter lim="800000"/>
            <a:headEnd/>
            <a:tailEnd/>
          </a:ln>
        </p:spPr>
        <p:txBody>
          <a:bodyPr wrap="square" lIns="46872" tIns="28482" rIns="28482" bIns="28482" rtlCol="0" anchor="t"/>
          <a:lstStyle/>
          <a:p>
            <a:pPr algn="ctr" defTabSz="624960">
              <a:lnSpc>
                <a:spcPct val="106000"/>
              </a:lnSpc>
              <a:defRPr/>
            </a:pPr>
            <a:endParaRPr lang="en-US" sz="1053" b="1" dirty="0">
              <a:solidFill>
                <a:prstClr val="black"/>
              </a:solidFill>
              <a:latin typeface="Verdana"/>
            </a:endParaRPr>
          </a:p>
        </p:txBody>
      </p:sp>
      <p:sp>
        <p:nvSpPr>
          <p:cNvPr id="837" name="Rectangle 836">
            <a:extLst>
              <a:ext uri="{FF2B5EF4-FFF2-40B4-BE49-F238E27FC236}">
                <a16:creationId xmlns:a16="http://schemas.microsoft.com/office/drawing/2014/main" id="{A5180AC9-6F59-4B33-B7D2-B9C2D9D0D9D2}"/>
              </a:ext>
            </a:extLst>
          </p:cNvPr>
          <p:cNvSpPr/>
          <p:nvPr/>
        </p:nvSpPr>
        <p:spPr>
          <a:xfrm>
            <a:off x="8411943" y="3125608"/>
            <a:ext cx="3436240" cy="830997"/>
          </a:xfrm>
          <a:prstGeom prst="rect">
            <a:avLst/>
          </a:prstGeom>
          <a:solidFill>
            <a:sysClr val="window" lastClr="FFFFFF"/>
          </a:solidFill>
        </p:spPr>
        <p:txBody>
          <a:bodyPr wrap="square">
            <a:spAutoFit/>
          </a:bodyPr>
          <a:lstStyle/>
          <a:p>
            <a:pPr marL="0" marR="0" lvl="0" indent="0" defTabSz="91650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HP Simplified Light"/>
              </a:rPr>
              <a:t>A quality checklist of activities that must be completed in order for any user story to be considered complete</a:t>
            </a:r>
          </a:p>
        </p:txBody>
      </p:sp>
      <p:sp>
        <p:nvSpPr>
          <p:cNvPr id="838" name="Rectangle 837">
            <a:extLst>
              <a:ext uri="{FF2B5EF4-FFF2-40B4-BE49-F238E27FC236}">
                <a16:creationId xmlns:a16="http://schemas.microsoft.com/office/drawing/2014/main" id="{3E3E0245-0753-417A-9C2C-B56268778662}"/>
              </a:ext>
            </a:extLst>
          </p:cNvPr>
          <p:cNvSpPr/>
          <p:nvPr/>
        </p:nvSpPr>
        <p:spPr>
          <a:xfrm>
            <a:off x="8892160" y="2746151"/>
            <a:ext cx="2475806" cy="369332"/>
          </a:xfrm>
          <a:prstGeom prst="rect">
            <a:avLst/>
          </a:prstGeom>
        </p:spPr>
        <p:txBody>
          <a:bodyPr wrap="none">
            <a:spAutoFit/>
          </a:bodyPr>
          <a:lstStyle/>
          <a:p>
            <a:pPr algn="ctr" defTabSz="916502"/>
            <a:r>
              <a:rPr lang="en-US" b="1" dirty="0">
                <a:solidFill>
                  <a:prstClr val="black"/>
                </a:solidFill>
                <a:latin typeface="HP Simplified Light"/>
              </a:rPr>
              <a:t>Definition of Done (DoD) </a:t>
            </a:r>
            <a:endParaRPr lang="en-US" dirty="0">
              <a:solidFill>
                <a:prstClr val="black"/>
              </a:solidFill>
              <a:latin typeface="HP Simplified Light"/>
            </a:endParaRPr>
          </a:p>
        </p:txBody>
      </p:sp>
      <p:pic>
        <p:nvPicPr>
          <p:cNvPr id="839" name="Picture 838">
            <a:extLst>
              <a:ext uri="{FF2B5EF4-FFF2-40B4-BE49-F238E27FC236}">
                <a16:creationId xmlns:a16="http://schemas.microsoft.com/office/drawing/2014/main" id="{4895CF27-4E7D-4DAE-B612-D6936775908B}"/>
              </a:ext>
            </a:extLst>
          </p:cNvPr>
          <p:cNvPicPr>
            <a:picLocks noChangeAspect="1"/>
          </p:cNvPicPr>
          <p:nvPr/>
        </p:nvPicPr>
        <p:blipFill rotWithShape="1">
          <a:blip r:embed="rId6"/>
          <a:srcRect r="2273" b="24908"/>
          <a:stretch/>
        </p:blipFill>
        <p:spPr>
          <a:xfrm>
            <a:off x="9890775" y="1620172"/>
            <a:ext cx="639898" cy="905149"/>
          </a:xfrm>
          <a:prstGeom prst="rect">
            <a:avLst/>
          </a:prstGeom>
        </p:spPr>
      </p:pic>
      <p:sp>
        <p:nvSpPr>
          <p:cNvPr id="840" name="Rectangle 839">
            <a:extLst>
              <a:ext uri="{FF2B5EF4-FFF2-40B4-BE49-F238E27FC236}">
                <a16:creationId xmlns:a16="http://schemas.microsoft.com/office/drawing/2014/main" id="{98B4ED2A-8E32-42CE-98A0-B7D507308B47}"/>
              </a:ext>
            </a:extLst>
          </p:cNvPr>
          <p:cNvSpPr/>
          <p:nvPr/>
        </p:nvSpPr>
        <p:spPr>
          <a:xfrm>
            <a:off x="3824248" y="3125608"/>
            <a:ext cx="3409499" cy="830997"/>
          </a:xfrm>
          <a:prstGeom prst="rect">
            <a:avLst/>
          </a:prstGeom>
          <a:solidFill>
            <a:sysClr val="window" lastClr="FFFFFF"/>
          </a:solidFill>
        </p:spPr>
        <p:txBody>
          <a:bodyPr wrap="square">
            <a:spAutoFit/>
          </a:bodyPr>
          <a:lstStyle/>
          <a:p>
            <a:pPr marL="0" marR="0" lvl="0" indent="0" defTabSz="91650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HP Simplified Light"/>
              </a:rPr>
              <a:t>Documents criteria any user story must reach before the team can plan it in a sprint</a:t>
            </a:r>
          </a:p>
        </p:txBody>
      </p:sp>
      <p:sp>
        <p:nvSpPr>
          <p:cNvPr id="841" name="Rectangle 840">
            <a:extLst>
              <a:ext uri="{FF2B5EF4-FFF2-40B4-BE49-F238E27FC236}">
                <a16:creationId xmlns:a16="http://schemas.microsoft.com/office/drawing/2014/main" id="{DCA8F460-E310-4807-BAB7-3A3A09B97DEC}"/>
              </a:ext>
            </a:extLst>
          </p:cNvPr>
          <p:cNvSpPr/>
          <p:nvPr/>
        </p:nvSpPr>
        <p:spPr>
          <a:xfrm>
            <a:off x="4250795" y="2746151"/>
            <a:ext cx="2556404" cy="369332"/>
          </a:xfrm>
          <a:prstGeom prst="rect">
            <a:avLst/>
          </a:prstGeom>
        </p:spPr>
        <p:txBody>
          <a:bodyPr wrap="none">
            <a:spAutoFit/>
          </a:bodyPr>
          <a:lstStyle/>
          <a:p>
            <a:pPr algn="ctr" defTabSz="916502"/>
            <a:r>
              <a:rPr lang="en-US" b="1" dirty="0">
                <a:solidFill>
                  <a:prstClr val="black"/>
                </a:solidFill>
                <a:latin typeface="HP Simplified Light"/>
              </a:rPr>
              <a:t>Definition of Ready (DoR) </a:t>
            </a:r>
            <a:endParaRPr lang="en-US" dirty="0">
              <a:solidFill>
                <a:prstClr val="black"/>
              </a:solidFill>
              <a:latin typeface="HP Simplified Light"/>
            </a:endParaRPr>
          </a:p>
        </p:txBody>
      </p:sp>
      <p:pic>
        <p:nvPicPr>
          <p:cNvPr id="842" name="Picture 841">
            <a:extLst>
              <a:ext uri="{FF2B5EF4-FFF2-40B4-BE49-F238E27FC236}">
                <a16:creationId xmlns:a16="http://schemas.microsoft.com/office/drawing/2014/main" id="{FC68F03A-C763-4161-8111-272B8C3CE0A9}"/>
              </a:ext>
            </a:extLst>
          </p:cNvPr>
          <p:cNvPicPr>
            <a:picLocks noChangeAspect="1"/>
          </p:cNvPicPr>
          <p:nvPr/>
        </p:nvPicPr>
        <p:blipFill rotWithShape="1">
          <a:blip r:embed="rId7"/>
          <a:srcRect b="26273"/>
          <a:stretch/>
        </p:blipFill>
        <p:spPr>
          <a:xfrm>
            <a:off x="5129639" y="1620172"/>
            <a:ext cx="639898" cy="905149"/>
          </a:xfrm>
          <a:prstGeom prst="rect">
            <a:avLst/>
          </a:prstGeom>
        </p:spPr>
      </p:pic>
      <p:pic>
        <p:nvPicPr>
          <p:cNvPr id="843" name="Picture 842">
            <a:extLst>
              <a:ext uri="{FF2B5EF4-FFF2-40B4-BE49-F238E27FC236}">
                <a16:creationId xmlns:a16="http://schemas.microsoft.com/office/drawing/2014/main" id="{69FAC658-8225-4163-A801-71EE9940EFD5}"/>
              </a:ext>
            </a:extLst>
          </p:cNvPr>
          <p:cNvPicPr>
            <a:picLocks noChangeAspect="1"/>
          </p:cNvPicPr>
          <p:nvPr/>
        </p:nvPicPr>
        <p:blipFill>
          <a:blip r:embed="rId10"/>
          <a:stretch>
            <a:fillRect/>
          </a:stretch>
        </p:blipFill>
        <p:spPr>
          <a:xfrm>
            <a:off x="6086372" y="1672871"/>
            <a:ext cx="3487568" cy="799750"/>
          </a:xfrm>
          <a:prstGeom prst="rect">
            <a:avLst/>
          </a:prstGeom>
        </p:spPr>
      </p:pic>
      <p:cxnSp>
        <p:nvCxnSpPr>
          <p:cNvPr id="844" name="Straight Arrow Connector 843">
            <a:extLst>
              <a:ext uri="{FF2B5EF4-FFF2-40B4-BE49-F238E27FC236}">
                <a16:creationId xmlns:a16="http://schemas.microsoft.com/office/drawing/2014/main" id="{72388229-370C-49FE-BADE-BBEB70C01641}"/>
              </a:ext>
            </a:extLst>
          </p:cNvPr>
          <p:cNvCxnSpPr>
            <a:cxnSpLocks/>
          </p:cNvCxnSpPr>
          <p:nvPr/>
        </p:nvCxnSpPr>
        <p:spPr>
          <a:xfrm>
            <a:off x="5805805" y="2028858"/>
            <a:ext cx="274320" cy="0"/>
          </a:xfrm>
          <a:prstGeom prst="straightConnector1">
            <a:avLst/>
          </a:prstGeom>
          <a:noFill/>
          <a:ln w="19050" cap="flat" cmpd="sng" algn="ctr">
            <a:solidFill>
              <a:sysClr val="windowText" lastClr="000000"/>
            </a:solidFill>
            <a:prstDash val="solid"/>
            <a:miter lim="800000"/>
            <a:tailEnd type="triangle"/>
          </a:ln>
          <a:effectLst/>
        </p:spPr>
      </p:cxnSp>
      <p:cxnSp>
        <p:nvCxnSpPr>
          <p:cNvPr id="845" name="Straight Arrow Connector 844">
            <a:extLst>
              <a:ext uri="{FF2B5EF4-FFF2-40B4-BE49-F238E27FC236}">
                <a16:creationId xmlns:a16="http://schemas.microsoft.com/office/drawing/2014/main" id="{F4648732-9ED6-44E4-95F5-F4CC6EBF7CEE}"/>
              </a:ext>
            </a:extLst>
          </p:cNvPr>
          <p:cNvCxnSpPr>
            <a:cxnSpLocks/>
          </p:cNvCxnSpPr>
          <p:nvPr/>
        </p:nvCxnSpPr>
        <p:spPr>
          <a:xfrm>
            <a:off x="9596198" y="2051116"/>
            <a:ext cx="274320" cy="0"/>
          </a:xfrm>
          <a:prstGeom prst="straightConnector1">
            <a:avLst/>
          </a:prstGeom>
          <a:noFill/>
          <a:ln w="19050" cap="flat" cmpd="sng" algn="ctr">
            <a:solidFill>
              <a:sysClr val="windowText" lastClr="000000"/>
            </a:solidFill>
            <a:prstDash val="solid"/>
            <a:miter lim="800000"/>
            <a:tailEnd type="triangle"/>
          </a:ln>
          <a:effectLst/>
        </p:spPr>
      </p:cxnSp>
      <p:sp>
        <p:nvSpPr>
          <p:cNvPr id="846" name="TextBox 845">
            <a:extLst>
              <a:ext uri="{FF2B5EF4-FFF2-40B4-BE49-F238E27FC236}">
                <a16:creationId xmlns:a16="http://schemas.microsoft.com/office/drawing/2014/main" id="{4AB5CCB4-44C4-4139-B795-063768E62CDD}"/>
              </a:ext>
            </a:extLst>
          </p:cNvPr>
          <p:cNvSpPr txBox="1"/>
          <p:nvPr/>
        </p:nvSpPr>
        <p:spPr>
          <a:xfrm>
            <a:off x="10755896" y="2545678"/>
            <a:ext cx="1433902" cy="146643"/>
          </a:xfrm>
          <a:prstGeom prst="rect">
            <a:avLst/>
          </a:prstGeom>
          <a:noFill/>
        </p:spPr>
        <p:txBody>
          <a:bodyPr wrap="square" lIns="0" tIns="0" rIns="0" bIns="0" rtlCol="0">
            <a:spAutoFit/>
          </a:bodyPr>
          <a:lstStyle/>
          <a:p>
            <a:pPr algn="ctr">
              <a:buSzPct val="100000"/>
            </a:pPr>
            <a:r>
              <a:rPr lang="en-US" sz="953" b="1" dirty="0">
                <a:latin typeface="HP Simplified Light"/>
                <a:ea typeface="Open Sans" panose="020B0606030504020204" pitchFamily="34" charset="0"/>
                <a:cs typeface="Open Sans" panose="020B0606030504020204" pitchFamily="34" charset="0"/>
              </a:rPr>
              <a:t>Product Increment</a:t>
            </a:r>
          </a:p>
        </p:txBody>
      </p:sp>
      <p:grpSp>
        <p:nvGrpSpPr>
          <p:cNvPr id="847" name="Group 846">
            <a:extLst>
              <a:ext uri="{FF2B5EF4-FFF2-40B4-BE49-F238E27FC236}">
                <a16:creationId xmlns:a16="http://schemas.microsoft.com/office/drawing/2014/main" id="{4CD9030B-F235-460D-ABB6-E7BAF840565E}"/>
              </a:ext>
            </a:extLst>
          </p:cNvPr>
          <p:cNvGrpSpPr/>
          <p:nvPr/>
        </p:nvGrpSpPr>
        <p:grpSpPr>
          <a:xfrm>
            <a:off x="10847509" y="1726557"/>
            <a:ext cx="1227795" cy="692379"/>
            <a:chOff x="7839761" y="1053755"/>
            <a:chExt cx="927651" cy="523122"/>
          </a:xfrm>
        </p:grpSpPr>
        <p:sp>
          <p:nvSpPr>
            <p:cNvPr id="848" name="Line 66">
              <a:extLst>
                <a:ext uri="{FF2B5EF4-FFF2-40B4-BE49-F238E27FC236}">
                  <a16:creationId xmlns:a16="http://schemas.microsoft.com/office/drawing/2014/main" id="{AC72C12B-AFBF-4911-A935-29B637E5BB6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49" name="Line 67">
              <a:extLst>
                <a:ext uri="{FF2B5EF4-FFF2-40B4-BE49-F238E27FC236}">
                  <a16:creationId xmlns:a16="http://schemas.microsoft.com/office/drawing/2014/main" id="{66B5B563-2DFE-499B-90AC-58EF33625A5D}"/>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0" name="Line 74">
              <a:extLst>
                <a:ext uri="{FF2B5EF4-FFF2-40B4-BE49-F238E27FC236}">
                  <a16:creationId xmlns:a16="http://schemas.microsoft.com/office/drawing/2014/main" id="{EFDF6390-A443-41CD-954F-A198B46C6B9A}"/>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1" name="Freeform 78">
              <a:extLst>
                <a:ext uri="{FF2B5EF4-FFF2-40B4-BE49-F238E27FC236}">
                  <a16:creationId xmlns:a16="http://schemas.microsoft.com/office/drawing/2014/main" id="{9B9F02BD-A006-41D0-BB01-2129C6B64212}"/>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2" name="Freeform 80">
              <a:extLst>
                <a:ext uri="{FF2B5EF4-FFF2-40B4-BE49-F238E27FC236}">
                  <a16:creationId xmlns:a16="http://schemas.microsoft.com/office/drawing/2014/main" id="{62939949-D2FF-4111-A24C-DF68C2A892E8}"/>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3" name="Freeform 1575">
              <a:extLst>
                <a:ext uri="{FF2B5EF4-FFF2-40B4-BE49-F238E27FC236}">
                  <a16:creationId xmlns:a16="http://schemas.microsoft.com/office/drawing/2014/main" id="{27EC7A77-F82C-4F51-9A06-BB201F2108C4}"/>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4" name="Freeform 1576">
              <a:extLst>
                <a:ext uri="{FF2B5EF4-FFF2-40B4-BE49-F238E27FC236}">
                  <a16:creationId xmlns:a16="http://schemas.microsoft.com/office/drawing/2014/main" id="{8DE0532C-BA6A-4EC7-B531-6CCDFF7E74DB}"/>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5" name="Freeform 1577">
              <a:extLst>
                <a:ext uri="{FF2B5EF4-FFF2-40B4-BE49-F238E27FC236}">
                  <a16:creationId xmlns:a16="http://schemas.microsoft.com/office/drawing/2014/main" id="{BC4DFBE2-9D16-4452-8B49-622C8ADFDEBC}"/>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6" name="Freeform 1578">
              <a:extLst>
                <a:ext uri="{FF2B5EF4-FFF2-40B4-BE49-F238E27FC236}">
                  <a16:creationId xmlns:a16="http://schemas.microsoft.com/office/drawing/2014/main" id="{0217746E-FC5C-4083-9A89-657FD1CE52C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7" name="Freeform 1579">
              <a:extLst>
                <a:ext uri="{FF2B5EF4-FFF2-40B4-BE49-F238E27FC236}">
                  <a16:creationId xmlns:a16="http://schemas.microsoft.com/office/drawing/2014/main" id="{D4294AEE-A5E5-4B92-989C-89810F62105C}"/>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8" name="Freeform 1580">
              <a:extLst>
                <a:ext uri="{FF2B5EF4-FFF2-40B4-BE49-F238E27FC236}">
                  <a16:creationId xmlns:a16="http://schemas.microsoft.com/office/drawing/2014/main" id="{3413C04B-C26A-4FA0-AAAC-4F0EDC9B4D3A}"/>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59" name="Freeform 1581">
              <a:extLst>
                <a:ext uri="{FF2B5EF4-FFF2-40B4-BE49-F238E27FC236}">
                  <a16:creationId xmlns:a16="http://schemas.microsoft.com/office/drawing/2014/main" id="{31080BAB-65BB-4825-934B-7AE9ADA81177}"/>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0" name="Freeform 1582">
              <a:extLst>
                <a:ext uri="{FF2B5EF4-FFF2-40B4-BE49-F238E27FC236}">
                  <a16:creationId xmlns:a16="http://schemas.microsoft.com/office/drawing/2014/main" id="{BCC780BA-55A4-416E-BCCA-AB69A10EADE4}"/>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1" name="Freeform 1583">
              <a:extLst>
                <a:ext uri="{FF2B5EF4-FFF2-40B4-BE49-F238E27FC236}">
                  <a16:creationId xmlns:a16="http://schemas.microsoft.com/office/drawing/2014/main" id="{E950F842-78E4-408A-95E6-66918239654D}"/>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2" name="Freeform 1584">
              <a:extLst>
                <a:ext uri="{FF2B5EF4-FFF2-40B4-BE49-F238E27FC236}">
                  <a16:creationId xmlns:a16="http://schemas.microsoft.com/office/drawing/2014/main" id="{609A5D9B-922E-49EF-A7F7-6AF114152231}"/>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3" name="Freeform 1585">
              <a:extLst>
                <a:ext uri="{FF2B5EF4-FFF2-40B4-BE49-F238E27FC236}">
                  <a16:creationId xmlns:a16="http://schemas.microsoft.com/office/drawing/2014/main" id="{C9509A23-D748-4983-AE7E-2D0EB0ECB8E4}"/>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4" name="Freeform 1586">
              <a:extLst>
                <a:ext uri="{FF2B5EF4-FFF2-40B4-BE49-F238E27FC236}">
                  <a16:creationId xmlns:a16="http://schemas.microsoft.com/office/drawing/2014/main" id="{DDD72830-8DBA-47AA-81CF-D2C305314DB8}"/>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5" name="Freeform 1587">
              <a:extLst>
                <a:ext uri="{FF2B5EF4-FFF2-40B4-BE49-F238E27FC236}">
                  <a16:creationId xmlns:a16="http://schemas.microsoft.com/office/drawing/2014/main" id="{F0779328-0E91-4D9E-A0FF-F71898DD432B}"/>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6" name="Freeform 1588">
              <a:extLst>
                <a:ext uri="{FF2B5EF4-FFF2-40B4-BE49-F238E27FC236}">
                  <a16:creationId xmlns:a16="http://schemas.microsoft.com/office/drawing/2014/main" id="{8A3C5671-B088-409C-9E75-D3AB41D82762}"/>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ysClr val="windowText" lastClr="000000">
                <a:lumMod val="65000"/>
                <a:lumOff val="35000"/>
              </a:sysClr>
            </a:solidFill>
            <a:ln w="9525">
              <a:noFill/>
              <a:round/>
              <a:headEnd/>
              <a:tailEnd/>
            </a:ln>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7" name="Rectangle 1589">
              <a:extLst>
                <a:ext uri="{FF2B5EF4-FFF2-40B4-BE49-F238E27FC236}">
                  <a16:creationId xmlns:a16="http://schemas.microsoft.com/office/drawing/2014/main" id="{2F037606-7D53-436C-AEDA-0F1AB2FB442C}"/>
                </a:ext>
              </a:extLst>
            </p:cNvPr>
            <p:cNvSpPr>
              <a:spLocks noChangeArrowheads="1"/>
            </p:cNvSpPr>
            <p:nvPr/>
          </p:nvSpPr>
          <p:spPr bwMode="auto">
            <a:xfrm>
              <a:off x="8316244" y="1360649"/>
              <a:ext cx="11045" cy="213265"/>
            </a:xfrm>
            <a:prstGeom prst="rect">
              <a:avLst/>
            </a:pr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8" name="Rectangle 1590">
              <a:extLst>
                <a:ext uri="{FF2B5EF4-FFF2-40B4-BE49-F238E27FC236}">
                  <a16:creationId xmlns:a16="http://schemas.microsoft.com/office/drawing/2014/main" id="{6CBD5D36-99A9-450E-B998-53F8070BB6B3}"/>
                </a:ext>
              </a:extLst>
            </p:cNvPr>
            <p:cNvSpPr>
              <a:spLocks noChangeArrowheads="1"/>
            </p:cNvSpPr>
            <p:nvPr/>
          </p:nvSpPr>
          <p:spPr bwMode="auto">
            <a:xfrm>
              <a:off x="8316244" y="1227358"/>
              <a:ext cx="11045" cy="111076"/>
            </a:xfrm>
            <a:prstGeom prst="rect">
              <a:avLst/>
            </a:pr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69" name="Freeform 1591">
              <a:extLst>
                <a:ext uri="{FF2B5EF4-FFF2-40B4-BE49-F238E27FC236}">
                  <a16:creationId xmlns:a16="http://schemas.microsoft.com/office/drawing/2014/main" id="{8CB8A030-69C3-4245-84E7-7409BF61B44D}"/>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0" name="Freeform 1592">
              <a:extLst>
                <a:ext uri="{FF2B5EF4-FFF2-40B4-BE49-F238E27FC236}">
                  <a16:creationId xmlns:a16="http://schemas.microsoft.com/office/drawing/2014/main" id="{27D7F5CA-8DC2-4F67-B9AB-86DBF758F760}"/>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1" name="Freeform 1593">
              <a:extLst>
                <a:ext uri="{FF2B5EF4-FFF2-40B4-BE49-F238E27FC236}">
                  <a16:creationId xmlns:a16="http://schemas.microsoft.com/office/drawing/2014/main" id="{E72DF511-491F-46D5-AE17-43D3BF142FD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2" name="Freeform 1594">
              <a:extLst>
                <a:ext uri="{FF2B5EF4-FFF2-40B4-BE49-F238E27FC236}">
                  <a16:creationId xmlns:a16="http://schemas.microsoft.com/office/drawing/2014/main" id="{E60334E3-4879-4027-8FB3-7D7A747BC624}"/>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3" name="Freeform 1595">
              <a:extLst>
                <a:ext uri="{FF2B5EF4-FFF2-40B4-BE49-F238E27FC236}">
                  <a16:creationId xmlns:a16="http://schemas.microsoft.com/office/drawing/2014/main" id="{6F3EE2A8-C09C-43A3-8980-E92260CEEFA6}"/>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4" name="Freeform 1596">
              <a:extLst>
                <a:ext uri="{FF2B5EF4-FFF2-40B4-BE49-F238E27FC236}">
                  <a16:creationId xmlns:a16="http://schemas.microsoft.com/office/drawing/2014/main" id="{2BC5DD53-0FE7-412D-8758-B1ED917956CC}"/>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5" name="Freeform 1672">
              <a:extLst>
                <a:ext uri="{FF2B5EF4-FFF2-40B4-BE49-F238E27FC236}">
                  <a16:creationId xmlns:a16="http://schemas.microsoft.com/office/drawing/2014/main" id="{72BE8BC1-B587-4ABB-8EC2-DE0DDA794460}"/>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6" name="Freeform 1673">
              <a:extLst>
                <a:ext uri="{FF2B5EF4-FFF2-40B4-BE49-F238E27FC236}">
                  <a16:creationId xmlns:a16="http://schemas.microsoft.com/office/drawing/2014/main" id="{7FE65C23-4132-4EFD-B346-0794E4B24C42}"/>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7" name="Freeform 1674">
              <a:extLst>
                <a:ext uri="{FF2B5EF4-FFF2-40B4-BE49-F238E27FC236}">
                  <a16:creationId xmlns:a16="http://schemas.microsoft.com/office/drawing/2014/main" id="{D72BA4E5-CF0C-45C2-A928-991D5CA80C25}"/>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8" name="Freeform 1675">
              <a:extLst>
                <a:ext uri="{FF2B5EF4-FFF2-40B4-BE49-F238E27FC236}">
                  <a16:creationId xmlns:a16="http://schemas.microsoft.com/office/drawing/2014/main" id="{FFFC57A4-4F03-4D17-ABDD-A7B8F3A4148B}"/>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79" name="Freeform 1676">
              <a:extLst>
                <a:ext uri="{FF2B5EF4-FFF2-40B4-BE49-F238E27FC236}">
                  <a16:creationId xmlns:a16="http://schemas.microsoft.com/office/drawing/2014/main" id="{2952DAA8-77AF-4A15-AEB2-920C640BA9D4}"/>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0" name="Freeform 1677">
              <a:extLst>
                <a:ext uri="{FF2B5EF4-FFF2-40B4-BE49-F238E27FC236}">
                  <a16:creationId xmlns:a16="http://schemas.microsoft.com/office/drawing/2014/main" id="{C732C0DA-3A14-4119-B3AE-12C24861C109}"/>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1" name="Freeform 1678">
              <a:extLst>
                <a:ext uri="{FF2B5EF4-FFF2-40B4-BE49-F238E27FC236}">
                  <a16:creationId xmlns:a16="http://schemas.microsoft.com/office/drawing/2014/main" id="{854BD9A1-EF16-40FB-9E90-94F3CC86BD7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2" name="Freeform 1679">
              <a:extLst>
                <a:ext uri="{FF2B5EF4-FFF2-40B4-BE49-F238E27FC236}">
                  <a16:creationId xmlns:a16="http://schemas.microsoft.com/office/drawing/2014/main" id="{F4C71728-DFDE-4C70-AA20-3B3950BEDE40}"/>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3" name="Freeform 1680">
              <a:extLst>
                <a:ext uri="{FF2B5EF4-FFF2-40B4-BE49-F238E27FC236}">
                  <a16:creationId xmlns:a16="http://schemas.microsoft.com/office/drawing/2014/main" id="{88059D2F-DFDA-4C52-A18E-D155E2B176F1}"/>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4" name="Freeform 1681">
              <a:extLst>
                <a:ext uri="{FF2B5EF4-FFF2-40B4-BE49-F238E27FC236}">
                  <a16:creationId xmlns:a16="http://schemas.microsoft.com/office/drawing/2014/main" id="{563A5763-E868-4761-8D70-15E0185B7748}"/>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5" name="Freeform 1682">
              <a:extLst>
                <a:ext uri="{FF2B5EF4-FFF2-40B4-BE49-F238E27FC236}">
                  <a16:creationId xmlns:a16="http://schemas.microsoft.com/office/drawing/2014/main" id="{0DF7BC0B-FE38-43F5-B81A-A5986A99CAF2}"/>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6" name="Freeform 1683">
              <a:extLst>
                <a:ext uri="{FF2B5EF4-FFF2-40B4-BE49-F238E27FC236}">
                  <a16:creationId xmlns:a16="http://schemas.microsoft.com/office/drawing/2014/main" id="{3D7D587E-5ABA-4FE0-94A6-A14E4D354E4C}"/>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7" name="Freeform 1684">
              <a:extLst>
                <a:ext uri="{FF2B5EF4-FFF2-40B4-BE49-F238E27FC236}">
                  <a16:creationId xmlns:a16="http://schemas.microsoft.com/office/drawing/2014/main" id="{6207A0DA-773A-4148-BA18-AE0E00E512EA}"/>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8" name="Freeform 1685">
              <a:extLst>
                <a:ext uri="{FF2B5EF4-FFF2-40B4-BE49-F238E27FC236}">
                  <a16:creationId xmlns:a16="http://schemas.microsoft.com/office/drawing/2014/main" id="{0CD3867E-C78E-4834-A15D-AD0D955EB8CE}"/>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89" name="Freeform 1686">
              <a:extLst>
                <a:ext uri="{FF2B5EF4-FFF2-40B4-BE49-F238E27FC236}">
                  <a16:creationId xmlns:a16="http://schemas.microsoft.com/office/drawing/2014/main" id="{C34CCDCF-FF2B-4F0D-BBC5-FC3E356D4100}"/>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0" name="Freeform 1687">
              <a:extLst>
                <a:ext uri="{FF2B5EF4-FFF2-40B4-BE49-F238E27FC236}">
                  <a16:creationId xmlns:a16="http://schemas.microsoft.com/office/drawing/2014/main" id="{3B4CB6E4-20C3-4B4A-B1DE-7F52A11F77F7}"/>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1" name="Freeform 1688">
              <a:extLst>
                <a:ext uri="{FF2B5EF4-FFF2-40B4-BE49-F238E27FC236}">
                  <a16:creationId xmlns:a16="http://schemas.microsoft.com/office/drawing/2014/main" id="{FE901F2B-9F43-4510-A1A1-39D74E1FAA8F}"/>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2" name="Freeform 1689">
              <a:extLst>
                <a:ext uri="{FF2B5EF4-FFF2-40B4-BE49-F238E27FC236}">
                  <a16:creationId xmlns:a16="http://schemas.microsoft.com/office/drawing/2014/main" id="{EF94F61B-A2B1-4DFB-8F68-B0A787A2557A}"/>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3" name="Freeform 1690">
              <a:extLst>
                <a:ext uri="{FF2B5EF4-FFF2-40B4-BE49-F238E27FC236}">
                  <a16:creationId xmlns:a16="http://schemas.microsoft.com/office/drawing/2014/main" id="{E437FA24-9E05-4DDB-BECB-084ABAEEB967}"/>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4" name="Freeform 1691">
              <a:extLst>
                <a:ext uri="{FF2B5EF4-FFF2-40B4-BE49-F238E27FC236}">
                  <a16:creationId xmlns:a16="http://schemas.microsoft.com/office/drawing/2014/main" id="{B5EA7D41-D9C6-4540-A6EC-AC6304CD77AB}"/>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5" name="Freeform 1692">
              <a:extLst>
                <a:ext uri="{FF2B5EF4-FFF2-40B4-BE49-F238E27FC236}">
                  <a16:creationId xmlns:a16="http://schemas.microsoft.com/office/drawing/2014/main" id="{09F8882C-3CB1-4CE6-A650-AB4A5C2621D5}"/>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6" name="Freeform 1693">
              <a:extLst>
                <a:ext uri="{FF2B5EF4-FFF2-40B4-BE49-F238E27FC236}">
                  <a16:creationId xmlns:a16="http://schemas.microsoft.com/office/drawing/2014/main" id="{B84F99B3-08DE-4B8D-A6E8-07F4962803F8}"/>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7" name="Freeform 1694">
              <a:extLst>
                <a:ext uri="{FF2B5EF4-FFF2-40B4-BE49-F238E27FC236}">
                  <a16:creationId xmlns:a16="http://schemas.microsoft.com/office/drawing/2014/main" id="{23AC9E78-C221-4442-90A8-FCE923B6B805}"/>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8" name="Freeform 1695">
              <a:extLst>
                <a:ext uri="{FF2B5EF4-FFF2-40B4-BE49-F238E27FC236}">
                  <a16:creationId xmlns:a16="http://schemas.microsoft.com/office/drawing/2014/main" id="{879F0209-8ED7-4A4D-9252-6EA7AB8E6C05}"/>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899" name="Freeform 1696">
              <a:extLst>
                <a:ext uri="{FF2B5EF4-FFF2-40B4-BE49-F238E27FC236}">
                  <a16:creationId xmlns:a16="http://schemas.microsoft.com/office/drawing/2014/main" id="{7822B794-D796-4168-A5D7-FFC03DCCED41}"/>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sp>
          <p:nvSpPr>
            <p:cNvPr id="900" name="Freeform 1697">
              <a:extLst>
                <a:ext uri="{FF2B5EF4-FFF2-40B4-BE49-F238E27FC236}">
                  <a16:creationId xmlns:a16="http://schemas.microsoft.com/office/drawing/2014/main" id="{C6EEECD8-0F2F-43B5-AE20-826E1F8BE7AD}"/>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black"/>
                </a:solidFill>
                <a:effectLst/>
                <a:uLnTx/>
                <a:uFillTx/>
                <a:latin typeface="HP Simplified Light"/>
              </a:endParaRPr>
            </a:p>
          </p:txBody>
        </p:sp>
      </p:grpSp>
      <p:graphicFrame>
        <p:nvGraphicFramePr>
          <p:cNvPr id="901" name="Table 900">
            <a:extLst>
              <a:ext uri="{FF2B5EF4-FFF2-40B4-BE49-F238E27FC236}">
                <a16:creationId xmlns:a16="http://schemas.microsoft.com/office/drawing/2014/main" id="{8E381C03-FE1F-4AE9-8A86-EA34CF2E6931}"/>
              </a:ext>
            </a:extLst>
          </p:cNvPr>
          <p:cNvGraphicFramePr>
            <a:graphicFrameLocks noGrp="1"/>
          </p:cNvGraphicFramePr>
          <p:nvPr>
            <p:extLst>
              <p:ext uri="{D42A27DB-BD31-4B8C-83A1-F6EECF244321}">
                <p14:modId xmlns:p14="http://schemas.microsoft.com/office/powerpoint/2010/main" val="1245547356"/>
              </p:ext>
            </p:extLst>
          </p:nvPr>
        </p:nvGraphicFramePr>
        <p:xfrm>
          <a:off x="3556894" y="1611069"/>
          <a:ext cx="1255910" cy="923354"/>
        </p:xfrm>
        <a:graphic>
          <a:graphicData uri="http://schemas.openxmlformats.org/drawingml/2006/table">
            <a:tbl>
              <a:tblPr firstRow="1" bandRow="1"/>
              <a:tblGrid>
                <a:gridCol w="146126">
                  <a:extLst>
                    <a:ext uri="{9D8B030D-6E8A-4147-A177-3AD203B41FA5}">
                      <a16:colId xmlns:a16="http://schemas.microsoft.com/office/drawing/2014/main" val="20000"/>
                    </a:ext>
                  </a:extLst>
                </a:gridCol>
                <a:gridCol w="641218">
                  <a:extLst>
                    <a:ext uri="{9D8B030D-6E8A-4147-A177-3AD203B41FA5}">
                      <a16:colId xmlns:a16="http://schemas.microsoft.com/office/drawing/2014/main" val="20001"/>
                    </a:ext>
                  </a:extLst>
                </a:gridCol>
                <a:gridCol w="234283">
                  <a:extLst>
                    <a:ext uri="{9D8B030D-6E8A-4147-A177-3AD203B41FA5}">
                      <a16:colId xmlns:a16="http://schemas.microsoft.com/office/drawing/2014/main" val="20002"/>
                    </a:ext>
                  </a:extLst>
                </a:gridCol>
                <a:gridCol w="234283">
                  <a:extLst>
                    <a:ext uri="{9D8B030D-6E8A-4147-A177-3AD203B41FA5}">
                      <a16:colId xmlns:a16="http://schemas.microsoft.com/office/drawing/2014/main" val="20003"/>
                    </a:ext>
                  </a:extLst>
                </a:gridCol>
              </a:tblGrid>
              <a:tr h="116411">
                <a:tc gridSpan="4">
                  <a:txBody>
                    <a:bodyPr/>
                    <a:lstStyle>
                      <a:lvl1pPr marL="0" algn="l" defTabSz="914400" rtl="0" eaLnBrk="1" latinLnBrk="0" hangingPunct="1">
                        <a:defRPr sz="1800" b="1" kern="1200">
                          <a:solidFill>
                            <a:schemeClr val="lt1"/>
                          </a:solidFill>
                          <a:latin typeface="HP Simplified Light"/>
                        </a:defRPr>
                      </a:lvl1pPr>
                      <a:lvl2pPr marL="457200" algn="l" defTabSz="914400" rtl="0" eaLnBrk="1" latinLnBrk="0" hangingPunct="1">
                        <a:defRPr sz="1800" b="1" kern="1200">
                          <a:solidFill>
                            <a:schemeClr val="lt1"/>
                          </a:solidFill>
                          <a:latin typeface="HP Simplified Light"/>
                        </a:defRPr>
                      </a:lvl2pPr>
                      <a:lvl3pPr marL="914400" algn="l" defTabSz="914400" rtl="0" eaLnBrk="1" latinLnBrk="0" hangingPunct="1">
                        <a:defRPr sz="1800" b="1" kern="1200">
                          <a:solidFill>
                            <a:schemeClr val="lt1"/>
                          </a:solidFill>
                          <a:latin typeface="HP Simplified Light"/>
                        </a:defRPr>
                      </a:lvl3pPr>
                      <a:lvl4pPr marL="1371600" algn="l" defTabSz="914400" rtl="0" eaLnBrk="1" latinLnBrk="0" hangingPunct="1">
                        <a:defRPr sz="1800" b="1" kern="1200">
                          <a:solidFill>
                            <a:schemeClr val="lt1"/>
                          </a:solidFill>
                          <a:latin typeface="HP Simplified Light"/>
                        </a:defRPr>
                      </a:lvl4pPr>
                      <a:lvl5pPr marL="1828800" algn="l" defTabSz="914400" rtl="0" eaLnBrk="1" latinLnBrk="0" hangingPunct="1">
                        <a:defRPr sz="1800" b="1" kern="1200">
                          <a:solidFill>
                            <a:schemeClr val="lt1"/>
                          </a:solidFill>
                          <a:latin typeface="HP Simplified Light"/>
                        </a:defRPr>
                      </a:lvl5pPr>
                      <a:lvl6pPr marL="2286000" algn="l" defTabSz="914400" rtl="0" eaLnBrk="1" latinLnBrk="0" hangingPunct="1">
                        <a:defRPr sz="1800" b="1" kern="1200">
                          <a:solidFill>
                            <a:schemeClr val="lt1"/>
                          </a:solidFill>
                          <a:latin typeface="HP Simplified Light"/>
                        </a:defRPr>
                      </a:lvl6pPr>
                      <a:lvl7pPr marL="2743200" algn="l" defTabSz="914400" rtl="0" eaLnBrk="1" latinLnBrk="0" hangingPunct="1">
                        <a:defRPr sz="1800" b="1" kern="1200">
                          <a:solidFill>
                            <a:schemeClr val="lt1"/>
                          </a:solidFill>
                          <a:latin typeface="HP Simplified Light"/>
                        </a:defRPr>
                      </a:lvl7pPr>
                      <a:lvl8pPr marL="3200400" algn="l" defTabSz="914400" rtl="0" eaLnBrk="1" latinLnBrk="0" hangingPunct="1">
                        <a:defRPr sz="1800" b="1" kern="1200">
                          <a:solidFill>
                            <a:schemeClr val="lt1"/>
                          </a:solidFill>
                          <a:latin typeface="HP Simplified Light"/>
                        </a:defRPr>
                      </a:lvl8pPr>
                      <a:lvl9pPr marL="3657600" algn="l" defTabSz="914400" rtl="0" eaLnBrk="1" latinLnBrk="0" hangingPunct="1">
                        <a:defRPr sz="1800" b="1" kern="1200">
                          <a:solidFill>
                            <a:schemeClr val="lt1"/>
                          </a:solidFill>
                          <a:latin typeface="HP Simplified Light"/>
                        </a:defRPr>
                      </a:lvl9pPr>
                    </a:lstStyle>
                    <a:p>
                      <a:pPr algn="ctr">
                        <a:lnSpc>
                          <a:spcPct val="90000"/>
                        </a:lnSpc>
                        <a:spcAft>
                          <a:spcPts val="200"/>
                        </a:spcAft>
                      </a:pPr>
                      <a:r>
                        <a:rPr lang="en-US" sz="500" dirty="0"/>
                        <a:t>Product Backlog</a:t>
                      </a:r>
                    </a:p>
                  </a:txBody>
                  <a:tcPr marL="66036" marR="66036" marT="33018" marB="33018">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07324">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400" b="1" dirty="0">
                          <a:solidFill>
                            <a:schemeClr val="bg1"/>
                          </a:solidFill>
                        </a:rPr>
                        <a:t>Pri</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400" b="1" dirty="0">
                          <a:solidFill>
                            <a:schemeClr val="bg1"/>
                          </a:solidFill>
                        </a:rPr>
                        <a:t>User</a:t>
                      </a:r>
                      <a:r>
                        <a:rPr lang="en-US" sz="400" b="1" baseline="0" dirty="0">
                          <a:solidFill>
                            <a:schemeClr val="bg1"/>
                          </a:solidFill>
                        </a:rPr>
                        <a:t> </a:t>
                      </a:r>
                      <a:r>
                        <a:rPr lang="en-US" sz="400" b="1" dirty="0">
                          <a:solidFill>
                            <a:schemeClr val="bg1"/>
                          </a:solidFill>
                        </a:rPr>
                        <a:t>Story</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400" b="1" dirty="0">
                          <a:solidFill>
                            <a:schemeClr val="bg1"/>
                          </a:solidFill>
                        </a:rPr>
                        <a:t>Est.</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400" b="1" dirty="0">
                          <a:solidFill>
                            <a:schemeClr val="bg1"/>
                          </a:solidFill>
                        </a:rPr>
                        <a:t>Rdy?</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extLst>
                  <a:ext uri="{0D108BD9-81ED-4DB2-BD59-A6C34878D82A}">
                    <a16:rowId xmlns:a16="http://schemas.microsoft.com/office/drawing/2014/main" val="10001"/>
                  </a:ext>
                </a:extLst>
              </a:tr>
              <a:tr h="114990">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1</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r>
                        <a:rPr lang="en-US" sz="500" dirty="0">
                          <a:solidFill>
                            <a:schemeClr val="bg1"/>
                          </a:solidFill>
                        </a:rPr>
                        <a:t>User Story 12</a:t>
                      </a:r>
                    </a:p>
                  </a:txBody>
                  <a:tcPr marL="18829"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5</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marL="228600" indent="-228600" algn="l">
                        <a:buFont typeface="Wingdings" panose="05000000000000000000" pitchFamily="2" charset="2"/>
                        <a:buChar char="ü"/>
                      </a:pPr>
                      <a:r>
                        <a:rPr lang="en-US" sz="500" dirty="0">
                          <a:solidFill>
                            <a:schemeClr val="bg1"/>
                          </a:solidFill>
                        </a:rPr>
                        <a:t> </a:t>
                      </a:r>
                    </a:p>
                  </a:txBody>
                  <a:tcPr marL="65851"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extLst>
                  <a:ext uri="{0D108BD9-81ED-4DB2-BD59-A6C34878D82A}">
                    <a16:rowId xmlns:a16="http://schemas.microsoft.com/office/drawing/2014/main" val="10002"/>
                  </a:ext>
                </a:extLst>
              </a:tr>
              <a:tr h="114990">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2</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r>
                        <a:rPr lang="en-US" sz="500" dirty="0">
                          <a:solidFill>
                            <a:schemeClr val="bg1"/>
                          </a:solidFill>
                        </a:rPr>
                        <a:t>User Story  23</a:t>
                      </a:r>
                    </a:p>
                  </a:txBody>
                  <a:tcPr marL="18829"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3</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marL="171450" indent="-171450" algn="l">
                        <a:buFont typeface="Wingdings" panose="05000000000000000000" pitchFamily="2" charset="2"/>
                        <a:buChar char="ü"/>
                      </a:pPr>
                      <a:r>
                        <a:rPr lang="en-US" sz="500" dirty="0">
                          <a:solidFill>
                            <a:schemeClr val="bg1"/>
                          </a:solidFill>
                        </a:rPr>
                        <a:t>  </a:t>
                      </a:r>
                    </a:p>
                  </a:txBody>
                  <a:tcPr marL="65851"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extLst>
                  <a:ext uri="{0D108BD9-81ED-4DB2-BD59-A6C34878D82A}">
                    <a16:rowId xmlns:a16="http://schemas.microsoft.com/office/drawing/2014/main" val="10003"/>
                  </a:ext>
                </a:extLst>
              </a:tr>
              <a:tr h="114990">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3</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r>
                        <a:rPr lang="en-US" sz="500" dirty="0">
                          <a:solidFill>
                            <a:schemeClr val="bg1"/>
                          </a:solidFill>
                        </a:rPr>
                        <a:t>User Story 9</a:t>
                      </a:r>
                    </a:p>
                  </a:txBody>
                  <a:tcPr marL="18829"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8</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marL="171450" indent="-171450" algn="l">
                        <a:buFont typeface="Wingdings" panose="05000000000000000000" pitchFamily="2" charset="2"/>
                        <a:buChar char="ü"/>
                      </a:pPr>
                      <a:r>
                        <a:rPr lang="en-US" sz="500" dirty="0">
                          <a:solidFill>
                            <a:schemeClr val="bg1"/>
                          </a:solidFill>
                        </a:rPr>
                        <a:t> </a:t>
                      </a:r>
                    </a:p>
                  </a:txBody>
                  <a:tcPr marL="65851"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extLst>
                  <a:ext uri="{0D108BD9-81ED-4DB2-BD59-A6C34878D82A}">
                    <a16:rowId xmlns:a16="http://schemas.microsoft.com/office/drawing/2014/main" val="10004"/>
                  </a:ext>
                </a:extLst>
              </a:tr>
              <a:tr h="114990">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4</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r>
                        <a:rPr lang="en-US" sz="500" dirty="0">
                          <a:solidFill>
                            <a:schemeClr val="bg1"/>
                          </a:solidFill>
                        </a:rPr>
                        <a:t>User Story 5</a:t>
                      </a:r>
                    </a:p>
                  </a:txBody>
                  <a:tcPr marL="18829"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1</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marL="0" indent="0" algn="l">
                        <a:buFont typeface="Wingdings" panose="05000000000000000000" pitchFamily="2" charset="2"/>
                        <a:buNone/>
                      </a:pPr>
                      <a:r>
                        <a:rPr lang="en-US" sz="500" dirty="0">
                          <a:solidFill>
                            <a:schemeClr val="bg1"/>
                          </a:solidFill>
                        </a:rPr>
                        <a:t>--</a:t>
                      </a:r>
                      <a:r>
                        <a:rPr lang="en-US" sz="500" baseline="0" dirty="0">
                          <a:solidFill>
                            <a:schemeClr val="bg1"/>
                          </a:solidFill>
                        </a:rPr>
                        <a:t> </a:t>
                      </a:r>
                      <a:endParaRPr lang="en-US" sz="500" dirty="0">
                        <a:solidFill>
                          <a:schemeClr val="bg1"/>
                        </a:solidFill>
                      </a:endParaRPr>
                    </a:p>
                  </a:txBody>
                  <a:tcPr marL="65851"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extLst>
                  <a:ext uri="{0D108BD9-81ED-4DB2-BD59-A6C34878D82A}">
                    <a16:rowId xmlns:a16="http://schemas.microsoft.com/office/drawing/2014/main" val="10005"/>
                  </a:ext>
                </a:extLst>
              </a:tr>
              <a:tr h="114990">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5</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r>
                        <a:rPr lang="en-US" sz="500" dirty="0">
                          <a:solidFill>
                            <a:schemeClr val="bg1"/>
                          </a:solidFill>
                        </a:rPr>
                        <a:t>User Story 18</a:t>
                      </a:r>
                    </a:p>
                  </a:txBody>
                  <a:tcPr marL="18829"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2</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marL="171450" indent="-171450" algn="l">
                        <a:buFont typeface="Wingdings" panose="05000000000000000000" pitchFamily="2" charset="2"/>
                        <a:buChar char="ü"/>
                      </a:pPr>
                      <a:r>
                        <a:rPr lang="en-US" sz="500" dirty="0">
                          <a:solidFill>
                            <a:schemeClr val="bg1"/>
                          </a:solidFill>
                        </a:rPr>
                        <a:t> </a:t>
                      </a:r>
                    </a:p>
                  </a:txBody>
                  <a:tcPr marL="65851"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extLst>
                  <a:ext uri="{0D108BD9-81ED-4DB2-BD59-A6C34878D82A}">
                    <a16:rowId xmlns:a16="http://schemas.microsoft.com/office/drawing/2014/main" val="10006"/>
                  </a:ext>
                </a:extLst>
              </a:tr>
              <a:tr h="106464">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6</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r>
                        <a:rPr lang="en-US" sz="500" dirty="0">
                          <a:solidFill>
                            <a:schemeClr val="bg1"/>
                          </a:solidFill>
                        </a:rPr>
                        <a:t>User Story 19</a:t>
                      </a:r>
                    </a:p>
                  </a:txBody>
                  <a:tcPr marL="18829"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algn="ctr"/>
                      <a:r>
                        <a:rPr lang="en-US" sz="500" dirty="0">
                          <a:solidFill>
                            <a:schemeClr val="bg1"/>
                          </a:solidFill>
                        </a:rPr>
                        <a:t>13</a:t>
                      </a:r>
                    </a:p>
                  </a:txBody>
                  <a:tcPr marL="0"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tc>
                  <a:txBody>
                    <a:bodyPr/>
                    <a:lstStyle>
                      <a:lvl1pPr marL="0" algn="l" defTabSz="914400" rtl="0" eaLnBrk="1" latinLnBrk="0" hangingPunct="1">
                        <a:defRPr sz="1800" kern="1200">
                          <a:solidFill>
                            <a:schemeClr val="dk1"/>
                          </a:solidFill>
                          <a:latin typeface="HP Simplified Light"/>
                        </a:defRPr>
                      </a:lvl1pPr>
                      <a:lvl2pPr marL="457200" algn="l" defTabSz="914400" rtl="0" eaLnBrk="1" latinLnBrk="0" hangingPunct="1">
                        <a:defRPr sz="1800" kern="1200">
                          <a:solidFill>
                            <a:schemeClr val="dk1"/>
                          </a:solidFill>
                          <a:latin typeface="HP Simplified Light"/>
                        </a:defRPr>
                      </a:lvl2pPr>
                      <a:lvl3pPr marL="914400" algn="l" defTabSz="914400" rtl="0" eaLnBrk="1" latinLnBrk="0" hangingPunct="1">
                        <a:defRPr sz="1800" kern="1200">
                          <a:solidFill>
                            <a:schemeClr val="dk1"/>
                          </a:solidFill>
                          <a:latin typeface="HP Simplified Light"/>
                        </a:defRPr>
                      </a:lvl3pPr>
                      <a:lvl4pPr marL="1371600" algn="l" defTabSz="914400" rtl="0" eaLnBrk="1" latinLnBrk="0" hangingPunct="1">
                        <a:defRPr sz="1800" kern="1200">
                          <a:solidFill>
                            <a:schemeClr val="dk1"/>
                          </a:solidFill>
                          <a:latin typeface="HP Simplified Light"/>
                        </a:defRPr>
                      </a:lvl4pPr>
                      <a:lvl5pPr marL="1828800" algn="l" defTabSz="914400" rtl="0" eaLnBrk="1" latinLnBrk="0" hangingPunct="1">
                        <a:defRPr sz="1800" kern="1200">
                          <a:solidFill>
                            <a:schemeClr val="dk1"/>
                          </a:solidFill>
                          <a:latin typeface="HP Simplified Light"/>
                        </a:defRPr>
                      </a:lvl5pPr>
                      <a:lvl6pPr marL="2286000" algn="l" defTabSz="914400" rtl="0" eaLnBrk="1" latinLnBrk="0" hangingPunct="1">
                        <a:defRPr sz="1800" kern="1200">
                          <a:solidFill>
                            <a:schemeClr val="dk1"/>
                          </a:solidFill>
                          <a:latin typeface="HP Simplified Light"/>
                        </a:defRPr>
                      </a:lvl6pPr>
                      <a:lvl7pPr marL="2743200" algn="l" defTabSz="914400" rtl="0" eaLnBrk="1" latinLnBrk="0" hangingPunct="1">
                        <a:defRPr sz="1800" kern="1200">
                          <a:solidFill>
                            <a:schemeClr val="dk1"/>
                          </a:solidFill>
                          <a:latin typeface="HP Simplified Light"/>
                        </a:defRPr>
                      </a:lvl7pPr>
                      <a:lvl8pPr marL="3200400" algn="l" defTabSz="914400" rtl="0" eaLnBrk="1" latinLnBrk="0" hangingPunct="1">
                        <a:defRPr sz="1800" kern="1200">
                          <a:solidFill>
                            <a:schemeClr val="dk1"/>
                          </a:solidFill>
                          <a:latin typeface="HP Simplified Light"/>
                        </a:defRPr>
                      </a:lvl8pPr>
                      <a:lvl9pPr marL="3657600" algn="l" defTabSz="914400" rtl="0" eaLnBrk="1" latinLnBrk="0" hangingPunct="1">
                        <a:defRPr sz="1800" kern="1200">
                          <a:solidFill>
                            <a:schemeClr val="dk1"/>
                          </a:solidFill>
                          <a:latin typeface="HP Simplified Light"/>
                        </a:defRPr>
                      </a:lvl9pPr>
                    </a:lstStyle>
                    <a:p>
                      <a:pPr marL="0" indent="0" algn="l">
                        <a:buFont typeface="Wingdings" panose="05000000000000000000" pitchFamily="2" charset="2"/>
                        <a:buNone/>
                      </a:pPr>
                      <a:r>
                        <a:rPr lang="en-US" sz="500" dirty="0">
                          <a:solidFill>
                            <a:schemeClr val="bg1"/>
                          </a:solidFill>
                        </a:rPr>
                        <a:t>--</a:t>
                      </a:r>
                      <a:r>
                        <a:rPr lang="en-US" sz="500" baseline="0" dirty="0">
                          <a:solidFill>
                            <a:schemeClr val="bg1"/>
                          </a:solidFill>
                        </a:rPr>
                        <a:t> </a:t>
                      </a:r>
                      <a:endParaRPr lang="en-US" sz="500" dirty="0">
                        <a:solidFill>
                          <a:schemeClr val="bg1"/>
                        </a:solidFill>
                      </a:endParaRPr>
                    </a:p>
                  </a:txBody>
                  <a:tcPr marL="65851" marR="0" marT="14711" marB="14711">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6D6">
                        <a:lumMod val="75000"/>
                      </a:srgbClr>
                    </a:solidFill>
                  </a:tcPr>
                </a:tc>
                <a:extLst>
                  <a:ext uri="{0D108BD9-81ED-4DB2-BD59-A6C34878D82A}">
                    <a16:rowId xmlns:a16="http://schemas.microsoft.com/office/drawing/2014/main" val="10007"/>
                  </a:ext>
                </a:extLst>
              </a:tr>
            </a:tbl>
          </a:graphicData>
        </a:graphic>
      </p:graphicFrame>
      <p:cxnSp>
        <p:nvCxnSpPr>
          <p:cNvPr id="902" name="Straight Arrow Connector 901">
            <a:extLst>
              <a:ext uri="{FF2B5EF4-FFF2-40B4-BE49-F238E27FC236}">
                <a16:creationId xmlns:a16="http://schemas.microsoft.com/office/drawing/2014/main" id="{256585F1-CA62-490D-AF92-C476B4B8043F}"/>
              </a:ext>
            </a:extLst>
          </p:cNvPr>
          <p:cNvCxnSpPr>
            <a:cxnSpLocks/>
          </p:cNvCxnSpPr>
          <p:nvPr/>
        </p:nvCxnSpPr>
        <p:spPr>
          <a:xfrm>
            <a:off x="4835232" y="2015127"/>
            <a:ext cx="274320" cy="0"/>
          </a:xfrm>
          <a:prstGeom prst="straightConnector1">
            <a:avLst/>
          </a:prstGeom>
          <a:noFill/>
          <a:ln w="19050" cap="flat" cmpd="sng" algn="ctr">
            <a:solidFill>
              <a:sysClr val="windowText" lastClr="000000"/>
            </a:solidFill>
            <a:prstDash val="solid"/>
            <a:miter lim="800000"/>
            <a:tailEnd type="triangle"/>
          </a:ln>
          <a:effectLst/>
        </p:spPr>
      </p:cxnSp>
      <p:cxnSp>
        <p:nvCxnSpPr>
          <p:cNvPr id="903" name="Straight Arrow Connector 902">
            <a:extLst>
              <a:ext uri="{FF2B5EF4-FFF2-40B4-BE49-F238E27FC236}">
                <a16:creationId xmlns:a16="http://schemas.microsoft.com/office/drawing/2014/main" id="{D5445C7C-6E74-411A-AB93-ACEB02C47404}"/>
              </a:ext>
            </a:extLst>
          </p:cNvPr>
          <p:cNvCxnSpPr>
            <a:cxnSpLocks/>
          </p:cNvCxnSpPr>
          <p:nvPr/>
        </p:nvCxnSpPr>
        <p:spPr>
          <a:xfrm>
            <a:off x="10610609" y="2073578"/>
            <a:ext cx="274320" cy="0"/>
          </a:xfrm>
          <a:prstGeom prst="straightConnector1">
            <a:avLst/>
          </a:prstGeom>
          <a:noFill/>
          <a:ln w="19050" cap="flat" cmpd="sng" algn="ctr">
            <a:solidFill>
              <a:sysClr val="windowText" lastClr="000000"/>
            </a:solidFill>
            <a:prstDash val="solid"/>
            <a:miter lim="800000"/>
            <a:tailEnd type="triangle"/>
          </a:ln>
          <a:effectLst/>
        </p:spPr>
      </p:cxnSp>
      <p:sp>
        <p:nvSpPr>
          <p:cNvPr id="904" name="TextBox 903">
            <a:extLst>
              <a:ext uri="{FF2B5EF4-FFF2-40B4-BE49-F238E27FC236}">
                <a16:creationId xmlns:a16="http://schemas.microsoft.com/office/drawing/2014/main" id="{2BA7D175-5C80-4ACD-944D-FA3FB2A8A279}"/>
              </a:ext>
            </a:extLst>
          </p:cNvPr>
          <p:cNvSpPr txBox="1"/>
          <p:nvPr/>
        </p:nvSpPr>
        <p:spPr>
          <a:xfrm>
            <a:off x="3581330" y="2545678"/>
            <a:ext cx="1236271" cy="146643"/>
          </a:xfrm>
          <a:prstGeom prst="rect">
            <a:avLst/>
          </a:prstGeom>
          <a:noFill/>
        </p:spPr>
        <p:txBody>
          <a:bodyPr wrap="square" lIns="0" tIns="0" rIns="0" bIns="0" rtlCol="0">
            <a:spAutoFit/>
          </a:bodyPr>
          <a:lstStyle/>
          <a:p>
            <a:pPr algn="ctr">
              <a:buSzPct val="100000"/>
            </a:pPr>
            <a:r>
              <a:rPr lang="en-US" sz="953" b="1" dirty="0">
                <a:latin typeface="HP Simplified Light"/>
                <a:ea typeface="Open Sans" panose="020B0606030504020204" pitchFamily="34" charset="0"/>
                <a:cs typeface="Open Sans" panose="020B0606030504020204" pitchFamily="34" charset="0"/>
              </a:rPr>
              <a:t>Product Backlog</a:t>
            </a:r>
          </a:p>
        </p:txBody>
      </p:sp>
      <p:sp>
        <p:nvSpPr>
          <p:cNvPr id="961" name="Rectangle 960">
            <a:extLst>
              <a:ext uri="{FF2B5EF4-FFF2-40B4-BE49-F238E27FC236}">
                <a16:creationId xmlns:a16="http://schemas.microsoft.com/office/drawing/2014/main" id="{123A1011-1A18-4627-9BBF-823BDB765FD6}"/>
              </a:ext>
            </a:extLst>
          </p:cNvPr>
          <p:cNvSpPr/>
          <p:nvPr/>
        </p:nvSpPr>
        <p:spPr bwMode="gray">
          <a:xfrm>
            <a:off x="8411943" y="4022716"/>
            <a:ext cx="3436116" cy="2187584"/>
          </a:xfrm>
          <a:prstGeom prst="rect">
            <a:avLst/>
          </a:prstGeom>
          <a:solidFill>
            <a:schemeClr val="tx2">
              <a:lumMod val="20000"/>
              <a:lumOff val="80000"/>
            </a:schemeClr>
          </a:solidFill>
          <a:ln w="3175" algn="ctr">
            <a:noFill/>
            <a:prstDash val="sysDash"/>
            <a:miter lim="800000"/>
            <a:headEnd/>
            <a:tailEnd/>
          </a:ln>
        </p:spPr>
        <p:txBody>
          <a:bodyPr wrap="square" lIns="68728" tIns="68728" rIns="68728" bIns="68728" rtlCol="0" anchor="t">
            <a:noAutofit/>
          </a:bodyPr>
          <a:lstStyle/>
          <a:p>
            <a:pPr marL="0" lvl="1" defTabSz="916502">
              <a:spcAft>
                <a:spcPts val="226"/>
              </a:spcAft>
              <a:defRPr/>
            </a:pPr>
            <a:r>
              <a:rPr lang="en-US" sz="1400" dirty="0">
                <a:solidFill>
                  <a:prstClr val="black"/>
                </a:solidFill>
                <a:ea typeface="Tahoma" panose="020B0604030504040204" pitchFamily="34" charset="0"/>
                <a:cs typeface="Tahoma" panose="020B0604030504040204" pitchFamily="34" charset="0"/>
              </a:rPr>
              <a:t>A User Story is done when:</a:t>
            </a:r>
          </a:p>
          <a:p>
            <a:pPr marL="162350" lvl="2" indent="-128865" defTabSz="916502">
              <a:spcAft>
                <a:spcPts val="226"/>
              </a:spcAft>
              <a:buFont typeface="Arial" panose="020B0604020202020204" pitchFamily="34" charset="0"/>
              <a:buChar char="•"/>
              <a:defRPr/>
            </a:pPr>
            <a:r>
              <a:rPr lang="en-US" sz="1400" dirty="0">
                <a:solidFill>
                  <a:prstClr val="black"/>
                </a:solidFill>
                <a:ea typeface="Tahoma" panose="020B0604030504040204" pitchFamily="34" charset="0"/>
                <a:cs typeface="Tahoma" panose="020B0604030504040204" pitchFamily="34" charset="0"/>
              </a:rPr>
              <a:t>Solution developed – all Tasks completed (development, testing, quality review)</a:t>
            </a:r>
          </a:p>
          <a:p>
            <a:pPr marL="162350" lvl="2" indent="-128865" defTabSz="916502">
              <a:spcAft>
                <a:spcPts val="226"/>
              </a:spcAft>
              <a:buFont typeface="Arial" panose="020B0604020202020204" pitchFamily="34" charset="0"/>
              <a:buChar char="•"/>
              <a:defRPr/>
            </a:pPr>
            <a:r>
              <a:rPr lang="en-US" sz="1400" dirty="0">
                <a:solidFill>
                  <a:prstClr val="black"/>
                </a:solidFill>
                <a:ea typeface="Tahoma" panose="020B0604030504040204" pitchFamily="34" charset="0"/>
                <a:cs typeface="Tahoma" panose="020B0604030504040204" pitchFamily="34" charset="0"/>
              </a:rPr>
              <a:t>Solution has been reviewed and confirmed by the Product Owner as meeting Acceptance Criteria</a:t>
            </a:r>
          </a:p>
          <a:p>
            <a:pPr marL="162350" lvl="2" indent="-128865" defTabSz="916502">
              <a:spcAft>
                <a:spcPts val="226"/>
              </a:spcAft>
              <a:buFont typeface="Arial" panose="020B0604020202020204" pitchFamily="34" charset="0"/>
              <a:buChar char="•"/>
              <a:defRPr/>
            </a:pPr>
            <a:r>
              <a:rPr lang="en-US" sz="1400" dirty="0">
                <a:solidFill>
                  <a:prstClr val="black"/>
                </a:solidFill>
                <a:ea typeface="Tahoma" panose="020B0604030504040204" pitchFamily="34" charset="0"/>
                <a:cs typeface="Tahoma" panose="020B0604030504040204" pitchFamily="34" charset="0"/>
              </a:rPr>
              <a:t>Documentation developed</a:t>
            </a:r>
          </a:p>
          <a:p>
            <a:pPr marL="162350" lvl="2" indent="-128865" defTabSz="916502">
              <a:spcAft>
                <a:spcPts val="226"/>
              </a:spcAft>
              <a:buFont typeface="Arial" panose="020B0604020202020204" pitchFamily="34" charset="0"/>
              <a:buChar char="•"/>
              <a:defRPr/>
            </a:pPr>
            <a:r>
              <a:rPr lang="en-US" sz="1400" dirty="0">
                <a:solidFill>
                  <a:prstClr val="black"/>
                </a:solidFill>
                <a:ea typeface="Tahoma" panose="020B0604030504040204" pitchFamily="34" charset="0"/>
                <a:cs typeface="Tahoma" panose="020B0604030504040204" pitchFamily="34" charset="0"/>
              </a:rPr>
              <a:t>Change Impacts have been identified and logged</a:t>
            </a:r>
          </a:p>
          <a:p>
            <a:pPr defTabSz="916358">
              <a:lnSpc>
                <a:spcPts val="1128"/>
              </a:lnSpc>
              <a:spcBef>
                <a:spcPts val="451"/>
              </a:spcBef>
              <a:spcAft>
                <a:spcPts val="150"/>
              </a:spcAft>
              <a:buSzPct val="100000"/>
              <a:defRPr/>
            </a:pPr>
            <a:endParaRPr lang="en-US" sz="1400" b="1" dirty="0">
              <a:solidFill>
                <a:prstClr val="black"/>
              </a:solidFill>
            </a:endParaRPr>
          </a:p>
        </p:txBody>
      </p:sp>
      <p:sp>
        <p:nvSpPr>
          <p:cNvPr id="962" name="Rectangle 961">
            <a:extLst>
              <a:ext uri="{FF2B5EF4-FFF2-40B4-BE49-F238E27FC236}">
                <a16:creationId xmlns:a16="http://schemas.microsoft.com/office/drawing/2014/main" id="{08681FAC-2808-4FE0-96EE-835A74E200B5}"/>
              </a:ext>
            </a:extLst>
          </p:cNvPr>
          <p:cNvSpPr/>
          <p:nvPr/>
        </p:nvSpPr>
        <p:spPr bwMode="gray">
          <a:xfrm>
            <a:off x="3824248" y="4022716"/>
            <a:ext cx="3436116" cy="2187584"/>
          </a:xfrm>
          <a:prstGeom prst="rect">
            <a:avLst/>
          </a:prstGeom>
          <a:solidFill>
            <a:schemeClr val="tx2">
              <a:lumMod val="20000"/>
              <a:lumOff val="80000"/>
            </a:schemeClr>
          </a:solidFill>
          <a:ln w="3175" algn="ctr">
            <a:noFill/>
            <a:prstDash val="sysDash"/>
            <a:miter lim="800000"/>
            <a:headEnd/>
            <a:tailEnd/>
          </a:ln>
        </p:spPr>
        <p:txBody>
          <a:bodyPr wrap="square" lIns="68728" tIns="68728" rIns="68728" bIns="68728" rtlCol="0" anchor="t">
            <a:noAutofit/>
          </a:bodyPr>
          <a:lstStyle/>
          <a:p>
            <a:pPr marL="0" lvl="1" defTabSz="916502">
              <a:spcAft>
                <a:spcPts val="226"/>
              </a:spcAft>
              <a:defRPr/>
            </a:pPr>
            <a:r>
              <a:rPr lang="en-US" sz="1400" dirty="0">
                <a:solidFill>
                  <a:prstClr val="black"/>
                </a:solidFill>
                <a:ea typeface="Tahoma" panose="020B0604030504040204" pitchFamily="34" charset="0"/>
                <a:cs typeface="Tahoma" panose="020B0604030504040204" pitchFamily="34" charset="0"/>
              </a:rPr>
              <a:t>A User Story is ready when:</a:t>
            </a:r>
          </a:p>
          <a:p>
            <a:pPr marL="162350" lvl="2" indent="-128865" defTabSz="916502">
              <a:spcAft>
                <a:spcPts val="226"/>
              </a:spcAft>
              <a:buFont typeface="Arial" panose="020B0604020202020204" pitchFamily="34" charset="0"/>
              <a:buChar char="•"/>
              <a:defRPr/>
            </a:pPr>
            <a:r>
              <a:rPr lang="en-US" sz="1400" dirty="0">
                <a:solidFill>
                  <a:prstClr val="black"/>
                </a:solidFill>
                <a:ea typeface="Tahoma" panose="020B0604030504040204" pitchFamily="34" charset="0"/>
                <a:cs typeface="Tahoma" panose="020B0604030504040204" pitchFamily="34" charset="0"/>
              </a:rPr>
              <a:t>User story defined, the Scrum Team had the opportunity to review and discuss it</a:t>
            </a:r>
          </a:p>
          <a:p>
            <a:pPr marL="162350" lvl="2" indent="-128865" defTabSz="916502">
              <a:spcAft>
                <a:spcPts val="226"/>
              </a:spcAft>
              <a:buFont typeface="Arial" panose="020B0604020202020204" pitchFamily="34" charset="0"/>
              <a:buChar char="•"/>
              <a:defRPr/>
            </a:pPr>
            <a:r>
              <a:rPr lang="en-US" sz="1400" dirty="0">
                <a:solidFill>
                  <a:prstClr val="black"/>
                </a:solidFill>
                <a:ea typeface="Tahoma" panose="020B0604030504040204" pitchFamily="34" charset="0"/>
                <a:cs typeface="Tahoma" panose="020B0604030504040204" pitchFamily="34" charset="0"/>
              </a:rPr>
              <a:t>Acceptance criteria is well defined, clear and concise. Acceptance is written in Given... When... Then... Format</a:t>
            </a:r>
          </a:p>
          <a:p>
            <a:pPr marL="162350" lvl="2" indent="-128865" defTabSz="916502">
              <a:spcAft>
                <a:spcPts val="226"/>
              </a:spcAft>
              <a:buFont typeface="Arial" panose="020B0604020202020204" pitchFamily="34" charset="0"/>
              <a:buChar char="•"/>
              <a:defRPr/>
            </a:pPr>
            <a:r>
              <a:rPr lang="en-US" sz="1400" dirty="0">
                <a:solidFill>
                  <a:prstClr val="black"/>
                </a:solidFill>
                <a:ea typeface="Tahoma" panose="020B0604030504040204" pitchFamily="34" charset="0"/>
                <a:cs typeface="Tahoma" panose="020B0604030504040204" pitchFamily="34" charset="0"/>
              </a:rPr>
              <a:t>Business value is clearly articulated</a:t>
            </a:r>
          </a:p>
          <a:p>
            <a:pPr defTabSz="916358">
              <a:lnSpc>
                <a:spcPts val="1128"/>
              </a:lnSpc>
              <a:spcBef>
                <a:spcPts val="451"/>
              </a:spcBef>
              <a:spcAft>
                <a:spcPts val="150"/>
              </a:spcAft>
              <a:buSzPct val="100000"/>
              <a:defRPr/>
            </a:pPr>
            <a:endParaRPr lang="en-US" sz="1400" b="1" dirty="0">
              <a:solidFill>
                <a:prstClr val="black"/>
              </a:solidFill>
            </a:endParaRPr>
          </a:p>
        </p:txBody>
      </p:sp>
    </p:spTree>
    <p:custDataLst>
      <p:tags r:id="rId1"/>
    </p:custDataLst>
    <p:extLst>
      <p:ext uri="{BB962C8B-B14F-4D97-AF65-F5344CB8AC3E}">
        <p14:creationId xmlns:p14="http://schemas.microsoft.com/office/powerpoint/2010/main" val="203576551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7" name="Rectangle 836">
            <a:extLst>
              <a:ext uri="{FF2B5EF4-FFF2-40B4-BE49-F238E27FC236}">
                <a16:creationId xmlns:a16="http://schemas.microsoft.com/office/drawing/2014/main" id="{B17B4C67-C2F1-466A-A482-F892C40E3ABC}"/>
              </a:ext>
            </a:extLst>
          </p:cNvPr>
          <p:cNvSpPr/>
          <p:nvPr/>
        </p:nvSpPr>
        <p:spPr bwMode="gray">
          <a:xfrm>
            <a:off x="1002977" y="2948460"/>
            <a:ext cx="2071444" cy="1445440"/>
          </a:xfrm>
          <a:prstGeom prst="rect">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itle 3">
            <a:extLst>
              <a:ext uri="{FF2B5EF4-FFF2-40B4-BE49-F238E27FC236}">
                <a16:creationId xmlns:a16="http://schemas.microsoft.com/office/drawing/2014/main" id="{A21F36B2-2A37-4842-A8E4-8168BE7C77FB}"/>
              </a:ext>
            </a:extLst>
          </p:cNvPr>
          <p:cNvSpPr>
            <a:spLocks noGrp="1"/>
          </p:cNvSpPr>
          <p:nvPr>
            <p:ph type="title"/>
          </p:nvPr>
        </p:nvSpPr>
        <p:spPr/>
        <p:txBody>
          <a:bodyPr/>
          <a:lstStyle/>
          <a:p>
            <a:r>
              <a:rPr lang="en-US" dirty="0"/>
              <a:t>Discovery: Develop prioritized Product Backlog</a:t>
            </a:r>
          </a:p>
        </p:txBody>
      </p:sp>
      <p:sp>
        <p:nvSpPr>
          <p:cNvPr id="379" name="Text Placeholder 26">
            <a:extLst>
              <a:ext uri="{FF2B5EF4-FFF2-40B4-BE49-F238E27FC236}">
                <a16:creationId xmlns:a16="http://schemas.microsoft.com/office/drawing/2014/main" id="{5AB413F5-343C-4AAA-B9AC-12FE3978929D}"/>
              </a:ext>
            </a:extLst>
          </p:cNvPr>
          <p:cNvSpPr>
            <a:spLocks noGrp="1"/>
          </p:cNvSpPr>
          <p:nvPr>
            <p:ph type="body" sz="quarter" idx="13"/>
          </p:nvPr>
        </p:nvSpPr>
        <p:spPr/>
        <p:txBody>
          <a:bodyPr/>
          <a:lstStyle/>
          <a:p>
            <a:r>
              <a:rPr lang="en-US" dirty="0"/>
              <a:t> </a:t>
            </a:r>
          </a:p>
        </p:txBody>
      </p:sp>
      <p:graphicFrame>
        <p:nvGraphicFramePr>
          <p:cNvPr id="2088" name="Table 2087">
            <a:extLst>
              <a:ext uri="{FF2B5EF4-FFF2-40B4-BE49-F238E27FC236}">
                <a16:creationId xmlns:a16="http://schemas.microsoft.com/office/drawing/2014/main" id="{25698676-5C58-4D35-A8B7-8E336A7551CC}"/>
              </a:ext>
            </a:extLst>
          </p:cNvPr>
          <p:cNvGraphicFramePr>
            <a:graphicFrameLocks noGrp="1"/>
          </p:cNvGraphicFramePr>
          <p:nvPr/>
        </p:nvGraphicFramePr>
        <p:xfrm>
          <a:off x="4178627" y="3158850"/>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089" name="Rectangle 2088">
            <a:extLst>
              <a:ext uri="{FF2B5EF4-FFF2-40B4-BE49-F238E27FC236}">
                <a16:creationId xmlns:a16="http://schemas.microsoft.com/office/drawing/2014/main" id="{538DBED8-B7FE-4836-95D1-D23E7CB3103C}"/>
              </a:ext>
            </a:extLst>
          </p:cNvPr>
          <p:cNvSpPr>
            <a:spLocks/>
          </p:cNvSpPr>
          <p:nvPr/>
        </p:nvSpPr>
        <p:spPr bwMode="gray">
          <a:xfrm>
            <a:off x="9918827" y="1551301"/>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090" name="Table 2089">
            <a:extLst>
              <a:ext uri="{FF2B5EF4-FFF2-40B4-BE49-F238E27FC236}">
                <a16:creationId xmlns:a16="http://schemas.microsoft.com/office/drawing/2014/main" id="{CCD5D59F-617C-4091-9BEC-F2BEDDEF7D01}"/>
              </a:ext>
            </a:extLst>
          </p:cNvPr>
          <p:cNvGraphicFramePr>
            <a:graphicFrameLocks noGrp="1"/>
          </p:cNvGraphicFramePr>
          <p:nvPr/>
        </p:nvGraphicFramePr>
        <p:xfrm>
          <a:off x="468615" y="4440018"/>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091" name="Group 2090">
            <a:extLst>
              <a:ext uri="{FF2B5EF4-FFF2-40B4-BE49-F238E27FC236}">
                <a16:creationId xmlns:a16="http://schemas.microsoft.com/office/drawing/2014/main" id="{FA3C1DA5-2A52-4D78-9CB8-5B1ED2BE5D13}"/>
              </a:ext>
            </a:extLst>
          </p:cNvPr>
          <p:cNvGrpSpPr/>
          <p:nvPr/>
        </p:nvGrpSpPr>
        <p:grpSpPr>
          <a:xfrm>
            <a:off x="7902088" y="3305977"/>
            <a:ext cx="1851680" cy="1646153"/>
            <a:chOff x="7893402" y="3412713"/>
            <a:chExt cx="1856890" cy="1650785"/>
          </a:xfrm>
        </p:grpSpPr>
        <p:sp>
          <p:nvSpPr>
            <p:cNvPr id="2092" name="Rectangle 2091">
              <a:extLst>
                <a:ext uri="{FF2B5EF4-FFF2-40B4-BE49-F238E27FC236}">
                  <a16:creationId xmlns:a16="http://schemas.microsoft.com/office/drawing/2014/main" id="{1C669E47-2425-4A9C-B6FA-BCDD9F5F0914}"/>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2093" name="Rectangle 2092">
              <a:extLst>
                <a:ext uri="{FF2B5EF4-FFF2-40B4-BE49-F238E27FC236}">
                  <a16:creationId xmlns:a16="http://schemas.microsoft.com/office/drawing/2014/main" id="{1226DC2C-2BA0-42DD-BAC4-98CD84DB843D}"/>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2094" name="Group 2093">
              <a:extLst>
                <a:ext uri="{FF2B5EF4-FFF2-40B4-BE49-F238E27FC236}">
                  <a16:creationId xmlns:a16="http://schemas.microsoft.com/office/drawing/2014/main" id="{4018B3BA-F4A9-4CB0-A81F-A4E27B5E73DB}"/>
                </a:ext>
              </a:extLst>
            </p:cNvPr>
            <p:cNvGrpSpPr>
              <a:grpSpLocks/>
            </p:cNvGrpSpPr>
            <p:nvPr/>
          </p:nvGrpSpPr>
          <p:grpSpPr>
            <a:xfrm>
              <a:off x="8732469" y="4576554"/>
              <a:ext cx="486942" cy="486944"/>
              <a:chOff x="9882273" y="6953856"/>
              <a:chExt cx="473625" cy="473627"/>
            </a:xfrm>
          </p:grpSpPr>
          <p:grpSp>
            <p:nvGrpSpPr>
              <p:cNvPr id="2118" name="Group 64">
                <a:extLst>
                  <a:ext uri="{FF2B5EF4-FFF2-40B4-BE49-F238E27FC236}">
                    <a16:creationId xmlns:a16="http://schemas.microsoft.com/office/drawing/2014/main" id="{DC979671-E4F1-468E-9C3B-01580A58710E}"/>
                  </a:ext>
                </a:extLst>
              </p:cNvPr>
              <p:cNvGrpSpPr>
                <a:grpSpLocks noChangeAspect="1"/>
              </p:cNvGrpSpPr>
              <p:nvPr/>
            </p:nvGrpSpPr>
            <p:grpSpPr bwMode="auto">
              <a:xfrm rot="8100000">
                <a:off x="9882273" y="6953856"/>
                <a:ext cx="473625" cy="473627"/>
                <a:chOff x="701" y="2170"/>
                <a:chExt cx="587" cy="587"/>
              </a:xfrm>
            </p:grpSpPr>
            <p:sp>
              <p:nvSpPr>
                <p:cNvPr id="2150" name="Oval 65">
                  <a:extLst>
                    <a:ext uri="{FF2B5EF4-FFF2-40B4-BE49-F238E27FC236}">
                      <a16:creationId xmlns:a16="http://schemas.microsoft.com/office/drawing/2014/main" id="{CD508788-B640-40DF-91A5-A3F245D0F39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1" name="Line 66">
                  <a:extLst>
                    <a:ext uri="{FF2B5EF4-FFF2-40B4-BE49-F238E27FC236}">
                      <a16:creationId xmlns:a16="http://schemas.microsoft.com/office/drawing/2014/main" id="{17316FC2-914A-4B92-B759-336E06AC88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2" name="Line 67">
                  <a:extLst>
                    <a:ext uri="{FF2B5EF4-FFF2-40B4-BE49-F238E27FC236}">
                      <a16:creationId xmlns:a16="http://schemas.microsoft.com/office/drawing/2014/main" id="{B11E12E1-EA7C-4ABE-8A24-2DF55E515C8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3" name="Line 69">
                  <a:extLst>
                    <a:ext uri="{FF2B5EF4-FFF2-40B4-BE49-F238E27FC236}">
                      <a16:creationId xmlns:a16="http://schemas.microsoft.com/office/drawing/2014/main" id="{7178D00E-79F4-49D9-862D-ECBC0715D6E2}"/>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4" name="Line 74">
                  <a:extLst>
                    <a:ext uri="{FF2B5EF4-FFF2-40B4-BE49-F238E27FC236}">
                      <a16:creationId xmlns:a16="http://schemas.microsoft.com/office/drawing/2014/main" id="{C489AE26-4BAE-4983-8E24-D960A7FAA69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Freeform 78">
                  <a:extLst>
                    <a:ext uri="{FF2B5EF4-FFF2-40B4-BE49-F238E27FC236}">
                      <a16:creationId xmlns:a16="http://schemas.microsoft.com/office/drawing/2014/main" id="{AF00986A-31DC-4BFC-902E-48818E8388E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80">
                  <a:extLst>
                    <a:ext uri="{FF2B5EF4-FFF2-40B4-BE49-F238E27FC236}">
                      <a16:creationId xmlns:a16="http://schemas.microsoft.com/office/drawing/2014/main" id="{21A42C36-6533-48C9-8BF4-00F522A96D3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9" name="Group 2118">
                <a:extLst>
                  <a:ext uri="{FF2B5EF4-FFF2-40B4-BE49-F238E27FC236}">
                    <a16:creationId xmlns:a16="http://schemas.microsoft.com/office/drawing/2014/main" id="{3093853F-A565-4B6A-A062-79427CC86038}"/>
                  </a:ext>
                </a:extLst>
              </p:cNvPr>
              <p:cNvGrpSpPr/>
              <p:nvPr/>
            </p:nvGrpSpPr>
            <p:grpSpPr>
              <a:xfrm>
                <a:off x="9938546" y="7021642"/>
                <a:ext cx="356509" cy="349884"/>
                <a:chOff x="468738" y="2241878"/>
                <a:chExt cx="1655483" cy="1624719"/>
              </a:xfrm>
            </p:grpSpPr>
            <p:sp>
              <p:nvSpPr>
                <p:cNvPr id="2120" name="Freeform 5">
                  <a:extLst>
                    <a:ext uri="{FF2B5EF4-FFF2-40B4-BE49-F238E27FC236}">
                      <a16:creationId xmlns:a16="http://schemas.microsoft.com/office/drawing/2014/main" id="{DF09CF73-ABB3-40B9-8FBB-D7ED124A0A2A}"/>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6">
                  <a:extLst>
                    <a:ext uri="{FF2B5EF4-FFF2-40B4-BE49-F238E27FC236}">
                      <a16:creationId xmlns:a16="http://schemas.microsoft.com/office/drawing/2014/main" id="{469EF966-E092-499D-B70A-6F772E4289D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2" name="Line 7">
                  <a:extLst>
                    <a:ext uri="{FF2B5EF4-FFF2-40B4-BE49-F238E27FC236}">
                      <a16:creationId xmlns:a16="http://schemas.microsoft.com/office/drawing/2014/main" id="{68424CB0-3822-4E76-959F-68323CDE000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3" name="Freeform 8">
                  <a:extLst>
                    <a:ext uri="{FF2B5EF4-FFF2-40B4-BE49-F238E27FC236}">
                      <a16:creationId xmlns:a16="http://schemas.microsoft.com/office/drawing/2014/main" id="{2C2B8825-FEEA-4EF4-A3A8-EB1ED69B0966}"/>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9">
                  <a:extLst>
                    <a:ext uri="{FF2B5EF4-FFF2-40B4-BE49-F238E27FC236}">
                      <a16:creationId xmlns:a16="http://schemas.microsoft.com/office/drawing/2014/main" id="{DFB0CFB8-48B3-48CA-8AA1-80952C2AE8B1}"/>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25" name="Group 2124">
                  <a:extLst>
                    <a:ext uri="{FF2B5EF4-FFF2-40B4-BE49-F238E27FC236}">
                      <a16:creationId xmlns:a16="http://schemas.microsoft.com/office/drawing/2014/main" id="{1ED2C071-F483-4A41-B8D4-4327750C9BA6}"/>
                    </a:ext>
                  </a:extLst>
                </p:cNvPr>
                <p:cNvGrpSpPr/>
                <p:nvPr/>
              </p:nvGrpSpPr>
              <p:grpSpPr>
                <a:xfrm>
                  <a:off x="1207113" y="2241878"/>
                  <a:ext cx="178734" cy="348678"/>
                  <a:chOff x="1207113" y="2241878"/>
                  <a:chExt cx="178734" cy="348678"/>
                </a:xfrm>
              </p:grpSpPr>
              <p:sp>
                <p:nvSpPr>
                  <p:cNvPr id="2148" name="Freeform 10">
                    <a:extLst>
                      <a:ext uri="{FF2B5EF4-FFF2-40B4-BE49-F238E27FC236}">
                        <a16:creationId xmlns:a16="http://schemas.microsoft.com/office/drawing/2014/main" id="{438CA79C-0E56-4806-A11B-2D07AE2D42C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9" name="Line 11">
                    <a:extLst>
                      <a:ext uri="{FF2B5EF4-FFF2-40B4-BE49-F238E27FC236}">
                        <a16:creationId xmlns:a16="http://schemas.microsoft.com/office/drawing/2014/main" id="{D6580E37-9642-4BAB-A5CC-A13F838A7BC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26" name="Freeform 12">
                  <a:extLst>
                    <a:ext uri="{FF2B5EF4-FFF2-40B4-BE49-F238E27FC236}">
                      <a16:creationId xmlns:a16="http://schemas.microsoft.com/office/drawing/2014/main" id="{EDE422A2-19C8-4FF4-ADF8-74987CA83A4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13">
                  <a:extLst>
                    <a:ext uri="{FF2B5EF4-FFF2-40B4-BE49-F238E27FC236}">
                      <a16:creationId xmlns:a16="http://schemas.microsoft.com/office/drawing/2014/main" id="{C9546F35-D363-43F4-ABA9-C150E6954C9E}"/>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Freeform 14">
                  <a:extLst>
                    <a:ext uri="{FF2B5EF4-FFF2-40B4-BE49-F238E27FC236}">
                      <a16:creationId xmlns:a16="http://schemas.microsoft.com/office/drawing/2014/main" id="{CB8E3185-30C3-470C-B0B3-9F66CD973A8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15">
                  <a:extLst>
                    <a:ext uri="{FF2B5EF4-FFF2-40B4-BE49-F238E27FC236}">
                      <a16:creationId xmlns:a16="http://schemas.microsoft.com/office/drawing/2014/main" id="{13BE7968-3BB6-41FC-BAB8-E1A73691EC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16">
                  <a:extLst>
                    <a:ext uri="{FF2B5EF4-FFF2-40B4-BE49-F238E27FC236}">
                      <a16:creationId xmlns:a16="http://schemas.microsoft.com/office/drawing/2014/main" id="{B0240DB1-129C-4FCF-A019-ED60AC06124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Line 17">
                  <a:extLst>
                    <a:ext uri="{FF2B5EF4-FFF2-40B4-BE49-F238E27FC236}">
                      <a16:creationId xmlns:a16="http://schemas.microsoft.com/office/drawing/2014/main" id="{05D62E0F-2C6B-4925-A5A7-F81B3324A44F}"/>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2" name="Freeform 18">
                  <a:extLst>
                    <a:ext uri="{FF2B5EF4-FFF2-40B4-BE49-F238E27FC236}">
                      <a16:creationId xmlns:a16="http://schemas.microsoft.com/office/drawing/2014/main" id="{7053162F-E754-4060-918F-4D906F46E68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3" name="Line 19">
                  <a:extLst>
                    <a:ext uri="{FF2B5EF4-FFF2-40B4-BE49-F238E27FC236}">
                      <a16:creationId xmlns:a16="http://schemas.microsoft.com/office/drawing/2014/main" id="{08DDFC9B-5D9E-4DD6-8107-D97357B0D6E2}"/>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4" name="Freeform 35">
                  <a:extLst>
                    <a:ext uri="{FF2B5EF4-FFF2-40B4-BE49-F238E27FC236}">
                      <a16:creationId xmlns:a16="http://schemas.microsoft.com/office/drawing/2014/main" id="{6FEC5306-B5F6-4EB8-9EB5-37900CA9141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36">
                  <a:extLst>
                    <a:ext uri="{FF2B5EF4-FFF2-40B4-BE49-F238E27FC236}">
                      <a16:creationId xmlns:a16="http://schemas.microsoft.com/office/drawing/2014/main" id="{2C534636-34FD-42BE-9C36-888A03C22F1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Freeform 37">
                  <a:extLst>
                    <a:ext uri="{FF2B5EF4-FFF2-40B4-BE49-F238E27FC236}">
                      <a16:creationId xmlns:a16="http://schemas.microsoft.com/office/drawing/2014/main" id="{27BCF1F2-3B23-4647-B34D-648D1F4ECA04}"/>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38">
                  <a:extLst>
                    <a:ext uri="{FF2B5EF4-FFF2-40B4-BE49-F238E27FC236}">
                      <a16:creationId xmlns:a16="http://schemas.microsoft.com/office/drawing/2014/main" id="{36CAF972-97C0-44E9-B5A9-59EC880A70AB}"/>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8" name="Freeform 39">
                  <a:extLst>
                    <a:ext uri="{FF2B5EF4-FFF2-40B4-BE49-F238E27FC236}">
                      <a16:creationId xmlns:a16="http://schemas.microsoft.com/office/drawing/2014/main" id="{A08BC316-26DD-41C2-9898-56E0E309D1EF}"/>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9" name="Freeform 40">
                  <a:extLst>
                    <a:ext uri="{FF2B5EF4-FFF2-40B4-BE49-F238E27FC236}">
                      <a16:creationId xmlns:a16="http://schemas.microsoft.com/office/drawing/2014/main" id="{31CD5408-1815-4D3B-B571-D2F2823C3297}"/>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0" name="Freeform 41">
                  <a:extLst>
                    <a:ext uri="{FF2B5EF4-FFF2-40B4-BE49-F238E27FC236}">
                      <a16:creationId xmlns:a16="http://schemas.microsoft.com/office/drawing/2014/main" id="{43FC500F-07FF-4B24-9337-6DB73D7858A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42">
                  <a:extLst>
                    <a:ext uri="{FF2B5EF4-FFF2-40B4-BE49-F238E27FC236}">
                      <a16:creationId xmlns:a16="http://schemas.microsoft.com/office/drawing/2014/main" id="{F4B72077-F12B-4384-9AC7-7FD03D4FF21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43">
                  <a:extLst>
                    <a:ext uri="{FF2B5EF4-FFF2-40B4-BE49-F238E27FC236}">
                      <a16:creationId xmlns:a16="http://schemas.microsoft.com/office/drawing/2014/main" id="{7750E75D-CC56-4175-AE30-04F8CC701AB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Freeform 44">
                  <a:extLst>
                    <a:ext uri="{FF2B5EF4-FFF2-40B4-BE49-F238E27FC236}">
                      <a16:creationId xmlns:a16="http://schemas.microsoft.com/office/drawing/2014/main" id="{1A946C20-548B-46FF-B5CD-65BF1FF000E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45">
                  <a:extLst>
                    <a:ext uri="{FF2B5EF4-FFF2-40B4-BE49-F238E27FC236}">
                      <a16:creationId xmlns:a16="http://schemas.microsoft.com/office/drawing/2014/main" id="{400F5C81-5325-42B2-B211-DB982165927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45" name="Group 2144">
                  <a:extLst>
                    <a:ext uri="{FF2B5EF4-FFF2-40B4-BE49-F238E27FC236}">
                      <a16:creationId xmlns:a16="http://schemas.microsoft.com/office/drawing/2014/main" id="{D46CF3AD-21EF-4637-837D-5939D8D23242}"/>
                    </a:ext>
                  </a:extLst>
                </p:cNvPr>
                <p:cNvGrpSpPr/>
                <p:nvPr/>
              </p:nvGrpSpPr>
              <p:grpSpPr>
                <a:xfrm flipV="1">
                  <a:off x="1202047" y="3517919"/>
                  <a:ext cx="178734" cy="348678"/>
                  <a:chOff x="1207113" y="2241878"/>
                  <a:chExt cx="178734" cy="348678"/>
                </a:xfrm>
              </p:grpSpPr>
              <p:sp>
                <p:nvSpPr>
                  <p:cNvPr id="2146" name="Freeform 10">
                    <a:extLst>
                      <a:ext uri="{FF2B5EF4-FFF2-40B4-BE49-F238E27FC236}">
                        <a16:creationId xmlns:a16="http://schemas.microsoft.com/office/drawing/2014/main" id="{F34AD819-060B-4E0C-A180-6511085434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1">
                    <a:extLst>
                      <a:ext uri="{FF2B5EF4-FFF2-40B4-BE49-F238E27FC236}">
                        <a16:creationId xmlns:a16="http://schemas.microsoft.com/office/drawing/2014/main" id="{0AA11204-94B8-4FC9-96F8-F3AF3A9B70F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95" name="Group 2094">
              <a:extLst>
                <a:ext uri="{FF2B5EF4-FFF2-40B4-BE49-F238E27FC236}">
                  <a16:creationId xmlns:a16="http://schemas.microsoft.com/office/drawing/2014/main" id="{0ED9436C-183E-42D4-B43A-2014C88E39EB}"/>
                </a:ext>
              </a:extLst>
            </p:cNvPr>
            <p:cNvGrpSpPr>
              <a:grpSpLocks/>
            </p:cNvGrpSpPr>
            <p:nvPr/>
          </p:nvGrpSpPr>
          <p:grpSpPr>
            <a:xfrm>
              <a:off x="9270466" y="4594229"/>
              <a:ext cx="427295" cy="427297"/>
              <a:chOff x="10412894" y="6962721"/>
              <a:chExt cx="415610" cy="415612"/>
            </a:xfrm>
          </p:grpSpPr>
          <p:grpSp>
            <p:nvGrpSpPr>
              <p:cNvPr id="2096" name="Group 64">
                <a:extLst>
                  <a:ext uri="{FF2B5EF4-FFF2-40B4-BE49-F238E27FC236}">
                    <a16:creationId xmlns:a16="http://schemas.microsoft.com/office/drawing/2014/main" id="{18AB1D0E-E6DA-4F88-AD8B-0F57D0222A59}"/>
                  </a:ext>
                </a:extLst>
              </p:cNvPr>
              <p:cNvGrpSpPr>
                <a:grpSpLocks noChangeAspect="1"/>
              </p:cNvGrpSpPr>
              <p:nvPr/>
            </p:nvGrpSpPr>
            <p:grpSpPr bwMode="auto">
              <a:xfrm rot="8100000">
                <a:off x="10412894" y="6962721"/>
                <a:ext cx="415610" cy="415612"/>
                <a:chOff x="701" y="2170"/>
                <a:chExt cx="587" cy="587"/>
              </a:xfrm>
            </p:grpSpPr>
            <p:sp>
              <p:nvSpPr>
                <p:cNvPr id="2111" name="Oval 65">
                  <a:extLst>
                    <a:ext uri="{FF2B5EF4-FFF2-40B4-BE49-F238E27FC236}">
                      <a16:creationId xmlns:a16="http://schemas.microsoft.com/office/drawing/2014/main" id="{65B5FA5E-E998-4CEB-A4A4-72026F3663B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2" name="Line 66">
                  <a:extLst>
                    <a:ext uri="{FF2B5EF4-FFF2-40B4-BE49-F238E27FC236}">
                      <a16:creationId xmlns:a16="http://schemas.microsoft.com/office/drawing/2014/main" id="{05F85E74-0E05-47A5-9608-3C1284BE590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3" name="Line 67">
                  <a:extLst>
                    <a:ext uri="{FF2B5EF4-FFF2-40B4-BE49-F238E27FC236}">
                      <a16:creationId xmlns:a16="http://schemas.microsoft.com/office/drawing/2014/main" id="{D5322D42-CFC4-463C-88C1-72670B1112A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4" name="Line 69">
                  <a:extLst>
                    <a:ext uri="{FF2B5EF4-FFF2-40B4-BE49-F238E27FC236}">
                      <a16:creationId xmlns:a16="http://schemas.microsoft.com/office/drawing/2014/main" id="{969B36A9-CDCC-46AA-BAF4-1FC82B21089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5" name="Line 74">
                  <a:extLst>
                    <a:ext uri="{FF2B5EF4-FFF2-40B4-BE49-F238E27FC236}">
                      <a16:creationId xmlns:a16="http://schemas.microsoft.com/office/drawing/2014/main" id="{0050B60D-0A87-487D-B843-7F84A67ABB3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78">
                  <a:extLst>
                    <a:ext uri="{FF2B5EF4-FFF2-40B4-BE49-F238E27FC236}">
                      <a16:creationId xmlns:a16="http://schemas.microsoft.com/office/drawing/2014/main" id="{665E0959-7968-40CE-A68B-11548CEDD17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80">
                  <a:extLst>
                    <a:ext uri="{FF2B5EF4-FFF2-40B4-BE49-F238E27FC236}">
                      <a16:creationId xmlns:a16="http://schemas.microsoft.com/office/drawing/2014/main" id="{9A0D8841-54F6-4583-99A9-C4C39E5FDEF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97" name="Group 2096">
                <a:extLst>
                  <a:ext uri="{FF2B5EF4-FFF2-40B4-BE49-F238E27FC236}">
                    <a16:creationId xmlns:a16="http://schemas.microsoft.com/office/drawing/2014/main" id="{527F3619-7399-42FA-8989-D8DDDB6FA903}"/>
                  </a:ext>
                </a:extLst>
              </p:cNvPr>
              <p:cNvGrpSpPr/>
              <p:nvPr/>
            </p:nvGrpSpPr>
            <p:grpSpPr>
              <a:xfrm>
                <a:off x="10462223" y="7069159"/>
                <a:ext cx="313949" cy="233075"/>
                <a:chOff x="3707533" y="2731244"/>
                <a:chExt cx="389644" cy="289271"/>
              </a:xfrm>
            </p:grpSpPr>
            <p:sp>
              <p:nvSpPr>
                <p:cNvPr id="2098" name="Freeform 33">
                  <a:extLst>
                    <a:ext uri="{FF2B5EF4-FFF2-40B4-BE49-F238E27FC236}">
                      <a16:creationId xmlns:a16="http://schemas.microsoft.com/office/drawing/2014/main" id="{AC3AEB44-05B3-42BA-AE24-50CD2B225FF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Freeform 34">
                  <a:extLst>
                    <a:ext uri="{FF2B5EF4-FFF2-40B4-BE49-F238E27FC236}">
                      <a16:creationId xmlns:a16="http://schemas.microsoft.com/office/drawing/2014/main" id="{E336B930-67A1-4737-949A-E74DE1C5FCC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0" name="Freeform 37">
                  <a:extLst>
                    <a:ext uri="{FF2B5EF4-FFF2-40B4-BE49-F238E27FC236}">
                      <a16:creationId xmlns:a16="http://schemas.microsoft.com/office/drawing/2014/main" id="{14930BF9-4558-4F6C-BDA1-5177AFA7041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1" name="Freeform 38">
                  <a:extLst>
                    <a:ext uri="{FF2B5EF4-FFF2-40B4-BE49-F238E27FC236}">
                      <a16:creationId xmlns:a16="http://schemas.microsoft.com/office/drawing/2014/main" id="{8E506DBE-06A0-48F7-8FC8-FA310CE5DFEF}"/>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2" name="Freeform 32">
                  <a:extLst>
                    <a:ext uri="{FF2B5EF4-FFF2-40B4-BE49-F238E27FC236}">
                      <a16:creationId xmlns:a16="http://schemas.microsoft.com/office/drawing/2014/main" id="{D9FA7C2A-2166-40A4-9F90-C8235166950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35">
                  <a:extLst>
                    <a:ext uri="{FF2B5EF4-FFF2-40B4-BE49-F238E27FC236}">
                      <a16:creationId xmlns:a16="http://schemas.microsoft.com/office/drawing/2014/main" id="{4134E0AC-9C1C-44E1-A6F4-B84FB54CF63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36">
                  <a:extLst>
                    <a:ext uri="{FF2B5EF4-FFF2-40B4-BE49-F238E27FC236}">
                      <a16:creationId xmlns:a16="http://schemas.microsoft.com/office/drawing/2014/main" id="{68072677-8E2F-4B76-9069-90CA4F41394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5" name="Freeform 25">
                  <a:extLst>
                    <a:ext uri="{FF2B5EF4-FFF2-40B4-BE49-F238E27FC236}">
                      <a16:creationId xmlns:a16="http://schemas.microsoft.com/office/drawing/2014/main" id="{461D146A-49BD-4547-967F-FF3854DF9A45}"/>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6" name="Freeform 39">
                  <a:extLst>
                    <a:ext uri="{FF2B5EF4-FFF2-40B4-BE49-F238E27FC236}">
                      <a16:creationId xmlns:a16="http://schemas.microsoft.com/office/drawing/2014/main" id="{B8D0742B-47CA-452F-ADFB-F342B2250B9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7" name="Freeform 26">
                  <a:extLst>
                    <a:ext uri="{FF2B5EF4-FFF2-40B4-BE49-F238E27FC236}">
                      <a16:creationId xmlns:a16="http://schemas.microsoft.com/office/drawing/2014/main" id="{1211F4B3-89CD-4B26-B732-E24F7A16BE1C}"/>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8" name="Rectangle 27">
                  <a:extLst>
                    <a:ext uri="{FF2B5EF4-FFF2-40B4-BE49-F238E27FC236}">
                      <a16:creationId xmlns:a16="http://schemas.microsoft.com/office/drawing/2014/main" id="{2F39C8CD-F370-44E0-B6D0-9FECBB02D298}"/>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9" name="Line 29">
                  <a:extLst>
                    <a:ext uri="{FF2B5EF4-FFF2-40B4-BE49-F238E27FC236}">
                      <a16:creationId xmlns:a16="http://schemas.microsoft.com/office/drawing/2014/main" id="{25235C23-74EF-4BBB-A9C0-21588DCA2AA7}"/>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0" name="Line 31">
                  <a:extLst>
                    <a:ext uri="{FF2B5EF4-FFF2-40B4-BE49-F238E27FC236}">
                      <a16:creationId xmlns:a16="http://schemas.microsoft.com/office/drawing/2014/main" id="{16B95BE2-9458-423B-848C-DEA5FF15EF5A}"/>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57" name="Group 2156">
            <a:extLst>
              <a:ext uri="{FF2B5EF4-FFF2-40B4-BE49-F238E27FC236}">
                <a16:creationId xmlns:a16="http://schemas.microsoft.com/office/drawing/2014/main" id="{A3F53B21-B989-4526-B9D9-3AF585A41521}"/>
              </a:ext>
            </a:extLst>
          </p:cNvPr>
          <p:cNvGrpSpPr/>
          <p:nvPr/>
        </p:nvGrpSpPr>
        <p:grpSpPr>
          <a:xfrm>
            <a:off x="5336641" y="3847678"/>
            <a:ext cx="4367346" cy="2539218"/>
            <a:chOff x="5338031" y="3986050"/>
            <a:chExt cx="4368484" cy="2539879"/>
          </a:xfrm>
        </p:grpSpPr>
        <p:grpSp>
          <p:nvGrpSpPr>
            <p:cNvPr id="2158" name="Group 2157">
              <a:extLst>
                <a:ext uri="{FF2B5EF4-FFF2-40B4-BE49-F238E27FC236}">
                  <a16:creationId xmlns:a16="http://schemas.microsoft.com/office/drawing/2014/main" id="{3816E7BD-500D-4A98-B9E8-FB4D8F1A725E}"/>
                </a:ext>
              </a:extLst>
            </p:cNvPr>
            <p:cNvGrpSpPr/>
            <p:nvPr/>
          </p:nvGrpSpPr>
          <p:grpSpPr>
            <a:xfrm>
              <a:off x="6626435" y="3986050"/>
              <a:ext cx="3080080" cy="2539879"/>
              <a:chOff x="6642908" y="3955938"/>
              <a:chExt cx="3087943" cy="2546363"/>
            </a:xfrm>
          </p:grpSpPr>
          <p:sp>
            <p:nvSpPr>
              <p:cNvPr id="2160" name="Rectangle 2159">
                <a:extLst>
                  <a:ext uri="{FF2B5EF4-FFF2-40B4-BE49-F238E27FC236}">
                    <a16:creationId xmlns:a16="http://schemas.microsoft.com/office/drawing/2014/main" id="{EE33E1DD-D86F-406F-AA75-ECA8B97CF39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161" name="Group 2160">
                <a:extLst>
                  <a:ext uri="{FF2B5EF4-FFF2-40B4-BE49-F238E27FC236}">
                    <a16:creationId xmlns:a16="http://schemas.microsoft.com/office/drawing/2014/main" id="{7B4AEC85-A9CF-42C1-A5D6-A84A74E512AB}"/>
                  </a:ext>
                </a:extLst>
              </p:cNvPr>
              <p:cNvGrpSpPr/>
              <p:nvPr/>
            </p:nvGrpSpPr>
            <p:grpSpPr>
              <a:xfrm>
                <a:off x="8222643" y="5655421"/>
                <a:ext cx="1030675" cy="846880"/>
                <a:chOff x="10800033" y="2297897"/>
                <a:chExt cx="1600558" cy="1315140"/>
              </a:xfrm>
            </p:grpSpPr>
            <p:grpSp>
              <p:nvGrpSpPr>
                <p:cNvPr id="2163" name="Group 2162">
                  <a:extLst>
                    <a:ext uri="{FF2B5EF4-FFF2-40B4-BE49-F238E27FC236}">
                      <a16:creationId xmlns:a16="http://schemas.microsoft.com/office/drawing/2014/main" id="{F488A4EA-6B19-4A29-A51F-11947BEC20E8}"/>
                    </a:ext>
                  </a:extLst>
                </p:cNvPr>
                <p:cNvGrpSpPr>
                  <a:grpSpLocks/>
                </p:cNvGrpSpPr>
                <p:nvPr/>
              </p:nvGrpSpPr>
              <p:grpSpPr>
                <a:xfrm>
                  <a:off x="10800033" y="2339037"/>
                  <a:ext cx="613092" cy="613092"/>
                  <a:chOff x="745985" y="4768134"/>
                  <a:chExt cx="368776" cy="368777"/>
                </a:xfrm>
              </p:grpSpPr>
              <p:grpSp>
                <p:nvGrpSpPr>
                  <p:cNvPr id="2227" name="Group 64">
                    <a:extLst>
                      <a:ext uri="{FF2B5EF4-FFF2-40B4-BE49-F238E27FC236}">
                        <a16:creationId xmlns:a16="http://schemas.microsoft.com/office/drawing/2014/main" id="{D91A28E9-E819-4B33-AAFA-F5B134B3A5E7}"/>
                      </a:ext>
                    </a:extLst>
                  </p:cNvPr>
                  <p:cNvGrpSpPr>
                    <a:grpSpLocks noChangeAspect="1"/>
                  </p:cNvGrpSpPr>
                  <p:nvPr/>
                </p:nvGrpSpPr>
                <p:grpSpPr bwMode="auto">
                  <a:xfrm rot="8100000">
                    <a:off x="745985" y="4768134"/>
                    <a:ext cx="368776" cy="368777"/>
                    <a:chOff x="701" y="2170"/>
                    <a:chExt cx="587" cy="587"/>
                  </a:xfrm>
                </p:grpSpPr>
                <p:sp>
                  <p:nvSpPr>
                    <p:cNvPr id="2238" name="Oval 65">
                      <a:extLst>
                        <a:ext uri="{FF2B5EF4-FFF2-40B4-BE49-F238E27FC236}">
                          <a16:creationId xmlns:a16="http://schemas.microsoft.com/office/drawing/2014/main" id="{710C7CD0-ACC7-47F5-BB17-B72C612A2E1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9" name="Line 66">
                      <a:extLst>
                        <a:ext uri="{FF2B5EF4-FFF2-40B4-BE49-F238E27FC236}">
                          <a16:creationId xmlns:a16="http://schemas.microsoft.com/office/drawing/2014/main" id="{15A62BF2-D8B8-41B3-AC7E-E56578BE5BD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0" name="Line 67">
                      <a:extLst>
                        <a:ext uri="{FF2B5EF4-FFF2-40B4-BE49-F238E27FC236}">
                          <a16:creationId xmlns:a16="http://schemas.microsoft.com/office/drawing/2014/main" id="{1053D753-1A28-4C20-A676-471C2793D4E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1" name="Line 69">
                      <a:extLst>
                        <a:ext uri="{FF2B5EF4-FFF2-40B4-BE49-F238E27FC236}">
                          <a16:creationId xmlns:a16="http://schemas.microsoft.com/office/drawing/2014/main" id="{B0E2D47E-7749-4395-8C1D-88844E97260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2" name="Line 74">
                      <a:extLst>
                        <a:ext uri="{FF2B5EF4-FFF2-40B4-BE49-F238E27FC236}">
                          <a16:creationId xmlns:a16="http://schemas.microsoft.com/office/drawing/2014/main" id="{95E6537A-B125-4F46-840E-7229804DA1D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3" name="Freeform 78">
                      <a:extLst>
                        <a:ext uri="{FF2B5EF4-FFF2-40B4-BE49-F238E27FC236}">
                          <a16:creationId xmlns:a16="http://schemas.microsoft.com/office/drawing/2014/main" id="{40470C41-8FA4-4CD9-B6F6-FA46F0EAEA5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4" name="Freeform 80">
                      <a:extLst>
                        <a:ext uri="{FF2B5EF4-FFF2-40B4-BE49-F238E27FC236}">
                          <a16:creationId xmlns:a16="http://schemas.microsoft.com/office/drawing/2014/main" id="{E34B0C0C-7D50-4ACB-8A43-B80A013ADEFD}"/>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28" name="Group 2227">
                    <a:extLst>
                      <a:ext uri="{FF2B5EF4-FFF2-40B4-BE49-F238E27FC236}">
                        <a16:creationId xmlns:a16="http://schemas.microsoft.com/office/drawing/2014/main" id="{DC7B0C1E-C593-4046-B3C7-EEF440A9906D}"/>
                      </a:ext>
                    </a:extLst>
                  </p:cNvPr>
                  <p:cNvGrpSpPr/>
                  <p:nvPr/>
                </p:nvGrpSpPr>
                <p:grpSpPr>
                  <a:xfrm>
                    <a:off x="837312" y="4814434"/>
                    <a:ext cx="136805" cy="278689"/>
                    <a:chOff x="2806700" y="2803319"/>
                    <a:chExt cx="433387" cy="882861"/>
                  </a:xfrm>
                </p:grpSpPr>
                <p:grpSp>
                  <p:nvGrpSpPr>
                    <p:cNvPr id="2229" name="Group 2228">
                      <a:extLst>
                        <a:ext uri="{FF2B5EF4-FFF2-40B4-BE49-F238E27FC236}">
                          <a16:creationId xmlns:a16="http://schemas.microsoft.com/office/drawing/2014/main" id="{E802251B-916F-4056-918C-34F9F2E305B3}"/>
                        </a:ext>
                      </a:extLst>
                    </p:cNvPr>
                    <p:cNvGrpSpPr>
                      <a:grpSpLocks noChangeAspect="1"/>
                    </p:cNvGrpSpPr>
                    <p:nvPr/>
                  </p:nvGrpSpPr>
                  <p:grpSpPr bwMode="auto">
                    <a:xfrm>
                      <a:off x="2806700" y="3043242"/>
                      <a:ext cx="433387" cy="642938"/>
                      <a:chOff x="1768" y="1917"/>
                      <a:chExt cx="273" cy="405"/>
                    </a:xfrm>
                  </p:grpSpPr>
                  <p:sp>
                    <p:nvSpPr>
                      <p:cNvPr id="2231" name="Freeform 52">
                        <a:extLst>
                          <a:ext uri="{FF2B5EF4-FFF2-40B4-BE49-F238E27FC236}">
                            <a16:creationId xmlns:a16="http://schemas.microsoft.com/office/drawing/2014/main" id="{192C617C-54ED-41D7-BF54-B1191B86290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2" name="Line 54">
                        <a:extLst>
                          <a:ext uri="{FF2B5EF4-FFF2-40B4-BE49-F238E27FC236}">
                            <a16:creationId xmlns:a16="http://schemas.microsoft.com/office/drawing/2014/main" id="{F1D93AA1-C9F5-4CD3-8C84-58E16DD8C70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3" name="Line 55">
                        <a:extLst>
                          <a:ext uri="{FF2B5EF4-FFF2-40B4-BE49-F238E27FC236}">
                            <a16:creationId xmlns:a16="http://schemas.microsoft.com/office/drawing/2014/main" id="{A76C7802-1BDB-493F-B4DE-9244B410BC8E}"/>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4" name="Freeform 56">
                        <a:extLst>
                          <a:ext uri="{FF2B5EF4-FFF2-40B4-BE49-F238E27FC236}">
                            <a16:creationId xmlns:a16="http://schemas.microsoft.com/office/drawing/2014/main" id="{E5574C13-BA7F-496E-BAE8-DA3839AC7C1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5" name="Line 57">
                        <a:extLst>
                          <a:ext uri="{FF2B5EF4-FFF2-40B4-BE49-F238E27FC236}">
                            <a16:creationId xmlns:a16="http://schemas.microsoft.com/office/drawing/2014/main" id="{CA15A088-9F57-47EE-B688-D99FF24C952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6" name="Freeform 58">
                        <a:extLst>
                          <a:ext uri="{FF2B5EF4-FFF2-40B4-BE49-F238E27FC236}">
                            <a16:creationId xmlns:a16="http://schemas.microsoft.com/office/drawing/2014/main" id="{058FE3D1-C0C3-4751-ABBA-B8B392B6A96F}"/>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7" name="Rectangle 2236">
                        <a:extLst>
                          <a:ext uri="{FF2B5EF4-FFF2-40B4-BE49-F238E27FC236}">
                            <a16:creationId xmlns:a16="http://schemas.microsoft.com/office/drawing/2014/main" id="{60D10146-0BB3-45E6-B554-ED8BA9B78FE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230" name="Oval 2229">
                      <a:extLst>
                        <a:ext uri="{FF2B5EF4-FFF2-40B4-BE49-F238E27FC236}">
                          <a16:creationId xmlns:a16="http://schemas.microsoft.com/office/drawing/2014/main" id="{0E89C224-7192-4BCD-9B0A-0A944110F01F}"/>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64" name="Group 2163">
                  <a:extLst>
                    <a:ext uri="{FF2B5EF4-FFF2-40B4-BE49-F238E27FC236}">
                      <a16:creationId xmlns:a16="http://schemas.microsoft.com/office/drawing/2014/main" id="{B10CBD6C-F7C8-4A57-9ACA-D1A199EA9DCF}"/>
                    </a:ext>
                  </a:extLst>
                </p:cNvPr>
                <p:cNvGrpSpPr>
                  <a:grpSpLocks/>
                </p:cNvGrpSpPr>
                <p:nvPr/>
              </p:nvGrpSpPr>
              <p:grpSpPr>
                <a:xfrm>
                  <a:off x="11166615" y="2825631"/>
                  <a:ext cx="787402" cy="787406"/>
                  <a:chOff x="1454941" y="4721722"/>
                  <a:chExt cx="473625" cy="473627"/>
                </a:xfrm>
              </p:grpSpPr>
              <p:grpSp>
                <p:nvGrpSpPr>
                  <p:cNvPr id="2188" name="Group 64">
                    <a:extLst>
                      <a:ext uri="{FF2B5EF4-FFF2-40B4-BE49-F238E27FC236}">
                        <a16:creationId xmlns:a16="http://schemas.microsoft.com/office/drawing/2014/main" id="{ABCE2FB1-37F0-43DF-BD59-2612C72D4837}"/>
                      </a:ext>
                    </a:extLst>
                  </p:cNvPr>
                  <p:cNvGrpSpPr>
                    <a:grpSpLocks noChangeAspect="1"/>
                  </p:cNvGrpSpPr>
                  <p:nvPr/>
                </p:nvGrpSpPr>
                <p:grpSpPr bwMode="auto">
                  <a:xfrm rot="8100000">
                    <a:off x="1454941" y="4721722"/>
                    <a:ext cx="473625" cy="473627"/>
                    <a:chOff x="701" y="2170"/>
                    <a:chExt cx="587" cy="587"/>
                  </a:xfrm>
                </p:grpSpPr>
                <p:sp>
                  <p:nvSpPr>
                    <p:cNvPr id="2220" name="Oval 65">
                      <a:extLst>
                        <a:ext uri="{FF2B5EF4-FFF2-40B4-BE49-F238E27FC236}">
                          <a16:creationId xmlns:a16="http://schemas.microsoft.com/office/drawing/2014/main" id="{15961140-1A10-4BFB-89AC-F38F1D154A0B}"/>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21" name="Line 66">
                      <a:extLst>
                        <a:ext uri="{FF2B5EF4-FFF2-40B4-BE49-F238E27FC236}">
                          <a16:creationId xmlns:a16="http://schemas.microsoft.com/office/drawing/2014/main" id="{006B9D65-8AE7-4509-8B64-FC4D4FC0ADF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2" name="Line 67">
                      <a:extLst>
                        <a:ext uri="{FF2B5EF4-FFF2-40B4-BE49-F238E27FC236}">
                          <a16:creationId xmlns:a16="http://schemas.microsoft.com/office/drawing/2014/main" id="{422739C9-BFEC-4494-9964-A8C5EAD50B9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Line 69">
                      <a:extLst>
                        <a:ext uri="{FF2B5EF4-FFF2-40B4-BE49-F238E27FC236}">
                          <a16:creationId xmlns:a16="http://schemas.microsoft.com/office/drawing/2014/main" id="{58DF49C2-AA2E-484D-8385-4ECF473647B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4" name="Line 74">
                      <a:extLst>
                        <a:ext uri="{FF2B5EF4-FFF2-40B4-BE49-F238E27FC236}">
                          <a16:creationId xmlns:a16="http://schemas.microsoft.com/office/drawing/2014/main" id="{4BD4124B-A4DE-462F-8F88-48258FCF99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5" name="Freeform 78">
                      <a:extLst>
                        <a:ext uri="{FF2B5EF4-FFF2-40B4-BE49-F238E27FC236}">
                          <a16:creationId xmlns:a16="http://schemas.microsoft.com/office/drawing/2014/main" id="{2520C878-1E4A-4B6B-BDFB-B88CEE25C4A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6" name="Freeform 80">
                      <a:extLst>
                        <a:ext uri="{FF2B5EF4-FFF2-40B4-BE49-F238E27FC236}">
                          <a16:creationId xmlns:a16="http://schemas.microsoft.com/office/drawing/2014/main" id="{2F761D6F-C8D8-4C87-983A-3C4B884C532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89" name="Group 2188">
                    <a:extLst>
                      <a:ext uri="{FF2B5EF4-FFF2-40B4-BE49-F238E27FC236}">
                        <a16:creationId xmlns:a16="http://schemas.microsoft.com/office/drawing/2014/main" id="{DEBD9B1D-166D-4170-B078-B2D377479FC6}"/>
                      </a:ext>
                    </a:extLst>
                  </p:cNvPr>
                  <p:cNvGrpSpPr/>
                  <p:nvPr/>
                </p:nvGrpSpPr>
                <p:grpSpPr>
                  <a:xfrm>
                    <a:off x="1511214" y="4789508"/>
                    <a:ext cx="356509" cy="349884"/>
                    <a:chOff x="468738" y="2241878"/>
                    <a:chExt cx="1655483" cy="1624719"/>
                  </a:xfrm>
                </p:grpSpPr>
                <p:sp>
                  <p:nvSpPr>
                    <p:cNvPr id="2190" name="Freeform 5">
                      <a:extLst>
                        <a:ext uri="{FF2B5EF4-FFF2-40B4-BE49-F238E27FC236}">
                          <a16:creationId xmlns:a16="http://schemas.microsoft.com/office/drawing/2014/main" id="{1D9A7314-AB98-4761-8699-586F6357DB6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91" name="Freeform 6">
                      <a:extLst>
                        <a:ext uri="{FF2B5EF4-FFF2-40B4-BE49-F238E27FC236}">
                          <a16:creationId xmlns:a16="http://schemas.microsoft.com/office/drawing/2014/main" id="{A64CF44D-CEA9-4DA5-8182-101680E2A41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2" name="Line 7">
                      <a:extLst>
                        <a:ext uri="{FF2B5EF4-FFF2-40B4-BE49-F238E27FC236}">
                          <a16:creationId xmlns:a16="http://schemas.microsoft.com/office/drawing/2014/main" id="{1C4A0DF9-5457-4922-9056-C7D3B4051B7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3" name="Freeform 8">
                      <a:extLst>
                        <a:ext uri="{FF2B5EF4-FFF2-40B4-BE49-F238E27FC236}">
                          <a16:creationId xmlns:a16="http://schemas.microsoft.com/office/drawing/2014/main" id="{738F72B4-50FB-4505-8A6C-54B5F20EE781}"/>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4" name="Line 9">
                      <a:extLst>
                        <a:ext uri="{FF2B5EF4-FFF2-40B4-BE49-F238E27FC236}">
                          <a16:creationId xmlns:a16="http://schemas.microsoft.com/office/drawing/2014/main" id="{5F21B2A7-081B-495B-B6F4-7E3C88CE811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95" name="Group 2194">
                      <a:extLst>
                        <a:ext uri="{FF2B5EF4-FFF2-40B4-BE49-F238E27FC236}">
                          <a16:creationId xmlns:a16="http://schemas.microsoft.com/office/drawing/2014/main" id="{0A3425A1-A771-4B1A-BA01-B5C61884E4A0}"/>
                        </a:ext>
                      </a:extLst>
                    </p:cNvPr>
                    <p:cNvGrpSpPr/>
                    <p:nvPr/>
                  </p:nvGrpSpPr>
                  <p:grpSpPr>
                    <a:xfrm>
                      <a:off x="1207113" y="2241878"/>
                      <a:ext cx="178734" cy="348678"/>
                      <a:chOff x="1207113" y="2241878"/>
                      <a:chExt cx="178734" cy="348678"/>
                    </a:xfrm>
                  </p:grpSpPr>
                  <p:sp>
                    <p:nvSpPr>
                      <p:cNvPr id="2218" name="Freeform 10">
                        <a:extLst>
                          <a:ext uri="{FF2B5EF4-FFF2-40B4-BE49-F238E27FC236}">
                            <a16:creationId xmlns:a16="http://schemas.microsoft.com/office/drawing/2014/main" id="{25371420-3620-4971-9DE1-63F97042398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Line 11">
                        <a:extLst>
                          <a:ext uri="{FF2B5EF4-FFF2-40B4-BE49-F238E27FC236}">
                            <a16:creationId xmlns:a16="http://schemas.microsoft.com/office/drawing/2014/main" id="{AC1D5B7B-67AB-4978-8205-867EF6E4AD2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96" name="Freeform 12">
                      <a:extLst>
                        <a:ext uri="{FF2B5EF4-FFF2-40B4-BE49-F238E27FC236}">
                          <a16:creationId xmlns:a16="http://schemas.microsoft.com/office/drawing/2014/main" id="{5FA19EC1-1058-4D85-88E9-468EF6D086ED}"/>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7" name="Line 13">
                      <a:extLst>
                        <a:ext uri="{FF2B5EF4-FFF2-40B4-BE49-F238E27FC236}">
                          <a16:creationId xmlns:a16="http://schemas.microsoft.com/office/drawing/2014/main" id="{FA969646-702F-47BD-A0EE-85918BC0E84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8" name="Freeform 14">
                      <a:extLst>
                        <a:ext uri="{FF2B5EF4-FFF2-40B4-BE49-F238E27FC236}">
                          <a16:creationId xmlns:a16="http://schemas.microsoft.com/office/drawing/2014/main" id="{F1B550C5-A998-4C1F-B315-604276039DE5}"/>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9" name="Line 15">
                      <a:extLst>
                        <a:ext uri="{FF2B5EF4-FFF2-40B4-BE49-F238E27FC236}">
                          <a16:creationId xmlns:a16="http://schemas.microsoft.com/office/drawing/2014/main" id="{DF241370-6A53-4766-B73B-14DA40B43B5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0" name="Freeform 16">
                      <a:extLst>
                        <a:ext uri="{FF2B5EF4-FFF2-40B4-BE49-F238E27FC236}">
                          <a16:creationId xmlns:a16="http://schemas.microsoft.com/office/drawing/2014/main" id="{105A38EC-5CE9-4B76-AD85-E8F3D024F71E}"/>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Line 17">
                      <a:extLst>
                        <a:ext uri="{FF2B5EF4-FFF2-40B4-BE49-F238E27FC236}">
                          <a16:creationId xmlns:a16="http://schemas.microsoft.com/office/drawing/2014/main" id="{1BF1C07B-DAF8-4146-BE40-719ED5C2DB33}"/>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2" name="Freeform 18">
                      <a:extLst>
                        <a:ext uri="{FF2B5EF4-FFF2-40B4-BE49-F238E27FC236}">
                          <a16:creationId xmlns:a16="http://schemas.microsoft.com/office/drawing/2014/main" id="{250378F1-E840-46EC-B2E2-05279B9F821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Line 19">
                      <a:extLst>
                        <a:ext uri="{FF2B5EF4-FFF2-40B4-BE49-F238E27FC236}">
                          <a16:creationId xmlns:a16="http://schemas.microsoft.com/office/drawing/2014/main" id="{2B18A366-0440-4FCA-BE1C-4918E42C72A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35">
                      <a:extLst>
                        <a:ext uri="{FF2B5EF4-FFF2-40B4-BE49-F238E27FC236}">
                          <a16:creationId xmlns:a16="http://schemas.microsoft.com/office/drawing/2014/main" id="{C314256A-E020-459A-94BB-CA59309A4CBB}"/>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36">
                      <a:extLst>
                        <a:ext uri="{FF2B5EF4-FFF2-40B4-BE49-F238E27FC236}">
                          <a16:creationId xmlns:a16="http://schemas.microsoft.com/office/drawing/2014/main" id="{60073856-1516-4212-BEAA-3A051DB31F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37">
                      <a:extLst>
                        <a:ext uri="{FF2B5EF4-FFF2-40B4-BE49-F238E27FC236}">
                          <a16:creationId xmlns:a16="http://schemas.microsoft.com/office/drawing/2014/main" id="{16CD7A93-B640-444E-9124-76CD43E0D73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38">
                      <a:extLst>
                        <a:ext uri="{FF2B5EF4-FFF2-40B4-BE49-F238E27FC236}">
                          <a16:creationId xmlns:a16="http://schemas.microsoft.com/office/drawing/2014/main" id="{F3B3FC43-39A3-4B3D-8C16-995C4B732FBE}"/>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39">
                      <a:extLst>
                        <a:ext uri="{FF2B5EF4-FFF2-40B4-BE49-F238E27FC236}">
                          <a16:creationId xmlns:a16="http://schemas.microsoft.com/office/drawing/2014/main" id="{5065377B-057A-4857-A3CD-131B34E2A81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40">
                      <a:extLst>
                        <a:ext uri="{FF2B5EF4-FFF2-40B4-BE49-F238E27FC236}">
                          <a16:creationId xmlns:a16="http://schemas.microsoft.com/office/drawing/2014/main" id="{2395F9BD-C87A-4553-ACF2-0143AFF2E3D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41">
                      <a:extLst>
                        <a:ext uri="{FF2B5EF4-FFF2-40B4-BE49-F238E27FC236}">
                          <a16:creationId xmlns:a16="http://schemas.microsoft.com/office/drawing/2014/main" id="{87AFFDBB-FE77-4963-90EE-7D3C0F8A2BFE}"/>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Line 42">
                      <a:extLst>
                        <a:ext uri="{FF2B5EF4-FFF2-40B4-BE49-F238E27FC236}">
                          <a16:creationId xmlns:a16="http://schemas.microsoft.com/office/drawing/2014/main" id="{E1A3EF65-3462-4F94-9DB7-D17FF1442F51}"/>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43">
                      <a:extLst>
                        <a:ext uri="{FF2B5EF4-FFF2-40B4-BE49-F238E27FC236}">
                          <a16:creationId xmlns:a16="http://schemas.microsoft.com/office/drawing/2014/main" id="{0BA60547-C8B3-4174-BD62-DF1EEBBC417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44">
                      <a:extLst>
                        <a:ext uri="{FF2B5EF4-FFF2-40B4-BE49-F238E27FC236}">
                          <a16:creationId xmlns:a16="http://schemas.microsoft.com/office/drawing/2014/main" id="{819EB172-557D-45B6-B1ED-00A2E71486F3}"/>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45">
                      <a:extLst>
                        <a:ext uri="{FF2B5EF4-FFF2-40B4-BE49-F238E27FC236}">
                          <a16:creationId xmlns:a16="http://schemas.microsoft.com/office/drawing/2014/main" id="{05587E12-F6B4-47EB-988A-8AA4534D8C28}"/>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15" name="Group 2214">
                      <a:extLst>
                        <a:ext uri="{FF2B5EF4-FFF2-40B4-BE49-F238E27FC236}">
                          <a16:creationId xmlns:a16="http://schemas.microsoft.com/office/drawing/2014/main" id="{636468B7-3621-461D-860D-F8C75732E462}"/>
                        </a:ext>
                      </a:extLst>
                    </p:cNvPr>
                    <p:cNvGrpSpPr/>
                    <p:nvPr/>
                  </p:nvGrpSpPr>
                  <p:grpSpPr>
                    <a:xfrm flipV="1">
                      <a:off x="1202047" y="3517919"/>
                      <a:ext cx="178734" cy="348678"/>
                      <a:chOff x="1207113" y="2241878"/>
                      <a:chExt cx="178734" cy="348678"/>
                    </a:xfrm>
                  </p:grpSpPr>
                  <p:sp>
                    <p:nvSpPr>
                      <p:cNvPr id="2216" name="Freeform 10">
                        <a:extLst>
                          <a:ext uri="{FF2B5EF4-FFF2-40B4-BE49-F238E27FC236}">
                            <a16:creationId xmlns:a16="http://schemas.microsoft.com/office/drawing/2014/main" id="{410DF577-895F-4E70-96FE-951F4D56A55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Line 11">
                        <a:extLst>
                          <a:ext uri="{FF2B5EF4-FFF2-40B4-BE49-F238E27FC236}">
                            <a16:creationId xmlns:a16="http://schemas.microsoft.com/office/drawing/2014/main" id="{40A4026E-F1FE-4204-A4A2-17BFAA8891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65" name="Group 2164">
                  <a:extLst>
                    <a:ext uri="{FF2B5EF4-FFF2-40B4-BE49-F238E27FC236}">
                      <a16:creationId xmlns:a16="http://schemas.microsoft.com/office/drawing/2014/main" id="{A4C0D400-C02F-478B-B1B9-2501C058B2EF}"/>
                    </a:ext>
                  </a:extLst>
                </p:cNvPr>
                <p:cNvGrpSpPr>
                  <a:grpSpLocks/>
                </p:cNvGrpSpPr>
                <p:nvPr/>
              </p:nvGrpSpPr>
              <p:grpSpPr>
                <a:xfrm>
                  <a:off x="11709639" y="2297897"/>
                  <a:ext cx="690952" cy="690956"/>
                  <a:chOff x="2268747" y="4723725"/>
                  <a:chExt cx="415610" cy="415612"/>
                </a:xfrm>
              </p:grpSpPr>
              <p:grpSp>
                <p:nvGrpSpPr>
                  <p:cNvPr id="2166" name="Group 64">
                    <a:extLst>
                      <a:ext uri="{FF2B5EF4-FFF2-40B4-BE49-F238E27FC236}">
                        <a16:creationId xmlns:a16="http://schemas.microsoft.com/office/drawing/2014/main" id="{B17BE4DE-5375-442D-93A8-26D9889996D1}"/>
                      </a:ext>
                    </a:extLst>
                  </p:cNvPr>
                  <p:cNvGrpSpPr>
                    <a:grpSpLocks noChangeAspect="1"/>
                  </p:cNvGrpSpPr>
                  <p:nvPr/>
                </p:nvGrpSpPr>
                <p:grpSpPr bwMode="auto">
                  <a:xfrm rot="8100000">
                    <a:off x="2268747" y="4723725"/>
                    <a:ext cx="415610" cy="415612"/>
                    <a:chOff x="701" y="2170"/>
                    <a:chExt cx="587" cy="587"/>
                  </a:xfrm>
                </p:grpSpPr>
                <p:sp>
                  <p:nvSpPr>
                    <p:cNvPr id="2181" name="Oval 65">
                      <a:extLst>
                        <a:ext uri="{FF2B5EF4-FFF2-40B4-BE49-F238E27FC236}">
                          <a16:creationId xmlns:a16="http://schemas.microsoft.com/office/drawing/2014/main" id="{2EA549F0-7DF9-4B97-9922-CE022AD61A9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2" name="Line 66">
                      <a:extLst>
                        <a:ext uri="{FF2B5EF4-FFF2-40B4-BE49-F238E27FC236}">
                          <a16:creationId xmlns:a16="http://schemas.microsoft.com/office/drawing/2014/main" id="{1626D8DC-E5C3-4622-9799-B3F457B33655}"/>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3" name="Line 67">
                      <a:extLst>
                        <a:ext uri="{FF2B5EF4-FFF2-40B4-BE49-F238E27FC236}">
                          <a16:creationId xmlns:a16="http://schemas.microsoft.com/office/drawing/2014/main" id="{8C443901-746E-4E3C-9975-9C7FDAE9584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9">
                      <a:extLst>
                        <a:ext uri="{FF2B5EF4-FFF2-40B4-BE49-F238E27FC236}">
                          <a16:creationId xmlns:a16="http://schemas.microsoft.com/office/drawing/2014/main" id="{DEC89C1E-4381-4EBD-B1C1-2E75571B377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74">
                      <a:extLst>
                        <a:ext uri="{FF2B5EF4-FFF2-40B4-BE49-F238E27FC236}">
                          <a16:creationId xmlns:a16="http://schemas.microsoft.com/office/drawing/2014/main" id="{426BA79C-657F-4D18-AA4C-7F1387458C2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Freeform 78">
                      <a:extLst>
                        <a:ext uri="{FF2B5EF4-FFF2-40B4-BE49-F238E27FC236}">
                          <a16:creationId xmlns:a16="http://schemas.microsoft.com/office/drawing/2014/main" id="{F0B56726-E777-4F0E-9913-AC854618759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80">
                      <a:extLst>
                        <a:ext uri="{FF2B5EF4-FFF2-40B4-BE49-F238E27FC236}">
                          <a16:creationId xmlns:a16="http://schemas.microsoft.com/office/drawing/2014/main" id="{34C04358-9512-4CD4-886E-84CD468CF73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67" name="Group 2166">
                    <a:extLst>
                      <a:ext uri="{FF2B5EF4-FFF2-40B4-BE49-F238E27FC236}">
                        <a16:creationId xmlns:a16="http://schemas.microsoft.com/office/drawing/2014/main" id="{28E34054-7D3B-4D8B-809C-73B1468F8192}"/>
                      </a:ext>
                    </a:extLst>
                  </p:cNvPr>
                  <p:cNvGrpSpPr/>
                  <p:nvPr/>
                </p:nvGrpSpPr>
                <p:grpSpPr>
                  <a:xfrm>
                    <a:off x="2318076" y="4830163"/>
                    <a:ext cx="313949" cy="233075"/>
                    <a:chOff x="3707533" y="2731244"/>
                    <a:chExt cx="389644" cy="289271"/>
                  </a:xfrm>
                </p:grpSpPr>
                <p:sp>
                  <p:nvSpPr>
                    <p:cNvPr id="2168" name="Freeform 33">
                      <a:extLst>
                        <a:ext uri="{FF2B5EF4-FFF2-40B4-BE49-F238E27FC236}">
                          <a16:creationId xmlns:a16="http://schemas.microsoft.com/office/drawing/2014/main" id="{B4FE439A-D777-407F-8F08-0BC6EBC1C2D6}"/>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34">
                      <a:extLst>
                        <a:ext uri="{FF2B5EF4-FFF2-40B4-BE49-F238E27FC236}">
                          <a16:creationId xmlns:a16="http://schemas.microsoft.com/office/drawing/2014/main" id="{A7917E2E-9536-4410-93D6-656EDC14276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37">
                      <a:extLst>
                        <a:ext uri="{FF2B5EF4-FFF2-40B4-BE49-F238E27FC236}">
                          <a16:creationId xmlns:a16="http://schemas.microsoft.com/office/drawing/2014/main" id="{7418AC65-96AB-48C2-A3DC-C781B6A5601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1" name="Freeform 38">
                      <a:extLst>
                        <a:ext uri="{FF2B5EF4-FFF2-40B4-BE49-F238E27FC236}">
                          <a16:creationId xmlns:a16="http://schemas.microsoft.com/office/drawing/2014/main" id="{557D2715-D97B-4738-98D4-E23F68AE6988}"/>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2" name="Freeform 32">
                      <a:extLst>
                        <a:ext uri="{FF2B5EF4-FFF2-40B4-BE49-F238E27FC236}">
                          <a16:creationId xmlns:a16="http://schemas.microsoft.com/office/drawing/2014/main" id="{DEC47B83-3F1C-4953-A0B9-C3D43DFC4F0E}"/>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3" name="Freeform 35">
                      <a:extLst>
                        <a:ext uri="{FF2B5EF4-FFF2-40B4-BE49-F238E27FC236}">
                          <a16:creationId xmlns:a16="http://schemas.microsoft.com/office/drawing/2014/main" id="{14C3980E-5D17-42A2-9AF6-DF0BD721DAB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4" name="Freeform 36">
                      <a:extLst>
                        <a:ext uri="{FF2B5EF4-FFF2-40B4-BE49-F238E27FC236}">
                          <a16:creationId xmlns:a16="http://schemas.microsoft.com/office/drawing/2014/main" id="{E2126AF0-F9CB-46E6-B4B5-C82F0087B75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5" name="Freeform 25">
                      <a:extLst>
                        <a:ext uri="{FF2B5EF4-FFF2-40B4-BE49-F238E27FC236}">
                          <a16:creationId xmlns:a16="http://schemas.microsoft.com/office/drawing/2014/main" id="{11D152C7-7F05-49D9-80E9-C5D5E192028C}"/>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Freeform 39">
                      <a:extLst>
                        <a:ext uri="{FF2B5EF4-FFF2-40B4-BE49-F238E27FC236}">
                          <a16:creationId xmlns:a16="http://schemas.microsoft.com/office/drawing/2014/main" id="{3E5E4F9B-F62E-4CFC-8045-EA707BEB219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7" name="Freeform 26">
                      <a:extLst>
                        <a:ext uri="{FF2B5EF4-FFF2-40B4-BE49-F238E27FC236}">
                          <a16:creationId xmlns:a16="http://schemas.microsoft.com/office/drawing/2014/main" id="{1FB77C3F-FFFA-4A3E-84CC-B47EE967B735}"/>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8" name="Rectangle 27">
                      <a:extLst>
                        <a:ext uri="{FF2B5EF4-FFF2-40B4-BE49-F238E27FC236}">
                          <a16:creationId xmlns:a16="http://schemas.microsoft.com/office/drawing/2014/main" id="{3EED932C-C3FE-4DAC-BA81-3C9564ECF7CC}"/>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9" name="Line 29">
                      <a:extLst>
                        <a:ext uri="{FF2B5EF4-FFF2-40B4-BE49-F238E27FC236}">
                          <a16:creationId xmlns:a16="http://schemas.microsoft.com/office/drawing/2014/main" id="{22E7952B-986D-4EF6-9D90-4EB2570B4F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Line 31">
                      <a:extLst>
                        <a:ext uri="{FF2B5EF4-FFF2-40B4-BE49-F238E27FC236}">
                          <a16:creationId xmlns:a16="http://schemas.microsoft.com/office/drawing/2014/main" id="{2E09664D-FC2E-4C7B-BD8B-EB6B09534C71}"/>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162" name="Rectangle 2161">
                <a:extLst>
                  <a:ext uri="{FF2B5EF4-FFF2-40B4-BE49-F238E27FC236}">
                    <a16:creationId xmlns:a16="http://schemas.microsoft.com/office/drawing/2014/main" id="{AE3A9622-2C3B-4723-82C0-04A11F7A67D5}"/>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159" name="Rectangle 2158">
              <a:extLst>
                <a:ext uri="{FF2B5EF4-FFF2-40B4-BE49-F238E27FC236}">
                  <a16:creationId xmlns:a16="http://schemas.microsoft.com/office/drawing/2014/main" id="{7B1DC118-2B61-4544-A6B5-CE5166EAF1B2}"/>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245" name="Group 2244">
            <a:extLst>
              <a:ext uri="{FF2B5EF4-FFF2-40B4-BE49-F238E27FC236}">
                <a16:creationId xmlns:a16="http://schemas.microsoft.com/office/drawing/2014/main" id="{596718D9-B325-4276-BE50-22747C501F7B}"/>
              </a:ext>
            </a:extLst>
          </p:cNvPr>
          <p:cNvGrpSpPr/>
          <p:nvPr/>
        </p:nvGrpSpPr>
        <p:grpSpPr>
          <a:xfrm>
            <a:off x="5581513" y="3847679"/>
            <a:ext cx="2022711" cy="2582790"/>
            <a:chOff x="5596776" y="3955938"/>
            <a:chExt cx="2028403" cy="2590058"/>
          </a:xfrm>
        </p:grpSpPr>
        <p:sp>
          <p:nvSpPr>
            <p:cNvPr id="2246" name="Rectangle 2245">
              <a:extLst>
                <a:ext uri="{FF2B5EF4-FFF2-40B4-BE49-F238E27FC236}">
                  <a16:creationId xmlns:a16="http://schemas.microsoft.com/office/drawing/2014/main" id="{03BB922D-F8C3-47FC-AA81-6A5C008CECFB}"/>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247" name="Group 2246">
              <a:extLst>
                <a:ext uri="{FF2B5EF4-FFF2-40B4-BE49-F238E27FC236}">
                  <a16:creationId xmlns:a16="http://schemas.microsoft.com/office/drawing/2014/main" id="{AB14F307-12B8-4AE9-92BB-F70CE51DB976}"/>
                </a:ext>
              </a:extLst>
            </p:cNvPr>
            <p:cNvGrpSpPr/>
            <p:nvPr/>
          </p:nvGrpSpPr>
          <p:grpSpPr>
            <a:xfrm>
              <a:off x="5596776" y="4804677"/>
              <a:ext cx="2028403" cy="1741319"/>
              <a:chOff x="5596776" y="4804677"/>
              <a:chExt cx="2028403" cy="1741319"/>
            </a:xfrm>
          </p:grpSpPr>
          <p:sp>
            <p:nvSpPr>
              <p:cNvPr id="2248" name="Rectangle 2247">
                <a:extLst>
                  <a:ext uri="{FF2B5EF4-FFF2-40B4-BE49-F238E27FC236}">
                    <a16:creationId xmlns:a16="http://schemas.microsoft.com/office/drawing/2014/main" id="{B5C15643-696C-4B68-B4F3-27F9B158E634}"/>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249" name="Rectangle 2248">
                <a:extLst>
                  <a:ext uri="{FF2B5EF4-FFF2-40B4-BE49-F238E27FC236}">
                    <a16:creationId xmlns:a16="http://schemas.microsoft.com/office/drawing/2014/main" id="{824E8C0B-7301-415E-927C-E31738F8E963}"/>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250" name="Picture 2249">
                <a:extLst>
                  <a:ext uri="{FF2B5EF4-FFF2-40B4-BE49-F238E27FC236}">
                    <a16:creationId xmlns:a16="http://schemas.microsoft.com/office/drawing/2014/main" id="{C0A13450-F53F-471B-AEB9-B117E07C02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251" name="Group 2250">
                <a:extLst>
                  <a:ext uri="{FF2B5EF4-FFF2-40B4-BE49-F238E27FC236}">
                    <a16:creationId xmlns:a16="http://schemas.microsoft.com/office/drawing/2014/main" id="{0E61A0F9-5D07-4172-B2BE-F9802232F912}"/>
                  </a:ext>
                </a:extLst>
              </p:cNvPr>
              <p:cNvGrpSpPr>
                <a:grpSpLocks/>
              </p:cNvGrpSpPr>
              <p:nvPr/>
            </p:nvGrpSpPr>
            <p:grpSpPr>
              <a:xfrm>
                <a:off x="6916019" y="5876745"/>
                <a:ext cx="476834" cy="476835"/>
                <a:chOff x="7895435" y="7917966"/>
                <a:chExt cx="473625" cy="473627"/>
              </a:xfrm>
            </p:grpSpPr>
            <p:grpSp>
              <p:nvGrpSpPr>
                <p:cNvPr id="2252" name="Group 64">
                  <a:extLst>
                    <a:ext uri="{FF2B5EF4-FFF2-40B4-BE49-F238E27FC236}">
                      <a16:creationId xmlns:a16="http://schemas.microsoft.com/office/drawing/2014/main" id="{C72A6242-D538-4F2C-B3CA-7E31CC7B97BA}"/>
                    </a:ext>
                  </a:extLst>
                </p:cNvPr>
                <p:cNvGrpSpPr>
                  <a:grpSpLocks noChangeAspect="1"/>
                </p:cNvGrpSpPr>
                <p:nvPr/>
              </p:nvGrpSpPr>
              <p:grpSpPr bwMode="auto">
                <a:xfrm rot="8100000">
                  <a:off x="7895435" y="7917966"/>
                  <a:ext cx="473625" cy="473627"/>
                  <a:chOff x="701" y="2170"/>
                  <a:chExt cx="587" cy="587"/>
                </a:xfrm>
              </p:grpSpPr>
              <p:sp>
                <p:nvSpPr>
                  <p:cNvPr id="2284" name="Oval 65">
                    <a:extLst>
                      <a:ext uri="{FF2B5EF4-FFF2-40B4-BE49-F238E27FC236}">
                        <a16:creationId xmlns:a16="http://schemas.microsoft.com/office/drawing/2014/main" id="{72CD75EB-BF3E-4603-8B5F-76E6AAA1404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5" name="Line 66">
                    <a:extLst>
                      <a:ext uri="{FF2B5EF4-FFF2-40B4-BE49-F238E27FC236}">
                        <a16:creationId xmlns:a16="http://schemas.microsoft.com/office/drawing/2014/main" id="{C2ABC0FA-E95F-4846-8E5B-60C4FBF614A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67">
                    <a:extLst>
                      <a:ext uri="{FF2B5EF4-FFF2-40B4-BE49-F238E27FC236}">
                        <a16:creationId xmlns:a16="http://schemas.microsoft.com/office/drawing/2014/main" id="{78BD8519-5A33-45C0-8EAD-7490E9E31E7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7" name="Line 69">
                    <a:extLst>
                      <a:ext uri="{FF2B5EF4-FFF2-40B4-BE49-F238E27FC236}">
                        <a16:creationId xmlns:a16="http://schemas.microsoft.com/office/drawing/2014/main" id="{4F6079F1-90DE-4314-9807-A9534643861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8" name="Line 74">
                    <a:extLst>
                      <a:ext uri="{FF2B5EF4-FFF2-40B4-BE49-F238E27FC236}">
                        <a16:creationId xmlns:a16="http://schemas.microsoft.com/office/drawing/2014/main" id="{6D38F3F5-61E8-41D1-90C0-8623D31AB56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Freeform 78">
                    <a:extLst>
                      <a:ext uri="{FF2B5EF4-FFF2-40B4-BE49-F238E27FC236}">
                        <a16:creationId xmlns:a16="http://schemas.microsoft.com/office/drawing/2014/main" id="{4FFF2C2E-7700-46EE-8D2B-4A891EB9A263}"/>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80">
                    <a:extLst>
                      <a:ext uri="{FF2B5EF4-FFF2-40B4-BE49-F238E27FC236}">
                        <a16:creationId xmlns:a16="http://schemas.microsoft.com/office/drawing/2014/main" id="{1122B5A9-3C84-4127-BD29-A75546B1522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3" name="Group 2252">
                  <a:extLst>
                    <a:ext uri="{FF2B5EF4-FFF2-40B4-BE49-F238E27FC236}">
                      <a16:creationId xmlns:a16="http://schemas.microsoft.com/office/drawing/2014/main" id="{BD6D89E2-0839-4366-A46C-1684A8249CCE}"/>
                    </a:ext>
                  </a:extLst>
                </p:cNvPr>
                <p:cNvGrpSpPr/>
                <p:nvPr/>
              </p:nvGrpSpPr>
              <p:grpSpPr>
                <a:xfrm>
                  <a:off x="7951708" y="7985752"/>
                  <a:ext cx="356509" cy="349884"/>
                  <a:chOff x="468738" y="2241878"/>
                  <a:chExt cx="1655483" cy="1624719"/>
                </a:xfrm>
              </p:grpSpPr>
              <p:sp>
                <p:nvSpPr>
                  <p:cNvPr id="2254" name="Freeform 5">
                    <a:extLst>
                      <a:ext uri="{FF2B5EF4-FFF2-40B4-BE49-F238E27FC236}">
                        <a16:creationId xmlns:a16="http://schemas.microsoft.com/office/drawing/2014/main" id="{0653FA21-B855-4F64-ABA6-8F7F26150D5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55" name="Freeform 6">
                    <a:extLst>
                      <a:ext uri="{FF2B5EF4-FFF2-40B4-BE49-F238E27FC236}">
                        <a16:creationId xmlns:a16="http://schemas.microsoft.com/office/drawing/2014/main" id="{3EEE02F6-99B8-44B6-A1AB-129B9A2D36D1}"/>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6" name="Line 7">
                    <a:extLst>
                      <a:ext uri="{FF2B5EF4-FFF2-40B4-BE49-F238E27FC236}">
                        <a16:creationId xmlns:a16="http://schemas.microsoft.com/office/drawing/2014/main" id="{90AE3C5E-3F0F-4BE2-9E91-F0C330609DA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7" name="Freeform 8">
                    <a:extLst>
                      <a:ext uri="{FF2B5EF4-FFF2-40B4-BE49-F238E27FC236}">
                        <a16:creationId xmlns:a16="http://schemas.microsoft.com/office/drawing/2014/main" id="{E22ACE02-9420-4BCC-8D52-9BE7FC9D81D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8" name="Line 9">
                    <a:extLst>
                      <a:ext uri="{FF2B5EF4-FFF2-40B4-BE49-F238E27FC236}">
                        <a16:creationId xmlns:a16="http://schemas.microsoft.com/office/drawing/2014/main" id="{9D6358CD-970F-4D04-8F13-9E65006FDE4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59" name="Group 2258">
                    <a:extLst>
                      <a:ext uri="{FF2B5EF4-FFF2-40B4-BE49-F238E27FC236}">
                        <a16:creationId xmlns:a16="http://schemas.microsoft.com/office/drawing/2014/main" id="{4647B62F-46AC-4F4F-8170-2E739DB9CFBE}"/>
                      </a:ext>
                    </a:extLst>
                  </p:cNvPr>
                  <p:cNvGrpSpPr/>
                  <p:nvPr/>
                </p:nvGrpSpPr>
                <p:grpSpPr>
                  <a:xfrm>
                    <a:off x="1207113" y="2241878"/>
                    <a:ext cx="178734" cy="348678"/>
                    <a:chOff x="1207113" y="2241878"/>
                    <a:chExt cx="178734" cy="348678"/>
                  </a:xfrm>
                </p:grpSpPr>
                <p:sp>
                  <p:nvSpPr>
                    <p:cNvPr id="2282" name="Freeform 10">
                      <a:extLst>
                        <a:ext uri="{FF2B5EF4-FFF2-40B4-BE49-F238E27FC236}">
                          <a16:creationId xmlns:a16="http://schemas.microsoft.com/office/drawing/2014/main" id="{46854A5F-4070-4A86-9B3D-060898EF8DA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3" name="Line 11">
                      <a:extLst>
                        <a:ext uri="{FF2B5EF4-FFF2-40B4-BE49-F238E27FC236}">
                          <a16:creationId xmlns:a16="http://schemas.microsoft.com/office/drawing/2014/main" id="{49AB5A88-DEE1-42E4-85D7-0ECD6FE40B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60" name="Freeform 12">
                    <a:extLst>
                      <a:ext uri="{FF2B5EF4-FFF2-40B4-BE49-F238E27FC236}">
                        <a16:creationId xmlns:a16="http://schemas.microsoft.com/office/drawing/2014/main" id="{2300F74C-6849-42A6-AB6A-692104E3665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1" name="Line 13">
                    <a:extLst>
                      <a:ext uri="{FF2B5EF4-FFF2-40B4-BE49-F238E27FC236}">
                        <a16:creationId xmlns:a16="http://schemas.microsoft.com/office/drawing/2014/main" id="{27BBF1D8-6172-4BE0-A288-26B9081155B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14">
                    <a:extLst>
                      <a:ext uri="{FF2B5EF4-FFF2-40B4-BE49-F238E27FC236}">
                        <a16:creationId xmlns:a16="http://schemas.microsoft.com/office/drawing/2014/main" id="{1A0E8633-E13B-41E8-B429-1F58A35142A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3" name="Line 15">
                    <a:extLst>
                      <a:ext uri="{FF2B5EF4-FFF2-40B4-BE49-F238E27FC236}">
                        <a16:creationId xmlns:a16="http://schemas.microsoft.com/office/drawing/2014/main" id="{7C25BDBF-306B-4FF3-A2C0-3FFF40E99EAD}"/>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16">
                    <a:extLst>
                      <a:ext uri="{FF2B5EF4-FFF2-40B4-BE49-F238E27FC236}">
                        <a16:creationId xmlns:a16="http://schemas.microsoft.com/office/drawing/2014/main" id="{0D3617B8-E7D3-4E1A-9A38-846DF11C0CB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5" name="Line 17">
                    <a:extLst>
                      <a:ext uri="{FF2B5EF4-FFF2-40B4-BE49-F238E27FC236}">
                        <a16:creationId xmlns:a16="http://schemas.microsoft.com/office/drawing/2014/main" id="{6306F9CC-64AE-417A-A2EA-C4A7146711B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18">
                    <a:extLst>
                      <a:ext uri="{FF2B5EF4-FFF2-40B4-BE49-F238E27FC236}">
                        <a16:creationId xmlns:a16="http://schemas.microsoft.com/office/drawing/2014/main" id="{E72E4136-DDFA-4084-8228-ADA12BE42C9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7" name="Line 19">
                    <a:extLst>
                      <a:ext uri="{FF2B5EF4-FFF2-40B4-BE49-F238E27FC236}">
                        <a16:creationId xmlns:a16="http://schemas.microsoft.com/office/drawing/2014/main" id="{E7619B44-B2C5-4FCF-ABA8-178E9BE2E79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5">
                    <a:extLst>
                      <a:ext uri="{FF2B5EF4-FFF2-40B4-BE49-F238E27FC236}">
                        <a16:creationId xmlns:a16="http://schemas.microsoft.com/office/drawing/2014/main" id="{30FC848C-A264-4C36-AA77-5BA5B0D0C18C}"/>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36">
                    <a:extLst>
                      <a:ext uri="{FF2B5EF4-FFF2-40B4-BE49-F238E27FC236}">
                        <a16:creationId xmlns:a16="http://schemas.microsoft.com/office/drawing/2014/main" id="{0436AAF8-A9E1-4FCE-9DC6-EBB2FD0588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0" name="Freeform 37">
                    <a:extLst>
                      <a:ext uri="{FF2B5EF4-FFF2-40B4-BE49-F238E27FC236}">
                        <a16:creationId xmlns:a16="http://schemas.microsoft.com/office/drawing/2014/main" id="{10F2FB4B-92A9-45AB-9CE1-9AD50732BD2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1" name="Freeform 38">
                    <a:extLst>
                      <a:ext uri="{FF2B5EF4-FFF2-40B4-BE49-F238E27FC236}">
                        <a16:creationId xmlns:a16="http://schemas.microsoft.com/office/drawing/2014/main" id="{FE722393-6BB9-4A5A-98BF-D4876777A2E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2" name="Freeform 39">
                    <a:extLst>
                      <a:ext uri="{FF2B5EF4-FFF2-40B4-BE49-F238E27FC236}">
                        <a16:creationId xmlns:a16="http://schemas.microsoft.com/office/drawing/2014/main" id="{88CADD58-5B4A-476A-BE4A-D2CCF9D15BE6}"/>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3" name="Freeform 40">
                    <a:extLst>
                      <a:ext uri="{FF2B5EF4-FFF2-40B4-BE49-F238E27FC236}">
                        <a16:creationId xmlns:a16="http://schemas.microsoft.com/office/drawing/2014/main" id="{152C18AC-19C3-4697-A15C-F43B6A61509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Freeform 41">
                    <a:extLst>
                      <a:ext uri="{FF2B5EF4-FFF2-40B4-BE49-F238E27FC236}">
                        <a16:creationId xmlns:a16="http://schemas.microsoft.com/office/drawing/2014/main" id="{4639A05C-6087-4E97-A772-E66E85C37A8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42">
                    <a:extLst>
                      <a:ext uri="{FF2B5EF4-FFF2-40B4-BE49-F238E27FC236}">
                        <a16:creationId xmlns:a16="http://schemas.microsoft.com/office/drawing/2014/main" id="{0D27C245-CE15-435D-9C25-F3E9D1F2B87B}"/>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Freeform 43">
                    <a:extLst>
                      <a:ext uri="{FF2B5EF4-FFF2-40B4-BE49-F238E27FC236}">
                        <a16:creationId xmlns:a16="http://schemas.microsoft.com/office/drawing/2014/main" id="{9C165DC9-3DC0-4651-B883-E82F608DBDC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Freeform 44">
                    <a:extLst>
                      <a:ext uri="{FF2B5EF4-FFF2-40B4-BE49-F238E27FC236}">
                        <a16:creationId xmlns:a16="http://schemas.microsoft.com/office/drawing/2014/main" id="{8BAE83BE-3698-4C26-9575-E546490E770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45">
                    <a:extLst>
                      <a:ext uri="{FF2B5EF4-FFF2-40B4-BE49-F238E27FC236}">
                        <a16:creationId xmlns:a16="http://schemas.microsoft.com/office/drawing/2014/main" id="{A310B445-8B7A-44EF-B972-9BDBC2819AD6}"/>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79" name="Group 2278">
                    <a:extLst>
                      <a:ext uri="{FF2B5EF4-FFF2-40B4-BE49-F238E27FC236}">
                        <a16:creationId xmlns:a16="http://schemas.microsoft.com/office/drawing/2014/main" id="{359AA665-FA51-45A6-8CC9-B36FB28042EE}"/>
                      </a:ext>
                    </a:extLst>
                  </p:cNvPr>
                  <p:cNvGrpSpPr/>
                  <p:nvPr/>
                </p:nvGrpSpPr>
                <p:grpSpPr>
                  <a:xfrm flipV="1">
                    <a:off x="1202047" y="3517919"/>
                    <a:ext cx="178734" cy="348678"/>
                    <a:chOff x="1207113" y="2241878"/>
                    <a:chExt cx="178734" cy="348678"/>
                  </a:xfrm>
                </p:grpSpPr>
                <p:sp>
                  <p:nvSpPr>
                    <p:cNvPr id="2280" name="Freeform 10">
                      <a:extLst>
                        <a:ext uri="{FF2B5EF4-FFF2-40B4-BE49-F238E27FC236}">
                          <a16:creationId xmlns:a16="http://schemas.microsoft.com/office/drawing/2014/main" id="{79C2BAE8-234E-43FE-9122-B0E1DF14BEA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1" name="Line 11">
                      <a:extLst>
                        <a:ext uri="{FF2B5EF4-FFF2-40B4-BE49-F238E27FC236}">
                          <a16:creationId xmlns:a16="http://schemas.microsoft.com/office/drawing/2014/main" id="{C8E41F0F-82EB-44DB-B172-26F6FCDB907D}"/>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291" name="Group 2290">
            <a:extLst>
              <a:ext uri="{FF2B5EF4-FFF2-40B4-BE49-F238E27FC236}">
                <a16:creationId xmlns:a16="http://schemas.microsoft.com/office/drawing/2014/main" id="{82D36B90-9FCA-46DF-B916-C7EFFF1AF0DE}"/>
              </a:ext>
            </a:extLst>
          </p:cNvPr>
          <p:cNvGrpSpPr/>
          <p:nvPr/>
        </p:nvGrpSpPr>
        <p:grpSpPr>
          <a:xfrm>
            <a:off x="495092" y="1726072"/>
            <a:ext cx="1451488" cy="649270"/>
            <a:chOff x="1688915" y="1573673"/>
            <a:chExt cx="1455572" cy="651097"/>
          </a:xfrm>
        </p:grpSpPr>
        <p:sp>
          <p:nvSpPr>
            <p:cNvPr id="2292" name="Right Arrow 551">
              <a:extLst>
                <a:ext uri="{FF2B5EF4-FFF2-40B4-BE49-F238E27FC236}">
                  <a16:creationId xmlns:a16="http://schemas.microsoft.com/office/drawing/2014/main" id="{08704D7F-A011-42E6-A7D1-539040737BB7}"/>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293" name="Group 2292">
              <a:extLst>
                <a:ext uri="{FF2B5EF4-FFF2-40B4-BE49-F238E27FC236}">
                  <a16:creationId xmlns:a16="http://schemas.microsoft.com/office/drawing/2014/main" id="{43A29FF4-15CE-4DB9-8823-A6C1C1E7E670}"/>
                </a:ext>
              </a:extLst>
            </p:cNvPr>
            <p:cNvGrpSpPr>
              <a:grpSpLocks/>
            </p:cNvGrpSpPr>
            <p:nvPr/>
          </p:nvGrpSpPr>
          <p:grpSpPr>
            <a:xfrm>
              <a:off x="1688915" y="1795002"/>
              <a:ext cx="418017" cy="418017"/>
              <a:chOff x="745985" y="4768134"/>
              <a:chExt cx="368776" cy="368777"/>
            </a:xfrm>
          </p:grpSpPr>
          <p:grpSp>
            <p:nvGrpSpPr>
              <p:cNvPr id="2357" name="Group 64">
                <a:extLst>
                  <a:ext uri="{FF2B5EF4-FFF2-40B4-BE49-F238E27FC236}">
                    <a16:creationId xmlns:a16="http://schemas.microsoft.com/office/drawing/2014/main" id="{45A4255D-24C3-4932-A718-372CFFEBB6E2}"/>
                  </a:ext>
                </a:extLst>
              </p:cNvPr>
              <p:cNvGrpSpPr>
                <a:grpSpLocks noChangeAspect="1"/>
              </p:cNvGrpSpPr>
              <p:nvPr/>
            </p:nvGrpSpPr>
            <p:grpSpPr bwMode="auto">
              <a:xfrm rot="8100000">
                <a:off x="745985" y="4768134"/>
                <a:ext cx="368776" cy="368777"/>
                <a:chOff x="701" y="2170"/>
                <a:chExt cx="587" cy="587"/>
              </a:xfrm>
            </p:grpSpPr>
            <p:sp>
              <p:nvSpPr>
                <p:cNvPr id="2368" name="Oval 65">
                  <a:extLst>
                    <a:ext uri="{FF2B5EF4-FFF2-40B4-BE49-F238E27FC236}">
                      <a16:creationId xmlns:a16="http://schemas.microsoft.com/office/drawing/2014/main" id="{2D23E31A-0A0D-49B9-A7F6-0C9E38714AB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Line 66">
                  <a:extLst>
                    <a:ext uri="{FF2B5EF4-FFF2-40B4-BE49-F238E27FC236}">
                      <a16:creationId xmlns:a16="http://schemas.microsoft.com/office/drawing/2014/main" id="{9EA35FC4-364F-4A50-B75D-30BDD4396C3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67">
                  <a:extLst>
                    <a:ext uri="{FF2B5EF4-FFF2-40B4-BE49-F238E27FC236}">
                      <a16:creationId xmlns:a16="http://schemas.microsoft.com/office/drawing/2014/main" id="{C49546F8-F738-4BD3-9506-8A0B5B18C2E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Line 69">
                  <a:extLst>
                    <a:ext uri="{FF2B5EF4-FFF2-40B4-BE49-F238E27FC236}">
                      <a16:creationId xmlns:a16="http://schemas.microsoft.com/office/drawing/2014/main" id="{33DD8474-3860-4B59-A872-07B4D9FC499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74">
                  <a:extLst>
                    <a:ext uri="{FF2B5EF4-FFF2-40B4-BE49-F238E27FC236}">
                      <a16:creationId xmlns:a16="http://schemas.microsoft.com/office/drawing/2014/main" id="{B884B2EF-C60D-4AC4-843F-0569CEDF3CF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3" name="Freeform 78">
                  <a:extLst>
                    <a:ext uri="{FF2B5EF4-FFF2-40B4-BE49-F238E27FC236}">
                      <a16:creationId xmlns:a16="http://schemas.microsoft.com/office/drawing/2014/main" id="{9D8480CE-14F9-43F1-920C-CE5D992350C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4" name="Freeform 80">
                  <a:extLst>
                    <a:ext uri="{FF2B5EF4-FFF2-40B4-BE49-F238E27FC236}">
                      <a16:creationId xmlns:a16="http://schemas.microsoft.com/office/drawing/2014/main" id="{999CD18A-8B73-434F-900C-B58352709B6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58" name="Group 2357">
                <a:extLst>
                  <a:ext uri="{FF2B5EF4-FFF2-40B4-BE49-F238E27FC236}">
                    <a16:creationId xmlns:a16="http://schemas.microsoft.com/office/drawing/2014/main" id="{5AD2B93D-D908-4824-991D-178CBD7C459F}"/>
                  </a:ext>
                </a:extLst>
              </p:cNvPr>
              <p:cNvGrpSpPr/>
              <p:nvPr/>
            </p:nvGrpSpPr>
            <p:grpSpPr>
              <a:xfrm>
                <a:off x="837312" y="4814434"/>
                <a:ext cx="136805" cy="278689"/>
                <a:chOff x="2806700" y="2803319"/>
                <a:chExt cx="433387" cy="882861"/>
              </a:xfrm>
            </p:grpSpPr>
            <p:grpSp>
              <p:nvGrpSpPr>
                <p:cNvPr id="2359" name="Group 2358">
                  <a:extLst>
                    <a:ext uri="{FF2B5EF4-FFF2-40B4-BE49-F238E27FC236}">
                      <a16:creationId xmlns:a16="http://schemas.microsoft.com/office/drawing/2014/main" id="{094EAC7A-68D6-4343-B795-E6802C043629}"/>
                    </a:ext>
                  </a:extLst>
                </p:cNvPr>
                <p:cNvGrpSpPr>
                  <a:grpSpLocks noChangeAspect="1"/>
                </p:cNvGrpSpPr>
                <p:nvPr/>
              </p:nvGrpSpPr>
              <p:grpSpPr bwMode="auto">
                <a:xfrm>
                  <a:off x="2806700" y="3043242"/>
                  <a:ext cx="433387" cy="642938"/>
                  <a:chOff x="1768" y="1917"/>
                  <a:chExt cx="273" cy="405"/>
                </a:xfrm>
              </p:grpSpPr>
              <p:sp>
                <p:nvSpPr>
                  <p:cNvPr id="2361" name="Freeform 52">
                    <a:extLst>
                      <a:ext uri="{FF2B5EF4-FFF2-40B4-BE49-F238E27FC236}">
                        <a16:creationId xmlns:a16="http://schemas.microsoft.com/office/drawing/2014/main" id="{61882AED-B320-4541-ABFA-ECBCDF06A81C}"/>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2" name="Line 54">
                    <a:extLst>
                      <a:ext uri="{FF2B5EF4-FFF2-40B4-BE49-F238E27FC236}">
                        <a16:creationId xmlns:a16="http://schemas.microsoft.com/office/drawing/2014/main" id="{C0BF3190-6367-4893-9EC5-442228A3957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55">
                    <a:extLst>
                      <a:ext uri="{FF2B5EF4-FFF2-40B4-BE49-F238E27FC236}">
                        <a16:creationId xmlns:a16="http://schemas.microsoft.com/office/drawing/2014/main" id="{5B012137-BCE2-4577-B554-0EB39837BB4B}"/>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56">
                    <a:extLst>
                      <a:ext uri="{FF2B5EF4-FFF2-40B4-BE49-F238E27FC236}">
                        <a16:creationId xmlns:a16="http://schemas.microsoft.com/office/drawing/2014/main" id="{CCAE48A1-B818-4BF8-BDC6-2231C6C2B2A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Line 57">
                    <a:extLst>
                      <a:ext uri="{FF2B5EF4-FFF2-40B4-BE49-F238E27FC236}">
                        <a16:creationId xmlns:a16="http://schemas.microsoft.com/office/drawing/2014/main" id="{4991A450-651C-417B-A147-07F9E4EA1717}"/>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6" name="Freeform 58">
                    <a:extLst>
                      <a:ext uri="{FF2B5EF4-FFF2-40B4-BE49-F238E27FC236}">
                        <a16:creationId xmlns:a16="http://schemas.microsoft.com/office/drawing/2014/main" id="{6C8FEB99-5345-4159-9A98-FFA24784928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7" name="Rectangle 2366">
                    <a:extLst>
                      <a:ext uri="{FF2B5EF4-FFF2-40B4-BE49-F238E27FC236}">
                        <a16:creationId xmlns:a16="http://schemas.microsoft.com/office/drawing/2014/main" id="{DEBC5C6D-D290-4A5F-8769-F00AF636459D}"/>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60" name="Oval 2359">
                  <a:extLst>
                    <a:ext uri="{FF2B5EF4-FFF2-40B4-BE49-F238E27FC236}">
                      <a16:creationId xmlns:a16="http://schemas.microsoft.com/office/drawing/2014/main" id="{D16194F5-2761-4126-B6C7-633AF88C2D2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94" name="Group 2293">
              <a:extLst>
                <a:ext uri="{FF2B5EF4-FFF2-40B4-BE49-F238E27FC236}">
                  <a16:creationId xmlns:a16="http://schemas.microsoft.com/office/drawing/2014/main" id="{C6E701D3-58D6-44E9-8590-405ED74DA4E8}"/>
                </a:ext>
              </a:extLst>
            </p:cNvPr>
            <p:cNvGrpSpPr>
              <a:grpSpLocks/>
            </p:cNvGrpSpPr>
            <p:nvPr/>
          </p:nvGrpSpPr>
          <p:grpSpPr>
            <a:xfrm>
              <a:off x="2196256" y="1795002"/>
              <a:ext cx="429139" cy="429142"/>
              <a:chOff x="1454941" y="4721722"/>
              <a:chExt cx="473625" cy="473627"/>
            </a:xfrm>
          </p:grpSpPr>
          <p:grpSp>
            <p:nvGrpSpPr>
              <p:cNvPr id="2318" name="Group 64">
                <a:extLst>
                  <a:ext uri="{FF2B5EF4-FFF2-40B4-BE49-F238E27FC236}">
                    <a16:creationId xmlns:a16="http://schemas.microsoft.com/office/drawing/2014/main" id="{E42FB29D-11B6-4ACE-8370-FCF72A23499A}"/>
                  </a:ext>
                </a:extLst>
              </p:cNvPr>
              <p:cNvGrpSpPr>
                <a:grpSpLocks noChangeAspect="1"/>
              </p:cNvGrpSpPr>
              <p:nvPr/>
            </p:nvGrpSpPr>
            <p:grpSpPr bwMode="auto">
              <a:xfrm rot="8100000">
                <a:off x="1454941" y="4721722"/>
                <a:ext cx="473625" cy="473627"/>
                <a:chOff x="701" y="2170"/>
                <a:chExt cx="587" cy="587"/>
              </a:xfrm>
            </p:grpSpPr>
            <p:sp>
              <p:nvSpPr>
                <p:cNvPr id="2350" name="Oval 65">
                  <a:extLst>
                    <a:ext uri="{FF2B5EF4-FFF2-40B4-BE49-F238E27FC236}">
                      <a16:creationId xmlns:a16="http://schemas.microsoft.com/office/drawing/2014/main" id="{51AD352E-7942-4665-93B7-56D7C3F831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Line 66">
                  <a:extLst>
                    <a:ext uri="{FF2B5EF4-FFF2-40B4-BE49-F238E27FC236}">
                      <a16:creationId xmlns:a16="http://schemas.microsoft.com/office/drawing/2014/main" id="{09145D1F-66AC-47C0-B404-99C578980C1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2" name="Line 67">
                  <a:extLst>
                    <a:ext uri="{FF2B5EF4-FFF2-40B4-BE49-F238E27FC236}">
                      <a16:creationId xmlns:a16="http://schemas.microsoft.com/office/drawing/2014/main" id="{D9D32373-D080-46A7-8230-5D041A6E78A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3" name="Line 69">
                  <a:extLst>
                    <a:ext uri="{FF2B5EF4-FFF2-40B4-BE49-F238E27FC236}">
                      <a16:creationId xmlns:a16="http://schemas.microsoft.com/office/drawing/2014/main" id="{0739E971-762E-4507-BA96-7237A9C7DD14}"/>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4" name="Line 74">
                  <a:extLst>
                    <a:ext uri="{FF2B5EF4-FFF2-40B4-BE49-F238E27FC236}">
                      <a16:creationId xmlns:a16="http://schemas.microsoft.com/office/drawing/2014/main" id="{7786D655-8BBE-4232-8E68-0B9FA9D1C34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78">
                  <a:extLst>
                    <a:ext uri="{FF2B5EF4-FFF2-40B4-BE49-F238E27FC236}">
                      <a16:creationId xmlns:a16="http://schemas.microsoft.com/office/drawing/2014/main" id="{508966EE-9159-4DD8-A751-43B8EC978B3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6" name="Freeform 80">
                  <a:extLst>
                    <a:ext uri="{FF2B5EF4-FFF2-40B4-BE49-F238E27FC236}">
                      <a16:creationId xmlns:a16="http://schemas.microsoft.com/office/drawing/2014/main" id="{EAC26E66-685D-4608-89A1-F10A153C057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19" name="Group 2318">
                <a:extLst>
                  <a:ext uri="{FF2B5EF4-FFF2-40B4-BE49-F238E27FC236}">
                    <a16:creationId xmlns:a16="http://schemas.microsoft.com/office/drawing/2014/main" id="{6F9AA22B-1F65-4B1E-9C87-47E987F3582B}"/>
                  </a:ext>
                </a:extLst>
              </p:cNvPr>
              <p:cNvGrpSpPr/>
              <p:nvPr/>
            </p:nvGrpSpPr>
            <p:grpSpPr>
              <a:xfrm>
                <a:off x="1511214" y="4789508"/>
                <a:ext cx="356509" cy="349884"/>
                <a:chOff x="468738" y="2241878"/>
                <a:chExt cx="1655483" cy="1624719"/>
              </a:xfrm>
            </p:grpSpPr>
            <p:sp>
              <p:nvSpPr>
                <p:cNvPr id="2320" name="Freeform 5">
                  <a:extLst>
                    <a:ext uri="{FF2B5EF4-FFF2-40B4-BE49-F238E27FC236}">
                      <a16:creationId xmlns:a16="http://schemas.microsoft.com/office/drawing/2014/main" id="{1C70A36E-B1CC-4DD6-A684-14D84C901A8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1" name="Freeform 6">
                  <a:extLst>
                    <a:ext uri="{FF2B5EF4-FFF2-40B4-BE49-F238E27FC236}">
                      <a16:creationId xmlns:a16="http://schemas.microsoft.com/office/drawing/2014/main" id="{B8A9288D-C7ED-47AF-9C98-F0E7435DB36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2" name="Line 7">
                  <a:extLst>
                    <a:ext uri="{FF2B5EF4-FFF2-40B4-BE49-F238E27FC236}">
                      <a16:creationId xmlns:a16="http://schemas.microsoft.com/office/drawing/2014/main" id="{28BC763E-5E35-41A4-8F3E-1C73DC7B621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3" name="Freeform 8">
                  <a:extLst>
                    <a:ext uri="{FF2B5EF4-FFF2-40B4-BE49-F238E27FC236}">
                      <a16:creationId xmlns:a16="http://schemas.microsoft.com/office/drawing/2014/main" id="{255B6E54-53F0-427C-814C-AD758D88341A}"/>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4" name="Line 9">
                  <a:extLst>
                    <a:ext uri="{FF2B5EF4-FFF2-40B4-BE49-F238E27FC236}">
                      <a16:creationId xmlns:a16="http://schemas.microsoft.com/office/drawing/2014/main" id="{E2EFB0AE-A008-4A6F-B850-9D235074B9C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25" name="Group 2324">
                  <a:extLst>
                    <a:ext uri="{FF2B5EF4-FFF2-40B4-BE49-F238E27FC236}">
                      <a16:creationId xmlns:a16="http://schemas.microsoft.com/office/drawing/2014/main" id="{CA6B4872-FF48-46AD-AD78-2FE32E26FFBA}"/>
                    </a:ext>
                  </a:extLst>
                </p:cNvPr>
                <p:cNvGrpSpPr/>
                <p:nvPr/>
              </p:nvGrpSpPr>
              <p:grpSpPr>
                <a:xfrm>
                  <a:off x="1207113" y="2241878"/>
                  <a:ext cx="178734" cy="348678"/>
                  <a:chOff x="1207113" y="2241878"/>
                  <a:chExt cx="178734" cy="348678"/>
                </a:xfrm>
              </p:grpSpPr>
              <p:sp>
                <p:nvSpPr>
                  <p:cNvPr id="2348" name="Freeform 10">
                    <a:extLst>
                      <a:ext uri="{FF2B5EF4-FFF2-40B4-BE49-F238E27FC236}">
                        <a16:creationId xmlns:a16="http://schemas.microsoft.com/office/drawing/2014/main" id="{B6049F59-9585-439A-98AE-C481AB994BD3}"/>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9" name="Line 11">
                    <a:extLst>
                      <a:ext uri="{FF2B5EF4-FFF2-40B4-BE49-F238E27FC236}">
                        <a16:creationId xmlns:a16="http://schemas.microsoft.com/office/drawing/2014/main" id="{91028E61-AAA0-4B52-960C-ECBD1EAB48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26" name="Freeform 12">
                  <a:extLst>
                    <a:ext uri="{FF2B5EF4-FFF2-40B4-BE49-F238E27FC236}">
                      <a16:creationId xmlns:a16="http://schemas.microsoft.com/office/drawing/2014/main" id="{15652DC4-9FAD-4402-A83B-7ABB09328EF8}"/>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13">
                  <a:extLst>
                    <a:ext uri="{FF2B5EF4-FFF2-40B4-BE49-F238E27FC236}">
                      <a16:creationId xmlns:a16="http://schemas.microsoft.com/office/drawing/2014/main" id="{3B771E34-142A-45F7-A0BE-53871E5BBDD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14">
                  <a:extLst>
                    <a:ext uri="{FF2B5EF4-FFF2-40B4-BE49-F238E27FC236}">
                      <a16:creationId xmlns:a16="http://schemas.microsoft.com/office/drawing/2014/main" id="{1910D1C8-9CD2-4D26-AF1D-54712413296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Line 15">
                  <a:extLst>
                    <a:ext uri="{FF2B5EF4-FFF2-40B4-BE49-F238E27FC236}">
                      <a16:creationId xmlns:a16="http://schemas.microsoft.com/office/drawing/2014/main" id="{3C5869CB-8033-4DF3-AD20-8E76D21BEE2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0" name="Freeform 16">
                  <a:extLst>
                    <a:ext uri="{FF2B5EF4-FFF2-40B4-BE49-F238E27FC236}">
                      <a16:creationId xmlns:a16="http://schemas.microsoft.com/office/drawing/2014/main" id="{A9777979-CA6B-49D7-8708-0F818E3E934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1" name="Line 17">
                  <a:extLst>
                    <a:ext uri="{FF2B5EF4-FFF2-40B4-BE49-F238E27FC236}">
                      <a16:creationId xmlns:a16="http://schemas.microsoft.com/office/drawing/2014/main" id="{9AA4284B-34A2-4FCA-81E9-C5BBCD088B6A}"/>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Freeform 18">
                  <a:extLst>
                    <a:ext uri="{FF2B5EF4-FFF2-40B4-BE49-F238E27FC236}">
                      <a16:creationId xmlns:a16="http://schemas.microsoft.com/office/drawing/2014/main" id="{7CE2602E-C266-4BD5-9CA2-9CC95C4B3104}"/>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19">
                  <a:extLst>
                    <a:ext uri="{FF2B5EF4-FFF2-40B4-BE49-F238E27FC236}">
                      <a16:creationId xmlns:a16="http://schemas.microsoft.com/office/drawing/2014/main" id="{B3EF2A59-24DC-4423-BEF3-B355E0DBCBD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Freeform 35">
                  <a:extLst>
                    <a:ext uri="{FF2B5EF4-FFF2-40B4-BE49-F238E27FC236}">
                      <a16:creationId xmlns:a16="http://schemas.microsoft.com/office/drawing/2014/main" id="{ED2FC11D-E6EC-4642-846A-1FC71C044ED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36">
                  <a:extLst>
                    <a:ext uri="{FF2B5EF4-FFF2-40B4-BE49-F238E27FC236}">
                      <a16:creationId xmlns:a16="http://schemas.microsoft.com/office/drawing/2014/main" id="{3DE502E9-5516-42A0-B366-6020E34545C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37">
                  <a:extLst>
                    <a:ext uri="{FF2B5EF4-FFF2-40B4-BE49-F238E27FC236}">
                      <a16:creationId xmlns:a16="http://schemas.microsoft.com/office/drawing/2014/main" id="{13AED33A-73B0-4CF8-8E7C-E482AE8BD17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7" name="Freeform 38">
                  <a:extLst>
                    <a:ext uri="{FF2B5EF4-FFF2-40B4-BE49-F238E27FC236}">
                      <a16:creationId xmlns:a16="http://schemas.microsoft.com/office/drawing/2014/main" id="{21902428-6C16-4A53-9563-2CBD6383F088}"/>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8" name="Freeform 39">
                  <a:extLst>
                    <a:ext uri="{FF2B5EF4-FFF2-40B4-BE49-F238E27FC236}">
                      <a16:creationId xmlns:a16="http://schemas.microsoft.com/office/drawing/2014/main" id="{0C865A20-7E53-4608-93A9-10895C127E8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9" name="Freeform 40">
                  <a:extLst>
                    <a:ext uri="{FF2B5EF4-FFF2-40B4-BE49-F238E27FC236}">
                      <a16:creationId xmlns:a16="http://schemas.microsoft.com/office/drawing/2014/main" id="{4D93FEB6-AF6E-4977-8D00-9BFA689C51B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0" name="Freeform 41">
                  <a:extLst>
                    <a:ext uri="{FF2B5EF4-FFF2-40B4-BE49-F238E27FC236}">
                      <a16:creationId xmlns:a16="http://schemas.microsoft.com/office/drawing/2014/main" id="{68168044-3829-4FA8-B699-C1B96DE71BD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1" name="Line 42">
                  <a:extLst>
                    <a:ext uri="{FF2B5EF4-FFF2-40B4-BE49-F238E27FC236}">
                      <a16:creationId xmlns:a16="http://schemas.microsoft.com/office/drawing/2014/main" id="{13642081-49EB-46BD-A80A-5D9DC278693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2" name="Freeform 43">
                  <a:extLst>
                    <a:ext uri="{FF2B5EF4-FFF2-40B4-BE49-F238E27FC236}">
                      <a16:creationId xmlns:a16="http://schemas.microsoft.com/office/drawing/2014/main" id="{98C32E50-A6DA-44F7-BA5C-60135F45E7E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3" name="Freeform 44">
                  <a:extLst>
                    <a:ext uri="{FF2B5EF4-FFF2-40B4-BE49-F238E27FC236}">
                      <a16:creationId xmlns:a16="http://schemas.microsoft.com/office/drawing/2014/main" id="{1D298466-73F9-4CC0-AFAA-564C7B233608}"/>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4" name="Freeform 45">
                  <a:extLst>
                    <a:ext uri="{FF2B5EF4-FFF2-40B4-BE49-F238E27FC236}">
                      <a16:creationId xmlns:a16="http://schemas.microsoft.com/office/drawing/2014/main" id="{4F65E722-66AD-4D1A-A032-EBFE199D92D7}"/>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45" name="Group 2344">
                  <a:extLst>
                    <a:ext uri="{FF2B5EF4-FFF2-40B4-BE49-F238E27FC236}">
                      <a16:creationId xmlns:a16="http://schemas.microsoft.com/office/drawing/2014/main" id="{A5666C53-80FF-46F0-8DB8-A3070D538240}"/>
                    </a:ext>
                  </a:extLst>
                </p:cNvPr>
                <p:cNvGrpSpPr/>
                <p:nvPr/>
              </p:nvGrpSpPr>
              <p:grpSpPr>
                <a:xfrm flipV="1">
                  <a:off x="1202047" y="3517919"/>
                  <a:ext cx="178734" cy="348678"/>
                  <a:chOff x="1207113" y="2241878"/>
                  <a:chExt cx="178734" cy="348678"/>
                </a:xfrm>
              </p:grpSpPr>
              <p:sp>
                <p:nvSpPr>
                  <p:cNvPr id="2346" name="Freeform 10">
                    <a:extLst>
                      <a:ext uri="{FF2B5EF4-FFF2-40B4-BE49-F238E27FC236}">
                        <a16:creationId xmlns:a16="http://schemas.microsoft.com/office/drawing/2014/main" id="{8D484941-D0F1-4EEA-B0F7-66A92F5D8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7" name="Line 11">
                    <a:extLst>
                      <a:ext uri="{FF2B5EF4-FFF2-40B4-BE49-F238E27FC236}">
                        <a16:creationId xmlns:a16="http://schemas.microsoft.com/office/drawing/2014/main" id="{7E75D629-CDE5-45AB-BBF7-7830060F70C1}"/>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95" name="Group 2294">
              <a:extLst>
                <a:ext uri="{FF2B5EF4-FFF2-40B4-BE49-F238E27FC236}">
                  <a16:creationId xmlns:a16="http://schemas.microsoft.com/office/drawing/2014/main" id="{977426F9-49D7-4246-AE29-753723C23D83}"/>
                </a:ext>
              </a:extLst>
            </p:cNvPr>
            <p:cNvGrpSpPr>
              <a:grpSpLocks/>
            </p:cNvGrpSpPr>
            <p:nvPr/>
          </p:nvGrpSpPr>
          <p:grpSpPr>
            <a:xfrm>
              <a:off x="2714719" y="1795002"/>
              <a:ext cx="429768" cy="429768"/>
              <a:chOff x="2268747" y="4723725"/>
              <a:chExt cx="415610" cy="415612"/>
            </a:xfrm>
          </p:grpSpPr>
          <p:grpSp>
            <p:nvGrpSpPr>
              <p:cNvPr id="2296" name="Group 64">
                <a:extLst>
                  <a:ext uri="{FF2B5EF4-FFF2-40B4-BE49-F238E27FC236}">
                    <a16:creationId xmlns:a16="http://schemas.microsoft.com/office/drawing/2014/main" id="{CD61BC95-5205-4CB6-964A-F0F93DB65C76}"/>
                  </a:ext>
                </a:extLst>
              </p:cNvPr>
              <p:cNvGrpSpPr>
                <a:grpSpLocks noChangeAspect="1"/>
              </p:cNvGrpSpPr>
              <p:nvPr/>
            </p:nvGrpSpPr>
            <p:grpSpPr bwMode="auto">
              <a:xfrm rot="8100000">
                <a:off x="2268747" y="4723725"/>
                <a:ext cx="415610" cy="415612"/>
                <a:chOff x="701" y="2170"/>
                <a:chExt cx="587" cy="587"/>
              </a:xfrm>
            </p:grpSpPr>
            <p:sp>
              <p:nvSpPr>
                <p:cNvPr id="2311" name="Oval 65">
                  <a:extLst>
                    <a:ext uri="{FF2B5EF4-FFF2-40B4-BE49-F238E27FC236}">
                      <a16:creationId xmlns:a16="http://schemas.microsoft.com/office/drawing/2014/main" id="{E95E76F0-0DBD-4756-8AB1-41BCFDAEDC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2" name="Line 66">
                  <a:extLst>
                    <a:ext uri="{FF2B5EF4-FFF2-40B4-BE49-F238E27FC236}">
                      <a16:creationId xmlns:a16="http://schemas.microsoft.com/office/drawing/2014/main" id="{0EEA7B7F-BD33-4319-AFC7-A41FA6A00FF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3" name="Line 67">
                  <a:extLst>
                    <a:ext uri="{FF2B5EF4-FFF2-40B4-BE49-F238E27FC236}">
                      <a16:creationId xmlns:a16="http://schemas.microsoft.com/office/drawing/2014/main" id="{7ED66836-5179-4300-93A5-28396A1DD6C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9">
                  <a:extLst>
                    <a:ext uri="{FF2B5EF4-FFF2-40B4-BE49-F238E27FC236}">
                      <a16:creationId xmlns:a16="http://schemas.microsoft.com/office/drawing/2014/main" id="{201622C1-FF4C-4153-A72D-CC7D5F56D7D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74">
                  <a:extLst>
                    <a:ext uri="{FF2B5EF4-FFF2-40B4-BE49-F238E27FC236}">
                      <a16:creationId xmlns:a16="http://schemas.microsoft.com/office/drawing/2014/main" id="{1B885A0B-596D-4FBE-8011-DA86161A063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Freeform 78">
                  <a:extLst>
                    <a:ext uri="{FF2B5EF4-FFF2-40B4-BE49-F238E27FC236}">
                      <a16:creationId xmlns:a16="http://schemas.microsoft.com/office/drawing/2014/main" id="{DD59343D-6E88-4C6E-9314-7DDD16E7292F}"/>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80">
                  <a:extLst>
                    <a:ext uri="{FF2B5EF4-FFF2-40B4-BE49-F238E27FC236}">
                      <a16:creationId xmlns:a16="http://schemas.microsoft.com/office/drawing/2014/main" id="{47F407BB-6515-4E34-8EB6-220377727C1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97" name="Group 2296">
                <a:extLst>
                  <a:ext uri="{FF2B5EF4-FFF2-40B4-BE49-F238E27FC236}">
                    <a16:creationId xmlns:a16="http://schemas.microsoft.com/office/drawing/2014/main" id="{77D76966-B393-434A-9AC0-21C7B86AB209}"/>
                  </a:ext>
                </a:extLst>
              </p:cNvPr>
              <p:cNvGrpSpPr/>
              <p:nvPr/>
            </p:nvGrpSpPr>
            <p:grpSpPr>
              <a:xfrm>
                <a:off x="2318076" y="4830163"/>
                <a:ext cx="313949" cy="233075"/>
                <a:chOff x="3707533" y="2731244"/>
                <a:chExt cx="389644" cy="289271"/>
              </a:xfrm>
            </p:grpSpPr>
            <p:sp>
              <p:nvSpPr>
                <p:cNvPr id="2298" name="Freeform 33">
                  <a:extLst>
                    <a:ext uri="{FF2B5EF4-FFF2-40B4-BE49-F238E27FC236}">
                      <a16:creationId xmlns:a16="http://schemas.microsoft.com/office/drawing/2014/main" id="{774588ED-2271-4B77-BAC5-D55E19C4A39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4">
                  <a:extLst>
                    <a:ext uri="{FF2B5EF4-FFF2-40B4-BE49-F238E27FC236}">
                      <a16:creationId xmlns:a16="http://schemas.microsoft.com/office/drawing/2014/main" id="{642E7CBC-1697-411B-A358-1CB4FAEF63FA}"/>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7">
                  <a:extLst>
                    <a:ext uri="{FF2B5EF4-FFF2-40B4-BE49-F238E27FC236}">
                      <a16:creationId xmlns:a16="http://schemas.microsoft.com/office/drawing/2014/main" id="{AB19BBF7-2FE0-472B-A633-84A022D19486}"/>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38">
                  <a:extLst>
                    <a:ext uri="{FF2B5EF4-FFF2-40B4-BE49-F238E27FC236}">
                      <a16:creationId xmlns:a16="http://schemas.microsoft.com/office/drawing/2014/main" id="{EF579692-8DB5-47C7-BAB4-9EF0B4B72E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32">
                  <a:extLst>
                    <a:ext uri="{FF2B5EF4-FFF2-40B4-BE49-F238E27FC236}">
                      <a16:creationId xmlns:a16="http://schemas.microsoft.com/office/drawing/2014/main" id="{B0568587-49BB-428D-919D-1DF5BAFE8060}"/>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3" name="Freeform 35">
                  <a:extLst>
                    <a:ext uri="{FF2B5EF4-FFF2-40B4-BE49-F238E27FC236}">
                      <a16:creationId xmlns:a16="http://schemas.microsoft.com/office/drawing/2014/main" id="{F9A7F40F-92CB-4549-8790-2ECF4EC0086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36">
                  <a:extLst>
                    <a:ext uri="{FF2B5EF4-FFF2-40B4-BE49-F238E27FC236}">
                      <a16:creationId xmlns:a16="http://schemas.microsoft.com/office/drawing/2014/main" id="{ABED669A-4D6E-41E1-B2BA-8D2B66428BD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25">
                  <a:extLst>
                    <a:ext uri="{FF2B5EF4-FFF2-40B4-BE49-F238E27FC236}">
                      <a16:creationId xmlns:a16="http://schemas.microsoft.com/office/drawing/2014/main" id="{CC1542F3-A8A5-4B6B-953F-87E430F7E12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39">
                  <a:extLst>
                    <a:ext uri="{FF2B5EF4-FFF2-40B4-BE49-F238E27FC236}">
                      <a16:creationId xmlns:a16="http://schemas.microsoft.com/office/drawing/2014/main" id="{0E4F895C-7C44-4F2A-BBD4-24B5DE12A968}"/>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7" name="Freeform 26">
                  <a:extLst>
                    <a:ext uri="{FF2B5EF4-FFF2-40B4-BE49-F238E27FC236}">
                      <a16:creationId xmlns:a16="http://schemas.microsoft.com/office/drawing/2014/main" id="{34264F60-E1DA-444D-B773-40F79BF1757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8" name="Rectangle 27">
                  <a:extLst>
                    <a:ext uri="{FF2B5EF4-FFF2-40B4-BE49-F238E27FC236}">
                      <a16:creationId xmlns:a16="http://schemas.microsoft.com/office/drawing/2014/main" id="{1C993D86-94AA-40E6-B90F-9C0FA4859551}"/>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9" name="Line 29">
                  <a:extLst>
                    <a:ext uri="{FF2B5EF4-FFF2-40B4-BE49-F238E27FC236}">
                      <a16:creationId xmlns:a16="http://schemas.microsoft.com/office/drawing/2014/main" id="{D7CB9835-A7A9-42E4-86E0-2B9606048DA9}"/>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0" name="Line 31">
                  <a:extLst>
                    <a:ext uri="{FF2B5EF4-FFF2-40B4-BE49-F238E27FC236}">
                      <a16:creationId xmlns:a16="http://schemas.microsoft.com/office/drawing/2014/main" id="{CF312B08-C71C-4D3C-8BF2-8B8E56C9381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75" name="Group 2374">
            <a:extLst>
              <a:ext uri="{FF2B5EF4-FFF2-40B4-BE49-F238E27FC236}">
                <a16:creationId xmlns:a16="http://schemas.microsoft.com/office/drawing/2014/main" id="{6F1467A9-02D8-4628-8E0A-231D5AA2C62B}"/>
              </a:ext>
            </a:extLst>
          </p:cNvPr>
          <p:cNvGrpSpPr/>
          <p:nvPr/>
        </p:nvGrpSpPr>
        <p:grpSpPr>
          <a:xfrm>
            <a:off x="10069943" y="2131578"/>
            <a:ext cx="1723479" cy="3110477"/>
            <a:chOff x="10072567" y="2269503"/>
            <a:chExt cx="1723928" cy="3111287"/>
          </a:xfrm>
        </p:grpSpPr>
        <p:grpSp>
          <p:nvGrpSpPr>
            <p:cNvPr id="2376" name="Group 2375">
              <a:extLst>
                <a:ext uri="{FF2B5EF4-FFF2-40B4-BE49-F238E27FC236}">
                  <a16:creationId xmlns:a16="http://schemas.microsoft.com/office/drawing/2014/main" id="{1DC8F8AB-AE6B-433A-A8B6-B8D11DEB0C6C}"/>
                </a:ext>
              </a:extLst>
            </p:cNvPr>
            <p:cNvGrpSpPr/>
            <p:nvPr/>
          </p:nvGrpSpPr>
          <p:grpSpPr>
            <a:xfrm>
              <a:off x="10075218" y="2269503"/>
              <a:ext cx="1586257" cy="2254230"/>
              <a:chOff x="9895314" y="2107193"/>
              <a:chExt cx="1590306" cy="2259985"/>
            </a:xfrm>
          </p:grpSpPr>
          <p:grpSp>
            <p:nvGrpSpPr>
              <p:cNvPr id="2378" name="Group 2377">
                <a:extLst>
                  <a:ext uri="{FF2B5EF4-FFF2-40B4-BE49-F238E27FC236}">
                    <a16:creationId xmlns:a16="http://schemas.microsoft.com/office/drawing/2014/main" id="{623370E1-0EE5-47AB-8332-21F6C5A14921}"/>
                  </a:ext>
                </a:extLst>
              </p:cNvPr>
              <p:cNvGrpSpPr/>
              <p:nvPr/>
            </p:nvGrpSpPr>
            <p:grpSpPr>
              <a:xfrm>
                <a:off x="9895314" y="2107193"/>
                <a:ext cx="1231250" cy="1189486"/>
                <a:chOff x="7839761" y="1053755"/>
                <a:chExt cx="927651" cy="896185"/>
              </a:xfrm>
            </p:grpSpPr>
            <p:sp>
              <p:nvSpPr>
                <p:cNvPr id="2495" name="TextBox 2494">
                  <a:extLst>
                    <a:ext uri="{FF2B5EF4-FFF2-40B4-BE49-F238E27FC236}">
                      <a16:creationId xmlns:a16="http://schemas.microsoft.com/office/drawing/2014/main" id="{2B5C86AA-9CC3-4F04-ACEF-B1D5B6EC2660}"/>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96" name="Group 2495">
                  <a:extLst>
                    <a:ext uri="{FF2B5EF4-FFF2-40B4-BE49-F238E27FC236}">
                      <a16:creationId xmlns:a16="http://schemas.microsoft.com/office/drawing/2014/main" id="{8C26EEF5-93D4-4A65-B29B-EC31AAC0809F}"/>
                    </a:ext>
                  </a:extLst>
                </p:cNvPr>
                <p:cNvGrpSpPr/>
                <p:nvPr/>
              </p:nvGrpSpPr>
              <p:grpSpPr>
                <a:xfrm>
                  <a:off x="7839761" y="1053755"/>
                  <a:ext cx="927651" cy="523122"/>
                  <a:chOff x="7839761" y="1053755"/>
                  <a:chExt cx="927651" cy="523122"/>
                </a:xfrm>
              </p:grpSpPr>
              <p:sp>
                <p:nvSpPr>
                  <p:cNvPr id="2497" name="Line 66">
                    <a:extLst>
                      <a:ext uri="{FF2B5EF4-FFF2-40B4-BE49-F238E27FC236}">
                        <a16:creationId xmlns:a16="http://schemas.microsoft.com/office/drawing/2014/main" id="{0E224E35-D40B-455A-AFEE-E49F9072283B}"/>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8" name="Line 67">
                    <a:extLst>
                      <a:ext uri="{FF2B5EF4-FFF2-40B4-BE49-F238E27FC236}">
                        <a16:creationId xmlns:a16="http://schemas.microsoft.com/office/drawing/2014/main" id="{A03376AC-A659-4F26-8483-005FC5AE5A93}"/>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9" name="Line 74">
                    <a:extLst>
                      <a:ext uri="{FF2B5EF4-FFF2-40B4-BE49-F238E27FC236}">
                        <a16:creationId xmlns:a16="http://schemas.microsoft.com/office/drawing/2014/main" id="{B113259C-5FF6-49BF-AC35-2173978239E0}"/>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0" name="Freeform 78">
                    <a:extLst>
                      <a:ext uri="{FF2B5EF4-FFF2-40B4-BE49-F238E27FC236}">
                        <a16:creationId xmlns:a16="http://schemas.microsoft.com/office/drawing/2014/main" id="{5BD90649-4991-47E5-B8F3-F8037F170692}"/>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1" name="Freeform 80">
                    <a:extLst>
                      <a:ext uri="{FF2B5EF4-FFF2-40B4-BE49-F238E27FC236}">
                        <a16:creationId xmlns:a16="http://schemas.microsoft.com/office/drawing/2014/main" id="{D1CAD3D0-0D25-40C2-A571-37DE7AC28529}"/>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2" name="Freeform 1575">
                    <a:extLst>
                      <a:ext uri="{FF2B5EF4-FFF2-40B4-BE49-F238E27FC236}">
                        <a16:creationId xmlns:a16="http://schemas.microsoft.com/office/drawing/2014/main" id="{E6E84BBC-EFDA-4D72-A9BF-F47A363D42FD}"/>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3" name="Freeform 1576">
                    <a:extLst>
                      <a:ext uri="{FF2B5EF4-FFF2-40B4-BE49-F238E27FC236}">
                        <a16:creationId xmlns:a16="http://schemas.microsoft.com/office/drawing/2014/main" id="{0C3B113C-0F6E-4C13-A033-92217B0A1095}"/>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4" name="Freeform 1577">
                    <a:extLst>
                      <a:ext uri="{FF2B5EF4-FFF2-40B4-BE49-F238E27FC236}">
                        <a16:creationId xmlns:a16="http://schemas.microsoft.com/office/drawing/2014/main" id="{906AA8A8-61F8-406E-86B6-9E0C936E1928}"/>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5" name="Freeform 1578">
                    <a:extLst>
                      <a:ext uri="{FF2B5EF4-FFF2-40B4-BE49-F238E27FC236}">
                        <a16:creationId xmlns:a16="http://schemas.microsoft.com/office/drawing/2014/main" id="{FD189EDA-48F5-453D-8537-3BD14ADB6F13}"/>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6" name="Freeform 1579">
                    <a:extLst>
                      <a:ext uri="{FF2B5EF4-FFF2-40B4-BE49-F238E27FC236}">
                        <a16:creationId xmlns:a16="http://schemas.microsoft.com/office/drawing/2014/main" id="{987BD3C4-011F-4DC5-9256-BC3588BE125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7" name="Freeform 1580">
                    <a:extLst>
                      <a:ext uri="{FF2B5EF4-FFF2-40B4-BE49-F238E27FC236}">
                        <a16:creationId xmlns:a16="http://schemas.microsoft.com/office/drawing/2014/main" id="{C38B3F0C-BEE2-49FE-91AA-85DF9E9CF6B7}"/>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1581">
                    <a:extLst>
                      <a:ext uri="{FF2B5EF4-FFF2-40B4-BE49-F238E27FC236}">
                        <a16:creationId xmlns:a16="http://schemas.microsoft.com/office/drawing/2014/main" id="{A6A4202D-3106-45AB-8DB8-2AA74310A335}"/>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Freeform 1582">
                    <a:extLst>
                      <a:ext uri="{FF2B5EF4-FFF2-40B4-BE49-F238E27FC236}">
                        <a16:creationId xmlns:a16="http://schemas.microsoft.com/office/drawing/2014/main" id="{F19890FB-8396-4D00-A965-D64B63D8DAA4}"/>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1583">
                    <a:extLst>
                      <a:ext uri="{FF2B5EF4-FFF2-40B4-BE49-F238E27FC236}">
                        <a16:creationId xmlns:a16="http://schemas.microsoft.com/office/drawing/2014/main" id="{066D9041-8CA4-4BC1-9BF9-776CB6CEEF6B}"/>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Freeform 1584">
                    <a:extLst>
                      <a:ext uri="{FF2B5EF4-FFF2-40B4-BE49-F238E27FC236}">
                        <a16:creationId xmlns:a16="http://schemas.microsoft.com/office/drawing/2014/main" id="{B7ACFD54-9997-428F-9FF7-A05FB26DAD68}"/>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2" name="Freeform 1585">
                    <a:extLst>
                      <a:ext uri="{FF2B5EF4-FFF2-40B4-BE49-F238E27FC236}">
                        <a16:creationId xmlns:a16="http://schemas.microsoft.com/office/drawing/2014/main" id="{7E524910-857F-4B0C-81B8-18455967030C}"/>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3" name="Freeform 1586">
                    <a:extLst>
                      <a:ext uri="{FF2B5EF4-FFF2-40B4-BE49-F238E27FC236}">
                        <a16:creationId xmlns:a16="http://schemas.microsoft.com/office/drawing/2014/main" id="{F4CDAA51-7536-491C-A8AD-92C85B25BBCF}"/>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4" name="Freeform 1587">
                    <a:extLst>
                      <a:ext uri="{FF2B5EF4-FFF2-40B4-BE49-F238E27FC236}">
                        <a16:creationId xmlns:a16="http://schemas.microsoft.com/office/drawing/2014/main" id="{DE24308F-F7A4-46A9-8BCA-1E51617EF7F1}"/>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588">
                    <a:extLst>
                      <a:ext uri="{FF2B5EF4-FFF2-40B4-BE49-F238E27FC236}">
                        <a16:creationId xmlns:a16="http://schemas.microsoft.com/office/drawing/2014/main" id="{76DA9D8C-3ED5-4B0D-B245-088818574980}"/>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6" name="Rectangle 1589">
                    <a:extLst>
                      <a:ext uri="{FF2B5EF4-FFF2-40B4-BE49-F238E27FC236}">
                        <a16:creationId xmlns:a16="http://schemas.microsoft.com/office/drawing/2014/main" id="{C14E9EAF-EF9F-4819-950B-7295F7DB2A0D}"/>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Rectangle 1590">
                    <a:extLst>
                      <a:ext uri="{FF2B5EF4-FFF2-40B4-BE49-F238E27FC236}">
                        <a16:creationId xmlns:a16="http://schemas.microsoft.com/office/drawing/2014/main" id="{5508DBB9-AD3D-437A-8278-15DEA1E525D4}"/>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Freeform 1591">
                    <a:extLst>
                      <a:ext uri="{FF2B5EF4-FFF2-40B4-BE49-F238E27FC236}">
                        <a16:creationId xmlns:a16="http://schemas.microsoft.com/office/drawing/2014/main" id="{2440E61C-F620-413F-BB77-CFA9A52F4F3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592">
                    <a:extLst>
                      <a:ext uri="{FF2B5EF4-FFF2-40B4-BE49-F238E27FC236}">
                        <a16:creationId xmlns:a16="http://schemas.microsoft.com/office/drawing/2014/main" id="{7057E6AA-F9D0-44DE-AB10-A4A38C36FC68}"/>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Freeform 1593">
                    <a:extLst>
                      <a:ext uri="{FF2B5EF4-FFF2-40B4-BE49-F238E27FC236}">
                        <a16:creationId xmlns:a16="http://schemas.microsoft.com/office/drawing/2014/main" id="{35E71B75-4768-4FE9-872F-A274CF9261A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1594">
                    <a:extLst>
                      <a:ext uri="{FF2B5EF4-FFF2-40B4-BE49-F238E27FC236}">
                        <a16:creationId xmlns:a16="http://schemas.microsoft.com/office/drawing/2014/main" id="{EF528B88-3CD9-44E2-9CD9-C01C473590E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1595">
                    <a:extLst>
                      <a:ext uri="{FF2B5EF4-FFF2-40B4-BE49-F238E27FC236}">
                        <a16:creationId xmlns:a16="http://schemas.microsoft.com/office/drawing/2014/main" id="{6CE53CB9-B37D-4FAC-B97F-6CB6C32EEDD7}"/>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1596">
                    <a:extLst>
                      <a:ext uri="{FF2B5EF4-FFF2-40B4-BE49-F238E27FC236}">
                        <a16:creationId xmlns:a16="http://schemas.microsoft.com/office/drawing/2014/main" id="{406DA41B-327E-428A-B582-B847772A731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1672">
                    <a:extLst>
                      <a:ext uri="{FF2B5EF4-FFF2-40B4-BE49-F238E27FC236}">
                        <a16:creationId xmlns:a16="http://schemas.microsoft.com/office/drawing/2014/main" id="{EEB6D1B7-F3A3-4CBA-AA02-F7111F0C72A3}"/>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1673">
                    <a:extLst>
                      <a:ext uri="{FF2B5EF4-FFF2-40B4-BE49-F238E27FC236}">
                        <a16:creationId xmlns:a16="http://schemas.microsoft.com/office/drawing/2014/main" id="{5DA7DB5A-278D-4824-95B5-A875DCE53CF4}"/>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1674">
                    <a:extLst>
                      <a:ext uri="{FF2B5EF4-FFF2-40B4-BE49-F238E27FC236}">
                        <a16:creationId xmlns:a16="http://schemas.microsoft.com/office/drawing/2014/main" id="{1C08B6AF-5978-466D-AB6F-519B8F01DF2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1675">
                    <a:extLst>
                      <a:ext uri="{FF2B5EF4-FFF2-40B4-BE49-F238E27FC236}">
                        <a16:creationId xmlns:a16="http://schemas.microsoft.com/office/drawing/2014/main" id="{0ED064DC-5FD5-4FD4-B5B6-E7BE9F213E3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Freeform 1676">
                    <a:extLst>
                      <a:ext uri="{FF2B5EF4-FFF2-40B4-BE49-F238E27FC236}">
                        <a16:creationId xmlns:a16="http://schemas.microsoft.com/office/drawing/2014/main" id="{606C1274-9CF4-4E82-9E39-9DBD4E01FD2F}"/>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1677">
                    <a:extLst>
                      <a:ext uri="{FF2B5EF4-FFF2-40B4-BE49-F238E27FC236}">
                        <a16:creationId xmlns:a16="http://schemas.microsoft.com/office/drawing/2014/main" id="{120B60DA-7145-4E84-A5FB-1A6ED91742A6}"/>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1678">
                    <a:extLst>
                      <a:ext uri="{FF2B5EF4-FFF2-40B4-BE49-F238E27FC236}">
                        <a16:creationId xmlns:a16="http://schemas.microsoft.com/office/drawing/2014/main" id="{2F3C57A9-149C-4186-82D2-0DC34FABBD0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1679">
                    <a:extLst>
                      <a:ext uri="{FF2B5EF4-FFF2-40B4-BE49-F238E27FC236}">
                        <a16:creationId xmlns:a16="http://schemas.microsoft.com/office/drawing/2014/main" id="{6F19BB5F-DF1A-4C17-9A44-A37C9E2BACBD}"/>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2" name="Freeform 1680">
                    <a:extLst>
                      <a:ext uri="{FF2B5EF4-FFF2-40B4-BE49-F238E27FC236}">
                        <a16:creationId xmlns:a16="http://schemas.microsoft.com/office/drawing/2014/main" id="{C006D238-3871-4A33-8ECC-85C842037FA0}"/>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3" name="Freeform 1681">
                    <a:extLst>
                      <a:ext uri="{FF2B5EF4-FFF2-40B4-BE49-F238E27FC236}">
                        <a16:creationId xmlns:a16="http://schemas.microsoft.com/office/drawing/2014/main" id="{7DB52A53-C52A-49D8-AB62-5B1D875DAD0E}"/>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Freeform 1682">
                    <a:extLst>
                      <a:ext uri="{FF2B5EF4-FFF2-40B4-BE49-F238E27FC236}">
                        <a16:creationId xmlns:a16="http://schemas.microsoft.com/office/drawing/2014/main" id="{DFADAF61-ED1C-4D69-BFA7-B1CE935D06D5}"/>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5" name="Freeform 1683">
                    <a:extLst>
                      <a:ext uri="{FF2B5EF4-FFF2-40B4-BE49-F238E27FC236}">
                        <a16:creationId xmlns:a16="http://schemas.microsoft.com/office/drawing/2014/main" id="{1B19035F-772E-41B6-AC46-B68359E2381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Freeform 1684">
                    <a:extLst>
                      <a:ext uri="{FF2B5EF4-FFF2-40B4-BE49-F238E27FC236}">
                        <a16:creationId xmlns:a16="http://schemas.microsoft.com/office/drawing/2014/main" id="{24CC6228-E00E-4974-A16B-DF6291FF7CEA}"/>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7" name="Freeform 1685">
                    <a:extLst>
                      <a:ext uri="{FF2B5EF4-FFF2-40B4-BE49-F238E27FC236}">
                        <a16:creationId xmlns:a16="http://schemas.microsoft.com/office/drawing/2014/main" id="{0AB8C672-7589-4662-9568-C9026C70150B}"/>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8" name="Freeform 1686">
                    <a:extLst>
                      <a:ext uri="{FF2B5EF4-FFF2-40B4-BE49-F238E27FC236}">
                        <a16:creationId xmlns:a16="http://schemas.microsoft.com/office/drawing/2014/main" id="{137E2898-2856-4E69-A9B8-E6A773010EB4}"/>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Freeform 1687">
                    <a:extLst>
                      <a:ext uri="{FF2B5EF4-FFF2-40B4-BE49-F238E27FC236}">
                        <a16:creationId xmlns:a16="http://schemas.microsoft.com/office/drawing/2014/main" id="{0B3AE3E3-E30E-48D8-955D-200133453EE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Freeform 1688">
                    <a:extLst>
                      <a:ext uri="{FF2B5EF4-FFF2-40B4-BE49-F238E27FC236}">
                        <a16:creationId xmlns:a16="http://schemas.microsoft.com/office/drawing/2014/main" id="{A03D8CE0-AC06-434A-B4F0-DD1CC2DB12D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Freeform 1689">
                    <a:extLst>
                      <a:ext uri="{FF2B5EF4-FFF2-40B4-BE49-F238E27FC236}">
                        <a16:creationId xmlns:a16="http://schemas.microsoft.com/office/drawing/2014/main" id="{A1FC801A-06A8-4A68-A010-ED5D9059BFFB}"/>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1690">
                    <a:extLst>
                      <a:ext uri="{FF2B5EF4-FFF2-40B4-BE49-F238E27FC236}">
                        <a16:creationId xmlns:a16="http://schemas.microsoft.com/office/drawing/2014/main" id="{940E5F70-E120-4DC4-A6BA-A6C5EBB76A3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1691">
                    <a:extLst>
                      <a:ext uri="{FF2B5EF4-FFF2-40B4-BE49-F238E27FC236}">
                        <a16:creationId xmlns:a16="http://schemas.microsoft.com/office/drawing/2014/main" id="{5801D90A-78A1-461A-8281-0DAC5E59FC39}"/>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4" name="Freeform 1692">
                    <a:extLst>
                      <a:ext uri="{FF2B5EF4-FFF2-40B4-BE49-F238E27FC236}">
                        <a16:creationId xmlns:a16="http://schemas.microsoft.com/office/drawing/2014/main" id="{8DEDFF0A-AA68-4F37-BF22-AC5D76E6203C}"/>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5" name="Freeform 1693">
                    <a:extLst>
                      <a:ext uri="{FF2B5EF4-FFF2-40B4-BE49-F238E27FC236}">
                        <a16:creationId xmlns:a16="http://schemas.microsoft.com/office/drawing/2014/main" id="{8A2D3678-EA8F-43D6-883B-78F9A6F214CF}"/>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6" name="Freeform 1694">
                    <a:extLst>
                      <a:ext uri="{FF2B5EF4-FFF2-40B4-BE49-F238E27FC236}">
                        <a16:creationId xmlns:a16="http://schemas.microsoft.com/office/drawing/2014/main" id="{00C644A8-0EAA-459D-A99A-0A8D02C4043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7" name="Freeform 1695">
                    <a:extLst>
                      <a:ext uri="{FF2B5EF4-FFF2-40B4-BE49-F238E27FC236}">
                        <a16:creationId xmlns:a16="http://schemas.microsoft.com/office/drawing/2014/main" id="{2D063084-7BD1-490F-9EFA-026B81E8E93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8" name="Freeform 1696">
                    <a:extLst>
                      <a:ext uri="{FF2B5EF4-FFF2-40B4-BE49-F238E27FC236}">
                        <a16:creationId xmlns:a16="http://schemas.microsoft.com/office/drawing/2014/main" id="{8AA07749-EDF2-4D1E-B769-62D70B52FF61}"/>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9" name="Freeform 1697">
                    <a:extLst>
                      <a:ext uri="{FF2B5EF4-FFF2-40B4-BE49-F238E27FC236}">
                        <a16:creationId xmlns:a16="http://schemas.microsoft.com/office/drawing/2014/main" id="{B8E4AEED-E90F-471B-80BD-F209EA7E695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79" name="Group 2378">
                <a:extLst>
                  <a:ext uri="{FF2B5EF4-FFF2-40B4-BE49-F238E27FC236}">
                    <a16:creationId xmlns:a16="http://schemas.microsoft.com/office/drawing/2014/main" id="{E969343E-FE02-4A98-A837-76C025B194A4}"/>
                  </a:ext>
                </a:extLst>
              </p:cNvPr>
              <p:cNvGrpSpPr/>
              <p:nvPr/>
            </p:nvGrpSpPr>
            <p:grpSpPr>
              <a:xfrm>
                <a:off x="10074842" y="2518176"/>
                <a:ext cx="1231250" cy="1313698"/>
                <a:chOff x="12023909" y="2412144"/>
                <a:chExt cx="1231250" cy="1313698"/>
              </a:xfrm>
            </p:grpSpPr>
            <p:sp>
              <p:nvSpPr>
                <p:cNvPr id="2438" name="Rectangle: Rounded Corners 2437">
                  <a:extLst>
                    <a:ext uri="{FF2B5EF4-FFF2-40B4-BE49-F238E27FC236}">
                      <a16:creationId xmlns:a16="http://schemas.microsoft.com/office/drawing/2014/main" id="{AF1D7B56-D8AF-48E0-B06C-43FADC544F4A}"/>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439" name="Group 2438">
                  <a:extLst>
                    <a:ext uri="{FF2B5EF4-FFF2-40B4-BE49-F238E27FC236}">
                      <a16:creationId xmlns:a16="http://schemas.microsoft.com/office/drawing/2014/main" id="{F3F64A8B-8607-4FB2-B715-FEFF086181DD}"/>
                    </a:ext>
                  </a:extLst>
                </p:cNvPr>
                <p:cNvGrpSpPr/>
                <p:nvPr/>
              </p:nvGrpSpPr>
              <p:grpSpPr>
                <a:xfrm>
                  <a:off x="12023909" y="2526190"/>
                  <a:ext cx="1231250" cy="1189484"/>
                  <a:chOff x="7839761" y="1053755"/>
                  <a:chExt cx="927651" cy="896184"/>
                </a:xfrm>
              </p:grpSpPr>
              <p:sp>
                <p:nvSpPr>
                  <p:cNvPr id="2440" name="TextBox 2439">
                    <a:extLst>
                      <a:ext uri="{FF2B5EF4-FFF2-40B4-BE49-F238E27FC236}">
                        <a16:creationId xmlns:a16="http://schemas.microsoft.com/office/drawing/2014/main" id="{3327D23B-27C1-421E-99D4-C1A996F7657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41" name="Group 2440">
                    <a:extLst>
                      <a:ext uri="{FF2B5EF4-FFF2-40B4-BE49-F238E27FC236}">
                        <a16:creationId xmlns:a16="http://schemas.microsoft.com/office/drawing/2014/main" id="{4B634D41-D14B-40C1-BB74-499871B2FC76}"/>
                      </a:ext>
                    </a:extLst>
                  </p:cNvPr>
                  <p:cNvGrpSpPr/>
                  <p:nvPr/>
                </p:nvGrpSpPr>
                <p:grpSpPr>
                  <a:xfrm>
                    <a:off x="7839761" y="1053755"/>
                    <a:ext cx="927651" cy="523122"/>
                    <a:chOff x="7839761" y="1053755"/>
                    <a:chExt cx="927651" cy="523122"/>
                  </a:xfrm>
                </p:grpSpPr>
                <p:sp>
                  <p:nvSpPr>
                    <p:cNvPr id="2442" name="Line 66">
                      <a:extLst>
                        <a:ext uri="{FF2B5EF4-FFF2-40B4-BE49-F238E27FC236}">
                          <a16:creationId xmlns:a16="http://schemas.microsoft.com/office/drawing/2014/main" id="{F5E51A6D-3E23-497F-960D-91F3100205FC}"/>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3" name="Line 67">
                      <a:extLst>
                        <a:ext uri="{FF2B5EF4-FFF2-40B4-BE49-F238E27FC236}">
                          <a16:creationId xmlns:a16="http://schemas.microsoft.com/office/drawing/2014/main" id="{9A1084EF-6AC6-46D1-ADB8-0959755A978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4" name="Line 74">
                      <a:extLst>
                        <a:ext uri="{FF2B5EF4-FFF2-40B4-BE49-F238E27FC236}">
                          <a16:creationId xmlns:a16="http://schemas.microsoft.com/office/drawing/2014/main" id="{E8DF8C03-69F7-47B6-B324-97B05FD1F52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5" name="Freeform 78">
                      <a:extLst>
                        <a:ext uri="{FF2B5EF4-FFF2-40B4-BE49-F238E27FC236}">
                          <a16:creationId xmlns:a16="http://schemas.microsoft.com/office/drawing/2014/main" id="{65C78AE3-8C32-4749-B291-0C436B3C6571}"/>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6" name="Freeform 80">
                      <a:extLst>
                        <a:ext uri="{FF2B5EF4-FFF2-40B4-BE49-F238E27FC236}">
                          <a16:creationId xmlns:a16="http://schemas.microsoft.com/office/drawing/2014/main" id="{290E3A86-DD1C-48B6-8F04-11482055EB9A}"/>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7" name="Freeform 1575">
                      <a:extLst>
                        <a:ext uri="{FF2B5EF4-FFF2-40B4-BE49-F238E27FC236}">
                          <a16:creationId xmlns:a16="http://schemas.microsoft.com/office/drawing/2014/main" id="{4D25363C-0392-40A4-8E92-E9105D07319B}"/>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8" name="Freeform 1576">
                      <a:extLst>
                        <a:ext uri="{FF2B5EF4-FFF2-40B4-BE49-F238E27FC236}">
                          <a16:creationId xmlns:a16="http://schemas.microsoft.com/office/drawing/2014/main" id="{372228A8-2FAD-46C2-967D-53DA75D225D6}"/>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9" name="Freeform 1577">
                      <a:extLst>
                        <a:ext uri="{FF2B5EF4-FFF2-40B4-BE49-F238E27FC236}">
                          <a16:creationId xmlns:a16="http://schemas.microsoft.com/office/drawing/2014/main" id="{9001955B-529A-4328-9727-B4E94AB0CCF4}"/>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0" name="Freeform 1578">
                      <a:extLst>
                        <a:ext uri="{FF2B5EF4-FFF2-40B4-BE49-F238E27FC236}">
                          <a16:creationId xmlns:a16="http://schemas.microsoft.com/office/drawing/2014/main" id="{367FED26-485B-44A7-AFB0-3D07A0991A44}"/>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1" name="Freeform 1579">
                      <a:extLst>
                        <a:ext uri="{FF2B5EF4-FFF2-40B4-BE49-F238E27FC236}">
                          <a16:creationId xmlns:a16="http://schemas.microsoft.com/office/drawing/2014/main" id="{79A14E87-7915-484B-8ECA-E9E33B3FCB7F}"/>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2" name="Freeform 1580">
                      <a:extLst>
                        <a:ext uri="{FF2B5EF4-FFF2-40B4-BE49-F238E27FC236}">
                          <a16:creationId xmlns:a16="http://schemas.microsoft.com/office/drawing/2014/main" id="{DF3D1265-054C-44D6-B385-F87F62B6D3E1}"/>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3" name="Freeform 1581">
                      <a:extLst>
                        <a:ext uri="{FF2B5EF4-FFF2-40B4-BE49-F238E27FC236}">
                          <a16:creationId xmlns:a16="http://schemas.microsoft.com/office/drawing/2014/main" id="{70EE5B1B-F9C2-4E19-9A49-1F8B6A40B9B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4" name="Freeform 1582">
                      <a:extLst>
                        <a:ext uri="{FF2B5EF4-FFF2-40B4-BE49-F238E27FC236}">
                          <a16:creationId xmlns:a16="http://schemas.microsoft.com/office/drawing/2014/main" id="{8EEEA3AD-BA02-474E-A2D4-4E79F4AB7E9F}"/>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5" name="Freeform 1583">
                      <a:extLst>
                        <a:ext uri="{FF2B5EF4-FFF2-40B4-BE49-F238E27FC236}">
                          <a16:creationId xmlns:a16="http://schemas.microsoft.com/office/drawing/2014/main" id="{C83DF9B3-EEB3-4B7A-ADB7-247B6F43CB5C}"/>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6" name="Freeform 1584">
                      <a:extLst>
                        <a:ext uri="{FF2B5EF4-FFF2-40B4-BE49-F238E27FC236}">
                          <a16:creationId xmlns:a16="http://schemas.microsoft.com/office/drawing/2014/main" id="{7DBFC115-239D-46BC-8476-CDF3CBC4F242}"/>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7" name="Freeform 1585">
                      <a:extLst>
                        <a:ext uri="{FF2B5EF4-FFF2-40B4-BE49-F238E27FC236}">
                          <a16:creationId xmlns:a16="http://schemas.microsoft.com/office/drawing/2014/main" id="{FBAAAA0E-0BD0-4052-87C1-C3DF25B1A12B}"/>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8" name="Freeform 1586">
                      <a:extLst>
                        <a:ext uri="{FF2B5EF4-FFF2-40B4-BE49-F238E27FC236}">
                          <a16:creationId xmlns:a16="http://schemas.microsoft.com/office/drawing/2014/main" id="{3933F2A8-7231-4F1B-9C7E-36B3799E9F4B}"/>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9" name="Freeform 1587">
                      <a:extLst>
                        <a:ext uri="{FF2B5EF4-FFF2-40B4-BE49-F238E27FC236}">
                          <a16:creationId xmlns:a16="http://schemas.microsoft.com/office/drawing/2014/main" id="{BAFB11BC-52C2-436A-9077-F649BD16CF75}"/>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0" name="Freeform 1588">
                      <a:extLst>
                        <a:ext uri="{FF2B5EF4-FFF2-40B4-BE49-F238E27FC236}">
                          <a16:creationId xmlns:a16="http://schemas.microsoft.com/office/drawing/2014/main" id="{EABE68F3-BCB1-4041-91B3-FBEA389EC54E}"/>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1" name="Rectangle 1589">
                      <a:extLst>
                        <a:ext uri="{FF2B5EF4-FFF2-40B4-BE49-F238E27FC236}">
                          <a16:creationId xmlns:a16="http://schemas.microsoft.com/office/drawing/2014/main" id="{6CB652D6-C859-453B-BE90-EC3CCE2F1199}"/>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2" name="Rectangle 1590">
                      <a:extLst>
                        <a:ext uri="{FF2B5EF4-FFF2-40B4-BE49-F238E27FC236}">
                          <a16:creationId xmlns:a16="http://schemas.microsoft.com/office/drawing/2014/main" id="{3F5C6005-5BF3-43EC-AAB3-B090C234307F}"/>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3" name="Freeform 1591">
                      <a:extLst>
                        <a:ext uri="{FF2B5EF4-FFF2-40B4-BE49-F238E27FC236}">
                          <a16:creationId xmlns:a16="http://schemas.microsoft.com/office/drawing/2014/main" id="{447DD01B-7F71-4ED5-BD98-28B7C8389FFD}"/>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4" name="Freeform 1592">
                      <a:extLst>
                        <a:ext uri="{FF2B5EF4-FFF2-40B4-BE49-F238E27FC236}">
                          <a16:creationId xmlns:a16="http://schemas.microsoft.com/office/drawing/2014/main" id="{91FF6244-B972-4656-8AF5-251EBC11F35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5" name="Freeform 1593">
                      <a:extLst>
                        <a:ext uri="{FF2B5EF4-FFF2-40B4-BE49-F238E27FC236}">
                          <a16:creationId xmlns:a16="http://schemas.microsoft.com/office/drawing/2014/main" id="{3D5419D9-F8A1-4D29-AC50-8AFB43383C42}"/>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6" name="Freeform 1594">
                      <a:extLst>
                        <a:ext uri="{FF2B5EF4-FFF2-40B4-BE49-F238E27FC236}">
                          <a16:creationId xmlns:a16="http://schemas.microsoft.com/office/drawing/2014/main" id="{405EEF72-27B4-4E31-BB01-550DAAE44DDD}"/>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7" name="Freeform 1595">
                      <a:extLst>
                        <a:ext uri="{FF2B5EF4-FFF2-40B4-BE49-F238E27FC236}">
                          <a16:creationId xmlns:a16="http://schemas.microsoft.com/office/drawing/2014/main" id="{368D6F56-D422-4CFA-AD1F-D235E7D84DC9}"/>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8" name="Freeform 1596">
                      <a:extLst>
                        <a:ext uri="{FF2B5EF4-FFF2-40B4-BE49-F238E27FC236}">
                          <a16:creationId xmlns:a16="http://schemas.microsoft.com/office/drawing/2014/main" id="{C735E8E0-ACEB-41EA-BBF4-5E69AC3B4B1E}"/>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9" name="Freeform 1672">
                      <a:extLst>
                        <a:ext uri="{FF2B5EF4-FFF2-40B4-BE49-F238E27FC236}">
                          <a16:creationId xmlns:a16="http://schemas.microsoft.com/office/drawing/2014/main" id="{025C8503-9480-42F8-88F9-3BDB42B929EB}"/>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0" name="Freeform 1673">
                      <a:extLst>
                        <a:ext uri="{FF2B5EF4-FFF2-40B4-BE49-F238E27FC236}">
                          <a16:creationId xmlns:a16="http://schemas.microsoft.com/office/drawing/2014/main" id="{B4AADBD9-1F84-49EA-969A-DBA7F4EBE787}"/>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1" name="Freeform 1674">
                      <a:extLst>
                        <a:ext uri="{FF2B5EF4-FFF2-40B4-BE49-F238E27FC236}">
                          <a16:creationId xmlns:a16="http://schemas.microsoft.com/office/drawing/2014/main" id="{0CDB8C3D-FF11-44B0-8D44-6F89F2923628}"/>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2" name="Freeform 1675">
                      <a:extLst>
                        <a:ext uri="{FF2B5EF4-FFF2-40B4-BE49-F238E27FC236}">
                          <a16:creationId xmlns:a16="http://schemas.microsoft.com/office/drawing/2014/main" id="{C6331B20-B547-44C9-A78B-4A58170187EE}"/>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3" name="Freeform 1676">
                      <a:extLst>
                        <a:ext uri="{FF2B5EF4-FFF2-40B4-BE49-F238E27FC236}">
                          <a16:creationId xmlns:a16="http://schemas.microsoft.com/office/drawing/2014/main" id="{C2EB9BEC-836E-4DA9-AB08-5FBD1CEAB4BE}"/>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4" name="Freeform 1677">
                      <a:extLst>
                        <a:ext uri="{FF2B5EF4-FFF2-40B4-BE49-F238E27FC236}">
                          <a16:creationId xmlns:a16="http://schemas.microsoft.com/office/drawing/2014/main" id="{147C919C-61E7-45F9-B412-FA216C18E83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5" name="Freeform 1678">
                      <a:extLst>
                        <a:ext uri="{FF2B5EF4-FFF2-40B4-BE49-F238E27FC236}">
                          <a16:creationId xmlns:a16="http://schemas.microsoft.com/office/drawing/2014/main" id="{822E146F-A8A0-40EE-A439-5F00E90CFD6C}"/>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6" name="Freeform 1679">
                      <a:extLst>
                        <a:ext uri="{FF2B5EF4-FFF2-40B4-BE49-F238E27FC236}">
                          <a16:creationId xmlns:a16="http://schemas.microsoft.com/office/drawing/2014/main" id="{C5FB7257-596D-4586-8FF2-6792E533A7E7}"/>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7" name="Freeform 1680">
                      <a:extLst>
                        <a:ext uri="{FF2B5EF4-FFF2-40B4-BE49-F238E27FC236}">
                          <a16:creationId xmlns:a16="http://schemas.microsoft.com/office/drawing/2014/main" id="{D3B8E644-AAF4-4A9D-9F52-D1BA042A38EA}"/>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8" name="Freeform 1681">
                      <a:extLst>
                        <a:ext uri="{FF2B5EF4-FFF2-40B4-BE49-F238E27FC236}">
                          <a16:creationId xmlns:a16="http://schemas.microsoft.com/office/drawing/2014/main" id="{2C94F140-481A-4267-B496-6DC7E874F8EB}"/>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9" name="Freeform 1682">
                      <a:extLst>
                        <a:ext uri="{FF2B5EF4-FFF2-40B4-BE49-F238E27FC236}">
                          <a16:creationId xmlns:a16="http://schemas.microsoft.com/office/drawing/2014/main" id="{7A1A22FB-94D1-4011-A1BD-7DBE818657A3}"/>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0" name="Freeform 1683">
                      <a:extLst>
                        <a:ext uri="{FF2B5EF4-FFF2-40B4-BE49-F238E27FC236}">
                          <a16:creationId xmlns:a16="http://schemas.microsoft.com/office/drawing/2014/main" id="{4D49E035-DD5F-4B62-A2FC-712AA0185418}"/>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1" name="Freeform 1684">
                      <a:extLst>
                        <a:ext uri="{FF2B5EF4-FFF2-40B4-BE49-F238E27FC236}">
                          <a16:creationId xmlns:a16="http://schemas.microsoft.com/office/drawing/2014/main" id="{361BA7F0-ADE8-45FD-BCBE-F73C2409B516}"/>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2" name="Freeform 1685">
                      <a:extLst>
                        <a:ext uri="{FF2B5EF4-FFF2-40B4-BE49-F238E27FC236}">
                          <a16:creationId xmlns:a16="http://schemas.microsoft.com/office/drawing/2014/main" id="{CE34B47B-7244-40D6-B58B-295046EBBF98}"/>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3" name="Freeform 1686">
                      <a:extLst>
                        <a:ext uri="{FF2B5EF4-FFF2-40B4-BE49-F238E27FC236}">
                          <a16:creationId xmlns:a16="http://schemas.microsoft.com/office/drawing/2014/main" id="{93797A41-D47B-498E-9B2D-5DCAA2B1ECC7}"/>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4" name="Freeform 1687">
                      <a:extLst>
                        <a:ext uri="{FF2B5EF4-FFF2-40B4-BE49-F238E27FC236}">
                          <a16:creationId xmlns:a16="http://schemas.microsoft.com/office/drawing/2014/main" id="{22EE044E-15F8-45C5-8DD4-884BD5AF7EF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5" name="Freeform 1688">
                      <a:extLst>
                        <a:ext uri="{FF2B5EF4-FFF2-40B4-BE49-F238E27FC236}">
                          <a16:creationId xmlns:a16="http://schemas.microsoft.com/office/drawing/2014/main" id="{9C1C1FB1-94F0-4DCF-85B2-7F28C74F39F7}"/>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6" name="Freeform 1689">
                      <a:extLst>
                        <a:ext uri="{FF2B5EF4-FFF2-40B4-BE49-F238E27FC236}">
                          <a16:creationId xmlns:a16="http://schemas.microsoft.com/office/drawing/2014/main" id="{44B2BC52-481D-4BC2-AA13-688AEB818B3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7" name="Freeform 1690">
                      <a:extLst>
                        <a:ext uri="{FF2B5EF4-FFF2-40B4-BE49-F238E27FC236}">
                          <a16:creationId xmlns:a16="http://schemas.microsoft.com/office/drawing/2014/main" id="{7373923F-BB79-40E9-8FD6-FAF3462007B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8" name="Freeform 1691">
                      <a:extLst>
                        <a:ext uri="{FF2B5EF4-FFF2-40B4-BE49-F238E27FC236}">
                          <a16:creationId xmlns:a16="http://schemas.microsoft.com/office/drawing/2014/main" id="{1FA89372-8393-49B4-A4B7-F0EE8583833E}"/>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9" name="Freeform 1692">
                      <a:extLst>
                        <a:ext uri="{FF2B5EF4-FFF2-40B4-BE49-F238E27FC236}">
                          <a16:creationId xmlns:a16="http://schemas.microsoft.com/office/drawing/2014/main" id="{E2FE1CC5-EDA9-466F-9657-697E2989079F}"/>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0" name="Freeform 1693">
                      <a:extLst>
                        <a:ext uri="{FF2B5EF4-FFF2-40B4-BE49-F238E27FC236}">
                          <a16:creationId xmlns:a16="http://schemas.microsoft.com/office/drawing/2014/main" id="{1D8E0D90-624F-4B91-A019-E567EE3164FB}"/>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1" name="Freeform 1694">
                      <a:extLst>
                        <a:ext uri="{FF2B5EF4-FFF2-40B4-BE49-F238E27FC236}">
                          <a16:creationId xmlns:a16="http://schemas.microsoft.com/office/drawing/2014/main" id="{44691AC3-40FE-4CEA-8FD1-8E075B57347C}"/>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2" name="Freeform 1695">
                      <a:extLst>
                        <a:ext uri="{FF2B5EF4-FFF2-40B4-BE49-F238E27FC236}">
                          <a16:creationId xmlns:a16="http://schemas.microsoft.com/office/drawing/2014/main" id="{25E8A13D-101E-4201-BEFC-465EF69CF386}"/>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3" name="Freeform 1696">
                      <a:extLst>
                        <a:ext uri="{FF2B5EF4-FFF2-40B4-BE49-F238E27FC236}">
                          <a16:creationId xmlns:a16="http://schemas.microsoft.com/office/drawing/2014/main" id="{0B80BB4C-1B57-4208-840C-A999CDC93970}"/>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4" name="Freeform 1697">
                      <a:extLst>
                        <a:ext uri="{FF2B5EF4-FFF2-40B4-BE49-F238E27FC236}">
                          <a16:creationId xmlns:a16="http://schemas.microsoft.com/office/drawing/2014/main" id="{ACD61306-296C-4AB1-8A52-42D96A2BB5E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80" name="Group 2379">
                <a:extLst>
                  <a:ext uri="{FF2B5EF4-FFF2-40B4-BE49-F238E27FC236}">
                    <a16:creationId xmlns:a16="http://schemas.microsoft.com/office/drawing/2014/main" id="{FFC3E585-1D13-4787-9027-5919714AB77F}"/>
                  </a:ext>
                </a:extLst>
              </p:cNvPr>
              <p:cNvGrpSpPr/>
              <p:nvPr/>
            </p:nvGrpSpPr>
            <p:grpSpPr>
              <a:xfrm>
                <a:off x="10254370" y="3053480"/>
                <a:ext cx="1231250" cy="1313698"/>
                <a:chOff x="12023909" y="2412144"/>
                <a:chExt cx="1231250" cy="1313698"/>
              </a:xfrm>
            </p:grpSpPr>
            <p:sp>
              <p:nvSpPr>
                <p:cNvPr id="2381" name="Rectangle: Rounded Corners 2380">
                  <a:extLst>
                    <a:ext uri="{FF2B5EF4-FFF2-40B4-BE49-F238E27FC236}">
                      <a16:creationId xmlns:a16="http://schemas.microsoft.com/office/drawing/2014/main" id="{05A5F541-CE7B-43F6-A3F4-9FCF0AA52083}"/>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382" name="Group 2381">
                  <a:extLst>
                    <a:ext uri="{FF2B5EF4-FFF2-40B4-BE49-F238E27FC236}">
                      <a16:creationId xmlns:a16="http://schemas.microsoft.com/office/drawing/2014/main" id="{7A52E961-1A67-4779-9FDF-90FF0A6DD9C6}"/>
                    </a:ext>
                  </a:extLst>
                </p:cNvPr>
                <p:cNvGrpSpPr/>
                <p:nvPr/>
              </p:nvGrpSpPr>
              <p:grpSpPr>
                <a:xfrm>
                  <a:off x="12023909" y="2526190"/>
                  <a:ext cx="1231250" cy="1189484"/>
                  <a:chOff x="7839761" y="1053755"/>
                  <a:chExt cx="927651" cy="896184"/>
                </a:xfrm>
              </p:grpSpPr>
              <p:sp>
                <p:nvSpPr>
                  <p:cNvPr id="2383" name="TextBox 2382">
                    <a:extLst>
                      <a:ext uri="{FF2B5EF4-FFF2-40B4-BE49-F238E27FC236}">
                        <a16:creationId xmlns:a16="http://schemas.microsoft.com/office/drawing/2014/main" id="{10475F5B-D473-4244-814D-777D208FC63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384" name="Group 2383">
                    <a:extLst>
                      <a:ext uri="{FF2B5EF4-FFF2-40B4-BE49-F238E27FC236}">
                        <a16:creationId xmlns:a16="http://schemas.microsoft.com/office/drawing/2014/main" id="{D85A5810-A0B7-4727-ADE1-D432A8FD09BF}"/>
                      </a:ext>
                    </a:extLst>
                  </p:cNvPr>
                  <p:cNvGrpSpPr/>
                  <p:nvPr/>
                </p:nvGrpSpPr>
                <p:grpSpPr>
                  <a:xfrm>
                    <a:off x="7839761" y="1053755"/>
                    <a:ext cx="927651" cy="523122"/>
                    <a:chOff x="7839761" y="1053755"/>
                    <a:chExt cx="927651" cy="523122"/>
                  </a:xfrm>
                </p:grpSpPr>
                <p:sp>
                  <p:nvSpPr>
                    <p:cNvPr id="2385" name="Line 66">
                      <a:extLst>
                        <a:ext uri="{FF2B5EF4-FFF2-40B4-BE49-F238E27FC236}">
                          <a16:creationId xmlns:a16="http://schemas.microsoft.com/office/drawing/2014/main" id="{4D5BDF05-8AB9-4D0C-9936-6E5221701357}"/>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6" name="Line 67">
                      <a:extLst>
                        <a:ext uri="{FF2B5EF4-FFF2-40B4-BE49-F238E27FC236}">
                          <a16:creationId xmlns:a16="http://schemas.microsoft.com/office/drawing/2014/main" id="{EEE70E7D-E88D-4730-B591-9151AAF6AEFC}"/>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7" name="Line 74">
                      <a:extLst>
                        <a:ext uri="{FF2B5EF4-FFF2-40B4-BE49-F238E27FC236}">
                          <a16:creationId xmlns:a16="http://schemas.microsoft.com/office/drawing/2014/main" id="{AF24F0B3-60B5-4555-994D-83D496662726}"/>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78">
                      <a:extLst>
                        <a:ext uri="{FF2B5EF4-FFF2-40B4-BE49-F238E27FC236}">
                          <a16:creationId xmlns:a16="http://schemas.microsoft.com/office/drawing/2014/main" id="{48DE2164-D559-4B14-BD4D-4E4F2C15B217}"/>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Freeform 80">
                      <a:extLst>
                        <a:ext uri="{FF2B5EF4-FFF2-40B4-BE49-F238E27FC236}">
                          <a16:creationId xmlns:a16="http://schemas.microsoft.com/office/drawing/2014/main" id="{6E57422F-86DC-4AE2-90E2-5FE1DD5FF2D7}"/>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1575">
                      <a:extLst>
                        <a:ext uri="{FF2B5EF4-FFF2-40B4-BE49-F238E27FC236}">
                          <a16:creationId xmlns:a16="http://schemas.microsoft.com/office/drawing/2014/main" id="{3247854F-01BC-44F5-9741-9C1E250D2657}"/>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1576">
                      <a:extLst>
                        <a:ext uri="{FF2B5EF4-FFF2-40B4-BE49-F238E27FC236}">
                          <a16:creationId xmlns:a16="http://schemas.microsoft.com/office/drawing/2014/main" id="{59D4CB40-2F18-4509-8B19-A6F5998A7153}"/>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1577">
                      <a:extLst>
                        <a:ext uri="{FF2B5EF4-FFF2-40B4-BE49-F238E27FC236}">
                          <a16:creationId xmlns:a16="http://schemas.microsoft.com/office/drawing/2014/main" id="{8875CFCC-F6A3-488A-B4FC-E5665A339A6D}"/>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3" name="Freeform 1578">
                      <a:extLst>
                        <a:ext uri="{FF2B5EF4-FFF2-40B4-BE49-F238E27FC236}">
                          <a16:creationId xmlns:a16="http://schemas.microsoft.com/office/drawing/2014/main" id="{2A8A8D95-C870-432C-A5E6-BB7355198482}"/>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4" name="Freeform 1579">
                      <a:extLst>
                        <a:ext uri="{FF2B5EF4-FFF2-40B4-BE49-F238E27FC236}">
                          <a16:creationId xmlns:a16="http://schemas.microsoft.com/office/drawing/2014/main" id="{E7B8E060-68B2-4080-B658-6BE76D84DEA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Freeform 1580">
                      <a:extLst>
                        <a:ext uri="{FF2B5EF4-FFF2-40B4-BE49-F238E27FC236}">
                          <a16:creationId xmlns:a16="http://schemas.microsoft.com/office/drawing/2014/main" id="{007187D5-1B56-4D50-AF29-45393CFBBFC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6" name="Freeform 1581">
                      <a:extLst>
                        <a:ext uri="{FF2B5EF4-FFF2-40B4-BE49-F238E27FC236}">
                          <a16:creationId xmlns:a16="http://schemas.microsoft.com/office/drawing/2014/main" id="{87FC41A0-BBC5-4952-9B8F-223A5CD10F74}"/>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Freeform 1582">
                      <a:extLst>
                        <a:ext uri="{FF2B5EF4-FFF2-40B4-BE49-F238E27FC236}">
                          <a16:creationId xmlns:a16="http://schemas.microsoft.com/office/drawing/2014/main" id="{62E19466-3A2D-4D15-AD75-B8EF5D94F40A}"/>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8" name="Freeform 1583">
                      <a:extLst>
                        <a:ext uri="{FF2B5EF4-FFF2-40B4-BE49-F238E27FC236}">
                          <a16:creationId xmlns:a16="http://schemas.microsoft.com/office/drawing/2014/main" id="{543017A5-5BB1-4C0A-BC6A-89ADE55B90D4}"/>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9" name="Freeform 1584">
                      <a:extLst>
                        <a:ext uri="{FF2B5EF4-FFF2-40B4-BE49-F238E27FC236}">
                          <a16:creationId xmlns:a16="http://schemas.microsoft.com/office/drawing/2014/main" id="{0B5A2709-EAB6-42C2-AC81-A75ACE2D6290}"/>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0" name="Freeform 1585">
                      <a:extLst>
                        <a:ext uri="{FF2B5EF4-FFF2-40B4-BE49-F238E27FC236}">
                          <a16:creationId xmlns:a16="http://schemas.microsoft.com/office/drawing/2014/main" id="{EFA2B0B4-1714-4B51-A790-3E14DE418220}"/>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1" name="Freeform 1586">
                      <a:extLst>
                        <a:ext uri="{FF2B5EF4-FFF2-40B4-BE49-F238E27FC236}">
                          <a16:creationId xmlns:a16="http://schemas.microsoft.com/office/drawing/2014/main" id="{37A02652-D95B-4A32-A8FF-A18666DB6B2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2" name="Freeform 1587">
                      <a:extLst>
                        <a:ext uri="{FF2B5EF4-FFF2-40B4-BE49-F238E27FC236}">
                          <a16:creationId xmlns:a16="http://schemas.microsoft.com/office/drawing/2014/main" id="{D674FEAD-2C3F-4CD9-9A09-46DAB1EB91B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1588">
                      <a:extLst>
                        <a:ext uri="{FF2B5EF4-FFF2-40B4-BE49-F238E27FC236}">
                          <a16:creationId xmlns:a16="http://schemas.microsoft.com/office/drawing/2014/main" id="{161E3166-7BAB-4F0B-8039-A1325AA6F3D1}"/>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4" name="Rectangle 1589">
                      <a:extLst>
                        <a:ext uri="{FF2B5EF4-FFF2-40B4-BE49-F238E27FC236}">
                          <a16:creationId xmlns:a16="http://schemas.microsoft.com/office/drawing/2014/main" id="{CA7A642B-23AF-4FB6-8A19-446BB3179BAF}"/>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5" name="Rectangle 1590">
                      <a:extLst>
                        <a:ext uri="{FF2B5EF4-FFF2-40B4-BE49-F238E27FC236}">
                          <a16:creationId xmlns:a16="http://schemas.microsoft.com/office/drawing/2014/main" id="{26E6A0EA-4C1A-42AE-A015-0565599540B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6" name="Freeform 1591">
                      <a:extLst>
                        <a:ext uri="{FF2B5EF4-FFF2-40B4-BE49-F238E27FC236}">
                          <a16:creationId xmlns:a16="http://schemas.microsoft.com/office/drawing/2014/main" id="{D7C31A1F-7DEE-49CD-90BF-F6D3973DD215}"/>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7" name="Freeform 1592">
                      <a:extLst>
                        <a:ext uri="{FF2B5EF4-FFF2-40B4-BE49-F238E27FC236}">
                          <a16:creationId xmlns:a16="http://schemas.microsoft.com/office/drawing/2014/main" id="{6E89F0EB-FB54-4C2D-8FF3-75AA8BFF110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8" name="Freeform 1593">
                      <a:extLst>
                        <a:ext uri="{FF2B5EF4-FFF2-40B4-BE49-F238E27FC236}">
                          <a16:creationId xmlns:a16="http://schemas.microsoft.com/office/drawing/2014/main" id="{46B295E8-BDEB-4C2D-9527-00B194A9421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9" name="Freeform 1594">
                      <a:extLst>
                        <a:ext uri="{FF2B5EF4-FFF2-40B4-BE49-F238E27FC236}">
                          <a16:creationId xmlns:a16="http://schemas.microsoft.com/office/drawing/2014/main" id="{99A978CF-70B6-41A9-B7D6-D9DCFAE69B8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0" name="Freeform 1595">
                      <a:extLst>
                        <a:ext uri="{FF2B5EF4-FFF2-40B4-BE49-F238E27FC236}">
                          <a16:creationId xmlns:a16="http://schemas.microsoft.com/office/drawing/2014/main" id="{95DF9872-F96F-4DEE-8E9E-99167FFE230D}"/>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Freeform 1596">
                      <a:extLst>
                        <a:ext uri="{FF2B5EF4-FFF2-40B4-BE49-F238E27FC236}">
                          <a16:creationId xmlns:a16="http://schemas.microsoft.com/office/drawing/2014/main" id="{F974AF27-C210-4DEE-B2B8-04ED139DB68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1672">
                      <a:extLst>
                        <a:ext uri="{FF2B5EF4-FFF2-40B4-BE49-F238E27FC236}">
                          <a16:creationId xmlns:a16="http://schemas.microsoft.com/office/drawing/2014/main" id="{21FE80A1-55FF-4F03-B5E4-5C2FDCAFCCD9}"/>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Freeform 1673">
                      <a:extLst>
                        <a:ext uri="{FF2B5EF4-FFF2-40B4-BE49-F238E27FC236}">
                          <a16:creationId xmlns:a16="http://schemas.microsoft.com/office/drawing/2014/main" id="{8466F4B9-1DF6-4CDA-819A-0625023BCE22}"/>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1674">
                      <a:extLst>
                        <a:ext uri="{FF2B5EF4-FFF2-40B4-BE49-F238E27FC236}">
                          <a16:creationId xmlns:a16="http://schemas.microsoft.com/office/drawing/2014/main" id="{13DC24B5-1D95-482D-9F59-EDCA018AEF5B}"/>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Freeform 1675">
                      <a:extLst>
                        <a:ext uri="{FF2B5EF4-FFF2-40B4-BE49-F238E27FC236}">
                          <a16:creationId xmlns:a16="http://schemas.microsoft.com/office/drawing/2014/main" id="{1B1C6715-3E36-4764-B8C7-A710A0DBB42A}"/>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6" name="Freeform 1676">
                      <a:extLst>
                        <a:ext uri="{FF2B5EF4-FFF2-40B4-BE49-F238E27FC236}">
                          <a16:creationId xmlns:a16="http://schemas.microsoft.com/office/drawing/2014/main" id="{164C8603-4592-4205-A845-F3CFBCE350FB}"/>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7" name="Freeform 1677">
                      <a:extLst>
                        <a:ext uri="{FF2B5EF4-FFF2-40B4-BE49-F238E27FC236}">
                          <a16:creationId xmlns:a16="http://schemas.microsoft.com/office/drawing/2014/main" id="{6294573F-4EAA-4EFF-98AB-D8C3F866A52E}"/>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Freeform 1678">
                      <a:extLst>
                        <a:ext uri="{FF2B5EF4-FFF2-40B4-BE49-F238E27FC236}">
                          <a16:creationId xmlns:a16="http://schemas.microsoft.com/office/drawing/2014/main" id="{85F4228C-E266-458E-9740-4874A0A936A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Freeform 1679">
                      <a:extLst>
                        <a:ext uri="{FF2B5EF4-FFF2-40B4-BE49-F238E27FC236}">
                          <a16:creationId xmlns:a16="http://schemas.microsoft.com/office/drawing/2014/main" id="{7ED44B2C-862F-40EA-9169-FA7B5F33977F}"/>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Freeform 1680">
                      <a:extLst>
                        <a:ext uri="{FF2B5EF4-FFF2-40B4-BE49-F238E27FC236}">
                          <a16:creationId xmlns:a16="http://schemas.microsoft.com/office/drawing/2014/main" id="{762AD06F-CC23-42EF-AF53-804137CB20EB}"/>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1681">
                      <a:extLst>
                        <a:ext uri="{FF2B5EF4-FFF2-40B4-BE49-F238E27FC236}">
                          <a16:creationId xmlns:a16="http://schemas.microsoft.com/office/drawing/2014/main" id="{D9DC93CD-A908-459D-8179-11A71A2EA65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1682">
                      <a:extLst>
                        <a:ext uri="{FF2B5EF4-FFF2-40B4-BE49-F238E27FC236}">
                          <a16:creationId xmlns:a16="http://schemas.microsoft.com/office/drawing/2014/main" id="{D8FD2FBD-1657-4AC2-B08B-258028AB1E9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3" name="Freeform 1683">
                      <a:extLst>
                        <a:ext uri="{FF2B5EF4-FFF2-40B4-BE49-F238E27FC236}">
                          <a16:creationId xmlns:a16="http://schemas.microsoft.com/office/drawing/2014/main" id="{4142D5DB-DF42-488D-8EAA-349EE691496B}"/>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4" name="Freeform 1684">
                      <a:extLst>
                        <a:ext uri="{FF2B5EF4-FFF2-40B4-BE49-F238E27FC236}">
                          <a16:creationId xmlns:a16="http://schemas.microsoft.com/office/drawing/2014/main" id="{1D498592-86F6-41D7-B042-50B49D34B67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5" name="Freeform 1685">
                      <a:extLst>
                        <a:ext uri="{FF2B5EF4-FFF2-40B4-BE49-F238E27FC236}">
                          <a16:creationId xmlns:a16="http://schemas.microsoft.com/office/drawing/2014/main" id="{84E9F0CF-8D9F-4C14-A045-10C218E42B8A}"/>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6" name="Freeform 1686">
                      <a:extLst>
                        <a:ext uri="{FF2B5EF4-FFF2-40B4-BE49-F238E27FC236}">
                          <a16:creationId xmlns:a16="http://schemas.microsoft.com/office/drawing/2014/main" id="{AE38F2F4-D701-4A2A-81DF-A06076D4FFE8}"/>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7" name="Freeform 1687">
                      <a:extLst>
                        <a:ext uri="{FF2B5EF4-FFF2-40B4-BE49-F238E27FC236}">
                          <a16:creationId xmlns:a16="http://schemas.microsoft.com/office/drawing/2014/main" id="{461E1B31-489A-4C36-AF4C-EA35FD50D573}"/>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8" name="Freeform 1688">
                      <a:extLst>
                        <a:ext uri="{FF2B5EF4-FFF2-40B4-BE49-F238E27FC236}">
                          <a16:creationId xmlns:a16="http://schemas.microsoft.com/office/drawing/2014/main" id="{7734DE4E-535C-478A-9A26-DE04B89EEF2C}"/>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9" name="Freeform 1689">
                      <a:extLst>
                        <a:ext uri="{FF2B5EF4-FFF2-40B4-BE49-F238E27FC236}">
                          <a16:creationId xmlns:a16="http://schemas.microsoft.com/office/drawing/2014/main" id="{FECB615F-B614-4B52-B6DA-8652986BB48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0" name="Freeform 1690">
                      <a:extLst>
                        <a:ext uri="{FF2B5EF4-FFF2-40B4-BE49-F238E27FC236}">
                          <a16:creationId xmlns:a16="http://schemas.microsoft.com/office/drawing/2014/main" id="{C564DE4A-EC4B-4D6A-9F7B-DF417087A253}"/>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1" name="Freeform 1691">
                      <a:extLst>
                        <a:ext uri="{FF2B5EF4-FFF2-40B4-BE49-F238E27FC236}">
                          <a16:creationId xmlns:a16="http://schemas.microsoft.com/office/drawing/2014/main" id="{2B5035C6-4A58-4CBD-AB05-E0BACEC8105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2" name="Freeform 1692">
                      <a:extLst>
                        <a:ext uri="{FF2B5EF4-FFF2-40B4-BE49-F238E27FC236}">
                          <a16:creationId xmlns:a16="http://schemas.microsoft.com/office/drawing/2014/main" id="{5505ABC9-578A-4ED0-AD77-0B3177D4301E}"/>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3" name="Freeform 1693">
                      <a:extLst>
                        <a:ext uri="{FF2B5EF4-FFF2-40B4-BE49-F238E27FC236}">
                          <a16:creationId xmlns:a16="http://schemas.microsoft.com/office/drawing/2014/main" id="{86181943-C0A9-440A-B2D8-02AA9243763D}"/>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4" name="Freeform 1694">
                      <a:extLst>
                        <a:ext uri="{FF2B5EF4-FFF2-40B4-BE49-F238E27FC236}">
                          <a16:creationId xmlns:a16="http://schemas.microsoft.com/office/drawing/2014/main" id="{0F02ACD1-10A8-4BEF-A44F-73B915E2B6BF}"/>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5" name="Freeform 1695">
                      <a:extLst>
                        <a:ext uri="{FF2B5EF4-FFF2-40B4-BE49-F238E27FC236}">
                          <a16:creationId xmlns:a16="http://schemas.microsoft.com/office/drawing/2014/main" id="{C3511B33-6FC4-4AC0-8C93-74E6F1E10503}"/>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6" name="Freeform 1696">
                      <a:extLst>
                        <a:ext uri="{FF2B5EF4-FFF2-40B4-BE49-F238E27FC236}">
                          <a16:creationId xmlns:a16="http://schemas.microsoft.com/office/drawing/2014/main" id="{D56A2DC5-6B64-44F4-B662-82FF8A3E271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7" name="Freeform 1697">
                      <a:extLst>
                        <a:ext uri="{FF2B5EF4-FFF2-40B4-BE49-F238E27FC236}">
                          <a16:creationId xmlns:a16="http://schemas.microsoft.com/office/drawing/2014/main" id="{50CAF6CB-134D-40C6-BC8B-8F2A7A229B88}"/>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377" name="Rectangle 2376">
              <a:extLst>
                <a:ext uri="{FF2B5EF4-FFF2-40B4-BE49-F238E27FC236}">
                  <a16:creationId xmlns:a16="http://schemas.microsoft.com/office/drawing/2014/main" id="{99E5C539-D3F8-4075-B6A5-08257CF9C719}"/>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2550" name="Group 2549">
            <a:extLst>
              <a:ext uri="{FF2B5EF4-FFF2-40B4-BE49-F238E27FC236}">
                <a16:creationId xmlns:a16="http://schemas.microsoft.com/office/drawing/2014/main" id="{3E0AE51B-14D6-48BC-BAF6-C84022DF070C}"/>
              </a:ext>
            </a:extLst>
          </p:cNvPr>
          <p:cNvGrpSpPr/>
          <p:nvPr/>
        </p:nvGrpSpPr>
        <p:grpSpPr>
          <a:xfrm>
            <a:off x="3480033" y="3477736"/>
            <a:ext cx="4581486" cy="2892141"/>
            <a:chOff x="3480940" y="3616012"/>
            <a:chExt cx="4582679" cy="2892894"/>
          </a:xfrm>
        </p:grpSpPr>
        <p:grpSp>
          <p:nvGrpSpPr>
            <p:cNvPr id="2551" name="Group 2550">
              <a:extLst>
                <a:ext uri="{FF2B5EF4-FFF2-40B4-BE49-F238E27FC236}">
                  <a16:creationId xmlns:a16="http://schemas.microsoft.com/office/drawing/2014/main" id="{D799E28B-E475-4C47-90DA-CF772C21780F}"/>
                </a:ext>
              </a:extLst>
            </p:cNvPr>
            <p:cNvGrpSpPr/>
            <p:nvPr/>
          </p:nvGrpSpPr>
          <p:grpSpPr>
            <a:xfrm>
              <a:off x="3480940" y="4590574"/>
              <a:ext cx="2021522" cy="1918332"/>
              <a:chOff x="3480940" y="4590574"/>
              <a:chExt cx="2021522" cy="1918332"/>
            </a:xfrm>
          </p:grpSpPr>
          <p:grpSp>
            <p:nvGrpSpPr>
              <p:cNvPr id="2562" name="Group 2561">
                <a:extLst>
                  <a:ext uri="{FF2B5EF4-FFF2-40B4-BE49-F238E27FC236}">
                    <a16:creationId xmlns:a16="http://schemas.microsoft.com/office/drawing/2014/main" id="{9C0AB398-29FB-436D-B480-1E17D6E49F46}"/>
                  </a:ext>
                </a:extLst>
              </p:cNvPr>
              <p:cNvGrpSpPr/>
              <p:nvPr/>
            </p:nvGrpSpPr>
            <p:grpSpPr>
              <a:xfrm>
                <a:off x="3480940" y="4590574"/>
                <a:ext cx="2021522" cy="1918332"/>
                <a:chOff x="3489383" y="4562005"/>
                <a:chExt cx="2026683" cy="1923229"/>
              </a:xfrm>
            </p:grpSpPr>
            <p:sp>
              <p:nvSpPr>
                <p:cNvPr id="2566" name="Rectangle 2565">
                  <a:extLst>
                    <a:ext uri="{FF2B5EF4-FFF2-40B4-BE49-F238E27FC236}">
                      <a16:creationId xmlns:a16="http://schemas.microsoft.com/office/drawing/2014/main" id="{19DC4D5A-2DE1-463A-A079-CC6CE96D890F}"/>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567" name="Picture 2566">
                  <a:extLst>
                    <a:ext uri="{FF2B5EF4-FFF2-40B4-BE49-F238E27FC236}">
                      <a16:creationId xmlns:a16="http://schemas.microsoft.com/office/drawing/2014/main" id="{833C0D28-A695-4844-A456-4D19FF1DFB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568" name="Rectangle 2567">
                  <a:extLst>
                    <a:ext uri="{FF2B5EF4-FFF2-40B4-BE49-F238E27FC236}">
                      <a16:creationId xmlns:a16="http://schemas.microsoft.com/office/drawing/2014/main" id="{E9152862-B2BB-4998-8C8E-5DF1F6870987}"/>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569" name="Group 2568">
                  <a:extLst>
                    <a:ext uri="{FF2B5EF4-FFF2-40B4-BE49-F238E27FC236}">
                      <a16:creationId xmlns:a16="http://schemas.microsoft.com/office/drawing/2014/main" id="{9F2740F3-1EED-444A-B76A-1B59C458AB57}"/>
                    </a:ext>
                  </a:extLst>
                </p:cNvPr>
                <p:cNvGrpSpPr/>
                <p:nvPr/>
              </p:nvGrpSpPr>
              <p:grpSpPr>
                <a:xfrm>
                  <a:off x="4439956" y="4676083"/>
                  <a:ext cx="1030675" cy="846880"/>
                  <a:chOff x="10800033" y="2297897"/>
                  <a:chExt cx="1600558" cy="1315140"/>
                </a:xfrm>
              </p:grpSpPr>
              <p:grpSp>
                <p:nvGrpSpPr>
                  <p:cNvPr id="2570" name="Group 2569">
                    <a:extLst>
                      <a:ext uri="{FF2B5EF4-FFF2-40B4-BE49-F238E27FC236}">
                        <a16:creationId xmlns:a16="http://schemas.microsoft.com/office/drawing/2014/main" id="{F075F749-BE74-495A-A0E4-2FA1DFBC139D}"/>
                      </a:ext>
                    </a:extLst>
                  </p:cNvPr>
                  <p:cNvGrpSpPr>
                    <a:grpSpLocks/>
                  </p:cNvGrpSpPr>
                  <p:nvPr/>
                </p:nvGrpSpPr>
                <p:grpSpPr>
                  <a:xfrm>
                    <a:off x="10800033" y="2339037"/>
                    <a:ext cx="613092" cy="613092"/>
                    <a:chOff x="745985" y="4768134"/>
                    <a:chExt cx="368776" cy="368777"/>
                  </a:xfrm>
                </p:grpSpPr>
                <p:grpSp>
                  <p:nvGrpSpPr>
                    <p:cNvPr id="2634" name="Group 64">
                      <a:extLst>
                        <a:ext uri="{FF2B5EF4-FFF2-40B4-BE49-F238E27FC236}">
                          <a16:creationId xmlns:a16="http://schemas.microsoft.com/office/drawing/2014/main" id="{394FBB97-BB17-4076-BA7F-6E44C259DA31}"/>
                        </a:ext>
                      </a:extLst>
                    </p:cNvPr>
                    <p:cNvGrpSpPr>
                      <a:grpSpLocks noChangeAspect="1"/>
                    </p:cNvGrpSpPr>
                    <p:nvPr/>
                  </p:nvGrpSpPr>
                  <p:grpSpPr bwMode="auto">
                    <a:xfrm rot="8100000">
                      <a:off x="745985" y="4768134"/>
                      <a:ext cx="368776" cy="368777"/>
                      <a:chOff x="701" y="2170"/>
                      <a:chExt cx="587" cy="587"/>
                    </a:xfrm>
                  </p:grpSpPr>
                  <p:sp>
                    <p:nvSpPr>
                      <p:cNvPr id="2645" name="Oval 65">
                        <a:extLst>
                          <a:ext uri="{FF2B5EF4-FFF2-40B4-BE49-F238E27FC236}">
                            <a16:creationId xmlns:a16="http://schemas.microsoft.com/office/drawing/2014/main" id="{D99513BE-F489-472D-AD4C-35876DF37983}"/>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46" name="Line 66">
                        <a:extLst>
                          <a:ext uri="{FF2B5EF4-FFF2-40B4-BE49-F238E27FC236}">
                            <a16:creationId xmlns:a16="http://schemas.microsoft.com/office/drawing/2014/main" id="{A6362BC5-7C70-4C28-9301-F5F860A5ACD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Line 67">
                        <a:extLst>
                          <a:ext uri="{FF2B5EF4-FFF2-40B4-BE49-F238E27FC236}">
                            <a16:creationId xmlns:a16="http://schemas.microsoft.com/office/drawing/2014/main" id="{8BEBF1E1-7017-469E-B1FF-3766FB6F81F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Line 69">
                        <a:extLst>
                          <a:ext uri="{FF2B5EF4-FFF2-40B4-BE49-F238E27FC236}">
                            <a16:creationId xmlns:a16="http://schemas.microsoft.com/office/drawing/2014/main" id="{593E4B9B-67E2-4823-B463-BCBF04373F9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Line 74">
                        <a:extLst>
                          <a:ext uri="{FF2B5EF4-FFF2-40B4-BE49-F238E27FC236}">
                            <a16:creationId xmlns:a16="http://schemas.microsoft.com/office/drawing/2014/main" id="{CBE50248-C269-4141-AEDB-BF932F1D71E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78">
                        <a:extLst>
                          <a:ext uri="{FF2B5EF4-FFF2-40B4-BE49-F238E27FC236}">
                            <a16:creationId xmlns:a16="http://schemas.microsoft.com/office/drawing/2014/main" id="{F8AAD8A0-3AD4-4D1C-8596-F992645987A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80">
                        <a:extLst>
                          <a:ext uri="{FF2B5EF4-FFF2-40B4-BE49-F238E27FC236}">
                            <a16:creationId xmlns:a16="http://schemas.microsoft.com/office/drawing/2014/main" id="{B8C6B84D-C717-420F-BC0B-FDF51ABB1ED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35" name="Group 2634">
                      <a:extLst>
                        <a:ext uri="{FF2B5EF4-FFF2-40B4-BE49-F238E27FC236}">
                          <a16:creationId xmlns:a16="http://schemas.microsoft.com/office/drawing/2014/main" id="{A6FE112D-A35B-4672-A6BF-C91082FDA1D8}"/>
                        </a:ext>
                      </a:extLst>
                    </p:cNvPr>
                    <p:cNvGrpSpPr/>
                    <p:nvPr/>
                  </p:nvGrpSpPr>
                  <p:grpSpPr>
                    <a:xfrm>
                      <a:off x="837312" y="4814434"/>
                      <a:ext cx="136805" cy="278689"/>
                      <a:chOff x="2806700" y="2803319"/>
                      <a:chExt cx="433387" cy="882861"/>
                    </a:xfrm>
                  </p:grpSpPr>
                  <p:grpSp>
                    <p:nvGrpSpPr>
                      <p:cNvPr id="2636" name="Group 2635">
                        <a:extLst>
                          <a:ext uri="{FF2B5EF4-FFF2-40B4-BE49-F238E27FC236}">
                            <a16:creationId xmlns:a16="http://schemas.microsoft.com/office/drawing/2014/main" id="{7958D822-9A07-41A1-964F-F3A3741CC56E}"/>
                          </a:ext>
                        </a:extLst>
                      </p:cNvPr>
                      <p:cNvGrpSpPr>
                        <a:grpSpLocks noChangeAspect="1"/>
                      </p:cNvGrpSpPr>
                      <p:nvPr/>
                    </p:nvGrpSpPr>
                    <p:grpSpPr bwMode="auto">
                      <a:xfrm>
                        <a:off x="2806700" y="3043242"/>
                        <a:ext cx="433387" cy="642938"/>
                        <a:chOff x="1768" y="1917"/>
                        <a:chExt cx="273" cy="405"/>
                      </a:xfrm>
                    </p:grpSpPr>
                    <p:sp>
                      <p:nvSpPr>
                        <p:cNvPr id="2638" name="Freeform 52">
                          <a:extLst>
                            <a:ext uri="{FF2B5EF4-FFF2-40B4-BE49-F238E27FC236}">
                              <a16:creationId xmlns:a16="http://schemas.microsoft.com/office/drawing/2014/main" id="{FBC7DF40-042D-488A-AB36-6052EC556E96}"/>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39" name="Line 54">
                          <a:extLst>
                            <a:ext uri="{FF2B5EF4-FFF2-40B4-BE49-F238E27FC236}">
                              <a16:creationId xmlns:a16="http://schemas.microsoft.com/office/drawing/2014/main" id="{883F93AB-C3A3-4B5F-A1CF-456068BC767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Line 55">
                          <a:extLst>
                            <a:ext uri="{FF2B5EF4-FFF2-40B4-BE49-F238E27FC236}">
                              <a16:creationId xmlns:a16="http://schemas.microsoft.com/office/drawing/2014/main" id="{D87EFF51-6855-44CF-A79C-2DF4A98D1D78}"/>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56">
                          <a:extLst>
                            <a:ext uri="{FF2B5EF4-FFF2-40B4-BE49-F238E27FC236}">
                              <a16:creationId xmlns:a16="http://schemas.microsoft.com/office/drawing/2014/main" id="{D134498A-294A-4A10-B100-9F8D5A91E25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Line 57">
                          <a:extLst>
                            <a:ext uri="{FF2B5EF4-FFF2-40B4-BE49-F238E27FC236}">
                              <a16:creationId xmlns:a16="http://schemas.microsoft.com/office/drawing/2014/main" id="{6654C4FD-F40F-41F0-B8CE-017936FC13D9}"/>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58">
                          <a:extLst>
                            <a:ext uri="{FF2B5EF4-FFF2-40B4-BE49-F238E27FC236}">
                              <a16:creationId xmlns:a16="http://schemas.microsoft.com/office/drawing/2014/main" id="{19555386-5E67-4B2F-B94C-AFDC1B0461F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Rectangle 2643">
                          <a:extLst>
                            <a:ext uri="{FF2B5EF4-FFF2-40B4-BE49-F238E27FC236}">
                              <a16:creationId xmlns:a16="http://schemas.microsoft.com/office/drawing/2014/main" id="{EFBD8C20-5250-432C-AC66-0060310B0E5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37" name="Oval 2636">
                        <a:extLst>
                          <a:ext uri="{FF2B5EF4-FFF2-40B4-BE49-F238E27FC236}">
                            <a16:creationId xmlns:a16="http://schemas.microsoft.com/office/drawing/2014/main" id="{9A6CA460-C797-4F41-BE4D-49D8B5015723}"/>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71" name="Group 2570">
                    <a:extLst>
                      <a:ext uri="{FF2B5EF4-FFF2-40B4-BE49-F238E27FC236}">
                        <a16:creationId xmlns:a16="http://schemas.microsoft.com/office/drawing/2014/main" id="{5306A91F-CF42-4203-8ED0-4140C16B11AE}"/>
                      </a:ext>
                    </a:extLst>
                  </p:cNvPr>
                  <p:cNvGrpSpPr>
                    <a:grpSpLocks/>
                  </p:cNvGrpSpPr>
                  <p:nvPr/>
                </p:nvGrpSpPr>
                <p:grpSpPr>
                  <a:xfrm>
                    <a:off x="11166615" y="2825631"/>
                    <a:ext cx="787402" cy="787406"/>
                    <a:chOff x="1454941" y="4721722"/>
                    <a:chExt cx="473625" cy="473627"/>
                  </a:xfrm>
                </p:grpSpPr>
                <p:grpSp>
                  <p:nvGrpSpPr>
                    <p:cNvPr id="2595" name="Group 64">
                      <a:extLst>
                        <a:ext uri="{FF2B5EF4-FFF2-40B4-BE49-F238E27FC236}">
                          <a16:creationId xmlns:a16="http://schemas.microsoft.com/office/drawing/2014/main" id="{68666D46-D43D-46E1-909D-AF14B0BBDAA3}"/>
                        </a:ext>
                      </a:extLst>
                    </p:cNvPr>
                    <p:cNvGrpSpPr>
                      <a:grpSpLocks noChangeAspect="1"/>
                    </p:cNvGrpSpPr>
                    <p:nvPr/>
                  </p:nvGrpSpPr>
                  <p:grpSpPr bwMode="auto">
                    <a:xfrm rot="8100000">
                      <a:off x="1454941" y="4721722"/>
                      <a:ext cx="473625" cy="473627"/>
                      <a:chOff x="701" y="2170"/>
                      <a:chExt cx="587" cy="587"/>
                    </a:xfrm>
                  </p:grpSpPr>
                  <p:sp>
                    <p:nvSpPr>
                      <p:cNvPr id="2627" name="Oval 65">
                        <a:extLst>
                          <a:ext uri="{FF2B5EF4-FFF2-40B4-BE49-F238E27FC236}">
                            <a16:creationId xmlns:a16="http://schemas.microsoft.com/office/drawing/2014/main" id="{48017EDA-3C29-4CEA-BC0B-80A8BD0796C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8" name="Line 66">
                        <a:extLst>
                          <a:ext uri="{FF2B5EF4-FFF2-40B4-BE49-F238E27FC236}">
                            <a16:creationId xmlns:a16="http://schemas.microsoft.com/office/drawing/2014/main" id="{ECC64540-7134-4AED-B8DC-42AEAAC639A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9" name="Line 67">
                        <a:extLst>
                          <a:ext uri="{FF2B5EF4-FFF2-40B4-BE49-F238E27FC236}">
                            <a16:creationId xmlns:a16="http://schemas.microsoft.com/office/drawing/2014/main" id="{EBC0855D-C2AD-4CE4-A679-0D1CEE5DFE8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0" name="Line 69">
                        <a:extLst>
                          <a:ext uri="{FF2B5EF4-FFF2-40B4-BE49-F238E27FC236}">
                            <a16:creationId xmlns:a16="http://schemas.microsoft.com/office/drawing/2014/main" id="{7B34E0DF-7FC3-43DD-A1D6-182D7FDAC5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1" name="Line 74">
                        <a:extLst>
                          <a:ext uri="{FF2B5EF4-FFF2-40B4-BE49-F238E27FC236}">
                            <a16:creationId xmlns:a16="http://schemas.microsoft.com/office/drawing/2014/main" id="{770634F6-E1B0-440B-AFDC-6D0B459927B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2" name="Freeform 78">
                        <a:extLst>
                          <a:ext uri="{FF2B5EF4-FFF2-40B4-BE49-F238E27FC236}">
                            <a16:creationId xmlns:a16="http://schemas.microsoft.com/office/drawing/2014/main" id="{300F9431-A749-4C71-AD48-AD88F20713B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3" name="Freeform 80">
                        <a:extLst>
                          <a:ext uri="{FF2B5EF4-FFF2-40B4-BE49-F238E27FC236}">
                            <a16:creationId xmlns:a16="http://schemas.microsoft.com/office/drawing/2014/main" id="{9E0FD27F-6C1B-400F-9C1B-00F54ADC628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96" name="Group 2595">
                      <a:extLst>
                        <a:ext uri="{FF2B5EF4-FFF2-40B4-BE49-F238E27FC236}">
                          <a16:creationId xmlns:a16="http://schemas.microsoft.com/office/drawing/2014/main" id="{CE1C56D1-BF2E-456A-8742-E449CE5B6954}"/>
                        </a:ext>
                      </a:extLst>
                    </p:cNvPr>
                    <p:cNvGrpSpPr/>
                    <p:nvPr/>
                  </p:nvGrpSpPr>
                  <p:grpSpPr>
                    <a:xfrm>
                      <a:off x="1511214" y="4789508"/>
                      <a:ext cx="356509" cy="349884"/>
                      <a:chOff x="468738" y="2241878"/>
                      <a:chExt cx="1655483" cy="1624719"/>
                    </a:xfrm>
                  </p:grpSpPr>
                  <p:sp>
                    <p:nvSpPr>
                      <p:cNvPr id="2597" name="Freeform 5">
                        <a:extLst>
                          <a:ext uri="{FF2B5EF4-FFF2-40B4-BE49-F238E27FC236}">
                            <a16:creationId xmlns:a16="http://schemas.microsoft.com/office/drawing/2014/main" id="{079EC6CC-9435-45FB-99C1-4DA947F1C1D5}"/>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8" name="Freeform 6">
                        <a:extLst>
                          <a:ext uri="{FF2B5EF4-FFF2-40B4-BE49-F238E27FC236}">
                            <a16:creationId xmlns:a16="http://schemas.microsoft.com/office/drawing/2014/main" id="{67DED1AC-696F-4863-88E4-DC7BF1B7AFC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9" name="Line 7">
                        <a:extLst>
                          <a:ext uri="{FF2B5EF4-FFF2-40B4-BE49-F238E27FC236}">
                            <a16:creationId xmlns:a16="http://schemas.microsoft.com/office/drawing/2014/main" id="{96B13123-371D-44BC-BB70-7C4F8079D61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Freeform 8">
                        <a:extLst>
                          <a:ext uri="{FF2B5EF4-FFF2-40B4-BE49-F238E27FC236}">
                            <a16:creationId xmlns:a16="http://schemas.microsoft.com/office/drawing/2014/main" id="{B3A07210-1401-48E3-A8BF-B23886CB466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1" name="Line 9">
                        <a:extLst>
                          <a:ext uri="{FF2B5EF4-FFF2-40B4-BE49-F238E27FC236}">
                            <a16:creationId xmlns:a16="http://schemas.microsoft.com/office/drawing/2014/main" id="{4FEE55D0-43F0-43C7-8DAD-C5DD766DADCD}"/>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02" name="Group 2601">
                        <a:extLst>
                          <a:ext uri="{FF2B5EF4-FFF2-40B4-BE49-F238E27FC236}">
                            <a16:creationId xmlns:a16="http://schemas.microsoft.com/office/drawing/2014/main" id="{577664B5-37A8-493E-B365-0E0ACC7C6DA7}"/>
                          </a:ext>
                        </a:extLst>
                      </p:cNvPr>
                      <p:cNvGrpSpPr/>
                      <p:nvPr/>
                    </p:nvGrpSpPr>
                    <p:grpSpPr>
                      <a:xfrm>
                        <a:off x="1207113" y="2241878"/>
                        <a:ext cx="178734" cy="348678"/>
                        <a:chOff x="1207113" y="2241878"/>
                        <a:chExt cx="178734" cy="348678"/>
                      </a:xfrm>
                    </p:grpSpPr>
                    <p:sp>
                      <p:nvSpPr>
                        <p:cNvPr id="2625" name="Freeform 10">
                          <a:extLst>
                            <a:ext uri="{FF2B5EF4-FFF2-40B4-BE49-F238E27FC236}">
                              <a16:creationId xmlns:a16="http://schemas.microsoft.com/office/drawing/2014/main" id="{E9CB101F-2595-44CC-AD60-3A73F43F42F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Line 11">
                          <a:extLst>
                            <a:ext uri="{FF2B5EF4-FFF2-40B4-BE49-F238E27FC236}">
                              <a16:creationId xmlns:a16="http://schemas.microsoft.com/office/drawing/2014/main" id="{23C1F688-8311-46B8-8B85-E7E7D6E8483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603" name="Freeform 12">
                        <a:extLst>
                          <a:ext uri="{FF2B5EF4-FFF2-40B4-BE49-F238E27FC236}">
                            <a16:creationId xmlns:a16="http://schemas.microsoft.com/office/drawing/2014/main" id="{F1354873-BD82-41AF-80DC-D721DDAC4F8A}"/>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4" name="Line 13">
                        <a:extLst>
                          <a:ext uri="{FF2B5EF4-FFF2-40B4-BE49-F238E27FC236}">
                            <a16:creationId xmlns:a16="http://schemas.microsoft.com/office/drawing/2014/main" id="{4A9B55B8-5062-4C04-BDB6-BD30FA45C77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Freeform 14">
                        <a:extLst>
                          <a:ext uri="{FF2B5EF4-FFF2-40B4-BE49-F238E27FC236}">
                            <a16:creationId xmlns:a16="http://schemas.microsoft.com/office/drawing/2014/main" id="{3D292B1F-307D-43C6-A918-7788D68A170A}"/>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15">
                        <a:extLst>
                          <a:ext uri="{FF2B5EF4-FFF2-40B4-BE49-F238E27FC236}">
                            <a16:creationId xmlns:a16="http://schemas.microsoft.com/office/drawing/2014/main" id="{F68ABD0A-ED29-43E2-8441-4741D68A0EEB}"/>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Freeform 16">
                        <a:extLst>
                          <a:ext uri="{FF2B5EF4-FFF2-40B4-BE49-F238E27FC236}">
                            <a16:creationId xmlns:a16="http://schemas.microsoft.com/office/drawing/2014/main" id="{B09506B1-ED45-4096-9E3D-87566CD29B6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Line 17">
                        <a:extLst>
                          <a:ext uri="{FF2B5EF4-FFF2-40B4-BE49-F238E27FC236}">
                            <a16:creationId xmlns:a16="http://schemas.microsoft.com/office/drawing/2014/main" id="{FD44C52F-0896-4DC8-A573-F8CB9574C9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18">
                        <a:extLst>
                          <a:ext uri="{FF2B5EF4-FFF2-40B4-BE49-F238E27FC236}">
                            <a16:creationId xmlns:a16="http://schemas.microsoft.com/office/drawing/2014/main" id="{8B280140-F2C2-406D-8F12-93B0BF8169F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0" name="Line 19">
                        <a:extLst>
                          <a:ext uri="{FF2B5EF4-FFF2-40B4-BE49-F238E27FC236}">
                            <a16:creationId xmlns:a16="http://schemas.microsoft.com/office/drawing/2014/main" id="{83F8B07E-AAC4-429D-815C-600BDC67EDC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1" name="Freeform 35">
                        <a:extLst>
                          <a:ext uri="{FF2B5EF4-FFF2-40B4-BE49-F238E27FC236}">
                            <a16:creationId xmlns:a16="http://schemas.microsoft.com/office/drawing/2014/main" id="{97B06452-C058-4055-A778-3D273FF5AD9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2" name="Freeform 36">
                        <a:extLst>
                          <a:ext uri="{FF2B5EF4-FFF2-40B4-BE49-F238E27FC236}">
                            <a16:creationId xmlns:a16="http://schemas.microsoft.com/office/drawing/2014/main" id="{D7B94512-5B7D-4E49-8A20-B7E0C59BA32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3" name="Freeform 37">
                        <a:extLst>
                          <a:ext uri="{FF2B5EF4-FFF2-40B4-BE49-F238E27FC236}">
                            <a16:creationId xmlns:a16="http://schemas.microsoft.com/office/drawing/2014/main" id="{1E9CFF19-0920-4C18-BFB6-4FA99EFAAE4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4" name="Freeform 38">
                        <a:extLst>
                          <a:ext uri="{FF2B5EF4-FFF2-40B4-BE49-F238E27FC236}">
                            <a16:creationId xmlns:a16="http://schemas.microsoft.com/office/drawing/2014/main" id="{2192574F-D87E-4799-8617-9A8269FBF2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Freeform 39">
                        <a:extLst>
                          <a:ext uri="{FF2B5EF4-FFF2-40B4-BE49-F238E27FC236}">
                            <a16:creationId xmlns:a16="http://schemas.microsoft.com/office/drawing/2014/main" id="{9FA83DBA-16E9-4E67-B605-610342F2FBB7}"/>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6" name="Freeform 40">
                        <a:extLst>
                          <a:ext uri="{FF2B5EF4-FFF2-40B4-BE49-F238E27FC236}">
                            <a16:creationId xmlns:a16="http://schemas.microsoft.com/office/drawing/2014/main" id="{794D13CB-1AC0-4D12-AEFA-19F35871F8B2}"/>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41">
                        <a:extLst>
                          <a:ext uri="{FF2B5EF4-FFF2-40B4-BE49-F238E27FC236}">
                            <a16:creationId xmlns:a16="http://schemas.microsoft.com/office/drawing/2014/main" id="{3CA60CD9-2A9F-491F-8D32-DDBDC4302D7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42">
                        <a:extLst>
                          <a:ext uri="{FF2B5EF4-FFF2-40B4-BE49-F238E27FC236}">
                            <a16:creationId xmlns:a16="http://schemas.microsoft.com/office/drawing/2014/main" id="{AC0B106E-7CF1-42EC-AAD0-953B1807B0E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43">
                        <a:extLst>
                          <a:ext uri="{FF2B5EF4-FFF2-40B4-BE49-F238E27FC236}">
                            <a16:creationId xmlns:a16="http://schemas.microsoft.com/office/drawing/2014/main" id="{60BD6986-D4CD-4ADE-9B50-18E17A0C999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Freeform 44">
                        <a:extLst>
                          <a:ext uri="{FF2B5EF4-FFF2-40B4-BE49-F238E27FC236}">
                            <a16:creationId xmlns:a16="http://schemas.microsoft.com/office/drawing/2014/main" id="{0FA51F8C-4D65-4873-A054-070A6C457B6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1" name="Freeform 45">
                        <a:extLst>
                          <a:ext uri="{FF2B5EF4-FFF2-40B4-BE49-F238E27FC236}">
                            <a16:creationId xmlns:a16="http://schemas.microsoft.com/office/drawing/2014/main" id="{E9F5D74C-2F8B-4F52-8D34-E92E4468010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22" name="Group 2621">
                        <a:extLst>
                          <a:ext uri="{FF2B5EF4-FFF2-40B4-BE49-F238E27FC236}">
                            <a16:creationId xmlns:a16="http://schemas.microsoft.com/office/drawing/2014/main" id="{4FF9ADDA-1468-4D45-AEA1-96EB78A9EE70}"/>
                          </a:ext>
                        </a:extLst>
                      </p:cNvPr>
                      <p:cNvGrpSpPr/>
                      <p:nvPr/>
                    </p:nvGrpSpPr>
                    <p:grpSpPr>
                      <a:xfrm flipV="1">
                        <a:off x="1202047" y="3517919"/>
                        <a:ext cx="178734" cy="348678"/>
                        <a:chOff x="1207113" y="2241878"/>
                        <a:chExt cx="178734" cy="348678"/>
                      </a:xfrm>
                    </p:grpSpPr>
                    <p:sp>
                      <p:nvSpPr>
                        <p:cNvPr id="2623" name="Freeform 10">
                          <a:extLst>
                            <a:ext uri="{FF2B5EF4-FFF2-40B4-BE49-F238E27FC236}">
                              <a16:creationId xmlns:a16="http://schemas.microsoft.com/office/drawing/2014/main" id="{5A6D455D-656C-4F54-B11B-755FBDCF70F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11">
                          <a:extLst>
                            <a:ext uri="{FF2B5EF4-FFF2-40B4-BE49-F238E27FC236}">
                              <a16:creationId xmlns:a16="http://schemas.microsoft.com/office/drawing/2014/main" id="{33810577-77C5-4BB1-8A88-CC1A2075B6D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72" name="Group 2571">
                    <a:extLst>
                      <a:ext uri="{FF2B5EF4-FFF2-40B4-BE49-F238E27FC236}">
                        <a16:creationId xmlns:a16="http://schemas.microsoft.com/office/drawing/2014/main" id="{C61809E5-62A9-440A-A401-E1007C351F86}"/>
                      </a:ext>
                    </a:extLst>
                  </p:cNvPr>
                  <p:cNvGrpSpPr>
                    <a:grpSpLocks/>
                  </p:cNvGrpSpPr>
                  <p:nvPr/>
                </p:nvGrpSpPr>
                <p:grpSpPr>
                  <a:xfrm>
                    <a:off x="11709639" y="2297897"/>
                    <a:ext cx="690952" cy="690956"/>
                    <a:chOff x="2268747" y="4723725"/>
                    <a:chExt cx="415610" cy="415612"/>
                  </a:xfrm>
                </p:grpSpPr>
                <p:grpSp>
                  <p:nvGrpSpPr>
                    <p:cNvPr id="2573" name="Group 64">
                      <a:extLst>
                        <a:ext uri="{FF2B5EF4-FFF2-40B4-BE49-F238E27FC236}">
                          <a16:creationId xmlns:a16="http://schemas.microsoft.com/office/drawing/2014/main" id="{9DBB6DAD-A6C6-40EE-9D11-4FDDF7A94CC3}"/>
                        </a:ext>
                      </a:extLst>
                    </p:cNvPr>
                    <p:cNvGrpSpPr>
                      <a:grpSpLocks noChangeAspect="1"/>
                    </p:cNvGrpSpPr>
                    <p:nvPr/>
                  </p:nvGrpSpPr>
                  <p:grpSpPr bwMode="auto">
                    <a:xfrm rot="8100000">
                      <a:off x="2268747" y="4723725"/>
                      <a:ext cx="415610" cy="415612"/>
                      <a:chOff x="701" y="2170"/>
                      <a:chExt cx="587" cy="587"/>
                    </a:xfrm>
                  </p:grpSpPr>
                  <p:sp>
                    <p:nvSpPr>
                      <p:cNvPr id="2588" name="Oval 65">
                        <a:extLst>
                          <a:ext uri="{FF2B5EF4-FFF2-40B4-BE49-F238E27FC236}">
                            <a16:creationId xmlns:a16="http://schemas.microsoft.com/office/drawing/2014/main" id="{2F93913E-9239-4896-982E-D4D3A9AFE9C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9" name="Line 66">
                        <a:extLst>
                          <a:ext uri="{FF2B5EF4-FFF2-40B4-BE49-F238E27FC236}">
                            <a16:creationId xmlns:a16="http://schemas.microsoft.com/office/drawing/2014/main" id="{D516032C-314F-477F-8498-CF760CA9C2A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Line 67">
                        <a:extLst>
                          <a:ext uri="{FF2B5EF4-FFF2-40B4-BE49-F238E27FC236}">
                            <a16:creationId xmlns:a16="http://schemas.microsoft.com/office/drawing/2014/main" id="{85B0E08B-5F9E-46EF-A67C-8D3A7A7AA95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1" name="Line 69">
                        <a:extLst>
                          <a:ext uri="{FF2B5EF4-FFF2-40B4-BE49-F238E27FC236}">
                            <a16:creationId xmlns:a16="http://schemas.microsoft.com/office/drawing/2014/main" id="{0664106A-4AB4-44F0-A49A-B05E83868C8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2" name="Line 74">
                        <a:extLst>
                          <a:ext uri="{FF2B5EF4-FFF2-40B4-BE49-F238E27FC236}">
                            <a16:creationId xmlns:a16="http://schemas.microsoft.com/office/drawing/2014/main" id="{8D41BA7D-C67A-4F1F-B524-BCA54A80431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78">
                        <a:extLst>
                          <a:ext uri="{FF2B5EF4-FFF2-40B4-BE49-F238E27FC236}">
                            <a16:creationId xmlns:a16="http://schemas.microsoft.com/office/drawing/2014/main" id="{4DCCC22E-3471-4F39-BEA9-CFA0AEAFC8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Freeform 80">
                        <a:extLst>
                          <a:ext uri="{FF2B5EF4-FFF2-40B4-BE49-F238E27FC236}">
                            <a16:creationId xmlns:a16="http://schemas.microsoft.com/office/drawing/2014/main" id="{14AD47E3-0647-4EC9-8616-F585647C93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4" name="Group 2573">
                      <a:extLst>
                        <a:ext uri="{FF2B5EF4-FFF2-40B4-BE49-F238E27FC236}">
                          <a16:creationId xmlns:a16="http://schemas.microsoft.com/office/drawing/2014/main" id="{BA6D1D58-9EF5-4F3D-9C9A-D92D4231AB5E}"/>
                        </a:ext>
                      </a:extLst>
                    </p:cNvPr>
                    <p:cNvGrpSpPr/>
                    <p:nvPr/>
                  </p:nvGrpSpPr>
                  <p:grpSpPr>
                    <a:xfrm>
                      <a:off x="2318076" y="4830163"/>
                      <a:ext cx="313949" cy="233075"/>
                      <a:chOff x="3707533" y="2731244"/>
                      <a:chExt cx="389644" cy="289271"/>
                    </a:xfrm>
                  </p:grpSpPr>
                  <p:sp>
                    <p:nvSpPr>
                      <p:cNvPr id="2575" name="Freeform 33">
                        <a:extLst>
                          <a:ext uri="{FF2B5EF4-FFF2-40B4-BE49-F238E27FC236}">
                            <a16:creationId xmlns:a16="http://schemas.microsoft.com/office/drawing/2014/main" id="{80A16413-CD19-4E27-B19D-1876E3D9E01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34">
                        <a:extLst>
                          <a:ext uri="{FF2B5EF4-FFF2-40B4-BE49-F238E27FC236}">
                            <a16:creationId xmlns:a16="http://schemas.microsoft.com/office/drawing/2014/main" id="{EEC10E00-0779-42FA-BA1F-124206B4AEC3}"/>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7" name="Freeform 37">
                        <a:extLst>
                          <a:ext uri="{FF2B5EF4-FFF2-40B4-BE49-F238E27FC236}">
                            <a16:creationId xmlns:a16="http://schemas.microsoft.com/office/drawing/2014/main" id="{963E082D-F51E-4420-8A3F-38B60DC37A31}"/>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8" name="Freeform 38">
                        <a:extLst>
                          <a:ext uri="{FF2B5EF4-FFF2-40B4-BE49-F238E27FC236}">
                            <a16:creationId xmlns:a16="http://schemas.microsoft.com/office/drawing/2014/main" id="{2229CE04-704A-4F27-9E8C-4699B60CF8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9" name="Freeform 32">
                        <a:extLst>
                          <a:ext uri="{FF2B5EF4-FFF2-40B4-BE49-F238E27FC236}">
                            <a16:creationId xmlns:a16="http://schemas.microsoft.com/office/drawing/2014/main" id="{16FA405E-767F-4D26-BF6E-C576C2E17C78}"/>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0" name="Freeform 35">
                        <a:extLst>
                          <a:ext uri="{FF2B5EF4-FFF2-40B4-BE49-F238E27FC236}">
                            <a16:creationId xmlns:a16="http://schemas.microsoft.com/office/drawing/2014/main" id="{0F88731B-778E-480E-900A-9228C1157CD7}"/>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36">
                        <a:extLst>
                          <a:ext uri="{FF2B5EF4-FFF2-40B4-BE49-F238E27FC236}">
                            <a16:creationId xmlns:a16="http://schemas.microsoft.com/office/drawing/2014/main" id="{F25F84DB-8F4E-415C-BB36-DB2CD3B65E6C}"/>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2" name="Freeform 25">
                        <a:extLst>
                          <a:ext uri="{FF2B5EF4-FFF2-40B4-BE49-F238E27FC236}">
                            <a16:creationId xmlns:a16="http://schemas.microsoft.com/office/drawing/2014/main" id="{02BBD59A-2CF4-40AE-95A7-FDDEB8F965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39">
                        <a:extLst>
                          <a:ext uri="{FF2B5EF4-FFF2-40B4-BE49-F238E27FC236}">
                            <a16:creationId xmlns:a16="http://schemas.microsoft.com/office/drawing/2014/main" id="{14FD731D-AF94-44C5-AA74-3DB4EBA6A96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4" name="Freeform 26">
                        <a:extLst>
                          <a:ext uri="{FF2B5EF4-FFF2-40B4-BE49-F238E27FC236}">
                            <a16:creationId xmlns:a16="http://schemas.microsoft.com/office/drawing/2014/main" id="{C9E194B8-9DAD-40BE-B56F-801BDAE7113F}"/>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5" name="Rectangle 27">
                        <a:extLst>
                          <a:ext uri="{FF2B5EF4-FFF2-40B4-BE49-F238E27FC236}">
                            <a16:creationId xmlns:a16="http://schemas.microsoft.com/office/drawing/2014/main" id="{1BF09F81-C3A8-46B8-9D87-D52CC9D3D467}"/>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6" name="Line 29">
                        <a:extLst>
                          <a:ext uri="{FF2B5EF4-FFF2-40B4-BE49-F238E27FC236}">
                            <a16:creationId xmlns:a16="http://schemas.microsoft.com/office/drawing/2014/main" id="{796B5EC7-95AE-4638-B151-4AD5F6E603C5}"/>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Line 31">
                        <a:extLst>
                          <a:ext uri="{FF2B5EF4-FFF2-40B4-BE49-F238E27FC236}">
                            <a16:creationId xmlns:a16="http://schemas.microsoft.com/office/drawing/2014/main" id="{D74D1B5A-4088-48FD-BA39-A25E047F6E5B}"/>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563" name="Group 2562">
                <a:extLst>
                  <a:ext uri="{FF2B5EF4-FFF2-40B4-BE49-F238E27FC236}">
                    <a16:creationId xmlns:a16="http://schemas.microsoft.com/office/drawing/2014/main" id="{AAF30ECC-6547-47B1-87A6-A8AAD991517A}"/>
                  </a:ext>
                </a:extLst>
              </p:cNvPr>
              <p:cNvGrpSpPr/>
              <p:nvPr/>
            </p:nvGrpSpPr>
            <p:grpSpPr>
              <a:xfrm>
                <a:off x="3584215" y="5655005"/>
                <a:ext cx="1001118" cy="830281"/>
                <a:chOff x="3592922" y="5629153"/>
                <a:chExt cx="1003674" cy="832401"/>
              </a:xfrm>
            </p:grpSpPr>
            <p:pic>
              <p:nvPicPr>
                <p:cNvPr id="2564" name="Picture 1">
                  <a:extLst>
                    <a:ext uri="{FF2B5EF4-FFF2-40B4-BE49-F238E27FC236}">
                      <a16:creationId xmlns:a16="http://schemas.microsoft.com/office/drawing/2014/main" id="{75AF8220-8A57-4FDB-B139-F9D621D94305}"/>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5" name="Rectangle 2564">
                  <a:extLst>
                    <a:ext uri="{FF2B5EF4-FFF2-40B4-BE49-F238E27FC236}">
                      <a16:creationId xmlns:a16="http://schemas.microsoft.com/office/drawing/2014/main" id="{4929924E-CEF7-4D8B-86DF-DF00A77B72EA}"/>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552" name="Group 2551">
              <a:extLst>
                <a:ext uri="{FF2B5EF4-FFF2-40B4-BE49-F238E27FC236}">
                  <a16:creationId xmlns:a16="http://schemas.microsoft.com/office/drawing/2014/main" id="{51D29E4F-03A2-4BAC-8059-D5DCBDD11A12}"/>
                </a:ext>
              </a:extLst>
            </p:cNvPr>
            <p:cNvGrpSpPr/>
            <p:nvPr/>
          </p:nvGrpSpPr>
          <p:grpSpPr>
            <a:xfrm>
              <a:off x="4527697" y="3616012"/>
              <a:ext cx="3535922" cy="312851"/>
              <a:chOff x="4538813" y="3457139"/>
              <a:chExt cx="3544948" cy="313650"/>
            </a:xfrm>
          </p:grpSpPr>
          <p:grpSp>
            <p:nvGrpSpPr>
              <p:cNvPr id="2553" name="Group 2552">
                <a:extLst>
                  <a:ext uri="{FF2B5EF4-FFF2-40B4-BE49-F238E27FC236}">
                    <a16:creationId xmlns:a16="http://schemas.microsoft.com/office/drawing/2014/main" id="{E6379E1F-991C-4636-B00D-F1EA2FB6A8A6}"/>
                  </a:ext>
                </a:extLst>
              </p:cNvPr>
              <p:cNvGrpSpPr/>
              <p:nvPr/>
            </p:nvGrpSpPr>
            <p:grpSpPr>
              <a:xfrm>
                <a:off x="4538813" y="3463012"/>
                <a:ext cx="3544948" cy="307777"/>
                <a:chOff x="4538813" y="3463012"/>
                <a:chExt cx="3544948" cy="307777"/>
              </a:xfrm>
            </p:grpSpPr>
            <p:sp>
              <p:nvSpPr>
                <p:cNvPr id="2555" name="Rectangle 2554">
                  <a:extLst>
                    <a:ext uri="{FF2B5EF4-FFF2-40B4-BE49-F238E27FC236}">
                      <a16:creationId xmlns:a16="http://schemas.microsoft.com/office/drawing/2014/main" id="{7750E31C-C095-4F8A-9D86-212FAC5C5A8D}"/>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6" name="Rectangle 2555">
                  <a:extLst>
                    <a:ext uri="{FF2B5EF4-FFF2-40B4-BE49-F238E27FC236}">
                      <a16:creationId xmlns:a16="http://schemas.microsoft.com/office/drawing/2014/main" id="{1F2EFAF6-495E-421C-9B59-459A62399704}"/>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7" name="Rectangle 2556">
                  <a:extLst>
                    <a:ext uri="{FF2B5EF4-FFF2-40B4-BE49-F238E27FC236}">
                      <a16:creationId xmlns:a16="http://schemas.microsoft.com/office/drawing/2014/main" id="{C6DF208E-6FED-42D9-975F-7FBD667FFE52}"/>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8" name="Rectangle 2557">
                  <a:extLst>
                    <a:ext uri="{FF2B5EF4-FFF2-40B4-BE49-F238E27FC236}">
                      <a16:creationId xmlns:a16="http://schemas.microsoft.com/office/drawing/2014/main" id="{5F78BF88-FDAC-42E0-A249-8550DAA3715B}"/>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9" name="Rectangle 2558">
                  <a:extLst>
                    <a:ext uri="{FF2B5EF4-FFF2-40B4-BE49-F238E27FC236}">
                      <a16:creationId xmlns:a16="http://schemas.microsoft.com/office/drawing/2014/main" id="{5C62A79A-F215-4467-88C4-C7C5AEB53BA9}"/>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0" name="Rectangle 2559">
                  <a:extLst>
                    <a:ext uri="{FF2B5EF4-FFF2-40B4-BE49-F238E27FC236}">
                      <a16:creationId xmlns:a16="http://schemas.microsoft.com/office/drawing/2014/main" id="{37B94D35-6F11-4577-80FF-BCFEF99FDF82}"/>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1" name="Rectangle 2560">
                  <a:extLst>
                    <a:ext uri="{FF2B5EF4-FFF2-40B4-BE49-F238E27FC236}">
                      <a16:creationId xmlns:a16="http://schemas.microsoft.com/office/drawing/2014/main" id="{221BF5B3-2BFB-4332-90AF-579C99572C34}"/>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554" name="Rectangle 2553">
                <a:extLst>
                  <a:ext uri="{FF2B5EF4-FFF2-40B4-BE49-F238E27FC236}">
                    <a16:creationId xmlns:a16="http://schemas.microsoft.com/office/drawing/2014/main" id="{A0ED15A4-6FBB-4630-817C-E5CA8C0D42EE}"/>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2652" name="Group 2651">
            <a:extLst>
              <a:ext uri="{FF2B5EF4-FFF2-40B4-BE49-F238E27FC236}">
                <a16:creationId xmlns:a16="http://schemas.microsoft.com/office/drawing/2014/main" id="{C21894EF-8D81-47AF-94A0-45D68D6932EE}"/>
              </a:ext>
            </a:extLst>
          </p:cNvPr>
          <p:cNvGrpSpPr/>
          <p:nvPr/>
        </p:nvGrpSpPr>
        <p:grpSpPr>
          <a:xfrm>
            <a:off x="1943243" y="1703763"/>
            <a:ext cx="1530261" cy="1365012"/>
            <a:chOff x="1943749" y="1841576"/>
            <a:chExt cx="1530660" cy="1365368"/>
          </a:xfrm>
        </p:grpSpPr>
        <p:grpSp>
          <p:nvGrpSpPr>
            <p:cNvPr id="2653" name="Group 2652">
              <a:extLst>
                <a:ext uri="{FF2B5EF4-FFF2-40B4-BE49-F238E27FC236}">
                  <a16:creationId xmlns:a16="http://schemas.microsoft.com/office/drawing/2014/main" id="{9D43AD93-F054-4F22-9C47-031FF358F2A0}"/>
                </a:ext>
              </a:extLst>
            </p:cNvPr>
            <p:cNvGrpSpPr/>
            <p:nvPr/>
          </p:nvGrpSpPr>
          <p:grpSpPr>
            <a:xfrm>
              <a:off x="1943749" y="2407609"/>
              <a:ext cx="1530660" cy="799335"/>
              <a:chOff x="1943749" y="2407609"/>
              <a:chExt cx="1530660" cy="799335"/>
            </a:xfrm>
          </p:grpSpPr>
          <p:cxnSp>
            <p:nvCxnSpPr>
              <p:cNvPr id="2655" name="Elbow Connector 558">
                <a:extLst>
                  <a:ext uri="{FF2B5EF4-FFF2-40B4-BE49-F238E27FC236}">
                    <a16:creationId xmlns:a16="http://schemas.microsoft.com/office/drawing/2014/main" id="{DEC905F3-34A7-4164-8DD6-65C69465FB24}"/>
                  </a:ext>
                </a:extLst>
              </p:cNvPr>
              <p:cNvCxnSpPr>
                <a:cxnSpLocks/>
                <a:endCxn id="2657"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656" name="Elbow Connector 558">
                <a:extLst>
                  <a:ext uri="{FF2B5EF4-FFF2-40B4-BE49-F238E27FC236}">
                    <a16:creationId xmlns:a16="http://schemas.microsoft.com/office/drawing/2014/main" id="{EF5ED769-8942-4EF3-A434-ED135F9CA3BD}"/>
                  </a:ext>
                </a:extLst>
              </p:cNvPr>
              <p:cNvCxnSpPr>
                <a:cxnSpLocks/>
                <a:stCxn id="2657" idx="3"/>
                <a:endCxn id="2790" idx="1"/>
              </p:cNvCxnSpPr>
              <p:nvPr/>
            </p:nvCxnSpPr>
            <p:spPr>
              <a:xfrm flipV="1">
                <a:off x="2543276" y="2407609"/>
                <a:ext cx="931133" cy="374066"/>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657" name="Picture 2656">
                <a:extLst>
                  <a:ext uri="{FF2B5EF4-FFF2-40B4-BE49-F238E27FC236}">
                    <a16:creationId xmlns:a16="http://schemas.microsoft.com/office/drawing/2014/main" id="{D5403F6B-3C67-477E-9311-B8DE5513186C}"/>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654" name="Picture 2653">
              <a:extLst>
                <a:ext uri="{FF2B5EF4-FFF2-40B4-BE49-F238E27FC236}">
                  <a16:creationId xmlns:a16="http://schemas.microsoft.com/office/drawing/2014/main" id="{63FFDBFE-9326-4209-A7C2-ABBAC504C2DC}"/>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2658" name="Group 2657">
            <a:extLst>
              <a:ext uri="{FF2B5EF4-FFF2-40B4-BE49-F238E27FC236}">
                <a16:creationId xmlns:a16="http://schemas.microsoft.com/office/drawing/2014/main" id="{D7FB6158-CC12-4760-BB82-DF90F7E182B9}"/>
              </a:ext>
            </a:extLst>
          </p:cNvPr>
          <p:cNvGrpSpPr/>
          <p:nvPr/>
        </p:nvGrpSpPr>
        <p:grpSpPr>
          <a:xfrm>
            <a:off x="2965498" y="1615862"/>
            <a:ext cx="6753931" cy="2719939"/>
            <a:chOff x="2966271" y="1753652"/>
            <a:chExt cx="6755690" cy="2720648"/>
          </a:xfrm>
        </p:grpSpPr>
        <p:grpSp>
          <p:nvGrpSpPr>
            <p:cNvPr id="2659" name="Group 2658">
              <a:extLst>
                <a:ext uri="{FF2B5EF4-FFF2-40B4-BE49-F238E27FC236}">
                  <a16:creationId xmlns:a16="http://schemas.microsoft.com/office/drawing/2014/main" id="{9D3D52D7-2776-44E8-9120-6174062C6346}"/>
                </a:ext>
              </a:extLst>
            </p:cNvPr>
            <p:cNvGrpSpPr/>
            <p:nvPr/>
          </p:nvGrpSpPr>
          <p:grpSpPr>
            <a:xfrm>
              <a:off x="2966271" y="3623425"/>
              <a:ext cx="5559816" cy="850875"/>
              <a:chOff x="2941193" y="3591455"/>
              <a:chExt cx="5574010" cy="853047"/>
            </a:xfrm>
          </p:grpSpPr>
          <p:grpSp>
            <p:nvGrpSpPr>
              <p:cNvPr id="2776" name="Group 2775">
                <a:extLst>
                  <a:ext uri="{FF2B5EF4-FFF2-40B4-BE49-F238E27FC236}">
                    <a16:creationId xmlns:a16="http://schemas.microsoft.com/office/drawing/2014/main" id="{00BA3D5E-4095-42F0-BD41-468FFB7C4EF9}"/>
                  </a:ext>
                </a:extLst>
              </p:cNvPr>
              <p:cNvGrpSpPr/>
              <p:nvPr/>
            </p:nvGrpSpPr>
            <p:grpSpPr>
              <a:xfrm>
                <a:off x="2941193" y="3710094"/>
                <a:ext cx="5483474" cy="734408"/>
                <a:chOff x="2941193" y="3710094"/>
                <a:chExt cx="5483474" cy="734408"/>
              </a:xfrm>
            </p:grpSpPr>
            <p:cxnSp>
              <p:nvCxnSpPr>
                <p:cNvPr id="2778" name="Elbow Connector 558">
                  <a:extLst>
                    <a:ext uri="{FF2B5EF4-FFF2-40B4-BE49-F238E27FC236}">
                      <a16:creationId xmlns:a16="http://schemas.microsoft.com/office/drawing/2014/main" id="{8B9029C7-DF2B-4965-B1E5-F32D76C0DE15}"/>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779" name="Rectangle 2778">
                  <a:extLst>
                    <a:ext uri="{FF2B5EF4-FFF2-40B4-BE49-F238E27FC236}">
                      <a16:creationId xmlns:a16="http://schemas.microsoft.com/office/drawing/2014/main" id="{C3FD32AE-1C38-473F-8AD8-C33FE8424978}"/>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777" name="Rectangle 2776">
                <a:extLst>
                  <a:ext uri="{FF2B5EF4-FFF2-40B4-BE49-F238E27FC236}">
                    <a16:creationId xmlns:a16="http://schemas.microsoft.com/office/drawing/2014/main" id="{37017EB8-7285-4A76-B7F5-C589DB18F416}"/>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2660" name="Group 2659">
              <a:extLst>
                <a:ext uri="{FF2B5EF4-FFF2-40B4-BE49-F238E27FC236}">
                  <a16:creationId xmlns:a16="http://schemas.microsoft.com/office/drawing/2014/main" id="{EBC6F251-C2B6-409D-9525-3993D71F99B9}"/>
                </a:ext>
              </a:extLst>
            </p:cNvPr>
            <p:cNvGrpSpPr/>
            <p:nvPr/>
          </p:nvGrpSpPr>
          <p:grpSpPr>
            <a:xfrm>
              <a:off x="6614264" y="1753652"/>
              <a:ext cx="3107697" cy="1310210"/>
              <a:chOff x="6614264" y="1753652"/>
              <a:chExt cx="3107697" cy="1310210"/>
            </a:xfrm>
          </p:grpSpPr>
          <p:sp>
            <p:nvSpPr>
              <p:cNvPr id="2661" name="Rectangle 2660">
                <a:extLst>
                  <a:ext uri="{FF2B5EF4-FFF2-40B4-BE49-F238E27FC236}">
                    <a16:creationId xmlns:a16="http://schemas.microsoft.com/office/drawing/2014/main" id="{58B19519-A64D-4A41-BFC7-F8F1687A412A}"/>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662" name="Group 2661">
                <a:extLst>
                  <a:ext uri="{FF2B5EF4-FFF2-40B4-BE49-F238E27FC236}">
                    <a16:creationId xmlns:a16="http://schemas.microsoft.com/office/drawing/2014/main" id="{AFA6B6C5-A4D0-4D13-B8DE-6F93B38DBBDC}"/>
                  </a:ext>
                </a:extLst>
              </p:cNvPr>
              <p:cNvGrpSpPr/>
              <p:nvPr/>
            </p:nvGrpSpPr>
            <p:grpSpPr>
              <a:xfrm>
                <a:off x="6970489" y="2381238"/>
                <a:ext cx="876005" cy="682624"/>
                <a:chOff x="8153924" y="1224949"/>
                <a:chExt cx="927652" cy="722869"/>
              </a:xfrm>
            </p:grpSpPr>
            <p:sp>
              <p:nvSpPr>
                <p:cNvPr id="2753" name="TextBox 2752">
                  <a:extLst>
                    <a:ext uri="{FF2B5EF4-FFF2-40B4-BE49-F238E27FC236}">
                      <a16:creationId xmlns:a16="http://schemas.microsoft.com/office/drawing/2014/main" id="{C7B62840-6B49-4D3C-B0B7-8DD09C4C9724}"/>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54" name="Group 2753">
                  <a:extLst>
                    <a:ext uri="{FF2B5EF4-FFF2-40B4-BE49-F238E27FC236}">
                      <a16:creationId xmlns:a16="http://schemas.microsoft.com/office/drawing/2014/main" id="{EBAC9032-D93E-4DF9-ACD6-5C6E695C1759}"/>
                    </a:ext>
                  </a:extLst>
                </p:cNvPr>
                <p:cNvGrpSpPr/>
                <p:nvPr/>
              </p:nvGrpSpPr>
              <p:grpSpPr>
                <a:xfrm>
                  <a:off x="8153924" y="1224949"/>
                  <a:ext cx="927652" cy="402840"/>
                  <a:chOff x="8153924" y="1224949"/>
                  <a:chExt cx="927652" cy="402840"/>
                </a:xfrm>
              </p:grpSpPr>
              <p:sp>
                <p:nvSpPr>
                  <p:cNvPr id="2755" name="Freeform 78">
                    <a:extLst>
                      <a:ext uri="{FF2B5EF4-FFF2-40B4-BE49-F238E27FC236}">
                        <a16:creationId xmlns:a16="http://schemas.microsoft.com/office/drawing/2014/main" id="{C95E63B4-AF85-45C6-A9BB-F7A877B6F491}"/>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80">
                    <a:extLst>
                      <a:ext uri="{FF2B5EF4-FFF2-40B4-BE49-F238E27FC236}">
                        <a16:creationId xmlns:a16="http://schemas.microsoft.com/office/drawing/2014/main" id="{37E56A3A-47CC-4041-BC53-ED875003051C}"/>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6">
                    <a:extLst>
                      <a:ext uri="{FF2B5EF4-FFF2-40B4-BE49-F238E27FC236}">
                        <a16:creationId xmlns:a16="http://schemas.microsoft.com/office/drawing/2014/main" id="{BF58212D-DAB0-4907-A2B2-605A1B054179}"/>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77">
                    <a:extLst>
                      <a:ext uri="{FF2B5EF4-FFF2-40B4-BE49-F238E27FC236}">
                        <a16:creationId xmlns:a16="http://schemas.microsoft.com/office/drawing/2014/main" id="{C1ED7B0C-DE80-402D-9DA8-E34757242AC5}"/>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78">
                    <a:extLst>
                      <a:ext uri="{FF2B5EF4-FFF2-40B4-BE49-F238E27FC236}">
                        <a16:creationId xmlns:a16="http://schemas.microsoft.com/office/drawing/2014/main" id="{FA0C0EBC-99E6-4A23-A533-F624D74AC910}"/>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79">
                    <a:extLst>
                      <a:ext uri="{FF2B5EF4-FFF2-40B4-BE49-F238E27FC236}">
                        <a16:creationId xmlns:a16="http://schemas.microsoft.com/office/drawing/2014/main" id="{1BA6C2CD-E217-41A1-9A03-C0DB70994B3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0">
                    <a:extLst>
                      <a:ext uri="{FF2B5EF4-FFF2-40B4-BE49-F238E27FC236}">
                        <a16:creationId xmlns:a16="http://schemas.microsoft.com/office/drawing/2014/main" id="{644BA3A1-EFF9-4C2F-B941-0C41E0C640E7}"/>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1">
                    <a:extLst>
                      <a:ext uri="{FF2B5EF4-FFF2-40B4-BE49-F238E27FC236}">
                        <a16:creationId xmlns:a16="http://schemas.microsoft.com/office/drawing/2014/main" id="{7AD40BE7-DD64-432C-8995-644E2ED5570F}"/>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2">
                    <a:extLst>
                      <a:ext uri="{FF2B5EF4-FFF2-40B4-BE49-F238E27FC236}">
                        <a16:creationId xmlns:a16="http://schemas.microsoft.com/office/drawing/2014/main" id="{A84BD5C3-DE9C-4B5C-8B28-08847EC28688}"/>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3">
                    <a:extLst>
                      <a:ext uri="{FF2B5EF4-FFF2-40B4-BE49-F238E27FC236}">
                        <a16:creationId xmlns:a16="http://schemas.microsoft.com/office/drawing/2014/main" id="{F3740F3E-6E6B-431E-AC8A-044920E38A4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4">
                    <a:extLst>
                      <a:ext uri="{FF2B5EF4-FFF2-40B4-BE49-F238E27FC236}">
                        <a16:creationId xmlns:a16="http://schemas.microsoft.com/office/drawing/2014/main" id="{3B0730A7-0E85-4092-8154-864C5E6AF9DB}"/>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5">
                    <a:extLst>
                      <a:ext uri="{FF2B5EF4-FFF2-40B4-BE49-F238E27FC236}">
                        <a16:creationId xmlns:a16="http://schemas.microsoft.com/office/drawing/2014/main" id="{9841AD02-BEBD-48C8-859D-6AAB2D8FAFD6}"/>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Freeform 1586">
                    <a:extLst>
                      <a:ext uri="{FF2B5EF4-FFF2-40B4-BE49-F238E27FC236}">
                        <a16:creationId xmlns:a16="http://schemas.microsoft.com/office/drawing/2014/main" id="{F22DD2CC-B909-41AD-9089-DAC533B5FCD0}"/>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8" name="Freeform 1587">
                    <a:extLst>
                      <a:ext uri="{FF2B5EF4-FFF2-40B4-BE49-F238E27FC236}">
                        <a16:creationId xmlns:a16="http://schemas.microsoft.com/office/drawing/2014/main" id="{B5E6EB29-C7FD-47A9-A155-9793CF7BADF5}"/>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88">
                    <a:extLst>
                      <a:ext uri="{FF2B5EF4-FFF2-40B4-BE49-F238E27FC236}">
                        <a16:creationId xmlns:a16="http://schemas.microsoft.com/office/drawing/2014/main" id="{B09F64A5-2CF0-4BCE-8915-568DBA810F99}"/>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70" name="Rectangle 1589">
                    <a:extLst>
                      <a:ext uri="{FF2B5EF4-FFF2-40B4-BE49-F238E27FC236}">
                        <a16:creationId xmlns:a16="http://schemas.microsoft.com/office/drawing/2014/main" id="{C587525C-9E28-4791-A95C-E4197AF35C94}"/>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Rectangle 1590">
                    <a:extLst>
                      <a:ext uri="{FF2B5EF4-FFF2-40B4-BE49-F238E27FC236}">
                        <a16:creationId xmlns:a16="http://schemas.microsoft.com/office/drawing/2014/main" id="{A8DC3B47-C25B-4C91-B65E-7653E20D7B19}"/>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1">
                    <a:extLst>
                      <a:ext uri="{FF2B5EF4-FFF2-40B4-BE49-F238E27FC236}">
                        <a16:creationId xmlns:a16="http://schemas.microsoft.com/office/drawing/2014/main" id="{58D1F62C-9D0E-4AF3-ABE5-CB540355F92E}"/>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2">
                    <a:extLst>
                      <a:ext uri="{FF2B5EF4-FFF2-40B4-BE49-F238E27FC236}">
                        <a16:creationId xmlns:a16="http://schemas.microsoft.com/office/drawing/2014/main" id="{B1704352-C657-42D7-A344-265CAB328E20}"/>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3">
                    <a:extLst>
                      <a:ext uri="{FF2B5EF4-FFF2-40B4-BE49-F238E27FC236}">
                        <a16:creationId xmlns:a16="http://schemas.microsoft.com/office/drawing/2014/main" id="{6744E02A-2C07-43E6-8F15-0C91B735199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596">
                    <a:extLst>
                      <a:ext uri="{FF2B5EF4-FFF2-40B4-BE49-F238E27FC236}">
                        <a16:creationId xmlns:a16="http://schemas.microsoft.com/office/drawing/2014/main" id="{06B55468-31C3-4A1B-AED6-04C9FD5DFD67}"/>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3" name="Group 2662">
                <a:extLst>
                  <a:ext uri="{FF2B5EF4-FFF2-40B4-BE49-F238E27FC236}">
                    <a16:creationId xmlns:a16="http://schemas.microsoft.com/office/drawing/2014/main" id="{779806AD-6C25-4083-8E5B-C4C1E9CEB9A3}"/>
                  </a:ext>
                </a:extLst>
              </p:cNvPr>
              <p:cNvGrpSpPr/>
              <p:nvPr/>
            </p:nvGrpSpPr>
            <p:grpSpPr>
              <a:xfrm>
                <a:off x="7508988" y="1995190"/>
                <a:ext cx="2049581" cy="1005869"/>
                <a:chOff x="8356478" y="3790294"/>
                <a:chExt cx="3013725" cy="1479041"/>
              </a:xfrm>
            </p:grpSpPr>
            <p:sp>
              <p:nvSpPr>
                <p:cNvPr id="2750" name="Rectangle 2749">
                  <a:extLst>
                    <a:ext uri="{FF2B5EF4-FFF2-40B4-BE49-F238E27FC236}">
                      <a16:creationId xmlns:a16="http://schemas.microsoft.com/office/drawing/2014/main" id="{19AAA109-BC3C-4168-96DB-23409C54A3BD}"/>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751" name="Rectangle 2750">
                  <a:extLst>
                    <a:ext uri="{FF2B5EF4-FFF2-40B4-BE49-F238E27FC236}">
                      <a16:creationId xmlns:a16="http://schemas.microsoft.com/office/drawing/2014/main" id="{2B12BF84-9D64-4E09-ABC0-4838CF5E0BFC}"/>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752" name="Straight Arrow Connector 2751">
                  <a:extLst>
                    <a:ext uri="{FF2B5EF4-FFF2-40B4-BE49-F238E27FC236}">
                      <a16:creationId xmlns:a16="http://schemas.microsoft.com/office/drawing/2014/main" id="{BE4AEDCD-7CEE-4BA3-B06E-521F2FC114F7}"/>
                    </a:ext>
                  </a:extLst>
                </p:cNvPr>
                <p:cNvCxnSpPr>
                  <a:cxnSpLocks/>
                  <a:stCxn id="2750"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664" name="Group 2663">
                <a:extLst>
                  <a:ext uri="{FF2B5EF4-FFF2-40B4-BE49-F238E27FC236}">
                    <a16:creationId xmlns:a16="http://schemas.microsoft.com/office/drawing/2014/main" id="{DC04D586-E1D8-4E5C-B99B-C6BBFFDFAB46}"/>
                  </a:ext>
                </a:extLst>
              </p:cNvPr>
              <p:cNvGrpSpPr/>
              <p:nvPr/>
            </p:nvGrpSpPr>
            <p:grpSpPr>
              <a:xfrm>
                <a:off x="8556157" y="1876097"/>
                <a:ext cx="1088511" cy="894403"/>
                <a:chOff x="10800033" y="2297897"/>
                <a:chExt cx="1600558" cy="1315140"/>
              </a:xfrm>
            </p:grpSpPr>
            <p:grpSp>
              <p:nvGrpSpPr>
                <p:cNvPr id="2668" name="Group 2667">
                  <a:extLst>
                    <a:ext uri="{FF2B5EF4-FFF2-40B4-BE49-F238E27FC236}">
                      <a16:creationId xmlns:a16="http://schemas.microsoft.com/office/drawing/2014/main" id="{A89E69C7-49A1-4000-9950-EBAC8CA1B09F}"/>
                    </a:ext>
                  </a:extLst>
                </p:cNvPr>
                <p:cNvGrpSpPr>
                  <a:grpSpLocks/>
                </p:cNvGrpSpPr>
                <p:nvPr/>
              </p:nvGrpSpPr>
              <p:grpSpPr>
                <a:xfrm>
                  <a:off x="10800033" y="2339037"/>
                  <a:ext cx="613092" cy="613092"/>
                  <a:chOff x="745985" y="4768134"/>
                  <a:chExt cx="368776" cy="368777"/>
                </a:xfrm>
              </p:grpSpPr>
              <p:grpSp>
                <p:nvGrpSpPr>
                  <p:cNvPr id="2732" name="Group 64">
                    <a:extLst>
                      <a:ext uri="{FF2B5EF4-FFF2-40B4-BE49-F238E27FC236}">
                        <a16:creationId xmlns:a16="http://schemas.microsoft.com/office/drawing/2014/main" id="{270653EB-1221-4E55-A872-07DA6A4D5469}"/>
                      </a:ext>
                    </a:extLst>
                  </p:cNvPr>
                  <p:cNvGrpSpPr>
                    <a:grpSpLocks noChangeAspect="1"/>
                  </p:cNvGrpSpPr>
                  <p:nvPr/>
                </p:nvGrpSpPr>
                <p:grpSpPr bwMode="auto">
                  <a:xfrm rot="8100000">
                    <a:off x="745985" y="4768134"/>
                    <a:ext cx="368776" cy="368777"/>
                    <a:chOff x="701" y="2170"/>
                    <a:chExt cx="587" cy="587"/>
                  </a:xfrm>
                </p:grpSpPr>
                <p:sp>
                  <p:nvSpPr>
                    <p:cNvPr id="2743" name="Oval 65">
                      <a:extLst>
                        <a:ext uri="{FF2B5EF4-FFF2-40B4-BE49-F238E27FC236}">
                          <a16:creationId xmlns:a16="http://schemas.microsoft.com/office/drawing/2014/main" id="{CAB198EC-B8A8-4765-909A-393BA373DEB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44" name="Line 66">
                      <a:extLst>
                        <a:ext uri="{FF2B5EF4-FFF2-40B4-BE49-F238E27FC236}">
                          <a16:creationId xmlns:a16="http://schemas.microsoft.com/office/drawing/2014/main" id="{B127D925-037B-47B9-9F5C-0A0B3BA42522}"/>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Line 67">
                      <a:extLst>
                        <a:ext uri="{FF2B5EF4-FFF2-40B4-BE49-F238E27FC236}">
                          <a16:creationId xmlns:a16="http://schemas.microsoft.com/office/drawing/2014/main" id="{D8E099BD-6EA4-4293-B259-5EC0543ED26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6" name="Line 69">
                      <a:extLst>
                        <a:ext uri="{FF2B5EF4-FFF2-40B4-BE49-F238E27FC236}">
                          <a16:creationId xmlns:a16="http://schemas.microsoft.com/office/drawing/2014/main" id="{E6195BBB-229C-47DF-931A-384F8FBD362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7" name="Line 74">
                      <a:extLst>
                        <a:ext uri="{FF2B5EF4-FFF2-40B4-BE49-F238E27FC236}">
                          <a16:creationId xmlns:a16="http://schemas.microsoft.com/office/drawing/2014/main" id="{00850C55-42A3-4B9F-A529-D1A195F627E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8" name="Freeform 78">
                      <a:extLst>
                        <a:ext uri="{FF2B5EF4-FFF2-40B4-BE49-F238E27FC236}">
                          <a16:creationId xmlns:a16="http://schemas.microsoft.com/office/drawing/2014/main" id="{559D4D9C-1C19-49C7-A407-957B1E078F3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Freeform 80">
                      <a:extLst>
                        <a:ext uri="{FF2B5EF4-FFF2-40B4-BE49-F238E27FC236}">
                          <a16:creationId xmlns:a16="http://schemas.microsoft.com/office/drawing/2014/main" id="{AD492F38-689B-4129-AD47-B76A2E16A5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733" name="Group 2732">
                    <a:extLst>
                      <a:ext uri="{FF2B5EF4-FFF2-40B4-BE49-F238E27FC236}">
                        <a16:creationId xmlns:a16="http://schemas.microsoft.com/office/drawing/2014/main" id="{C243F852-F7C4-4AF7-8C67-26676BA9EC55}"/>
                      </a:ext>
                    </a:extLst>
                  </p:cNvPr>
                  <p:cNvGrpSpPr/>
                  <p:nvPr/>
                </p:nvGrpSpPr>
                <p:grpSpPr>
                  <a:xfrm>
                    <a:off x="837312" y="4814434"/>
                    <a:ext cx="136805" cy="278689"/>
                    <a:chOff x="2806700" y="2803319"/>
                    <a:chExt cx="433387" cy="882861"/>
                  </a:xfrm>
                </p:grpSpPr>
                <p:grpSp>
                  <p:nvGrpSpPr>
                    <p:cNvPr id="2734" name="Group 2733">
                      <a:extLst>
                        <a:ext uri="{FF2B5EF4-FFF2-40B4-BE49-F238E27FC236}">
                          <a16:creationId xmlns:a16="http://schemas.microsoft.com/office/drawing/2014/main" id="{97A60284-DE98-44D1-B913-D3B198EF8409}"/>
                        </a:ext>
                      </a:extLst>
                    </p:cNvPr>
                    <p:cNvGrpSpPr>
                      <a:grpSpLocks noChangeAspect="1"/>
                    </p:cNvGrpSpPr>
                    <p:nvPr/>
                  </p:nvGrpSpPr>
                  <p:grpSpPr bwMode="auto">
                    <a:xfrm>
                      <a:off x="2806700" y="3043242"/>
                      <a:ext cx="433387" cy="642938"/>
                      <a:chOff x="1768" y="1917"/>
                      <a:chExt cx="273" cy="405"/>
                    </a:xfrm>
                  </p:grpSpPr>
                  <p:sp>
                    <p:nvSpPr>
                      <p:cNvPr id="2736" name="Freeform 52">
                        <a:extLst>
                          <a:ext uri="{FF2B5EF4-FFF2-40B4-BE49-F238E27FC236}">
                            <a16:creationId xmlns:a16="http://schemas.microsoft.com/office/drawing/2014/main" id="{1B98D386-940A-465C-9452-B8EF67E676E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37" name="Line 54">
                        <a:extLst>
                          <a:ext uri="{FF2B5EF4-FFF2-40B4-BE49-F238E27FC236}">
                            <a16:creationId xmlns:a16="http://schemas.microsoft.com/office/drawing/2014/main" id="{E3D69D3E-4F19-4DA7-B690-592610930F43}"/>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Line 55">
                        <a:extLst>
                          <a:ext uri="{FF2B5EF4-FFF2-40B4-BE49-F238E27FC236}">
                            <a16:creationId xmlns:a16="http://schemas.microsoft.com/office/drawing/2014/main" id="{C8A4F9CF-BD23-455E-9A0A-23C58F2983C3}"/>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56">
                        <a:extLst>
                          <a:ext uri="{FF2B5EF4-FFF2-40B4-BE49-F238E27FC236}">
                            <a16:creationId xmlns:a16="http://schemas.microsoft.com/office/drawing/2014/main" id="{3C0B9349-4AA0-41AC-AA01-880AA6AB993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Line 57">
                        <a:extLst>
                          <a:ext uri="{FF2B5EF4-FFF2-40B4-BE49-F238E27FC236}">
                            <a16:creationId xmlns:a16="http://schemas.microsoft.com/office/drawing/2014/main" id="{2B63E123-4831-414D-B659-F0A1C934EEAD}"/>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58">
                        <a:extLst>
                          <a:ext uri="{FF2B5EF4-FFF2-40B4-BE49-F238E27FC236}">
                            <a16:creationId xmlns:a16="http://schemas.microsoft.com/office/drawing/2014/main" id="{6C9AE756-F450-4C48-A839-995B58C73C03}"/>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Rectangle 2741">
                        <a:extLst>
                          <a:ext uri="{FF2B5EF4-FFF2-40B4-BE49-F238E27FC236}">
                            <a16:creationId xmlns:a16="http://schemas.microsoft.com/office/drawing/2014/main" id="{37B58052-5F2B-4910-9CBD-A04CC5D6DBD1}"/>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735" name="Oval 2734">
                      <a:extLst>
                        <a:ext uri="{FF2B5EF4-FFF2-40B4-BE49-F238E27FC236}">
                          <a16:creationId xmlns:a16="http://schemas.microsoft.com/office/drawing/2014/main" id="{6C07589A-6596-4896-91A6-99A0EEA4C962}"/>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9" name="Group 2668">
                  <a:extLst>
                    <a:ext uri="{FF2B5EF4-FFF2-40B4-BE49-F238E27FC236}">
                      <a16:creationId xmlns:a16="http://schemas.microsoft.com/office/drawing/2014/main" id="{4C166DC8-CF4F-48D1-99DE-EEF1D7A3B2E4}"/>
                    </a:ext>
                  </a:extLst>
                </p:cNvPr>
                <p:cNvGrpSpPr>
                  <a:grpSpLocks/>
                </p:cNvGrpSpPr>
                <p:nvPr/>
              </p:nvGrpSpPr>
              <p:grpSpPr>
                <a:xfrm>
                  <a:off x="11166615" y="2825631"/>
                  <a:ext cx="787402" cy="787406"/>
                  <a:chOff x="1454941" y="4721722"/>
                  <a:chExt cx="473625" cy="473627"/>
                </a:xfrm>
              </p:grpSpPr>
              <p:grpSp>
                <p:nvGrpSpPr>
                  <p:cNvPr id="2693" name="Group 64">
                    <a:extLst>
                      <a:ext uri="{FF2B5EF4-FFF2-40B4-BE49-F238E27FC236}">
                        <a16:creationId xmlns:a16="http://schemas.microsoft.com/office/drawing/2014/main" id="{A0899A6F-C583-4A2A-BBBC-3CEF426A411B}"/>
                      </a:ext>
                    </a:extLst>
                  </p:cNvPr>
                  <p:cNvGrpSpPr>
                    <a:grpSpLocks noChangeAspect="1"/>
                  </p:cNvGrpSpPr>
                  <p:nvPr/>
                </p:nvGrpSpPr>
                <p:grpSpPr bwMode="auto">
                  <a:xfrm rot="8100000">
                    <a:off x="1454941" y="4721722"/>
                    <a:ext cx="473625" cy="473627"/>
                    <a:chOff x="701" y="2170"/>
                    <a:chExt cx="587" cy="587"/>
                  </a:xfrm>
                </p:grpSpPr>
                <p:sp>
                  <p:nvSpPr>
                    <p:cNvPr id="2725" name="Oval 65">
                      <a:extLst>
                        <a:ext uri="{FF2B5EF4-FFF2-40B4-BE49-F238E27FC236}">
                          <a16:creationId xmlns:a16="http://schemas.microsoft.com/office/drawing/2014/main" id="{0C4D9C3E-FA7C-4490-96D1-8C9EB28F294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26" name="Line 66">
                      <a:extLst>
                        <a:ext uri="{FF2B5EF4-FFF2-40B4-BE49-F238E27FC236}">
                          <a16:creationId xmlns:a16="http://schemas.microsoft.com/office/drawing/2014/main" id="{A94027A1-ADEC-41B0-9784-C69165FF810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Line 67">
                      <a:extLst>
                        <a:ext uri="{FF2B5EF4-FFF2-40B4-BE49-F238E27FC236}">
                          <a16:creationId xmlns:a16="http://schemas.microsoft.com/office/drawing/2014/main" id="{05DBFDE7-9748-4980-B84A-68CE00236D8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Line 69">
                      <a:extLst>
                        <a:ext uri="{FF2B5EF4-FFF2-40B4-BE49-F238E27FC236}">
                          <a16:creationId xmlns:a16="http://schemas.microsoft.com/office/drawing/2014/main" id="{3F801DD0-1DA2-4598-B051-669E2131075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Line 74">
                      <a:extLst>
                        <a:ext uri="{FF2B5EF4-FFF2-40B4-BE49-F238E27FC236}">
                          <a16:creationId xmlns:a16="http://schemas.microsoft.com/office/drawing/2014/main" id="{9B82CC21-21EA-40C3-A104-5151B9EF26F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78">
                      <a:extLst>
                        <a:ext uri="{FF2B5EF4-FFF2-40B4-BE49-F238E27FC236}">
                          <a16:creationId xmlns:a16="http://schemas.microsoft.com/office/drawing/2014/main" id="{3DEF3514-24CF-450E-A997-384A80B5D1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80">
                      <a:extLst>
                        <a:ext uri="{FF2B5EF4-FFF2-40B4-BE49-F238E27FC236}">
                          <a16:creationId xmlns:a16="http://schemas.microsoft.com/office/drawing/2014/main" id="{EF3B7C8B-B944-463D-B046-3309C6C6840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94" name="Group 2693">
                    <a:extLst>
                      <a:ext uri="{FF2B5EF4-FFF2-40B4-BE49-F238E27FC236}">
                        <a16:creationId xmlns:a16="http://schemas.microsoft.com/office/drawing/2014/main" id="{DB3B51E3-953D-426E-BB24-8D256B85FE6C}"/>
                      </a:ext>
                    </a:extLst>
                  </p:cNvPr>
                  <p:cNvGrpSpPr/>
                  <p:nvPr/>
                </p:nvGrpSpPr>
                <p:grpSpPr>
                  <a:xfrm>
                    <a:off x="1511214" y="4789508"/>
                    <a:ext cx="356509" cy="349884"/>
                    <a:chOff x="468738" y="2241878"/>
                    <a:chExt cx="1655483" cy="1624719"/>
                  </a:xfrm>
                </p:grpSpPr>
                <p:sp>
                  <p:nvSpPr>
                    <p:cNvPr id="2695" name="Freeform 5">
                      <a:extLst>
                        <a:ext uri="{FF2B5EF4-FFF2-40B4-BE49-F238E27FC236}">
                          <a16:creationId xmlns:a16="http://schemas.microsoft.com/office/drawing/2014/main" id="{26D54149-EAD3-468A-8ADD-3A39AA4083B7}"/>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6">
                      <a:extLst>
                        <a:ext uri="{FF2B5EF4-FFF2-40B4-BE49-F238E27FC236}">
                          <a16:creationId xmlns:a16="http://schemas.microsoft.com/office/drawing/2014/main" id="{F95F8C72-B379-4580-A29A-67836949C7F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Line 7">
                      <a:extLst>
                        <a:ext uri="{FF2B5EF4-FFF2-40B4-BE49-F238E27FC236}">
                          <a16:creationId xmlns:a16="http://schemas.microsoft.com/office/drawing/2014/main" id="{C281E25A-E071-46D3-B8BF-A513062C9C2F}"/>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8">
                      <a:extLst>
                        <a:ext uri="{FF2B5EF4-FFF2-40B4-BE49-F238E27FC236}">
                          <a16:creationId xmlns:a16="http://schemas.microsoft.com/office/drawing/2014/main" id="{C019DD5E-0271-4351-B6B0-95F10D82096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Line 9">
                      <a:extLst>
                        <a:ext uri="{FF2B5EF4-FFF2-40B4-BE49-F238E27FC236}">
                          <a16:creationId xmlns:a16="http://schemas.microsoft.com/office/drawing/2014/main" id="{27A87AA6-C2DA-40D4-B32F-3D9B62C7105A}"/>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00" name="Group 2699">
                      <a:extLst>
                        <a:ext uri="{FF2B5EF4-FFF2-40B4-BE49-F238E27FC236}">
                          <a16:creationId xmlns:a16="http://schemas.microsoft.com/office/drawing/2014/main" id="{4A47DD98-38B9-4658-AB5F-6BD7468FED1A}"/>
                        </a:ext>
                      </a:extLst>
                    </p:cNvPr>
                    <p:cNvGrpSpPr/>
                    <p:nvPr/>
                  </p:nvGrpSpPr>
                  <p:grpSpPr>
                    <a:xfrm>
                      <a:off x="1207113" y="2241878"/>
                      <a:ext cx="178734" cy="348678"/>
                      <a:chOff x="1207113" y="2241878"/>
                      <a:chExt cx="178734" cy="348678"/>
                    </a:xfrm>
                  </p:grpSpPr>
                  <p:sp>
                    <p:nvSpPr>
                      <p:cNvPr id="2723" name="Freeform 10">
                        <a:extLst>
                          <a:ext uri="{FF2B5EF4-FFF2-40B4-BE49-F238E27FC236}">
                            <a16:creationId xmlns:a16="http://schemas.microsoft.com/office/drawing/2014/main" id="{C2FFD16A-8AD7-4306-B2E1-EB9980FDFE1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Line 11">
                        <a:extLst>
                          <a:ext uri="{FF2B5EF4-FFF2-40B4-BE49-F238E27FC236}">
                            <a16:creationId xmlns:a16="http://schemas.microsoft.com/office/drawing/2014/main" id="{4EA6297A-04B1-4E0A-A44C-D2CFBD95B69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701" name="Freeform 12">
                      <a:extLst>
                        <a:ext uri="{FF2B5EF4-FFF2-40B4-BE49-F238E27FC236}">
                          <a16:creationId xmlns:a16="http://schemas.microsoft.com/office/drawing/2014/main" id="{8606DFE0-8434-4247-96D9-35C12098DC9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Line 13">
                      <a:extLst>
                        <a:ext uri="{FF2B5EF4-FFF2-40B4-BE49-F238E27FC236}">
                          <a16:creationId xmlns:a16="http://schemas.microsoft.com/office/drawing/2014/main" id="{8CCEDBE7-E5FD-4723-A16A-CBAB4E95A0CC}"/>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4">
                      <a:extLst>
                        <a:ext uri="{FF2B5EF4-FFF2-40B4-BE49-F238E27FC236}">
                          <a16:creationId xmlns:a16="http://schemas.microsoft.com/office/drawing/2014/main" id="{2DA813E2-AB61-4156-A224-730BCB9FD46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Line 15">
                      <a:extLst>
                        <a:ext uri="{FF2B5EF4-FFF2-40B4-BE49-F238E27FC236}">
                          <a16:creationId xmlns:a16="http://schemas.microsoft.com/office/drawing/2014/main" id="{C3570522-BF74-4C4E-A905-3A6E16C9675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6">
                      <a:extLst>
                        <a:ext uri="{FF2B5EF4-FFF2-40B4-BE49-F238E27FC236}">
                          <a16:creationId xmlns:a16="http://schemas.microsoft.com/office/drawing/2014/main" id="{C4D28821-97D6-4ABA-AAD6-CF209E974A8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Line 17">
                      <a:extLst>
                        <a:ext uri="{FF2B5EF4-FFF2-40B4-BE49-F238E27FC236}">
                          <a16:creationId xmlns:a16="http://schemas.microsoft.com/office/drawing/2014/main" id="{18250D4C-E681-438D-8A68-49D247DDC4FE}"/>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8">
                      <a:extLst>
                        <a:ext uri="{FF2B5EF4-FFF2-40B4-BE49-F238E27FC236}">
                          <a16:creationId xmlns:a16="http://schemas.microsoft.com/office/drawing/2014/main" id="{8750C3FE-4710-468E-8B83-93F999E0547D}"/>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8" name="Line 19">
                      <a:extLst>
                        <a:ext uri="{FF2B5EF4-FFF2-40B4-BE49-F238E27FC236}">
                          <a16:creationId xmlns:a16="http://schemas.microsoft.com/office/drawing/2014/main" id="{6122351E-C179-4241-9F3E-2DF74633980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35">
                      <a:extLst>
                        <a:ext uri="{FF2B5EF4-FFF2-40B4-BE49-F238E27FC236}">
                          <a16:creationId xmlns:a16="http://schemas.microsoft.com/office/drawing/2014/main" id="{A0692789-4188-465F-8127-4B965F060AD6}"/>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36">
                      <a:extLst>
                        <a:ext uri="{FF2B5EF4-FFF2-40B4-BE49-F238E27FC236}">
                          <a16:creationId xmlns:a16="http://schemas.microsoft.com/office/drawing/2014/main" id="{03C5B86D-7834-48FE-96B7-CCC8EAE56E8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37">
                      <a:extLst>
                        <a:ext uri="{FF2B5EF4-FFF2-40B4-BE49-F238E27FC236}">
                          <a16:creationId xmlns:a16="http://schemas.microsoft.com/office/drawing/2014/main" id="{5DA196F7-2D0D-46A5-917A-7A3A0A5E4B2A}"/>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2" name="Freeform 38">
                      <a:extLst>
                        <a:ext uri="{FF2B5EF4-FFF2-40B4-BE49-F238E27FC236}">
                          <a16:creationId xmlns:a16="http://schemas.microsoft.com/office/drawing/2014/main" id="{78D325D3-7612-4F61-9A6E-63EB006CC01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3" name="Freeform 39">
                      <a:extLst>
                        <a:ext uri="{FF2B5EF4-FFF2-40B4-BE49-F238E27FC236}">
                          <a16:creationId xmlns:a16="http://schemas.microsoft.com/office/drawing/2014/main" id="{2176C790-2832-4E0A-94B7-9E957804E4F8}"/>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40">
                      <a:extLst>
                        <a:ext uri="{FF2B5EF4-FFF2-40B4-BE49-F238E27FC236}">
                          <a16:creationId xmlns:a16="http://schemas.microsoft.com/office/drawing/2014/main" id="{180C6540-390D-4DF4-B2F3-7146C16F4EA4}"/>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41">
                      <a:extLst>
                        <a:ext uri="{FF2B5EF4-FFF2-40B4-BE49-F238E27FC236}">
                          <a16:creationId xmlns:a16="http://schemas.microsoft.com/office/drawing/2014/main" id="{B7D4B3DE-4043-417F-A1DB-9458119F7C1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Line 42">
                      <a:extLst>
                        <a:ext uri="{FF2B5EF4-FFF2-40B4-BE49-F238E27FC236}">
                          <a16:creationId xmlns:a16="http://schemas.microsoft.com/office/drawing/2014/main" id="{1708E1E3-43CC-4AFE-A12E-DACDEB73763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43">
                      <a:extLst>
                        <a:ext uri="{FF2B5EF4-FFF2-40B4-BE49-F238E27FC236}">
                          <a16:creationId xmlns:a16="http://schemas.microsoft.com/office/drawing/2014/main" id="{F0D7792E-9EF6-4F3E-8FC7-5F7085B9E634}"/>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44">
                      <a:extLst>
                        <a:ext uri="{FF2B5EF4-FFF2-40B4-BE49-F238E27FC236}">
                          <a16:creationId xmlns:a16="http://schemas.microsoft.com/office/drawing/2014/main" id="{56D13C92-D06E-4B21-A2EB-5B125DEF7B34}"/>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45">
                      <a:extLst>
                        <a:ext uri="{FF2B5EF4-FFF2-40B4-BE49-F238E27FC236}">
                          <a16:creationId xmlns:a16="http://schemas.microsoft.com/office/drawing/2014/main" id="{F7C426F0-E547-403A-81D2-20C35D9BAE5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20" name="Group 2719">
                      <a:extLst>
                        <a:ext uri="{FF2B5EF4-FFF2-40B4-BE49-F238E27FC236}">
                          <a16:creationId xmlns:a16="http://schemas.microsoft.com/office/drawing/2014/main" id="{686002ED-42B5-4055-8897-2A2963AE524F}"/>
                        </a:ext>
                      </a:extLst>
                    </p:cNvPr>
                    <p:cNvGrpSpPr/>
                    <p:nvPr/>
                  </p:nvGrpSpPr>
                  <p:grpSpPr>
                    <a:xfrm flipV="1">
                      <a:off x="1202047" y="3517919"/>
                      <a:ext cx="178734" cy="348678"/>
                      <a:chOff x="1207113" y="2241878"/>
                      <a:chExt cx="178734" cy="348678"/>
                    </a:xfrm>
                  </p:grpSpPr>
                  <p:sp>
                    <p:nvSpPr>
                      <p:cNvPr id="2721" name="Freeform 10">
                        <a:extLst>
                          <a:ext uri="{FF2B5EF4-FFF2-40B4-BE49-F238E27FC236}">
                            <a16:creationId xmlns:a16="http://schemas.microsoft.com/office/drawing/2014/main" id="{6F17A859-4066-4CDC-99D4-AE85681F6C1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Line 11">
                        <a:extLst>
                          <a:ext uri="{FF2B5EF4-FFF2-40B4-BE49-F238E27FC236}">
                            <a16:creationId xmlns:a16="http://schemas.microsoft.com/office/drawing/2014/main" id="{067A70BF-85F0-4410-94A2-3462279FE3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70" name="Group 2669">
                  <a:extLst>
                    <a:ext uri="{FF2B5EF4-FFF2-40B4-BE49-F238E27FC236}">
                      <a16:creationId xmlns:a16="http://schemas.microsoft.com/office/drawing/2014/main" id="{CC405CDE-AE18-4129-84B0-1F81FDC152BF}"/>
                    </a:ext>
                  </a:extLst>
                </p:cNvPr>
                <p:cNvGrpSpPr>
                  <a:grpSpLocks/>
                </p:cNvGrpSpPr>
                <p:nvPr/>
              </p:nvGrpSpPr>
              <p:grpSpPr>
                <a:xfrm>
                  <a:off x="11709639" y="2297897"/>
                  <a:ext cx="690952" cy="690956"/>
                  <a:chOff x="2268747" y="4723725"/>
                  <a:chExt cx="415610" cy="415612"/>
                </a:xfrm>
              </p:grpSpPr>
              <p:grpSp>
                <p:nvGrpSpPr>
                  <p:cNvPr id="2671" name="Group 64">
                    <a:extLst>
                      <a:ext uri="{FF2B5EF4-FFF2-40B4-BE49-F238E27FC236}">
                        <a16:creationId xmlns:a16="http://schemas.microsoft.com/office/drawing/2014/main" id="{4DC46FD6-01A0-4F0A-BD28-39DFE6D4FAFE}"/>
                      </a:ext>
                    </a:extLst>
                  </p:cNvPr>
                  <p:cNvGrpSpPr>
                    <a:grpSpLocks noChangeAspect="1"/>
                  </p:cNvGrpSpPr>
                  <p:nvPr/>
                </p:nvGrpSpPr>
                <p:grpSpPr bwMode="auto">
                  <a:xfrm rot="8100000">
                    <a:off x="2268747" y="4723725"/>
                    <a:ext cx="415610" cy="415612"/>
                    <a:chOff x="701" y="2170"/>
                    <a:chExt cx="587" cy="587"/>
                  </a:xfrm>
                </p:grpSpPr>
                <p:sp>
                  <p:nvSpPr>
                    <p:cNvPr id="2686" name="Oval 65">
                      <a:extLst>
                        <a:ext uri="{FF2B5EF4-FFF2-40B4-BE49-F238E27FC236}">
                          <a16:creationId xmlns:a16="http://schemas.microsoft.com/office/drawing/2014/main" id="{789F25FA-3859-4CA5-A2B6-F7B26F453D1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7" name="Line 66">
                      <a:extLst>
                        <a:ext uri="{FF2B5EF4-FFF2-40B4-BE49-F238E27FC236}">
                          <a16:creationId xmlns:a16="http://schemas.microsoft.com/office/drawing/2014/main" id="{C53C68C3-2252-482C-91AA-31479CF99EFF}"/>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Line 67">
                      <a:extLst>
                        <a:ext uri="{FF2B5EF4-FFF2-40B4-BE49-F238E27FC236}">
                          <a16:creationId xmlns:a16="http://schemas.microsoft.com/office/drawing/2014/main" id="{85115DD7-F1A0-4172-A025-86EA5E7B6E0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9" name="Line 69">
                      <a:extLst>
                        <a:ext uri="{FF2B5EF4-FFF2-40B4-BE49-F238E27FC236}">
                          <a16:creationId xmlns:a16="http://schemas.microsoft.com/office/drawing/2014/main" id="{01116238-EC97-4E07-BA0D-C80C2DEF05F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0" name="Line 74">
                      <a:extLst>
                        <a:ext uri="{FF2B5EF4-FFF2-40B4-BE49-F238E27FC236}">
                          <a16:creationId xmlns:a16="http://schemas.microsoft.com/office/drawing/2014/main" id="{49AC45DF-2BBC-4792-883D-4BA0D503AC1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1" name="Freeform 78">
                      <a:extLst>
                        <a:ext uri="{FF2B5EF4-FFF2-40B4-BE49-F238E27FC236}">
                          <a16:creationId xmlns:a16="http://schemas.microsoft.com/office/drawing/2014/main" id="{92036F62-5F28-492B-85E1-21D2E0C0B0F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2" name="Freeform 80">
                      <a:extLst>
                        <a:ext uri="{FF2B5EF4-FFF2-40B4-BE49-F238E27FC236}">
                          <a16:creationId xmlns:a16="http://schemas.microsoft.com/office/drawing/2014/main" id="{0829CAB6-E09F-42C5-96E7-55698FD97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72" name="Group 2671">
                    <a:extLst>
                      <a:ext uri="{FF2B5EF4-FFF2-40B4-BE49-F238E27FC236}">
                        <a16:creationId xmlns:a16="http://schemas.microsoft.com/office/drawing/2014/main" id="{3C31AEE5-D0F8-4841-AB60-B7E2DB6A4684}"/>
                      </a:ext>
                    </a:extLst>
                  </p:cNvPr>
                  <p:cNvGrpSpPr/>
                  <p:nvPr/>
                </p:nvGrpSpPr>
                <p:grpSpPr>
                  <a:xfrm>
                    <a:off x="2318076" y="4830163"/>
                    <a:ext cx="313949" cy="233075"/>
                    <a:chOff x="3707533" y="2731244"/>
                    <a:chExt cx="389644" cy="289271"/>
                  </a:xfrm>
                </p:grpSpPr>
                <p:sp>
                  <p:nvSpPr>
                    <p:cNvPr id="2673" name="Freeform 33">
                      <a:extLst>
                        <a:ext uri="{FF2B5EF4-FFF2-40B4-BE49-F238E27FC236}">
                          <a16:creationId xmlns:a16="http://schemas.microsoft.com/office/drawing/2014/main" id="{0151549A-AC14-49CF-B30B-A1C6F7DF787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34">
                      <a:extLst>
                        <a:ext uri="{FF2B5EF4-FFF2-40B4-BE49-F238E27FC236}">
                          <a16:creationId xmlns:a16="http://schemas.microsoft.com/office/drawing/2014/main" id="{9B4A5EA3-76E0-45DB-9984-6950C3A0484B}"/>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37">
                      <a:extLst>
                        <a:ext uri="{FF2B5EF4-FFF2-40B4-BE49-F238E27FC236}">
                          <a16:creationId xmlns:a16="http://schemas.microsoft.com/office/drawing/2014/main" id="{E1F32185-EA33-472F-99A4-F414D55F7A80}"/>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38">
                      <a:extLst>
                        <a:ext uri="{FF2B5EF4-FFF2-40B4-BE49-F238E27FC236}">
                          <a16:creationId xmlns:a16="http://schemas.microsoft.com/office/drawing/2014/main" id="{42B7BDD0-915F-41F9-952C-09F5AC7537B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32">
                      <a:extLst>
                        <a:ext uri="{FF2B5EF4-FFF2-40B4-BE49-F238E27FC236}">
                          <a16:creationId xmlns:a16="http://schemas.microsoft.com/office/drawing/2014/main" id="{C286092A-C4B2-4E57-B177-4E244B8F93D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35">
                      <a:extLst>
                        <a:ext uri="{FF2B5EF4-FFF2-40B4-BE49-F238E27FC236}">
                          <a16:creationId xmlns:a16="http://schemas.microsoft.com/office/drawing/2014/main" id="{9EC95140-D671-465A-BA7E-D8AB7213C97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36">
                      <a:extLst>
                        <a:ext uri="{FF2B5EF4-FFF2-40B4-BE49-F238E27FC236}">
                          <a16:creationId xmlns:a16="http://schemas.microsoft.com/office/drawing/2014/main" id="{61EC24B0-FF87-4B89-888E-5D40763649B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25">
                      <a:extLst>
                        <a:ext uri="{FF2B5EF4-FFF2-40B4-BE49-F238E27FC236}">
                          <a16:creationId xmlns:a16="http://schemas.microsoft.com/office/drawing/2014/main" id="{4BDB588A-CF09-47C8-993A-044D1DA36267}"/>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39">
                      <a:extLst>
                        <a:ext uri="{FF2B5EF4-FFF2-40B4-BE49-F238E27FC236}">
                          <a16:creationId xmlns:a16="http://schemas.microsoft.com/office/drawing/2014/main" id="{C242D08F-5DAA-4DC1-926F-1377D1A2672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26">
                      <a:extLst>
                        <a:ext uri="{FF2B5EF4-FFF2-40B4-BE49-F238E27FC236}">
                          <a16:creationId xmlns:a16="http://schemas.microsoft.com/office/drawing/2014/main" id="{DD1059B5-A0E3-4E55-877A-DFBA6D3D1F83}"/>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3" name="Rectangle 27">
                      <a:extLst>
                        <a:ext uri="{FF2B5EF4-FFF2-40B4-BE49-F238E27FC236}">
                          <a16:creationId xmlns:a16="http://schemas.microsoft.com/office/drawing/2014/main" id="{E97D6992-06F8-4D99-BD00-F107B5E1E84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4" name="Line 29">
                      <a:extLst>
                        <a:ext uri="{FF2B5EF4-FFF2-40B4-BE49-F238E27FC236}">
                          <a16:creationId xmlns:a16="http://schemas.microsoft.com/office/drawing/2014/main" id="{D16958BA-626F-4B65-9D35-AF764FCCCD5D}"/>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Line 31">
                      <a:extLst>
                        <a:ext uri="{FF2B5EF4-FFF2-40B4-BE49-F238E27FC236}">
                          <a16:creationId xmlns:a16="http://schemas.microsoft.com/office/drawing/2014/main" id="{1C11765E-38F2-45EF-8CE2-6164E0B08D2C}"/>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65" name="Group 2664">
                <a:extLst>
                  <a:ext uri="{FF2B5EF4-FFF2-40B4-BE49-F238E27FC236}">
                    <a16:creationId xmlns:a16="http://schemas.microsoft.com/office/drawing/2014/main" id="{0E2A8DB1-D60C-402C-8581-5E633E172FC8}"/>
                  </a:ext>
                </a:extLst>
              </p:cNvPr>
              <p:cNvGrpSpPr/>
              <p:nvPr/>
            </p:nvGrpSpPr>
            <p:grpSpPr>
              <a:xfrm>
                <a:off x="6802541" y="1842565"/>
                <a:ext cx="314357" cy="580832"/>
                <a:chOff x="6355981" y="199813"/>
                <a:chExt cx="314357" cy="580832"/>
              </a:xfrm>
            </p:grpSpPr>
            <p:pic>
              <p:nvPicPr>
                <p:cNvPr id="2666" name="Picture 2665">
                  <a:extLst>
                    <a:ext uri="{FF2B5EF4-FFF2-40B4-BE49-F238E27FC236}">
                      <a16:creationId xmlns:a16="http://schemas.microsoft.com/office/drawing/2014/main" id="{9FF5EF69-95C2-458A-8AD8-183F54D4A4F2}"/>
                    </a:ext>
                  </a:extLst>
                </p:cNvPr>
                <p:cNvPicPr>
                  <a:picLocks noChangeAspect="1"/>
                </p:cNvPicPr>
                <p:nvPr/>
              </p:nvPicPr>
              <p:blipFill>
                <a:blip r:embed="rId7"/>
                <a:stretch>
                  <a:fillRect/>
                </a:stretch>
              </p:blipFill>
              <p:spPr>
                <a:xfrm>
                  <a:off x="6355981" y="199813"/>
                  <a:ext cx="302738" cy="580832"/>
                </a:xfrm>
                <a:prstGeom prst="rect">
                  <a:avLst/>
                </a:prstGeom>
              </p:spPr>
            </p:pic>
            <p:sp>
              <p:nvSpPr>
                <p:cNvPr id="2667" name="Freeform 152">
                  <a:extLst>
                    <a:ext uri="{FF2B5EF4-FFF2-40B4-BE49-F238E27FC236}">
                      <a16:creationId xmlns:a16="http://schemas.microsoft.com/office/drawing/2014/main" id="{3931DE09-985E-4FF0-AFC1-D29686EAFDB4}"/>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780" name="Picture 2779">
            <a:extLst>
              <a:ext uri="{FF2B5EF4-FFF2-40B4-BE49-F238E27FC236}">
                <a16:creationId xmlns:a16="http://schemas.microsoft.com/office/drawing/2014/main" id="{9CEEAEE1-4BC9-4112-A942-758CEE72D40E}"/>
              </a:ext>
            </a:extLst>
          </p:cNvPr>
          <p:cNvPicPr>
            <a:picLocks noChangeAspect="1"/>
          </p:cNvPicPr>
          <p:nvPr/>
        </p:nvPicPr>
        <p:blipFill>
          <a:blip r:embed="rId8"/>
          <a:stretch>
            <a:fillRect/>
          </a:stretch>
        </p:blipFill>
        <p:spPr>
          <a:xfrm rot="19800000">
            <a:off x="419512" y="4519337"/>
            <a:ext cx="884802" cy="447298"/>
          </a:xfrm>
          <a:prstGeom prst="rect">
            <a:avLst/>
          </a:prstGeom>
        </p:spPr>
      </p:pic>
      <p:graphicFrame>
        <p:nvGraphicFramePr>
          <p:cNvPr id="2781" name="Table 2780">
            <a:extLst>
              <a:ext uri="{FF2B5EF4-FFF2-40B4-BE49-F238E27FC236}">
                <a16:creationId xmlns:a16="http://schemas.microsoft.com/office/drawing/2014/main" id="{5C571614-AF10-414E-9652-6718E81A3D1C}"/>
              </a:ext>
            </a:extLst>
          </p:cNvPr>
          <p:cNvGraphicFramePr>
            <a:graphicFrameLocks noGrp="1"/>
          </p:cNvGraphicFramePr>
          <p:nvPr/>
        </p:nvGraphicFramePr>
        <p:xfrm>
          <a:off x="721500" y="3068775"/>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782" name="Group 2781">
            <a:extLst>
              <a:ext uri="{FF2B5EF4-FFF2-40B4-BE49-F238E27FC236}">
                <a16:creationId xmlns:a16="http://schemas.microsoft.com/office/drawing/2014/main" id="{116A6D74-4ACA-4656-AEB9-8A711DC99F72}"/>
              </a:ext>
            </a:extLst>
          </p:cNvPr>
          <p:cNvGrpSpPr/>
          <p:nvPr/>
        </p:nvGrpSpPr>
        <p:grpSpPr>
          <a:xfrm>
            <a:off x="765376" y="3345522"/>
            <a:ext cx="381241" cy="766727"/>
            <a:chOff x="765576" y="3316088"/>
            <a:chExt cx="381340" cy="766927"/>
          </a:xfrm>
        </p:grpSpPr>
        <p:pic>
          <p:nvPicPr>
            <p:cNvPr id="2783" name="Picture 2782">
              <a:extLst>
                <a:ext uri="{FF2B5EF4-FFF2-40B4-BE49-F238E27FC236}">
                  <a16:creationId xmlns:a16="http://schemas.microsoft.com/office/drawing/2014/main" id="{5691F5DD-8685-435D-8B5D-F4A200401A90}"/>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784" name="Picture 2783">
              <a:extLst>
                <a:ext uri="{FF2B5EF4-FFF2-40B4-BE49-F238E27FC236}">
                  <a16:creationId xmlns:a16="http://schemas.microsoft.com/office/drawing/2014/main" id="{2E4A6DE5-3FD2-4F01-8540-682344C24BAE}"/>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785" name="Picture 2784">
              <a:extLst>
                <a:ext uri="{FF2B5EF4-FFF2-40B4-BE49-F238E27FC236}">
                  <a16:creationId xmlns:a16="http://schemas.microsoft.com/office/drawing/2014/main" id="{8B5E5F2B-BCA0-4138-A8BC-2F2BD3330A0E}"/>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786" name="Rectangle 2785">
            <a:extLst>
              <a:ext uri="{FF2B5EF4-FFF2-40B4-BE49-F238E27FC236}">
                <a16:creationId xmlns:a16="http://schemas.microsoft.com/office/drawing/2014/main" id="{A8F3906E-0A31-46B5-92C3-7B7725A4F6B3}"/>
              </a:ext>
            </a:extLst>
          </p:cNvPr>
          <p:cNvSpPr>
            <a:spLocks/>
          </p:cNvSpPr>
          <p:nvPr/>
        </p:nvSpPr>
        <p:spPr bwMode="gray">
          <a:xfrm>
            <a:off x="390508" y="1551301"/>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787" name="Group 2786">
            <a:extLst>
              <a:ext uri="{FF2B5EF4-FFF2-40B4-BE49-F238E27FC236}">
                <a16:creationId xmlns:a16="http://schemas.microsoft.com/office/drawing/2014/main" id="{C3247AD9-BB7D-4D45-8B5F-C54C2E18481A}"/>
              </a:ext>
            </a:extLst>
          </p:cNvPr>
          <p:cNvGrpSpPr/>
          <p:nvPr/>
        </p:nvGrpSpPr>
        <p:grpSpPr>
          <a:xfrm>
            <a:off x="3473504" y="1615862"/>
            <a:ext cx="3106888" cy="2174645"/>
            <a:chOff x="3474409" y="1753652"/>
            <a:chExt cx="3107697" cy="2175211"/>
          </a:xfrm>
        </p:grpSpPr>
        <p:sp>
          <p:nvSpPr>
            <p:cNvPr id="2788" name="Rectangle 2787">
              <a:extLst>
                <a:ext uri="{FF2B5EF4-FFF2-40B4-BE49-F238E27FC236}">
                  <a16:creationId xmlns:a16="http://schemas.microsoft.com/office/drawing/2014/main" id="{DCFF4DE0-F488-4B10-A20D-D1329C8DC2B2}"/>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2789" name="Group 2788">
              <a:extLst>
                <a:ext uri="{FF2B5EF4-FFF2-40B4-BE49-F238E27FC236}">
                  <a16:creationId xmlns:a16="http://schemas.microsoft.com/office/drawing/2014/main" id="{7794E59D-51EB-4440-9472-AE8582FF997F}"/>
                </a:ext>
              </a:extLst>
            </p:cNvPr>
            <p:cNvGrpSpPr/>
            <p:nvPr/>
          </p:nvGrpSpPr>
          <p:grpSpPr>
            <a:xfrm>
              <a:off x="3474409" y="1753652"/>
              <a:ext cx="3107697" cy="1338890"/>
              <a:chOff x="3474409" y="1753652"/>
              <a:chExt cx="3107697" cy="1338890"/>
            </a:xfrm>
          </p:grpSpPr>
          <p:sp>
            <p:nvSpPr>
              <p:cNvPr id="2790" name="Rectangle 2789">
                <a:extLst>
                  <a:ext uri="{FF2B5EF4-FFF2-40B4-BE49-F238E27FC236}">
                    <a16:creationId xmlns:a16="http://schemas.microsoft.com/office/drawing/2014/main" id="{13AAB0FA-1723-4E34-92A6-CA9766E874EA}"/>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791" name="Group 2790">
                <a:extLst>
                  <a:ext uri="{FF2B5EF4-FFF2-40B4-BE49-F238E27FC236}">
                    <a16:creationId xmlns:a16="http://schemas.microsoft.com/office/drawing/2014/main" id="{1BD3BD95-5A80-4B1F-8F64-7E08DC34255D}"/>
                  </a:ext>
                </a:extLst>
              </p:cNvPr>
              <p:cNvGrpSpPr/>
              <p:nvPr/>
            </p:nvGrpSpPr>
            <p:grpSpPr>
              <a:xfrm>
                <a:off x="3504077" y="2398698"/>
                <a:ext cx="1559613" cy="693844"/>
                <a:chOff x="3512580" y="2236718"/>
                <a:chExt cx="1563594" cy="695615"/>
              </a:xfrm>
            </p:grpSpPr>
            <p:grpSp>
              <p:nvGrpSpPr>
                <p:cNvPr id="2825" name="Group 2824">
                  <a:extLst>
                    <a:ext uri="{FF2B5EF4-FFF2-40B4-BE49-F238E27FC236}">
                      <a16:creationId xmlns:a16="http://schemas.microsoft.com/office/drawing/2014/main" id="{124585FF-1191-415A-B6D0-9A74D582E15E}"/>
                    </a:ext>
                  </a:extLst>
                </p:cNvPr>
                <p:cNvGrpSpPr>
                  <a:grpSpLocks/>
                </p:cNvGrpSpPr>
                <p:nvPr/>
              </p:nvGrpSpPr>
              <p:grpSpPr>
                <a:xfrm>
                  <a:off x="3512580" y="2240647"/>
                  <a:ext cx="418017" cy="418017"/>
                  <a:chOff x="745985" y="4768134"/>
                  <a:chExt cx="368776" cy="368777"/>
                </a:xfrm>
              </p:grpSpPr>
              <p:grpSp>
                <p:nvGrpSpPr>
                  <p:cNvPr id="2889" name="Group 64">
                    <a:extLst>
                      <a:ext uri="{FF2B5EF4-FFF2-40B4-BE49-F238E27FC236}">
                        <a16:creationId xmlns:a16="http://schemas.microsoft.com/office/drawing/2014/main" id="{34F360FD-BD05-46B0-BC38-CD49FDFC1843}"/>
                      </a:ext>
                    </a:extLst>
                  </p:cNvPr>
                  <p:cNvGrpSpPr>
                    <a:grpSpLocks noChangeAspect="1"/>
                  </p:cNvGrpSpPr>
                  <p:nvPr/>
                </p:nvGrpSpPr>
                <p:grpSpPr bwMode="auto">
                  <a:xfrm rot="8100000">
                    <a:off x="745985" y="4768134"/>
                    <a:ext cx="368776" cy="368777"/>
                    <a:chOff x="701" y="2170"/>
                    <a:chExt cx="587" cy="587"/>
                  </a:xfrm>
                </p:grpSpPr>
                <p:sp>
                  <p:nvSpPr>
                    <p:cNvPr id="2900" name="Oval 65">
                      <a:extLst>
                        <a:ext uri="{FF2B5EF4-FFF2-40B4-BE49-F238E27FC236}">
                          <a16:creationId xmlns:a16="http://schemas.microsoft.com/office/drawing/2014/main" id="{BD8842C8-6ECD-421A-8B2A-6C1F160BF892}"/>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901" name="Line 66">
                      <a:extLst>
                        <a:ext uri="{FF2B5EF4-FFF2-40B4-BE49-F238E27FC236}">
                          <a16:creationId xmlns:a16="http://schemas.microsoft.com/office/drawing/2014/main" id="{89161B8B-D868-44C9-A6FE-D8F8B6247AC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2" name="Line 67">
                      <a:extLst>
                        <a:ext uri="{FF2B5EF4-FFF2-40B4-BE49-F238E27FC236}">
                          <a16:creationId xmlns:a16="http://schemas.microsoft.com/office/drawing/2014/main" id="{92C51CB2-8361-4D59-BEE5-EBD60E915B5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3" name="Line 69">
                      <a:extLst>
                        <a:ext uri="{FF2B5EF4-FFF2-40B4-BE49-F238E27FC236}">
                          <a16:creationId xmlns:a16="http://schemas.microsoft.com/office/drawing/2014/main" id="{D1438558-54A8-4161-B191-E07D4105851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4" name="Line 74">
                      <a:extLst>
                        <a:ext uri="{FF2B5EF4-FFF2-40B4-BE49-F238E27FC236}">
                          <a16:creationId xmlns:a16="http://schemas.microsoft.com/office/drawing/2014/main" id="{6B613237-D0B5-41EF-96D4-F215053AC37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5" name="Freeform 78">
                      <a:extLst>
                        <a:ext uri="{FF2B5EF4-FFF2-40B4-BE49-F238E27FC236}">
                          <a16:creationId xmlns:a16="http://schemas.microsoft.com/office/drawing/2014/main" id="{89D39A45-A7C3-4DCB-BC12-96C06349379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6" name="Freeform 80">
                      <a:extLst>
                        <a:ext uri="{FF2B5EF4-FFF2-40B4-BE49-F238E27FC236}">
                          <a16:creationId xmlns:a16="http://schemas.microsoft.com/office/drawing/2014/main" id="{4791BBDB-1F24-4187-AF6E-81B95B57D8C7}"/>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90" name="Group 2889">
                    <a:extLst>
                      <a:ext uri="{FF2B5EF4-FFF2-40B4-BE49-F238E27FC236}">
                        <a16:creationId xmlns:a16="http://schemas.microsoft.com/office/drawing/2014/main" id="{ABB58CB3-2D65-4685-871A-A42D6CB3D812}"/>
                      </a:ext>
                    </a:extLst>
                  </p:cNvPr>
                  <p:cNvGrpSpPr/>
                  <p:nvPr/>
                </p:nvGrpSpPr>
                <p:grpSpPr>
                  <a:xfrm>
                    <a:off x="837312" y="4814434"/>
                    <a:ext cx="136805" cy="278689"/>
                    <a:chOff x="2806700" y="2803319"/>
                    <a:chExt cx="433387" cy="882861"/>
                  </a:xfrm>
                </p:grpSpPr>
                <p:grpSp>
                  <p:nvGrpSpPr>
                    <p:cNvPr id="2891" name="Group 2890">
                      <a:extLst>
                        <a:ext uri="{FF2B5EF4-FFF2-40B4-BE49-F238E27FC236}">
                          <a16:creationId xmlns:a16="http://schemas.microsoft.com/office/drawing/2014/main" id="{2EFA0C82-8378-4315-A5B4-E6DD355AF079}"/>
                        </a:ext>
                      </a:extLst>
                    </p:cNvPr>
                    <p:cNvGrpSpPr>
                      <a:grpSpLocks noChangeAspect="1"/>
                    </p:cNvGrpSpPr>
                    <p:nvPr/>
                  </p:nvGrpSpPr>
                  <p:grpSpPr bwMode="auto">
                    <a:xfrm>
                      <a:off x="2806700" y="3043242"/>
                      <a:ext cx="433387" cy="642938"/>
                      <a:chOff x="1768" y="1917"/>
                      <a:chExt cx="273" cy="405"/>
                    </a:xfrm>
                  </p:grpSpPr>
                  <p:sp>
                    <p:nvSpPr>
                      <p:cNvPr id="2893" name="Freeform 52">
                        <a:extLst>
                          <a:ext uri="{FF2B5EF4-FFF2-40B4-BE49-F238E27FC236}">
                            <a16:creationId xmlns:a16="http://schemas.microsoft.com/office/drawing/2014/main" id="{7ADBEA46-9E55-4EEB-A89A-F7CE8B07E4C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94" name="Line 54">
                        <a:extLst>
                          <a:ext uri="{FF2B5EF4-FFF2-40B4-BE49-F238E27FC236}">
                            <a16:creationId xmlns:a16="http://schemas.microsoft.com/office/drawing/2014/main" id="{535539C8-595E-41B6-90C0-C93A3526842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5" name="Line 55">
                        <a:extLst>
                          <a:ext uri="{FF2B5EF4-FFF2-40B4-BE49-F238E27FC236}">
                            <a16:creationId xmlns:a16="http://schemas.microsoft.com/office/drawing/2014/main" id="{285B76A7-0480-49DD-A462-5F69C8E9189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6" name="Freeform 56">
                        <a:extLst>
                          <a:ext uri="{FF2B5EF4-FFF2-40B4-BE49-F238E27FC236}">
                            <a16:creationId xmlns:a16="http://schemas.microsoft.com/office/drawing/2014/main" id="{BF4E3EC5-F235-4B2C-A862-DF4101D54248}"/>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7" name="Line 57">
                        <a:extLst>
                          <a:ext uri="{FF2B5EF4-FFF2-40B4-BE49-F238E27FC236}">
                            <a16:creationId xmlns:a16="http://schemas.microsoft.com/office/drawing/2014/main" id="{36218258-E493-4306-8FF7-C5CFF59BEEA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8" name="Freeform 58">
                        <a:extLst>
                          <a:ext uri="{FF2B5EF4-FFF2-40B4-BE49-F238E27FC236}">
                            <a16:creationId xmlns:a16="http://schemas.microsoft.com/office/drawing/2014/main" id="{FA084AE5-B2D3-4A26-8265-859050F16A1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9" name="Rectangle 2898">
                        <a:extLst>
                          <a:ext uri="{FF2B5EF4-FFF2-40B4-BE49-F238E27FC236}">
                            <a16:creationId xmlns:a16="http://schemas.microsoft.com/office/drawing/2014/main" id="{739E3D4B-4E7A-465D-87BF-B7368F39D79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892" name="Oval 2891">
                      <a:extLst>
                        <a:ext uri="{FF2B5EF4-FFF2-40B4-BE49-F238E27FC236}">
                          <a16:creationId xmlns:a16="http://schemas.microsoft.com/office/drawing/2014/main" id="{D5C7C20F-C863-409F-A9B2-A24DCD709165}"/>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826" name="Group 2825">
                  <a:extLst>
                    <a:ext uri="{FF2B5EF4-FFF2-40B4-BE49-F238E27FC236}">
                      <a16:creationId xmlns:a16="http://schemas.microsoft.com/office/drawing/2014/main" id="{D5C6DCF7-09F1-43DA-A170-67E2E37DC81C}"/>
                    </a:ext>
                  </a:extLst>
                </p:cNvPr>
                <p:cNvGrpSpPr>
                  <a:grpSpLocks/>
                </p:cNvGrpSpPr>
                <p:nvPr/>
              </p:nvGrpSpPr>
              <p:grpSpPr>
                <a:xfrm>
                  <a:off x="3989965" y="2395465"/>
                  <a:ext cx="536865" cy="536868"/>
                  <a:chOff x="1454941" y="4721722"/>
                  <a:chExt cx="473625" cy="473627"/>
                </a:xfrm>
              </p:grpSpPr>
              <p:grpSp>
                <p:nvGrpSpPr>
                  <p:cNvPr id="2850" name="Group 64">
                    <a:extLst>
                      <a:ext uri="{FF2B5EF4-FFF2-40B4-BE49-F238E27FC236}">
                        <a16:creationId xmlns:a16="http://schemas.microsoft.com/office/drawing/2014/main" id="{1D0A8E86-86CC-4757-904A-7F9A4904C590}"/>
                      </a:ext>
                    </a:extLst>
                  </p:cNvPr>
                  <p:cNvGrpSpPr>
                    <a:grpSpLocks noChangeAspect="1"/>
                  </p:cNvGrpSpPr>
                  <p:nvPr/>
                </p:nvGrpSpPr>
                <p:grpSpPr bwMode="auto">
                  <a:xfrm rot="8100000">
                    <a:off x="1454941" y="4721722"/>
                    <a:ext cx="473625" cy="473627"/>
                    <a:chOff x="701" y="2170"/>
                    <a:chExt cx="587" cy="587"/>
                  </a:xfrm>
                </p:grpSpPr>
                <p:sp>
                  <p:nvSpPr>
                    <p:cNvPr id="2882" name="Oval 65">
                      <a:extLst>
                        <a:ext uri="{FF2B5EF4-FFF2-40B4-BE49-F238E27FC236}">
                          <a16:creationId xmlns:a16="http://schemas.microsoft.com/office/drawing/2014/main" id="{55F913C5-2E68-4D6E-BE4A-559981517C2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83" name="Line 66">
                      <a:extLst>
                        <a:ext uri="{FF2B5EF4-FFF2-40B4-BE49-F238E27FC236}">
                          <a16:creationId xmlns:a16="http://schemas.microsoft.com/office/drawing/2014/main" id="{BC784C99-EC83-4463-81D7-D0FBC9E65519}"/>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4" name="Line 67">
                      <a:extLst>
                        <a:ext uri="{FF2B5EF4-FFF2-40B4-BE49-F238E27FC236}">
                          <a16:creationId xmlns:a16="http://schemas.microsoft.com/office/drawing/2014/main" id="{B1C95774-80EA-4C57-9970-0CE92CFC932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5" name="Line 69">
                      <a:extLst>
                        <a:ext uri="{FF2B5EF4-FFF2-40B4-BE49-F238E27FC236}">
                          <a16:creationId xmlns:a16="http://schemas.microsoft.com/office/drawing/2014/main" id="{660D7693-309E-4EE4-A996-D3ABCCBD6B47}"/>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6" name="Line 74">
                      <a:extLst>
                        <a:ext uri="{FF2B5EF4-FFF2-40B4-BE49-F238E27FC236}">
                          <a16:creationId xmlns:a16="http://schemas.microsoft.com/office/drawing/2014/main" id="{F07AB838-726C-4C27-86E6-983491355B5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7" name="Freeform 78">
                      <a:extLst>
                        <a:ext uri="{FF2B5EF4-FFF2-40B4-BE49-F238E27FC236}">
                          <a16:creationId xmlns:a16="http://schemas.microsoft.com/office/drawing/2014/main" id="{11A482CE-1ABC-4564-9D24-C76259F36D6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8" name="Freeform 80">
                      <a:extLst>
                        <a:ext uri="{FF2B5EF4-FFF2-40B4-BE49-F238E27FC236}">
                          <a16:creationId xmlns:a16="http://schemas.microsoft.com/office/drawing/2014/main" id="{BC5BDC75-52B7-431D-94A2-4AACBE5BC6E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51" name="Group 2850">
                    <a:extLst>
                      <a:ext uri="{FF2B5EF4-FFF2-40B4-BE49-F238E27FC236}">
                        <a16:creationId xmlns:a16="http://schemas.microsoft.com/office/drawing/2014/main" id="{88BEB8B0-12EF-4DA4-8A92-DAE8748EDCDF}"/>
                      </a:ext>
                    </a:extLst>
                  </p:cNvPr>
                  <p:cNvGrpSpPr/>
                  <p:nvPr/>
                </p:nvGrpSpPr>
                <p:grpSpPr>
                  <a:xfrm>
                    <a:off x="1511214" y="4789508"/>
                    <a:ext cx="356509" cy="349884"/>
                    <a:chOff x="468738" y="2241878"/>
                    <a:chExt cx="1655483" cy="1624719"/>
                  </a:xfrm>
                </p:grpSpPr>
                <p:sp>
                  <p:nvSpPr>
                    <p:cNvPr id="2852" name="Freeform 5">
                      <a:extLst>
                        <a:ext uri="{FF2B5EF4-FFF2-40B4-BE49-F238E27FC236}">
                          <a16:creationId xmlns:a16="http://schemas.microsoft.com/office/drawing/2014/main" id="{F95E5343-0075-489A-9126-5816D0B57C1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53" name="Freeform 6">
                      <a:extLst>
                        <a:ext uri="{FF2B5EF4-FFF2-40B4-BE49-F238E27FC236}">
                          <a16:creationId xmlns:a16="http://schemas.microsoft.com/office/drawing/2014/main" id="{926C41C5-CE8B-4258-A384-357C3897D06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4" name="Line 7">
                      <a:extLst>
                        <a:ext uri="{FF2B5EF4-FFF2-40B4-BE49-F238E27FC236}">
                          <a16:creationId xmlns:a16="http://schemas.microsoft.com/office/drawing/2014/main" id="{BC71F336-7C8F-48B5-8A9F-679ADD1ED15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5" name="Freeform 8">
                      <a:extLst>
                        <a:ext uri="{FF2B5EF4-FFF2-40B4-BE49-F238E27FC236}">
                          <a16:creationId xmlns:a16="http://schemas.microsoft.com/office/drawing/2014/main" id="{BCAA8535-697F-46B2-B757-A300795A3B42}"/>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6" name="Line 9">
                      <a:extLst>
                        <a:ext uri="{FF2B5EF4-FFF2-40B4-BE49-F238E27FC236}">
                          <a16:creationId xmlns:a16="http://schemas.microsoft.com/office/drawing/2014/main" id="{4AF3945B-2C65-4336-B1C4-34474A591B13}"/>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57" name="Group 2856">
                      <a:extLst>
                        <a:ext uri="{FF2B5EF4-FFF2-40B4-BE49-F238E27FC236}">
                          <a16:creationId xmlns:a16="http://schemas.microsoft.com/office/drawing/2014/main" id="{027CD6D7-7EDB-4CBF-9500-39C132148A55}"/>
                        </a:ext>
                      </a:extLst>
                    </p:cNvPr>
                    <p:cNvGrpSpPr/>
                    <p:nvPr/>
                  </p:nvGrpSpPr>
                  <p:grpSpPr>
                    <a:xfrm>
                      <a:off x="1207113" y="2241878"/>
                      <a:ext cx="178734" cy="348678"/>
                      <a:chOff x="1207113" y="2241878"/>
                      <a:chExt cx="178734" cy="348678"/>
                    </a:xfrm>
                  </p:grpSpPr>
                  <p:sp>
                    <p:nvSpPr>
                      <p:cNvPr id="2880" name="Freeform 10">
                        <a:extLst>
                          <a:ext uri="{FF2B5EF4-FFF2-40B4-BE49-F238E27FC236}">
                            <a16:creationId xmlns:a16="http://schemas.microsoft.com/office/drawing/2014/main" id="{AF625847-F6FB-42DC-904C-2578EA26467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1" name="Line 11">
                        <a:extLst>
                          <a:ext uri="{FF2B5EF4-FFF2-40B4-BE49-F238E27FC236}">
                            <a16:creationId xmlns:a16="http://schemas.microsoft.com/office/drawing/2014/main" id="{CF07C85E-C562-47E7-8EDC-BBA9272C21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858" name="Freeform 12">
                      <a:extLst>
                        <a:ext uri="{FF2B5EF4-FFF2-40B4-BE49-F238E27FC236}">
                          <a16:creationId xmlns:a16="http://schemas.microsoft.com/office/drawing/2014/main" id="{2F6B15E8-91C5-4F7D-92B5-EE6E5B0D52BF}"/>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9" name="Line 13">
                      <a:extLst>
                        <a:ext uri="{FF2B5EF4-FFF2-40B4-BE49-F238E27FC236}">
                          <a16:creationId xmlns:a16="http://schemas.microsoft.com/office/drawing/2014/main" id="{C25C8303-B4B6-4545-A9EE-2218CCE1A9C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0" name="Freeform 14">
                      <a:extLst>
                        <a:ext uri="{FF2B5EF4-FFF2-40B4-BE49-F238E27FC236}">
                          <a16:creationId xmlns:a16="http://schemas.microsoft.com/office/drawing/2014/main" id="{5F86F525-DB26-43EB-A88F-AA8234709CA9}"/>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1" name="Line 15">
                      <a:extLst>
                        <a:ext uri="{FF2B5EF4-FFF2-40B4-BE49-F238E27FC236}">
                          <a16:creationId xmlns:a16="http://schemas.microsoft.com/office/drawing/2014/main" id="{4D07ED8B-6CF9-498D-9793-8DCE67F5301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2" name="Freeform 16">
                      <a:extLst>
                        <a:ext uri="{FF2B5EF4-FFF2-40B4-BE49-F238E27FC236}">
                          <a16:creationId xmlns:a16="http://schemas.microsoft.com/office/drawing/2014/main" id="{C3C868A0-8B1A-4C52-AAD5-E812F5F5513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3" name="Line 17">
                      <a:extLst>
                        <a:ext uri="{FF2B5EF4-FFF2-40B4-BE49-F238E27FC236}">
                          <a16:creationId xmlns:a16="http://schemas.microsoft.com/office/drawing/2014/main" id="{DA743EE4-7352-49C1-830C-F6283FD29B8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4" name="Freeform 18">
                      <a:extLst>
                        <a:ext uri="{FF2B5EF4-FFF2-40B4-BE49-F238E27FC236}">
                          <a16:creationId xmlns:a16="http://schemas.microsoft.com/office/drawing/2014/main" id="{F1D213F7-7ACE-479F-BC32-F54952E2AAAF}"/>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5" name="Line 19">
                      <a:extLst>
                        <a:ext uri="{FF2B5EF4-FFF2-40B4-BE49-F238E27FC236}">
                          <a16:creationId xmlns:a16="http://schemas.microsoft.com/office/drawing/2014/main" id="{084B1E32-7A8E-4A29-9391-EC2E2A99C7C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6" name="Freeform 35">
                      <a:extLst>
                        <a:ext uri="{FF2B5EF4-FFF2-40B4-BE49-F238E27FC236}">
                          <a16:creationId xmlns:a16="http://schemas.microsoft.com/office/drawing/2014/main" id="{07831DDB-8511-4F02-9E5F-E054CCC6B18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67" name="Freeform 36">
                      <a:extLst>
                        <a:ext uri="{FF2B5EF4-FFF2-40B4-BE49-F238E27FC236}">
                          <a16:creationId xmlns:a16="http://schemas.microsoft.com/office/drawing/2014/main" id="{45EE5BE8-4EFB-4032-B939-0F0FCD937CC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8" name="Freeform 37">
                      <a:extLst>
                        <a:ext uri="{FF2B5EF4-FFF2-40B4-BE49-F238E27FC236}">
                          <a16:creationId xmlns:a16="http://schemas.microsoft.com/office/drawing/2014/main" id="{2CA16CE2-1E63-4009-B177-A60EDF712216}"/>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9" name="Freeform 38">
                      <a:extLst>
                        <a:ext uri="{FF2B5EF4-FFF2-40B4-BE49-F238E27FC236}">
                          <a16:creationId xmlns:a16="http://schemas.microsoft.com/office/drawing/2014/main" id="{53506708-F567-4C2D-B262-6B8E6C35649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0" name="Freeform 39">
                      <a:extLst>
                        <a:ext uri="{FF2B5EF4-FFF2-40B4-BE49-F238E27FC236}">
                          <a16:creationId xmlns:a16="http://schemas.microsoft.com/office/drawing/2014/main" id="{8489A8A6-C296-45CC-8457-D0BB6CD103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1" name="Freeform 40">
                      <a:extLst>
                        <a:ext uri="{FF2B5EF4-FFF2-40B4-BE49-F238E27FC236}">
                          <a16:creationId xmlns:a16="http://schemas.microsoft.com/office/drawing/2014/main" id="{0FA0DAD5-3C5F-46B1-A1F5-9A3242A1EF58}"/>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2" name="Freeform 41">
                      <a:extLst>
                        <a:ext uri="{FF2B5EF4-FFF2-40B4-BE49-F238E27FC236}">
                          <a16:creationId xmlns:a16="http://schemas.microsoft.com/office/drawing/2014/main" id="{037D707B-D71A-4707-9BE4-FBA6D5B41FC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3" name="Line 42">
                      <a:extLst>
                        <a:ext uri="{FF2B5EF4-FFF2-40B4-BE49-F238E27FC236}">
                          <a16:creationId xmlns:a16="http://schemas.microsoft.com/office/drawing/2014/main" id="{D05756EB-1D2F-446F-805E-C41A1546D61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4" name="Freeform 43">
                      <a:extLst>
                        <a:ext uri="{FF2B5EF4-FFF2-40B4-BE49-F238E27FC236}">
                          <a16:creationId xmlns:a16="http://schemas.microsoft.com/office/drawing/2014/main" id="{815E68C6-649A-49A2-8E90-F112CC17E46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5" name="Freeform 44">
                      <a:extLst>
                        <a:ext uri="{FF2B5EF4-FFF2-40B4-BE49-F238E27FC236}">
                          <a16:creationId xmlns:a16="http://schemas.microsoft.com/office/drawing/2014/main" id="{0CC4FD28-502F-4CF2-A652-4F1E7256136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6" name="Freeform 45">
                      <a:extLst>
                        <a:ext uri="{FF2B5EF4-FFF2-40B4-BE49-F238E27FC236}">
                          <a16:creationId xmlns:a16="http://schemas.microsoft.com/office/drawing/2014/main" id="{1A876F80-ADA2-4F0F-8485-7971CAFB081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77" name="Group 2876">
                      <a:extLst>
                        <a:ext uri="{FF2B5EF4-FFF2-40B4-BE49-F238E27FC236}">
                          <a16:creationId xmlns:a16="http://schemas.microsoft.com/office/drawing/2014/main" id="{08394D4F-641E-4D1E-85B7-186B78A49A0F}"/>
                        </a:ext>
                      </a:extLst>
                    </p:cNvPr>
                    <p:cNvGrpSpPr/>
                    <p:nvPr/>
                  </p:nvGrpSpPr>
                  <p:grpSpPr>
                    <a:xfrm flipV="1">
                      <a:off x="1202047" y="3517919"/>
                      <a:ext cx="178734" cy="348678"/>
                      <a:chOff x="1207113" y="2241878"/>
                      <a:chExt cx="178734" cy="348678"/>
                    </a:xfrm>
                  </p:grpSpPr>
                  <p:sp>
                    <p:nvSpPr>
                      <p:cNvPr id="2878" name="Freeform 10">
                        <a:extLst>
                          <a:ext uri="{FF2B5EF4-FFF2-40B4-BE49-F238E27FC236}">
                            <a16:creationId xmlns:a16="http://schemas.microsoft.com/office/drawing/2014/main" id="{D86E445A-22D5-45CB-9184-DA4CE11E836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9" name="Line 11">
                        <a:extLst>
                          <a:ext uri="{FF2B5EF4-FFF2-40B4-BE49-F238E27FC236}">
                            <a16:creationId xmlns:a16="http://schemas.microsoft.com/office/drawing/2014/main" id="{3A8F6D2A-4C65-4FFD-9565-7F677D51A5A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7" name="Group 2826">
                  <a:extLst>
                    <a:ext uri="{FF2B5EF4-FFF2-40B4-BE49-F238E27FC236}">
                      <a16:creationId xmlns:a16="http://schemas.microsoft.com/office/drawing/2014/main" id="{20B66575-AEC5-44A6-8963-CCD13E5E7614}"/>
                    </a:ext>
                  </a:extLst>
                </p:cNvPr>
                <p:cNvGrpSpPr>
                  <a:grpSpLocks/>
                </p:cNvGrpSpPr>
                <p:nvPr/>
              </p:nvGrpSpPr>
              <p:grpSpPr>
                <a:xfrm>
                  <a:off x="4605070" y="2236718"/>
                  <a:ext cx="471104" cy="471107"/>
                  <a:chOff x="2268747" y="4723725"/>
                  <a:chExt cx="415610" cy="415612"/>
                </a:xfrm>
              </p:grpSpPr>
              <p:grpSp>
                <p:nvGrpSpPr>
                  <p:cNvPr id="2828" name="Group 64">
                    <a:extLst>
                      <a:ext uri="{FF2B5EF4-FFF2-40B4-BE49-F238E27FC236}">
                        <a16:creationId xmlns:a16="http://schemas.microsoft.com/office/drawing/2014/main" id="{0B78C658-552D-415D-9BE6-F47813A66A6B}"/>
                      </a:ext>
                    </a:extLst>
                  </p:cNvPr>
                  <p:cNvGrpSpPr>
                    <a:grpSpLocks noChangeAspect="1"/>
                  </p:cNvGrpSpPr>
                  <p:nvPr/>
                </p:nvGrpSpPr>
                <p:grpSpPr bwMode="auto">
                  <a:xfrm rot="8100000">
                    <a:off x="2268747" y="4723725"/>
                    <a:ext cx="415610" cy="415612"/>
                    <a:chOff x="701" y="2170"/>
                    <a:chExt cx="587" cy="587"/>
                  </a:xfrm>
                </p:grpSpPr>
                <p:sp>
                  <p:nvSpPr>
                    <p:cNvPr id="2843" name="Oval 65">
                      <a:extLst>
                        <a:ext uri="{FF2B5EF4-FFF2-40B4-BE49-F238E27FC236}">
                          <a16:creationId xmlns:a16="http://schemas.microsoft.com/office/drawing/2014/main" id="{FEB63568-0FAD-45BD-8B72-840BAEAA8A7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4" name="Line 66">
                      <a:extLst>
                        <a:ext uri="{FF2B5EF4-FFF2-40B4-BE49-F238E27FC236}">
                          <a16:creationId xmlns:a16="http://schemas.microsoft.com/office/drawing/2014/main" id="{D3E4DDD4-CF49-4143-8302-649229FB1EF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5" name="Line 67">
                      <a:extLst>
                        <a:ext uri="{FF2B5EF4-FFF2-40B4-BE49-F238E27FC236}">
                          <a16:creationId xmlns:a16="http://schemas.microsoft.com/office/drawing/2014/main" id="{14A79A59-660D-41A6-AD8E-9493FCB7E13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6" name="Line 69">
                      <a:extLst>
                        <a:ext uri="{FF2B5EF4-FFF2-40B4-BE49-F238E27FC236}">
                          <a16:creationId xmlns:a16="http://schemas.microsoft.com/office/drawing/2014/main" id="{2CAE62EE-6361-4862-A174-EE039A66D1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7" name="Line 74">
                      <a:extLst>
                        <a:ext uri="{FF2B5EF4-FFF2-40B4-BE49-F238E27FC236}">
                          <a16:creationId xmlns:a16="http://schemas.microsoft.com/office/drawing/2014/main" id="{02F0128E-8BB1-4DAF-917A-2A2C2D8CE42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8" name="Freeform 78">
                      <a:extLst>
                        <a:ext uri="{FF2B5EF4-FFF2-40B4-BE49-F238E27FC236}">
                          <a16:creationId xmlns:a16="http://schemas.microsoft.com/office/drawing/2014/main" id="{9FB9136D-C0CB-47FE-B315-E28DB827A1E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9" name="Freeform 80">
                      <a:extLst>
                        <a:ext uri="{FF2B5EF4-FFF2-40B4-BE49-F238E27FC236}">
                          <a16:creationId xmlns:a16="http://schemas.microsoft.com/office/drawing/2014/main" id="{E71D0A86-D961-4E75-BDE5-89C21EAC722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29" name="Group 2828">
                    <a:extLst>
                      <a:ext uri="{FF2B5EF4-FFF2-40B4-BE49-F238E27FC236}">
                        <a16:creationId xmlns:a16="http://schemas.microsoft.com/office/drawing/2014/main" id="{2BCBE843-5A8C-49F5-B254-BFC2341FF2E6}"/>
                      </a:ext>
                    </a:extLst>
                  </p:cNvPr>
                  <p:cNvGrpSpPr/>
                  <p:nvPr/>
                </p:nvGrpSpPr>
                <p:grpSpPr>
                  <a:xfrm>
                    <a:off x="2318076" y="4830163"/>
                    <a:ext cx="313949" cy="233075"/>
                    <a:chOff x="3707533" y="2731244"/>
                    <a:chExt cx="389644" cy="289271"/>
                  </a:xfrm>
                </p:grpSpPr>
                <p:sp>
                  <p:nvSpPr>
                    <p:cNvPr id="2830" name="Freeform 33">
                      <a:extLst>
                        <a:ext uri="{FF2B5EF4-FFF2-40B4-BE49-F238E27FC236}">
                          <a16:creationId xmlns:a16="http://schemas.microsoft.com/office/drawing/2014/main" id="{29152E43-7908-4D39-89B6-041B0E1B412E}"/>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1" name="Freeform 34">
                      <a:extLst>
                        <a:ext uri="{FF2B5EF4-FFF2-40B4-BE49-F238E27FC236}">
                          <a16:creationId xmlns:a16="http://schemas.microsoft.com/office/drawing/2014/main" id="{BF0A0776-1555-4302-9FBF-A869A0AE2362}"/>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2" name="Freeform 37">
                      <a:extLst>
                        <a:ext uri="{FF2B5EF4-FFF2-40B4-BE49-F238E27FC236}">
                          <a16:creationId xmlns:a16="http://schemas.microsoft.com/office/drawing/2014/main" id="{4F650D9E-F1A1-4C1F-9C61-651319FBE12C}"/>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3" name="Freeform 38">
                      <a:extLst>
                        <a:ext uri="{FF2B5EF4-FFF2-40B4-BE49-F238E27FC236}">
                          <a16:creationId xmlns:a16="http://schemas.microsoft.com/office/drawing/2014/main" id="{47E2741C-C085-4C85-AC60-65C9BEEEAD73}"/>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4" name="Freeform 32">
                      <a:extLst>
                        <a:ext uri="{FF2B5EF4-FFF2-40B4-BE49-F238E27FC236}">
                          <a16:creationId xmlns:a16="http://schemas.microsoft.com/office/drawing/2014/main" id="{4E3BFA5F-0405-4EB9-8A82-EC3D5EE58A11}"/>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5" name="Freeform 35">
                      <a:extLst>
                        <a:ext uri="{FF2B5EF4-FFF2-40B4-BE49-F238E27FC236}">
                          <a16:creationId xmlns:a16="http://schemas.microsoft.com/office/drawing/2014/main" id="{64E6FFBE-3262-4471-A8E8-CFA65DE68772}"/>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6" name="Freeform 36">
                      <a:extLst>
                        <a:ext uri="{FF2B5EF4-FFF2-40B4-BE49-F238E27FC236}">
                          <a16:creationId xmlns:a16="http://schemas.microsoft.com/office/drawing/2014/main" id="{68E017D6-DE86-4DC3-879C-25F447894245}"/>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7" name="Freeform 25">
                      <a:extLst>
                        <a:ext uri="{FF2B5EF4-FFF2-40B4-BE49-F238E27FC236}">
                          <a16:creationId xmlns:a16="http://schemas.microsoft.com/office/drawing/2014/main" id="{16AEEF82-6561-4FF7-86DA-1A994F08BB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8" name="Freeform 39">
                      <a:extLst>
                        <a:ext uri="{FF2B5EF4-FFF2-40B4-BE49-F238E27FC236}">
                          <a16:creationId xmlns:a16="http://schemas.microsoft.com/office/drawing/2014/main" id="{16AFA8D7-A657-46E0-8C95-1795E246F25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9" name="Freeform 26">
                      <a:extLst>
                        <a:ext uri="{FF2B5EF4-FFF2-40B4-BE49-F238E27FC236}">
                          <a16:creationId xmlns:a16="http://schemas.microsoft.com/office/drawing/2014/main" id="{B5CA1FD5-5DC8-4504-8756-18BA60FF056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0" name="Rectangle 27">
                      <a:extLst>
                        <a:ext uri="{FF2B5EF4-FFF2-40B4-BE49-F238E27FC236}">
                          <a16:creationId xmlns:a16="http://schemas.microsoft.com/office/drawing/2014/main" id="{D3F64414-0401-4981-91B3-580162745303}"/>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1" name="Line 29">
                      <a:extLst>
                        <a:ext uri="{FF2B5EF4-FFF2-40B4-BE49-F238E27FC236}">
                          <a16:creationId xmlns:a16="http://schemas.microsoft.com/office/drawing/2014/main" id="{2774969A-FF8D-4AC1-9C49-433CA8EC5908}"/>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2" name="Line 31">
                      <a:extLst>
                        <a:ext uri="{FF2B5EF4-FFF2-40B4-BE49-F238E27FC236}">
                          <a16:creationId xmlns:a16="http://schemas.microsoft.com/office/drawing/2014/main" id="{0211C476-CFD9-49F7-9384-137C7C5B378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792" name="Group 2791">
                <a:extLst>
                  <a:ext uri="{FF2B5EF4-FFF2-40B4-BE49-F238E27FC236}">
                    <a16:creationId xmlns:a16="http://schemas.microsoft.com/office/drawing/2014/main" id="{8D466FB1-F8F3-4685-AF3B-7826EA3DF614}"/>
                  </a:ext>
                </a:extLst>
              </p:cNvPr>
              <p:cNvGrpSpPr/>
              <p:nvPr/>
            </p:nvGrpSpPr>
            <p:grpSpPr>
              <a:xfrm>
                <a:off x="5261891" y="1974470"/>
                <a:ext cx="1115908" cy="967814"/>
                <a:chOff x="7338624" y="178556"/>
                <a:chExt cx="1115908" cy="967814"/>
              </a:xfrm>
            </p:grpSpPr>
            <p:grpSp>
              <p:nvGrpSpPr>
                <p:cNvPr id="2796" name="Group 2795">
                  <a:extLst>
                    <a:ext uri="{FF2B5EF4-FFF2-40B4-BE49-F238E27FC236}">
                      <a16:creationId xmlns:a16="http://schemas.microsoft.com/office/drawing/2014/main" id="{06209C85-5216-409F-AFBD-5348CB451E37}"/>
                    </a:ext>
                  </a:extLst>
                </p:cNvPr>
                <p:cNvGrpSpPr/>
                <p:nvPr/>
              </p:nvGrpSpPr>
              <p:grpSpPr>
                <a:xfrm flipH="1">
                  <a:off x="7603032" y="178556"/>
                  <a:ext cx="524442" cy="697246"/>
                  <a:chOff x="8607957" y="605299"/>
                  <a:chExt cx="2806962" cy="3731864"/>
                </a:xfrm>
              </p:grpSpPr>
              <p:sp>
                <p:nvSpPr>
                  <p:cNvPr id="2798" name="iBar:31/138">
                    <a:extLst>
                      <a:ext uri="{FF2B5EF4-FFF2-40B4-BE49-F238E27FC236}">
                        <a16:creationId xmlns:a16="http://schemas.microsoft.com/office/drawing/2014/main" id="{0C089B0A-E6FA-431E-9503-756545FE9A52}"/>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99" name="Rectangle 2798">
                    <a:extLst>
                      <a:ext uri="{FF2B5EF4-FFF2-40B4-BE49-F238E27FC236}">
                        <a16:creationId xmlns:a16="http://schemas.microsoft.com/office/drawing/2014/main" id="{B63C5322-A7FC-4515-A98C-E8F7A50AF9C5}"/>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00" name="Group 2799">
                    <a:extLst>
                      <a:ext uri="{FF2B5EF4-FFF2-40B4-BE49-F238E27FC236}">
                        <a16:creationId xmlns:a16="http://schemas.microsoft.com/office/drawing/2014/main" id="{CAE771CE-47CD-41D9-9477-8C2B3F1DC5AE}"/>
                      </a:ext>
                    </a:extLst>
                  </p:cNvPr>
                  <p:cNvGrpSpPr/>
                  <p:nvPr/>
                </p:nvGrpSpPr>
                <p:grpSpPr>
                  <a:xfrm>
                    <a:off x="8776645" y="2392984"/>
                    <a:ext cx="2463737" cy="1844316"/>
                    <a:chOff x="8566719" y="2617154"/>
                    <a:chExt cx="2463737" cy="1844316"/>
                  </a:xfrm>
                </p:grpSpPr>
                <p:sp>
                  <p:nvSpPr>
                    <p:cNvPr id="2814" name="Rectangle 2813">
                      <a:extLst>
                        <a:ext uri="{FF2B5EF4-FFF2-40B4-BE49-F238E27FC236}">
                          <a16:creationId xmlns:a16="http://schemas.microsoft.com/office/drawing/2014/main" id="{6EEB185A-FA68-46BA-B5F7-FF8E542218E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5" name="Group 2814">
                      <a:extLst>
                        <a:ext uri="{FF2B5EF4-FFF2-40B4-BE49-F238E27FC236}">
                          <a16:creationId xmlns:a16="http://schemas.microsoft.com/office/drawing/2014/main" id="{6B577423-DEE6-4B13-8BAE-A5F1C12366E0}"/>
                        </a:ext>
                      </a:extLst>
                    </p:cNvPr>
                    <p:cNvGrpSpPr/>
                    <p:nvPr/>
                  </p:nvGrpSpPr>
                  <p:grpSpPr>
                    <a:xfrm>
                      <a:off x="8720849" y="2791577"/>
                      <a:ext cx="2190282" cy="1669893"/>
                      <a:chOff x="5195358" y="4591383"/>
                      <a:chExt cx="1906459" cy="1380076"/>
                    </a:xfrm>
                  </p:grpSpPr>
                  <p:grpSp>
                    <p:nvGrpSpPr>
                      <p:cNvPr id="2816" name="Group 2815">
                        <a:extLst>
                          <a:ext uri="{FF2B5EF4-FFF2-40B4-BE49-F238E27FC236}">
                            <a16:creationId xmlns:a16="http://schemas.microsoft.com/office/drawing/2014/main" id="{02DC404D-9158-4789-A6EF-E8E33AFC3F38}"/>
                          </a:ext>
                        </a:extLst>
                      </p:cNvPr>
                      <p:cNvGrpSpPr/>
                      <p:nvPr/>
                    </p:nvGrpSpPr>
                    <p:grpSpPr>
                      <a:xfrm>
                        <a:off x="5195358" y="4591383"/>
                        <a:ext cx="1020183" cy="1224086"/>
                        <a:chOff x="10650533" y="3663550"/>
                        <a:chExt cx="575867" cy="836067"/>
                      </a:xfrm>
                    </p:grpSpPr>
                    <p:grpSp>
                      <p:nvGrpSpPr>
                        <p:cNvPr id="2818" name="Group 2817">
                          <a:extLst>
                            <a:ext uri="{FF2B5EF4-FFF2-40B4-BE49-F238E27FC236}">
                              <a16:creationId xmlns:a16="http://schemas.microsoft.com/office/drawing/2014/main" id="{56967A2B-DCDF-4691-AB19-E65A647F688C}"/>
                            </a:ext>
                          </a:extLst>
                        </p:cNvPr>
                        <p:cNvGrpSpPr/>
                        <p:nvPr/>
                      </p:nvGrpSpPr>
                      <p:grpSpPr>
                        <a:xfrm>
                          <a:off x="10650533" y="3663550"/>
                          <a:ext cx="575867" cy="728623"/>
                          <a:chOff x="5717961" y="2827338"/>
                          <a:chExt cx="282576" cy="387350"/>
                        </a:xfrm>
                      </p:grpSpPr>
                      <p:sp>
                        <p:nvSpPr>
                          <p:cNvPr id="2820" name="Freeform 1754">
                            <a:extLst>
                              <a:ext uri="{FF2B5EF4-FFF2-40B4-BE49-F238E27FC236}">
                                <a16:creationId xmlns:a16="http://schemas.microsoft.com/office/drawing/2014/main" id="{48D81758-0BD3-4BC2-8A9C-672770B23946}"/>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1" name="Freeform 1755">
                            <a:extLst>
                              <a:ext uri="{FF2B5EF4-FFF2-40B4-BE49-F238E27FC236}">
                                <a16:creationId xmlns:a16="http://schemas.microsoft.com/office/drawing/2014/main" id="{21E665D1-8057-4407-B125-616CC884D074}"/>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22" name="Freeform 1756">
                            <a:extLst>
                              <a:ext uri="{FF2B5EF4-FFF2-40B4-BE49-F238E27FC236}">
                                <a16:creationId xmlns:a16="http://schemas.microsoft.com/office/drawing/2014/main" id="{E53CAFE7-10F1-4E63-B613-C33ABB664E78}"/>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3" name="Freeform 1757">
                            <a:extLst>
                              <a:ext uri="{FF2B5EF4-FFF2-40B4-BE49-F238E27FC236}">
                                <a16:creationId xmlns:a16="http://schemas.microsoft.com/office/drawing/2014/main" id="{AD5074DC-6F0C-4B6F-BB1A-51C7BD1C5652}"/>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4" name="Freeform 1758">
                            <a:extLst>
                              <a:ext uri="{FF2B5EF4-FFF2-40B4-BE49-F238E27FC236}">
                                <a16:creationId xmlns:a16="http://schemas.microsoft.com/office/drawing/2014/main" id="{18B663CB-B41F-4E7C-8176-7375F0B25B14}"/>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19" name="TextBox 2818">
                          <a:extLst>
                            <a:ext uri="{FF2B5EF4-FFF2-40B4-BE49-F238E27FC236}">
                              <a16:creationId xmlns:a16="http://schemas.microsoft.com/office/drawing/2014/main" id="{D8E75A9D-28C1-4973-8E18-E5E890C26965}"/>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17" name="TextBox 2816">
                        <a:extLst>
                          <a:ext uri="{FF2B5EF4-FFF2-40B4-BE49-F238E27FC236}">
                            <a16:creationId xmlns:a16="http://schemas.microsoft.com/office/drawing/2014/main" id="{853CDE77-7803-4C51-A3D4-145B5B1F464C}"/>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01" name="Group 2800">
                    <a:extLst>
                      <a:ext uri="{FF2B5EF4-FFF2-40B4-BE49-F238E27FC236}">
                        <a16:creationId xmlns:a16="http://schemas.microsoft.com/office/drawing/2014/main" id="{11E23F22-1711-4BFA-BEE6-5A6CA4B0CE68}"/>
                      </a:ext>
                    </a:extLst>
                  </p:cNvPr>
                  <p:cNvGrpSpPr/>
                  <p:nvPr/>
                </p:nvGrpSpPr>
                <p:grpSpPr>
                  <a:xfrm>
                    <a:off x="9538998" y="605299"/>
                    <a:ext cx="944881" cy="858986"/>
                    <a:chOff x="3369813" y="4950013"/>
                    <a:chExt cx="440826" cy="400751"/>
                  </a:xfrm>
                </p:grpSpPr>
                <p:sp>
                  <p:nvSpPr>
                    <p:cNvPr id="2810" name="Oval 2809">
                      <a:extLst>
                        <a:ext uri="{FF2B5EF4-FFF2-40B4-BE49-F238E27FC236}">
                          <a16:creationId xmlns:a16="http://schemas.microsoft.com/office/drawing/2014/main" id="{BF0157EA-688E-4939-B9F1-868555B7187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1" name="Group 226">
                      <a:extLst>
                        <a:ext uri="{FF2B5EF4-FFF2-40B4-BE49-F238E27FC236}">
                          <a16:creationId xmlns:a16="http://schemas.microsoft.com/office/drawing/2014/main" id="{71D96959-B519-469F-AA76-FF0FE732BE12}"/>
                        </a:ext>
                      </a:extLst>
                    </p:cNvPr>
                    <p:cNvGrpSpPr>
                      <a:grpSpLocks noChangeAspect="1"/>
                    </p:cNvGrpSpPr>
                    <p:nvPr/>
                  </p:nvGrpSpPr>
                  <p:grpSpPr bwMode="auto">
                    <a:xfrm>
                      <a:off x="3437467" y="4997630"/>
                      <a:ext cx="305517" cy="305517"/>
                      <a:chOff x="5048" y="783"/>
                      <a:chExt cx="340" cy="340"/>
                    </a:xfrm>
                    <a:solidFill>
                      <a:schemeClr val="bg1"/>
                    </a:solidFill>
                  </p:grpSpPr>
                  <p:sp>
                    <p:nvSpPr>
                      <p:cNvPr id="2812" name="Freeform 227">
                        <a:extLst>
                          <a:ext uri="{FF2B5EF4-FFF2-40B4-BE49-F238E27FC236}">
                            <a16:creationId xmlns:a16="http://schemas.microsoft.com/office/drawing/2014/main" id="{B207C4B4-1621-4B73-A71C-00BD29C4E45E}"/>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13" name="Freeform 228">
                        <a:extLst>
                          <a:ext uri="{FF2B5EF4-FFF2-40B4-BE49-F238E27FC236}">
                            <a16:creationId xmlns:a16="http://schemas.microsoft.com/office/drawing/2014/main" id="{5BDE4F2D-73C9-43C8-801D-3450C262B166}"/>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02" name="Straight Connector 2801">
                    <a:extLst>
                      <a:ext uri="{FF2B5EF4-FFF2-40B4-BE49-F238E27FC236}">
                        <a16:creationId xmlns:a16="http://schemas.microsoft.com/office/drawing/2014/main" id="{AD571AF0-1EAB-4A78-B5B4-212370F55BC6}"/>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3" name="Straight Connector 2802">
                    <a:extLst>
                      <a:ext uri="{FF2B5EF4-FFF2-40B4-BE49-F238E27FC236}">
                        <a16:creationId xmlns:a16="http://schemas.microsoft.com/office/drawing/2014/main" id="{60F301C5-6142-400D-9BD8-5DF731614AE6}"/>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4" name="Straight Connector 2803">
                    <a:extLst>
                      <a:ext uri="{FF2B5EF4-FFF2-40B4-BE49-F238E27FC236}">
                        <a16:creationId xmlns:a16="http://schemas.microsoft.com/office/drawing/2014/main" id="{7DF853C1-A4C9-48AE-8F20-C00D3BF008DB}"/>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5" name="Straight Connector 2804">
                    <a:extLst>
                      <a:ext uri="{FF2B5EF4-FFF2-40B4-BE49-F238E27FC236}">
                        <a16:creationId xmlns:a16="http://schemas.microsoft.com/office/drawing/2014/main" id="{97C7D714-8264-4AAE-9157-A346586CF590}"/>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6" name="Straight Connector 2805">
                    <a:extLst>
                      <a:ext uri="{FF2B5EF4-FFF2-40B4-BE49-F238E27FC236}">
                        <a16:creationId xmlns:a16="http://schemas.microsoft.com/office/drawing/2014/main" id="{470586D9-B704-4186-878A-287485B89909}"/>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7" name="Straight Connector 2806">
                    <a:extLst>
                      <a:ext uri="{FF2B5EF4-FFF2-40B4-BE49-F238E27FC236}">
                        <a16:creationId xmlns:a16="http://schemas.microsoft.com/office/drawing/2014/main" id="{278CEEF0-E2F7-46A6-9CE0-3D56FCDDBD26}"/>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8" name="Straight Connector 2807">
                    <a:extLst>
                      <a:ext uri="{FF2B5EF4-FFF2-40B4-BE49-F238E27FC236}">
                        <a16:creationId xmlns:a16="http://schemas.microsoft.com/office/drawing/2014/main" id="{53F27D4B-A913-40CD-8C2C-5F8A38843994}"/>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9" name="Straight Connector 2808">
                    <a:extLst>
                      <a:ext uri="{FF2B5EF4-FFF2-40B4-BE49-F238E27FC236}">
                        <a16:creationId xmlns:a16="http://schemas.microsoft.com/office/drawing/2014/main" id="{22B5377F-1190-47D2-805A-89FCADB34C70}"/>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97" name="Rectangle 2796">
                  <a:extLst>
                    <a:ext uri="{FF2B5EF4-FFF2-40B4-BE49-F238E27FC236}">
                      <a16:creationId xmlns:a16="http://schemas.microsoft.com/office/drawing/2014/main" id="{C1D6A21D-CB89-4ABE-9507-B2CE584DA4FB}"/>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793" name="Group 2792">
                <a:extLst>
                  <a:ext uri="{FF2B5EF4-FFF2-40B4-BE49-F238E27FC236}">
                    <a16:creationId xmlns:a16="http://schemas.microsoft.com/office/drawing/2014/main" id="{6CC34D40-BE95-4D15-AB7A-B17A019C47AB}"/>
                  </a:ext>
                </a:extLst>
              </p:cNvPr>
              <p:cNvGrpSpPr/>
              <p:nvPr/>
            </p:nvGrpSpPr>
            <p:grpSpPr>
              <a:xfrm>
                <a:off x="6189282" y="2207036"/>
                <a:ext cx="309777" cy="570271"/>
                <a:chOff x="6298183" y="258138"/>
                <a:chExt cx="309777" cy="570271"/>
              </a:xfrm>
            </p:grpSpPr>
            <p:pic>
              <p:nvPicPr>
                <p:cNvPr id="2794" name="Picture 2793">
                  <a:extLst>
                    <a:ext uri="{FF2B5EF4-FFF2-40B4-BE49-F238E27FC236}">
                      <a16:creationId xmlns:a16="http://schemas.microsoft.com/office/drawing/2014/main" id="{0E7A6E2B-4605-4DA6-AE02-CB8D45B49117}"/>
                    </a:ext>
                  </a:extLst>
                </p:cNvPr>
                <p:cNvPicPr>
                  <a:picLocks noChangeAspect="1"/>
                </p:cNvPicPr>
                <p:nvPr/>
              </p:nvPicPr>
              <p:blipFill>
                <a:blip r:embed="rId6"/>
                <a:stretch>
                  <a:fillRect/>
                </a:stretch>
              </p:blipFill>
              <p:spPr>
                <a:xfrm>
                  <a:off x="6298183" y="258138"/>
                  <a:ext cx="309777" cy="570271"/>
                </a:xfrm>
                <a:prstGeom prst="rect">
                  <a:avLst/>
                </a:prstGeom>
              </p:spPr>
            </p:pic>
            <p:sp>
              <p:nvSpPr>
                <p:cNvPr id="2795" name="Freeform 152">
                  <a:extLst>
                    <a:ext uri="{FF2B5EF4-FFF2-40B4-BE49-F238E27FC236}">
                      <a16:creationId xmlns:a16="http://schemas.microsoft.com/office/drawing/2014/main" id="{11143CDA-A172-4D6A-AC5A-B3D89FA26C6E}"/>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907" name="Rectangle 2906">
            <a:extLst>
              <a:ext uri="{FF2B5EF4-FFF2-40B4-BE49-F238E27FC236}">
                <a16:creationId xmlns:a16="http://schemas.microsoft.com/office/drawing/2014/main" id="{F5435F74-2F30-4298-A9F7-EFE16CA2F23A}"/>
              </a:ext>
            </a:extLst>
          </p:cNvPr>
          <p:cNvSpPr>
            <a:spLocks/>
          </p:cNvSpPr>
          <p:nvPr/>
        </p:nvSpPr>
        <p:spPr bwMode="gray">
          <a:xfrm>
            <a:off x="3376490" y="1551301"/>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908" name="Group 2907">
            <a:extLst>
              <a:ext uri="{FF2B5EF4-FFF2-40B4-BE49-F238E27FC236}">
                <a16:creationId xmlns:a16="http://schemas.microsoft.com/office/drawing/2014/main" id="{A381721A-89DD-4A37-B6EC-BB2ABBD5DCAE}"/>
              </a:ext>
            </a:extLst>
          </p:cNvPr>
          <p:cNvGrpSpPr/>
          <p:nvPr/>
        </p:nvGrpSpPr>
        <p:grpSpPr>
          <a:xfrm>
            <a:off x="411159" y="1081204"/>
            <a:ext cx="11430427" cy="561479"/>
            <a:chOff x="347472" y="1051180"/>
            <a:chExt cx="11667743" cy="561625"/>
          </a:xfrm>
        </p:grpSpPr>
        <p:grpSp>
          <p:nvGrpSpPr>
            <p:cNvPr id="2909" name="Group 2908">
              <a:extLst>
                <a:ext uri="{FF2B5EF4-FFF2-40B4-BE49-F238E27FC236}">
                  <a16:creationId xmlns:a16="http://schemas.microsoft.com/office/drawing/2014/main" id="{F9E1C4B6-7EEF-4FFD-8D22-69CF6A19DAC8}"/>
                </a:ext>
              </a:extLst>
            </p:cNvPr>
            <p:cNvGrpSpPr/>
            <p:nvPr/>
          </p:nvGrpSpPr>
          <p:grpSpPr>
            <a:xfrm>
              <a:off x="347472" y="1051180"/>
              <a:ext cx="11667743" cy="561625"/>
              <a:chOff x="347472" y="1051180"/>
              <a:chExt cx="11667743" cy="561625"/>
            </a:xfrm>
          </p:grpSpPr>
          <p:grpSp>
            <p:nvGrpSpPr>
              <p:cNvPr id="2911" name="Group 2910">
                <a:extLst>
                  <a:ext uri="{FF2B5EF4-FFF2-40B4-BE49-F238E27FC236}">
                    <a16:creationId xmlns:a16="http://schemas.microsoft.com/office/drawing/2014/main" id="{1A506020-E823-42A8-AB9E-2D77FAD65373}"/>
                  </a:ext>
                </a:extLst>
              </p:cNvPr>
              <p:cNvGrpSpPr/>
              <p:nvPr/>
            </p:nvGrpSpPr>
            <p:grpSpPr>
              <a:xfrm>
                <a:off x="347472" y="1154250"/>
                <a:ext cx="11667743" cy="458555"/>
                <a:chOff x="390609" y="1132914"/>
                <a:chExt cx="11511569" cy="458555"/>
              </a:xfrm>
            </p:grpSpPr>
            <p:sp>
              <p:nvSpPr>
                <p:cNvPr id="2913" name="Rectangle: Rounded Corners 2912">
                  <a:extLst>
                    <a:ext uri="{FF2B5EF4-FFF2-40B4-BE49-F238E27FC236}">
                      <a16:creationId xmlns:a16="http://schemas.microsoft.com/office/drawing/2014/main" id="{7533A0EC-94C7-4C0A-AB7B-96557292AE0E}"/>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4" name="Rectangle 2913">
                  <a:extLst>
                    <a:ext uri="{FF2B5EF4-FFF2-40B4-BE49-F238E27FC236}">
                      <a16:creationId xmlns:a16="http://schemas.microsoft.com/office/drawing/2014/main" id="{74C3D7AA-2D5C-4CAD-BEB8-67A05CF0EF0C}"/>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915" name="Rectangle 2914">
                  <a:extLst>
                    <a:ext uri="{FF2B5EF4-FFF2-40B4-BE49-F238E27FC236}">
                      <a16:creationId xmlns:a16="http://schemas.microsoft.com/office/drawing/2014/main" id="{A65652F9-7063-42FE-8C01-DBEB6CC95DDE}"/>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916" name="Rectangle 2915">
                  <a:extLst>
                    <a:ext uri="{FF2B5EF4-FFF2-40B4-BE49-F238E27FC236}">
                      <a16:creationId xmlns:a16="http://schemas.microsoft.com/office/drawing/2014/main" id="{D7015FFC-DFE6-44BC-A034-802412C8EE25}"/>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917" name="Isosceles Triangle 2916">
                  <a:extLst>
                    <a:ext uri="{FF2B5EF4-FFF2-40B4-BE49-F238E27FC236}">
                      <a16:creationId xmlns:a16="http://schemas.microsoft.com/office/drawing/2014/main" id="{7DC5BAC1-1F0C-4FC6-BBCF-040EE39EF20C}"/>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8" name="Isosceles Triangle 2917">
                  <a:extLst>
                    <a:ext uri="{FF2B5EF4-FFF2-40B4-BE49-F238E27FC236}">
                      <a16:creationId xmlns:a16="http://schemas.microsoft.com/office/drawing/2014/main" id="{EEC60567-2B0C-49F3-80D9-993F27EDDF61}"/>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2" name="Isosceles Triangle 2911">
                <a:extLst>
                  <a:ext uri="{FF2B5EF4-FFF2-40B4-BE49-F238E27FC236}">
                    <a16:creationId xmlns:a16="http://schemas.microsoft.com/office/drawing/2014/main" id="{93D26FAC-3BB2-43AA-8D35-B49A0E7C708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0" name="Isosceles Triangle 2909">
              <a:extLst>
                <a:ext uri="{FF2B5EF4-FFF2-40B4-BE49-F238E27FC236}">
                  <a16:creationId xmlns:a16="http://schemas.microsoft.com/office/drawing/2014/main" id="{A0C9D15C-3562-4E93-B022-1364C948360C}"/>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9" name="Rectangle 2918">
            <a:extLst>
              <a:ext uri="{FF2B5EF4-FFF2-40B4-BE49-F238E27FC236}">
                <a16:creationId xmlns:a16="http://schemas.microsoft.com/office/drawing/2014/main" id="{0C92D794-A7B8-4D83-B2A0-9769CE853102}"/>
              </a:ext>
            </a:extLst>
          </p:cNvPr>
          <p:cNvSpPr>
            <a:spLocks/>
          </p:cNvSpPr>
          <p:nvPr/>
        </p:nvSpPr>
        <p:spPr bwMode="gray">
          <a:xfrm>
            <a:off x="3357900" y="1086969"/>
            <a:ext cx="8571637" cy="5349935"/>
          </a:xfrm>
          <a:prstGeom prst="rect">
            <a:avLst/>
          </a:prstGeom>
          <a:solidFill>
            <a:schemeClr val="bg1">
              <a:alpha val="89804"/>
            </a:schemeClr>
          </a:solidFill>
          <a:ln w="38100" algn="ctr">
            <a:noFill/>
            <a:miter lim="800000"/>
            <a:headEnd/>
            <a:tailEnd/>
          </a:ln>
          <a:effectLst/>
        </p:spPr>
        <p:txBody>
          <a:bodyPr wrap="square" lIns="28409" tIns="28409" rIns="28409" bIns="28409" rtlCol="0" anchor="t"/>
          <a:lstStyle/>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p:txBody>
      </p:sp>
      <p:sp>
        <p:nvSpPr>
          <p:cNvPr id="2920" name="Rectangle 2919">
            <a:extLst>
              <a:ext uri="{FF2B5EF4-FFF2-40B4-BE49-F238E27FC236}">
                <a16:creationId xmlns:a16="http://schemas.microsoft.com/office/drawing/2014/main" id="{2526F9D0-B22B-45D4-A652-60AB87C17C90}"/>
              </a:ext>
            </a:extLst>
          </p:cNvPr>
          <p:cNvSpPr/>
          <p:nvPr/>
        </p:nvSpPr>
        <p:spPr bwMode="gray">
          <a:xfrm>
            <a:off x="3487250" y="1330353"/>
            <a:ext cx="8230517" cy="4981832"/>
          </a:xfrm>
          <a:prstGeom prst="rect">
            <a:avLst/>
          </a:prstGeom>
          <a:solidFill>
            <a:srgbClr val="A0DCFF"/>
          </a:solidFill>
          <a:ln w="28575" algn="ctr">
            <a:noFill/>
            <a:prstDash val="dash"/>
            <a:miter lim="800000"/>
            <a:headEnd/>
            <a:tailEnd/>
          </a:ln>
        </p:spPr>
        <p:txBody>
          <a:bodyPr wrap="square" lIns="46872" tIns="28482" rIns="28482" bIns="28482" rtlCol="0" anchor="t"/>
          <a:lstStyle/>
          <a:p>
            <a:pPr algn="ctr" defTabSz="624960">
              <a:lnSpc>
                <a:spcPct val="106000"/>
              </a:lnSpc>
              <a:defRPr/>
            </a:pPr>
            <a:endParaRPr lang="en-US" sz="1053" b="1" dirty="0">
              <a:solidFill>
                <a:prstClr val="black"/>
              </a:solidFill>
              <a:latin typeface="Verdana"/>
            </a:endParaRPr>
          </a:p>
        </p:txBody>
      </p:sp>
      <p:sp>
        <p:nvSpPr>
          <p:cNvPr id="838" name="Rectangle 837">
            <a:extLst>
              <a:ext uri="{FF2B5EF4-FFF2-40B4-BE49-F238E27FC236}">
                <a16:creationId xmlns:a16="http://schemas.microsoft.com/office/drawing/2014/main" id="{3D69809E-E4B4-4E32-8568-6AC1AE9A1E8C}"/>
              </a:ext>
            </a:extLst>
          </p:cNvPr>
          <p:cNvSpPr/>
          <p:nvPr/>
        </p:nvSpPr>
        <p:spPr bwMode="gray">
          <a:xfrm>
            <a:off x="4148194" y="2907929"/>
            <a:ext cx="1415196" cy="1385876"/>
          </a:xfrm>
          <a:prstGeom prst="rect">
            <a:avLst/>
          </a:prstGeom>
          <a:solidFill>
            <a:schemeClr val="bg1"/>
          </a:solidFill>
          <a:ln w="28575" algn="ctr">
            <a:solidFill>
              <a:srgbClr val="86BC25"/>
            </a:solidFill>
            <a:prstDash val="sysDash"/>
            <a:miter lim="800000"/>
            <a:headEnd/>
            <a:tailEnd/>
          </a:ln>
        </p:spPr>
        <p:txBody>
          <a:bodyPr wrap="square" lIns="68746" tIns="68746" rIns="68746" bIns="68746" rtlCol="0" anchor="t">
            <a:noAutofit/>
          </a:bodyPr>
          <a:lstStyle/>
          <a:p>
            <a:pPr algn="ctr">
              <a:lnSpc>
                <a:spcPct val="106000"/>
              </a:lnSpc>
              <a:buFont typeface="Wingdings 2" pitchFamily="18" charset="2"/>
              <a:buNone/>
            </a:pPr>
            <a:r>
              <a:rPr lang="en-US" sz="1354" b="1" dirty="0">
                <a:latin typeface="Open Sans" panose="020B0606030504020204" pitchFamily="34" charset="0"/>
                <a:ea typeface="Open Sans" panose="020B0606030504020204" pitchFamily="34" charset="0"/>
                <a:cs typeface="Open Sans" panose="020B0606030504020204" pitchFamily="34" charset="0"/>
              </a:rPr>
              <a:t>Product Backlog </a:t>
            </a:r>
          </a:p>
        </p:txBody>
      </p:sp>
      <p:pic>
        <p:nvPicPr>
          <p:cNvPr id="839" name="Picture 838">
            <a:extLst>
              <a:ext uri="{FF2B5EF4-FFF2-40B4-BE49-F238E27FC236}">
                <a16:creationId xmlns:a16="http://schemas.microsoft.com/office/drawing/2014/main" id="{1605420E-91D2-4EF6-86B8-ECDAC3C2F14E}"/>
              </a:ext>
            </a:extLst>
          </p:cNvPr>
          <p:cNvPicPr>
            <a:picLocks noChangeAspect="1"/>
          </p:cNvPicPr>
          <p:nvPr/>
        </p:nvPicPr>
        <p:blipFill>
          <a:blip r:embed="rId10"/>
          <a:stretch>
            <a:fillRect/>
          </a:stretch>
        </p:blipFill>
        <p:spPr>
          <a:xfrm>
            <a:off x="4382980" y="3510845"/>
            <a:ext cx="962446" cy="687460"/>
          </a:xfrm>
          <a:prstGeom prst="rect">
            <a:avLst/>
          </a:prstGeom>
        </p:spPr>
      </p:pic>
      <p:cxnSp>
        <p:nvCxnSpPr>
          <p:cNvPr id="840" name="Straight Connector 198">
            <a:extLst>
              <a:ext uri="{FF2B5EF4-FFF2-40B4-BE49-F238E27FC236}">
                <a16:creationId xmlns:a16="http://schemas.microsoft.com/office/drawing/2014/main" id="{FF488D72-717D-441A-BC4C-A34C2E933FF5}"/>
              </a:ext>
            </a:extLst>
          </p:cNvPr>
          <p:cNvCxnSpPr>
            <a:cxnSpLocks/>
            <a:stCxn id="841" idx="1"/>
            <a:endCxn id="838" idx="3"/>
          </p:cNvCxnSpPr>
          <p:nvPr/>
        </p:nvCxnSpPr>
        <p:spPr>
          <a:xfrm rot="10800000" flipV="1">
            <a:off x="5563390" y="2615373"/>
            <a:ext cx="909134" cy="985493"/>
          </a:xfrm>
          <a:prstGeom prst="bentConnector3">
            <a:avLst>
              <a:gd name="adj1" fmla="val 50000"/>
            </a:avLst>
          </a:prstGeom>
          <a:ln w="28575">
            <a:solidFill>
              <a:srgbClr val="75787B"/>
            </a:solidFill>
            <a:prstDash val="dash"/>
          </a:ln>
        </p:spPr>
        <p:style>
          <a:lnRef idx="1">
            <a:schemeClr val="accent1"/>
          </a:lnRef>
          <a:fillRef idx="0">
            <a:schemeClr val="accent1"/>
          </a:fillRef>
          <a:effectRef idx="0">
            <a:schemeClr val="accent1"/>
          </a:effectRef>
          <a:fontRef idx="minor">
            <a:schemeClr val="tx1"/>
          </a:fontRef>
        </p:style>
      </p:cxnSp>
      <p:sp>
        <p:nvSpPr>
          <p:cNvPr id="841" name="Rectangle 840">
            <a:extLst>
              <a:ext uri="{FF2B5EF4-FFF2-40B4-BE49-F238E27FC236}">
                <a16:creationId xmlns:a16="http://schemas.microsoft.com/office/drawing/2014/main" id="{496B3699-0515-4695-8C84-74BEF31CBB94}"/>
              </a:ext>
            </a:extLst>
          </p:cNvPr>
          <p:cNvSpPr/>
          <p:nvPr/>
        </p:nvSpPr>
        <p:spPr bwMode="gray">
          <a:xfrm>
            <a:off x="6472524" y="2296179"/>
            <a:ext cx="4564851" cy="638389"/>
          </a:xfrm>
          <a:prstGeom prst="rect">
            <a:avLst/>
          </a:prstGeom>
          <a:solidFill>
            <a:schemeClr val="bg1"/>
          </a:solidFill>
          <a:ln w="28575" algn="ctr">
            <a:solidFill>
              <a:srgbClr val="86BC25"/>
            </a:solidFill>
            <a:prstDash val="sysDash"/>
            <a:miter lim="800000"/>
            <a:headEnd/>
            <a:tailEnd/>
          </a:ln>
        </p:spPr>
        <p:txBody>
          <a:bodyPr wrap="square" lIns="68746" tIns="68746" rIns="68746" bIns="68746" rtlCol="0" anchor="ctr">
            <a:noAutofit/>
          </a:bodyPr>
          <a:lstStyle/>
          <a:p>
            <a:pPr>
              <a:lnSpc>
                <a:spcPct val="106000"/>
              </a:lnSpc>
              <a:buFont typeface="Wingdings 2" pitchFamily="18" charset="2"/>
              <a:buNone/>
            </a:pPr>
            <a:r>
              <a:rPr lang="en-US" sz="1400" dirty="0">
                <a:solidFill>
                  <a:srgbClr val="000000"/>
                </a:solidFill>
                <a:ea typeface="Verdana" panose="020B0604030504040204" pitchFamily="34" charset="0"/>
                <a:cs typeface="Verdana" panose="020B0604030504040204" pitchFamily="34" charset="0"/>
              </a:rPr>
              <a:t>Dynamic, prioritized list of Features and User Stories</a:t>
            </a:r>
            <a:endParaRPr lang="en-US" sz="1400" b="1" dirty="0">
              <a:ea typeface="Open Sans" panose="020B0606030504020204" pitchFamily="34" charset="0"/>
              <a:cs typeface="Open Sans" panose="020B0606030504020204" pitchFamily="34" charset="0"/>
            </a:endParaRPr>
          </a:p>
        </p:txBody>
      </p:sp>
      <p:sp>
        <p:nvSpPr>
          <p:cNvPr id="842" name="Rectangle 841">
            <a:extLst>
              <a:ext uri="{FF2B5EF4-FFF2-40B4-BE49-F238E27FC236}">
                <a16:creationId xmlns:a16="http://schemas.microsoft.com/office/drawing/2014/main" id="{4E0B618E-2584-418F-AE1B-0A596D81D238}"/>
              </a:ext>
            </a:extLst>
          </p:cNvPr>
          <p:cNvSpPr/>
          <p:nvPr/>
        </p:nvSpPr>
        <p:spPr bwMode="gray">
          <a:xfrm>
            <a:off x="6472524" y="3283353"/>
            <a:ext cx="4564851" cy="638389"/>
          </a:xfrm>
          <a:prstGeom prst="rect">
            <a:avLst/>
          </a:prstGeom>
          <a:solidFill>
            <a:schemeClr val="bg1"/>
          </a:solidFill>
          <a:ln w="28575" algn="ctr">
            <a:solidFill>
              <a:srgbClr val="86BC25"/>
            </a:solidFill>
            <a:prstDash val="sysDash"/>
            <a:miter lim="800000"/>
            <a:headEnd/>
            <a:tailEnd/>
          </a:ln>
        </p:spPr>
        <p:txBody>
          <a:bodyPr wrap="square" lIns="68746" tIns="68746" rIns="68746" bIns="68746" rtlCol="0" anchor="ctr">
            <a:noAutofit/>
          </a:bodyPr>
          <a:lstStyle/>
          <a:p>
            <a:pPr>
              <a:lnSpc>
                <a:spcPct val="106000"/>
              </a:lnSpc>
              <a:buFont typeface="Wingdings 2" pitchFamily="18" charset="2"/>
              <a:buNone/>
            </a:pPr>
            <a:r>
              <a:rPr lang="en-US" sz="1400" dirty="0">
                <a:solidFill>
                  <a:srgbClr val="000000"/>
                </a:solidFill>
                <a:ea typeface="Verdana" panose="020B0604030504040204" pitchFamily="34" charset="0"/>
                <a:cs typeface="Verdana" panose="020B0604030504040204" pitchFamily="34" charset="0"/>
              </a:rPr>
              <a:t>Refined by the Product Owner and Development team</a:t>
            </a:r>
            <a:endParaRPr lang="en-US" sz="1400" b="1" dirty="0">
              <a:ea typeface="Open Sans" panose="020B0606030504020204" pitchFamily="34" charset="0"/>
              <a:cs typeface="Open Sans" panose="020B0606030504020204" pitchFamily="34" charset="0"/>
            </a:endParaRPr>
          </a:p>
        </p:txBody>
      </p:sp>
      <p:sp>
        <p:nvSpPr>
          <p:cNvPr id="843" name="Rectangle 842">
            <a:extLst>
              <a:ext uri="{FF2B5EF4-FFF2-40B4-BE49-F238E27FC236}">
                <a16:creationId xmlns:a16="http://schemas.microsoft.com/office/drawing/2014/main" id="{8E1A50AC-B018-4402-A49E-E4613EE7E558}"/>
              </a:ext>
            </a:extLst>
          </p:cNvPr>
          <p:cNvSpPr/>
          <p:nvPr/>
        </p:nvSpPr>
        <p:spPr bwMode="gray">
          <a:xfrm>
            <a:off x="6485587" y="4270528"/>
            <a:ext cx="4564849" cy="638390"/>
          </a:xfrm>
          <a:prstGeom prst="rect">
            <a:avLst/>
          </a:prstGeom>
          <a:solidFill>
            <a:schemeClr val="bg1"/>
          </a:solidFill>
          <a:ln w="28575" algn="ctr">
            <a:solidFill>
              <a:srgbClr val="86BC25"/>
            </a:solidFill>
            <a:prstDash val="sysDash"/>
            <a:miter lim="800000"/>
            <a:headEnd/>
            <a:tailEnd/>
          </a:ln>
        </p:spPr>
        <p:txBody>
          <a:bodyPr wrap="square" lIns="68746" tIns="68746" rIns="68746" bIns="68746" rtlCol="0" anchor="ctr">
            <a:noAutofit/>
          </a:bodyPr>
          <a:lstStyle/>
          <a:p>
            <a:r>
              <a:rPr lang="en-US" sz="1400" dirty="0">
                <a:solidFill>
                  <a:srgbClr val="000000"/>
                </a:solidFill>
                <a:ea typeface="Verdana" panose="020B0604030504040204" pitchFamily="34" charset="0"/>
                <a:cs typeface="Verdana" panose="020B0604030504040204" pitchFamily="34" charset="0"/>
              </a:rPr>
              <a:t>Continually refined to contain at least 3 sprints’ worth of ready future work</a:t>
            </a:r>
          </a:p>
        </p:txBody>
      </p:sp>
      <p:cxnSp>
        <p:nvCxnSpPr>
          <p:cNvPr id="844" name="Connector: Elbow 843">
            <a:extLst>
              <a:ext uri="{FF2B5EF4-FFF2-40B4-BE49-F238E27FC236}">
                <a16:creationId xmlns:a16="http://schemas.microsoft.com/office/drawing/2014/main" id="{6AC9D9B2-FF72-401F-963B-B9E9AA191AF9}"/>
              </a:ext>
            </a:extLst>
          </p:cNvPr>
          <p:cNvCxnSpPr>
            <a:cxnSpLocks/>
          </p:cNvCxnSpPr>
          <p:nvPr/>
        </p:nvCxnSpPr>
        <p:spPr>
          <a:xfrm>
            <a:off x="5563390" y="3600867"/>
            <a:ext cx="909134" cy="1681"/>
          </a:xfrm>
          <a:prstGeom prst="bentConnector3">
            <a:avLst>
              <a:gd name="adj1" fmla="val 50000"/>
            </a:avLst>
          </a:prstGeom>
          <a:ln w="28575">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845" name="Straight Connector 198">
            <a:extLst>
              <a:ext uri="{FF2B5EF4-FFF2-40B4-BE49-F238E27FC236}">
                <a16:creationId xmlns:a16="http://schemas.microsoft.com/office/drawing/2014/main" id="{FD9C0198-BEA6-46CA-BEC3-B903F5CA3B04}"/>
              </a:ext>
            </a:extLst>
          </p:cNvPr>
          <p:cNvCxnSpPr>
            <a:cxnSpLocks/>
          </p:cNvCxnSpPr>
          <p:nvPr/>
        </p:nvCxnSpPr>
        <p:spPr>
          <a:xfrm rot="10800000">
            <a:off x="5563391" y="3600867"/>
            <a:ext cx="922197" cy="988856"/>
          </a:xfrm>
          <a:prstGeom prst="bentConnector3">
            <a:avLst>
              <a:gd name="adj1" fmla="val 50000"/>
            </a:avLst>
          </a:prstGeom>
          <a:ln w="28575">
            <a:solidFill>
              <a:srgbClr val="75787B"/>
            </a:solidFill>
            <a:prstDash val="dash"/>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699085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7" name="Rectangle 836">
            <a:extLst>
              <a:ext uri="{FF2B5EF4-FFF2-40B4-BE49-F238E27FC236}">
                <a16:creationId xmlns:a16="http://schemas.microsoft.com/office/drawing/2014/main" id="{4DF47F4A-ADCC-45F6-AD02-3C4C3C5E1C27}"/>
              </a:ext>
            </a:extLst>
          </p:cNvPr>
          <p:cNvSpPr/>
          <p:nvPr/>
        </p:nvSpPr>
        <p:spPr bwMode="gray">
          <a:xfrm>
            <a:off x="392960" y="4345817"/>
            <a:ext cx="2884456" cy="2024059"/>
          </a:xfrm>
          <a:prstGeom prst="rect">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itle 3">
            <a:extLst>
              <a:ext uri="{FF2B5EF4-FFF2-40B4-BE49-F238E27FC236}">
                <a16:creationId xmlns:a16="http://schemas.microsoft.com/office/drawing/2014/main" id="{A21F36B2-2A37-4842-A8E4-8168BE7C77FB}"/>
              </a:ext>
            </a:extLst>
          </p:cNvPr>
          <p:cNvSpPr>
            <a:spLocks noGrp="1"/>
          </p:cNvSpPr>
          <p:nvPr>
            <p:ph type="title"/>
          </p:nvPr>
        </p:nvSpPr>
        <p:spPr/>
        <p:txBody>
          <a:bodyPr/>
          <a:lstStyle/>
          <a:p>
            <a:r>
              <a:rPr lang="en-US" dirty="0"/>
              <a:t>Discovery: Develop initial Roadmap</a:t>
            </a:r>
          </a:p>
        </p:txBody>
      </p:sp>
      <p:sp>
        <p:nvSpPr>
          <p:cNvPr id="379" name="Text Placeholder 26">
            <a:extLst>
              <a:ext uri="{FF2B5EF4-FFF2-40B4-BE49-F238E27FC236}">
                <a16:creationId xmlns:a16="http://schemas.microsoft.com/office/drawing/2014/main" id="{5AB413F5-343C-4AAA-B9AC-12FE3978929D}"/>
              </a:ext>
            </a:extLst>
          </p:cNvPr>
          <p:cNvSpPr>
            <a:spLocks noGrp="1"/>
          </p:cNvSpPr>
          <p:nvPr>
            <p:ph type="body" sz="quarter" idx="13"/>
          </p:nvPr>
        </p:nvSpPr>
        <p:spPr/>
        <p:txBody>
          <a:bodyPr/>
          <a:lstStyle/>
          <a:p>
            <a:r>
              <a:rPr lang="en-US" dirty="0"/>
              <a:t> </a:t>
            </a:r>
          </a:p>
        </p:txBody>
      </p:sp>
      <p:graphicFrame>
        <p:nvGraphicFramePr>
          <p:cNvPr id="2088" name="Table 2087">
            <a:extLst>
              <a:ext uri="{FF2B5EF4-FFF2-40B4-BE49-F238E27FC236}">
                <a16:creationId xmlns:a16="http://schemas.microsoft.com/office/drawing/2014/main" id="{25698676-5C58-4D35-A8B7-8E336A7551CC}"/>
              </a:ext>
            </a:extLst>
          </p:cNvPr>
          <p:cNvGraphicFramePr>
            <a:graphicFrameLocks noGrp="1"/>
          </p:cNvGraphicFramePr>
          <p:nvPr/>
        </p:nvGraphicFramePr>
        <p:xfrm>
          <a:off x="4178627" y="3158850"/>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089" name="Rectangle 2088">
            <a:extLst>
              <a:ext uri="{FF2B5EF4-FFF2-40B4-BE49-F238E27FC236}">
                <a16:creationId xmlns:a16="http://schemas.microsoft.com/office/drawing/2014/main" id="{538DBED8-B7FE-4836-95D1-D23E7CB3103C}"/>
              </a:ext>
            </a:extLst>
          </p:cNvPr>
          <p:cNvSpPr>
            <a:spLocks/>
          </p:cNvSpPr>
          <p:nvPr/>
        </p:nvSpPr>
        <p:spPr bwMode="gray">
          <a:xfrm>
            <a:off x="9918827" y="1551301"/>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090" name="Table 2089">
            <a:extLst>
              <a:ext uri="{FF2B5EF4-FFF2-40B4-BE49-F238E27FC236}">
                <a16:creationId xmlns:a16="http://schemas.microsoft.com/office/drawing/2014/main" id="{CCD5D59F-617C-4091-9BEC-F2BEDDEF7D01}"/>
              </a:ext>
            </a:extLst>
          </p:cNvPr>
          <p:cNvGraphicFramePr>
            <a:graphicFrameLocks noGrp="1"/>
          </p:cNvGraphicFramePr>
          <p:nvPr/>
        </p:nvGraphicFramePr>
        <p:xfrm>
          <a:off x="468615" y="4440018"/>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091" name="Group 2090">
            <a:extLst>
              <a:ext uri="{FF2B5EF4-FFF2-40B4-BE49-F238E27FC236}">
                <a16:creationId xmlns:a16="http://schemas.microsoft.com/office/drawing/2014/main" id="{FA3C1DA5-2A52-4D78-9CB8-5B1ED2BE5D13}"/>
              </a:ext>
            </a:extLst>
          </p:cNvPr>
          <p:cNvGrpSpPr/>
          <p:nvPr/>
        </p:nvGrpSpPr>
        <p:grpSpPr>
          <a:xfrm>
            <a:off x="7902088" y="3305977"/>
            <a:ext cx="1851680" cy="1646153"/>
            <a:chOff x="7893402" y="3412713"/>
            <a:chExt cx="1856890" cy="1650785"/>
          </a:xfrm>
        </p:grpSpPr>
        <p:sp>
          <p:nvSpPr>
            <p:cNvPr id="2092" name="Rectangle 2091">
              <a:extLst>
                <a:ext uri="{FF2B5EF4-FFF2-40B4-BE49-F238E27FC236}">
                  <a16:creationId xmlns:a16="http://schemas.microsoft.com/office/drawing/2014/main" id="{1C669E47-2425-4A9C-B6FA-BCDD9F5F0914}"/>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2093" name="Rectangle 2092">
              <a:extLst>
                <a:ext uri="{FF2B5EF4-FFF2-40B4-BE49-F238E27FC236}">
                  <a16:creationId xmlns:a16="http://schemas.microsoft.com/office/drawing/2014/main" id="{1226DC2C-2BA0-42DD-BAC4-98CD84DB843D}"/>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2094" name="Group 2093">
              <a:extLst>
                <a:ext uri="{FF2B5EF4-FFF2-40B4-BE49-F238E27FC236}">
                  <a16:creationId xmlns:a16="http://schemas.microsoft.com/office/drawing/2014/main" id="{4018B3BA-F4A9-4CB0-A81F-A4E27B5E73DB}"/>
                </a:ext>
              </a:extLst>
            </p:cNvPr>
            <p:cNvGrpSpPr>
              <a:grpSpLocks/>
            </p:cNvGrpSpPr>
            <p:nvPr/>
          </p:nvGrpSpPr>
          <p:grpSpPr>
            <a:xfrm>
              <a:off x="8732469" y="4576554"/>
              <a:ext cx="486942" cy="486944"/>
              <a:chOff x="9882273" y="6953856"/>
              <a:chExt cx="473625" cy="473627"/>
            </a:xfrm>
          </p:grpSpPr>
          <p:grpSp>
            <p:nvGrpSpPr>
              <p:cNvPr id="2118" name="Group 64">
                <a:extLst>
                  <a:ext uri="{FF2B5EF4-FFF2-40B4-BE49-F238E27FC236}">
                    <a16:creationId xmlns:a16="http://schemas.microsoft.com/office/drawing/2014/main" id="{DC979671-E4F1-468E-9C3B-01580A58710E}"/>
                  </a:ext>
                </a:extLst>
              </p:cNvPr>
              <p:cNvGrpSpPr>
                <a:grpSpLocks noChangeAspect="1"/>
              </p:cNvGrpSpPr>
              <p:nvPr/>
            </p:nvGrpSpPr>
            <p:grpSpPr bwMode="auto">
              <a:xfrm rot="8100000">
                <a:off x="9882273" y="6953856"/>
                <a:ext cx="473625" cy="473627"/>
                <a:chOff x="701" y="2170"/>
                <a:chExt cx="587" cy="587"/>
              </a:xfrm>
            </p:grpSpPr>
            <p:sp>
              <p:nvSpPr>
                <p:cNvPr id="2150" name="Oval 65">
                  <a:extLst>
                    <a:ext uri="{FF2B5EF4-FFF2-40B4-BE49-F238E27FC236}">
                      <a16:creationId xmlns:a16="http://schemas.microsoft.com/office/drawing/2014/main" id="{CD508788-B640-40DF-91A5-A3F245D0F39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1" name="Line 66">
                  <a:extLst>
                    <a:ext uri="{FF2B5EF4-FFF2-40B4-BE49-F238E27FC236}">
                      <a16:creationId xmlns:a16="http://schemas.microsoft.com/office/drawing/2014/main" id="{17316FC2-914A-4B92-B759-336E06AC88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2" name="Line 67">
                  <a:extLst>
                    <a:ext uri="{FF2B5EF4-FFF2-40B4-BE49-F238E27FC236}">
                      <a16:creationId xmlns:a16="http://schemas.microsoft.com/office/drawing/2014/main" id="{B11E12E1-EA7C-4ABE-8A24-2DF55E515C8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3" name="Line 69">
                  <a:extLst>
                    <a:ext uri="{FF2B5EF4-FFF2-40B4-BE49-F238E27FC236}">
                      <a16:creationId xmlns:a16="http://schemas.microsoft.com/office/drawing/2014/main" id="{7178D00E-79F4-49D9-862D-ECBC0715D6E2}"/>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4" name="Line 74">
                  <a:extLst>
                    <a:ext uri="{FF2B5EF4-FFF2-40B4-BE49-F238E27FC236}">
                      <a16:creationId xmlns:a16="http://schemas.microsoft.com/office/drawing/2014/main" id="{C489AE26-4BAE-4983-8E24-D960A7FAA69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Freeform 78">
                  <a:extLst>
                    <a:ext uri="{FF2B5EF4-FFF2-40B4-BE49-F238E27FC236}">
                      <a16:creationId xmlns:a16="http://schemas.microsoft.com/office/drawing/2014/main" id="{AF00986A-31DC-4BFC-902E-48818E8388E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80">
                  <a:extLst>
                    <a:ext uri="{FF2B5EF4-FFF2-40B4-BE49-F238E27FC236}">
                      <a16:creationId xmlns:a16="http://schemas.microsoft.com/office/drawing/2014/main" id="{21A42C36-6533-48C9-8BF4-00F522A96D3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9" name="Group 2118">
                <a:extLst>
                  <a:ext uri="{FF2B5EF4-FFF2-40B4-BE49-F238E27FC236}">
                    <a16:creationId xmlns:a16="http://schemas.microsoft.com/office/drawing/2014/main" id="{3093853F-A565-4B6A-A062-79427CC86038}"/>
                  </a:ext>
                </a:extLst>
              </p:cNvPr>
              <p:cNvGrpSpPr/>
              <p:nvPr/>
            </p:nvGrpSpPr>
            <p:grpSpPr>
              <a:xfrm>
                <a:off x="9938546" y="7021642"/>
                <a:ext cx="356509" cy="349884"/>
                <a:chOff x="468738" y="2241878"/>
                <a:chExt cx="1655483" cy="1624719"/>
              </a:xfrm>
            </p:grpSpPr>
            <p:sp>
              <p:nvSpPr>
                <p:cNvPr id="2120" name="Freeform 5">
                  <a:extLst>
                    <a:ext uri="{FF2B5EF4-FFF2-40B4-BE49-F238E27FC236}">
                      <a16:creationId xmlns:a16="http://schemas.microsoft.com/office/drawing/2014/main" id="{DF09CF73-ABB3-40B9-8FBB-D7ED124A0A2A}"/>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6">
                  <a:extLst>
                    <a:ext uri="{FF2B5EF4-FFF2-40B4-BE49-F238E27FC236}">
                      <a16:creationId xmlns:a16="http://schemas.microsoft.com/office/drawing/2014/main" id="{469EF966-E092-499D-B70A-6F772E4289D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2" name="Line 7">
                  <a:extLst>
                    <a:ext uri="{FF2B5EF4-FFF2-40B4-BE49-F238E27FC236}">
                      <a16:creationId xmlns:a16="http://schemas.microsoft.com/office/drawing/2014/main" id="{68424CB0-3822-4E76-959F-68323CDE000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3" name="Freeform 8">
                  <a:extLst>
                    <a:ext uri="{FF2B5EF4-FFF2-40B4-BE49-F238E27FC236}">
                      <a16:creationId xmlns:a16="http://schemas.microsoft.com/office/drawing/2014/main" id="{2C2B8825-FEEA-4EF4-A3A8-EB1ED69B0966}"/>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9">
                  <a:extLst>
                    <a:ext uri="{FF2B5EF4-FFF2-40B4-BE49-F238E27FC236}">
                      <a16:creationId xmlns:a16="http://schemas.microsoft.com/office/drawing/2014/main" id="{DFB0CFB8-48B3-48CA-8AA1-80952C2AE8B1}"/>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25" name="Group 2124">
                  <a:extLst>
                    <a:ext uri="{FF2B5EF4-FFF2-40B4-BE49-F238E27FC236}">
                      <a16:creationId xmlns:a16="http://schemas.microsoft.com/office/drawing/2014/main" id="{1ED2C071-F483-4A41-B8D4-4327750C9BA6}"/>
                    </a:ext>
                  </a:extLst>
                </p:cNvPr>
                <p:cNvGrpSpPr/>
                <p:nvPr/>
              </p:nvGrpSpPr>
              <p:grpSpPr>
                <a:xfrm>
                  <a:off x="1207113" y="2241878"/>
                  <a:ext cx="178734" cy="348678"/>
                  <a:chOff x="1207113" y="2241878"/>
                  <a:chExt cx="178734" cy="348678"/>
                </a:xfrm>
              </p:grpSpPr>
              <p:sp>
                <p:nvSpPr>
                  <p:cNvPr id="2148" name="Freeform 10">
                    <a:extLst>
                      <a:ext uri="{FF2B5EF4-FFF2-40B4-BE49-F238E27FC236}">
                        <a16:creationId xmlns:a16="http://schemas.microsoft.com/office/drawing/2014/main" id="{438CA79C-0E56-4806-A11B-2D07AE2D42C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9" name="Line 11">
                    <a:extLst>
                      <a:ext uri="{FF2B5EF4-FFF2-40B4-BE49-F238E27FC236}">
                        <a16:creationId xmlns:a16="http://schemas.microsoft.com/office/drawing/2014/main" id="{D6580E37-9642-4BAB-A5CC-A13F838A7BC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26" name="Freeform 12">
                  <a:extLst>
                    <a:ext uri="{FF2B5EF4-FFF2-40B4-BE49-F238E27FC236}">
                      <a16:creationId xmlns:a16="http://schemas.microsoft.com/office/drawing/2014/main" id="{EDE422A2-19C8-4FF4-ADF8-74987CA83A4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13">
                  <a:extLst>
                    <a:ext uri="{FF2B5EF4-FFF2-40B4-BE49-F238E27FC236}">
                      <a16:creationId xmlns:a16="http://schemas.microsoft.com/office/drawing/2014/main" id="{C9546F35-D363-43F4-ABA9-C150E6954C9E}"/>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Freeform 14">
                  <a:extLst>
                    <a:ext uri="{FF2B5EF4-FFF2-40B4-BE49-F238E27FC236}">
                      <a16:creationId xmlns:a16="http://schemas.microsoft.com/office/drawing/2014/main" id="{CB8E3185-30C3-470C-B0B3-9F66CD973A8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15">
                  <a:extLst>
                    <a:ext uri="{FF2B5EF4-FFF2-40B4-BE49-F238E27FC236}">
                      <a16:creationId xmlns:a16="http://schemas.microsoft.com/office/drawing/2014/main" id="{13BE7968-3BB6-41FC-BAB8-E1A73691EC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16">
                  <a:extLst>
                    <a:ext uri="{FF2B5EF4-FFF2-40B4-BE49-F238E27FC236}">
                      <a16:creationId xmlns:a16="http://schemas.microsoft.com/office/drawing/2014/main" id="{B0240DB1-129C-4FCF-A019-ED60AC06124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Line 17">
                  <a:extLst>
                    <a:ext uri="{FF2B5EF4-FFF2-40B4-BE49-F238E27FC236}">
                      <a16:creationId xmlns:a16="http://schemas.microsoft.com/office/drawing/2014/main" id="{05D62E0F-2C6B-4925-A5A7-F81B3324A44F}"/>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2" name="Freeform 18">
                  <a:extLst>
                    <a:ext uri="{FF2B5EF4-FFF2-40B4-BE49-F238E27FC236}">
                      <a16:creationId xmlns:a16="http://schemas.microsoft.com/office/drawing/2014/main" id="{7053162F-E754-4060-918F-4D906F46E68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3" name="Line 19">
                  <a:extLst>
                    <a:ext uri="{FF2B5EF4-FFF2-40B4-BE49-F238E27FC236}">
                      <a16:creationId xmlns:a16="http://schemas.microsoft.com/office/drawing/2014/main" id="{08DDFC9B-5D9E-4DD6-8107-D97357B0D6E2}"/>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4" name="Freeform 35">
                  <a:extLst>
                    <a:ext uri="{FF2B5EF4-FFF2-40B4-BE49-F238E27FC236}">
                      <a16:creationId xmlns:a16="http://schemas.microsoft.com/office/drawing/2014/main" id="{6FEC5306-B5F6-4EB8-9EB5-37900CA9141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36">
                  <a:extLst>
                    <a:ext uri="{FF2B5EF4-FFF2-40B4-BE49-F238E27FC236}">
                      <a16:creationId xmlns:a16="http://schemas.microsoft.com/office/drawing/2014/main" id="{2C534636-34FD-42BE-9C36-888A03C22F1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Freeform 37">
                  <a:extLst>
                    <a:ext uri="{FF2B5EF4-FFF2-40B4-BE49-F238E27FC236}">
                      <a16:creationId xmlns:a16="http://schemas.microsoft.com/office/drawing/2014/main" id="{27BCF1F2-3B23-4647-B34D-648D1F4ECA04}"/>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38">
                  <a:extLst>
                    <a:ext uri="{FF2B5EF4-FFF2-40B4-BE49-F238E27FC236}">
                      <a16:creationId xmlns:a16="http://schemas.microsoft.com/office/drawing/2014/main" id="{36CAF972-97C0-44E9-B5A9-59EC880A70AB}"/>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8" name="Freeform 39">
                  <a:extLst>
                    <a:ext uri="{FF2B5EF4-FFF2-40B4-BE49-F238E27FC236}">
                      <a16:creationId xmlns:a16="http://schemas.microsoft.com/office/drawing/2014/main" id="{A08BC316-26DD-41C2-9898-56E0E309D1EF}"/>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9" name="Freeform 40">
                  <a:extLst>
                    <a:ext uri="{FF2B5EF4-FFF2-40B4-BE49-F238E27FC236}">
                      <a16:creationId xmlns:a16="http://schemas.microsoft.com/office/drawing/2014/main" id="{31CD5408-1815-4D3B-B571-D2F2823C3297}"/>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0" name="Freeform 41">
                  <a:extLst>
                    <a:ext uri="{FF2B5EF4-FFF2-40B4-BE49-F238E27FC236}">
                      <a16:creationId xmlns:a16="http://schemas.microsoft.com/office/drawing/2014/main" id="{43FC500F-07FF-4B24-9337-6DB73D7858A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42">
                  <a:extLst>
                    <a:ext uri="{FF2B5EF4-FFF2-40B4-BE49-F238E27FC236}">
                      <a16:creationId xmlns:a16="http://schemas.microsoft.com/office/drawing/2014/main" id="{F4B72077-F12B-4384-9AC7-7FD03D4FF21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43">
                  <a:extLst>
                    <a:ext uri="{FF2B5EF4-FFF2-40B4-BE49-F238E27FC236}">
                      <a16:creationId xmlns:a16="http://schemas.microsoft.com/office/drawing/2014/main" id="{7750E75D-CC56-4175-AE30-04F8CC701AB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Freeform 44">
                  <a:extLst>
                    <a:ext uri="{FF2B5EF4-FFF2-40B4-BE49-F238E27FC236}">
                      <a16:creationId xmlns:a16="http://schemas.microsoft.com/office/drawing/2014/main" id="{1A946C20-548B-46FF-B5CD-65BF1FF000E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45">
                  <a:extLst>
                    <a:ext uri="{FF2B5EF4-FFF2-40B4-BE49-F238E27FC236}">
                      <a16:creationId xmlns:a16="http://schemas.microsoft.com/office/drawing/2014/main" id="{400F5C81-5325-42B2-B211-DB982165927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45" name="Group 2144">
                  <a:extLst>
                    <a:ext uri="{FF2B5EF4-FFF2-40B4-BE49-F238E27FC236}">
                      <a16:creationId xmlns:a16="http://schemas.microsoft.com/office/drawing/2014/main" id="{D46CF3AD-21EF-4637-837D-5939D8D23242}"/>
                    </a:ext>
                  </a:extLst>
                </p:cNvPr>
                <p:cNvGrpSpPr/>
                <p:nvPr/>
              </p:nvGrpSpPr>
              <p:grpSpPr>
                <a:xfrm flipV="1">
                  <a:off x="1202047" y="3517919"/>
                  <a:ext cx="178734" cy="348678"/>
                  <a:chOff x="1207113" y="2241878"/>
                  <a:chExt cx="178734" cy="348678"/>
                </a:xfrm>
              </p:grpSpPr>
              <p:sp>
                <p:nvSpPr>
                  <p:cNvPr id="2146" name="Freeform 10">
                    <a:extLst>
                      <a:ext uri="{FF2B5EF4-FFF2-40B4-BE49-F238E27FC236}">
                        <a16:creationId xmlns:a16="http://schemas.microsoft.com/office/drawing/2014/main" id="{F34AD819-060B-4E0C-A180-6511085434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1">
                    <a:extLst>
                      <a:ext uri="{FF2B5EF4-FFF2-40B4-BE49-F238E27FC236}">
                        <a16:creationId xmlns:a16="http://schemas.microsoft.com/office/drawing/2014/main" id="{0AA11204-94B8-4FC9-96F8-F3AF3A9B70F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95" name="Group 2094">
              <a:extLst>
                <a:ext uri="{FF2B5EF4-FFF2-40B4-BE49-F238E27FC236}">
                  <a16:creationId xmlns:a16="http://schemas.microsoft.com/office/drawing/2014/main" id="{0ED9436C-183E-42D4-B43A-2014C88E39EB}"/>
                </a:ext>
              </a:extLst>
            </p:cNvPr>
            <p:cNvGrpSpPr>
              <a:grpSpLocks/>
            </p:cNvGrpSpPr>
            <p:nvPr/>
          </p:nvGrpSpPr>
          <p:grpSpPr>
            <a:xfrm>
              <a:off x="9270466" y="4594229"/>
              <a:ext cx="427295" cy="427297"/>
              <a:chOff x="10412894" y="6962721"/>
              <a:chExt cx="415610" cy="415612"/>
            </a:xfrm>
          </p:grpSpPr>
          <p:grpSp>
            <p:nvGrpSpPr>
              <p:cNvPr id="2096" name="Group 64">
                <a:extLst>
                  <a:ext uri="{FF2B5EF4-FFF2-40B4-BE49-F238E27FC236}">
                    <a16:creationId xmlns:a16="http://schemas.microsoft.com/office/drawing/2014/main" id="{18AB1D0E-E6DA-4F88-AD8B-0F57D0222A59}"/>
                  </a:ext>
                </a:extLst>
              </p:cNvPr>
              <p:cNvGrpSpPr>
                <a:grpSpLocks noChangeAspect="1"/>
              </p:cNvGrpSpPr>
              <p:nvPr/>
            </p:nvGrpSpPr>
            <p:grpSpPr bwMode="auto">
              <a:xfrm rot="8100000">
                <a:off x="10412894" y="6962721"/>
                <a:ext cx="415610" cy="415612"/>
                <a:chOff x="701" y="2170"/>
                <a:chExt cx="587" cy="587"/>
              </a:xfrm>
            </p:grpSpPr>
            <p:sp>
              <p:nvSpPr>
                <p:cNvPr id="2111" name="Oval 65">
                  <a:extLst>
                    <a:ext uri="{FF2B5EF4-FFF2-40B4-BE49-F238E27FC236}">
                      <a16:creationId xmlns:a16="http://schemas.microsoft.com/office/drawing/2014/main" id="{65B5FA5E-E998-4CEB-A4A4-72026F3663B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2" name="Line 66">
                  <a:extLst>
                    <a:ext uri="{FF2B5EF4-FFF2-40B4-BE49-F238E27FC236}">
                      <a16:creationId xmlns:a16="http://schemas.microsoft.com/office/drawing/2014/main" id="{05F85E74-0E05-47A5-9608-3C1284BE590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3" name="Line 67">
                  <a:extLst>
                    <a:ext uri="{FF2B5EF4-FFF2-40B4-BE49-F238E27FC236}">
                      <a16:creationId xmlns:a16="http://schemas.microsoft.com/office/drawing/2014/main" id="{D5322D42-CFC4-463C-88C1-72670B1112A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4" name="Line 69">
                  <a:extLst>
                    <a:ext uri="{FF2B5EF4-FFF2-40B4-BE49-F238E27FC236}">
                      <a16:creationId xmlns:a16="http://schemas.microsoft.com/office/drawing/2014/main" id="{969B36A9-CDCC-46AA-BAF4-1FC82B21089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5" name="Line 74">
                  <a:extLst>
                    <a:ext uri="{FF2B5EF4-FFF2-40B4-BE49-F238E27FC236}">
                      <a16:creationId xmlns:a16="http://schemas.microsoft.com/office/drawing/2014/main" id="{0050B60D-0A87-487D-B843-7F84A67ABB3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78">
                  <a:extLst>
                    <a:ext uri="{FF2B5EF4-FFF2-40B4-BE49-F238E27FC236}">
                      <a16:creationId xmlns:a16="http://schemas.microsoft.com/office/drawing/2014/main" id="{665E0959-7968-40CE-A68B-11548CEDD17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80">
                  <a:extLst>
                    <a:ext uri="{FF2B5EF4-FFF2-40B4-BE49-F238E27FC236}">
                      <a16:creationId xmlns:a16="http://schemas.microsoft.com/office/drawing/2014/main" id="{9A0D8841-54F6-4583-99A9-C4C39E5FDEF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97" name="Group 2096">
                <a:extLst>
                  <a:ext uri="{FF2B5EF4-FFF2-40B4-BE49-F238E27FC236}">
                    <a16:creationId xmlns:a16="http://schemas.microsoft.com/office/drawing/2014/main" id="{527F3619-7399-42FA-8989-D8DDDB6FA903}"/>
                  </a:ext>
                </a:extLst>
              </p:cNvPr>
              <p:cNvGrpSpPr/>
              <p:nvPr/>
            </p:nvGrpSpPr>
            <p:grpSpPr>
              <a:xfrm>
                <a:off x="10462223" y="7069159"/>
                <a:ext cx="313949" cy="233075"/>
                <a:chOff x="3707533" y="2731244"/>
                <a:chExt cx="389644" cy="289271"/>
              </a:xfrm>
            </p:grpSpPr>
            <p:sp>
              <p:nvSpPr>
                <p:cNvPr id="2098" name="Freeform 33">
                  <a:extLst>
                    <a:ext uri="{FF2B5EF4-FFF2-40B4-BE49-F238E27FC236}">
                      <a16:creationId xmlns:a16="http://schemas.microsoft.com/office/drawing/2014/main" id="{AC3AEB44-05B3-42BA-AE24-50CD2B225FF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Freeform 34">
                  <a:extLst>
                    <a:ext uri="{FF2B5EF4-FFF2-40B4-BE49-F238E27FC236}">
                      <a16:creationId xmlns:a16="http://schemas.microsoft.com/office/drawing/2014/main" id="{E336B930-67A1-4737-949A-E74DE1C5FCC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0" name="Freeform 37">
                  <a:extLst>
                    <a:ext uri="{FF2B5EF4-FFF2-40B4-BE49-F238E27FC236}">
                      <a16:creationId xmlns:a16="http://schemas.microsoft.com/office/drawing/2014/main" id="{14930BF9-4558-4F6C-BDA1-5177AFA7041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1" name="Freeform 38">
                  <a:extLst>
                    <a:ext uri="{FF2B5EF4-FFF2-40B4-BE49-F238E27FC236}">
                      <a16:creationId xmlns:a16="http://schemas.microsoft.com/office/drawing/2014/main" id="{8E506DBE-06A0-48F7-8FC8-FA310CE5DFEF}"/>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2" name="Freeform 32">
                  <a:extLst>
                    <a:ext uri="{FF2B5EF4-FFF2-40B4-BE49-F238E27FC236}">
                      <a16:creationId xmlns:a16="http://schemas.microsoft.com/office/drawing/2014/main" id="{D9FA7C2A-2166-40A4-9F90-C8235166950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35">
                  <a:extLst>
                    <a:ext uri="{FF2B5EF4-FFF2-40B4-BE49-F238E27FC236}">
                      <a16:creationId xmlns:a16="http://schemas.microsoft.com/office/drawing/2014/main" id="{4134E0AC-9C1C-44E1-A6F4-B84FB54CF63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36">
                  <a:extLst>
                    <a:ext uri="{FF2B5EF4-FFF2-40B4-BE49-F238E27FC236}">
                      <a16:creationId xmlns:a16="http://schemas.microsoft.com/office/drawing/2014/main" id="{68072677-8E2F-4B76-9069-90CA4F41394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5" name="Freeform 25">
                  <a:extLst>
                    <a:ext uri="{FF2B5EF4-FFF2-40B4-BE49-F238E27FC236}">
                      <a16:creationId xmlns:a16="http://schemas.microsoft.com/office/drawing/2014/main" id="{461D146A-49BD-4547-967F-FF3854DF9A45}"/>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6" name="Freeform 39">
                  <a:extLst>
                    <a:ext uri="{FF2B5EF4-FFF2-40B4-BE49-F238E27FC236}">
                      <a16:creationId xmlns:a16="http://schemas.microsoft.com/office/drawing/2014/main" id="{B8D0742B-47CA-452F-ADFB-F342B2250B9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7" name="Freeform 26">
                  <a:extLst>
                    <a:ext uri="{FF2B5EF4-FFF2-40B4-BE49-F238E27FC236}">
                      <a16:creationId xmlns:a16="http://schemas.microsoft.com/office/drawing/2014/main" id="{1211F4B3-89CD-4B26-B732-E24F7A16BE1C}"/>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8" name="Rectangle 27">
                  <a:extLst>
                    <a:ext uri="{FF2B5EF4-FFF2-40B4-BE49-F238E27FC236}">
                      <a16:creationId xmlns:a16="http://schemas.microsoft.com/office/drawing/2014/main" id="{2F39C8CD-F370-44E0-B6D0-9FECBB02D298}"/>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09" name="Line 29">
                  <a:extLst>
                    <a:ext uri="{FF2B5EF4-FFF2-40B4-BE49-F238E27FC236}">
                      <a16:creationId xmlns:a16="http://schemas.microsoft.com/office/drawing/2014/main" id="{25235C23-74EF-4BBB-A9C0-21588DCA2AA7}"/>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10" name="Line 31">
                  <a:extLst>
                    <a:ext uri="{FF2B5EF4-FFF2-40B4-BE49-F238E27FC236}">
                      <a16:creationId xmlns:a16="http://schemas.microsoft.com/office/drawing/2014/main" id="{16B95BE2-9458-423B-848C-DEA5FF15EF5A}"/>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57" name="Group 2156">
            <a:extLst>
              <a:ext uri="{FF2B5EF4-FFF2-40B4-BE49-F238E27FC236}">
                <a16:creationId xmlns:a16="http://schemas.microsoft.com/office/drawing/2014/main" id="{A3F53B21-B989-4526-B9D9-3AF585A41521}"/>
              </a:ext>
            </a:extLst>
          </p:cNvPr>
          <p:cNvGrpSpPr/>
          <p:nvPr/>
        </p:nvGrpSpPr>
        <p:grpSpPr>
          <a:xfrm>
            <a:off x="5336641" y="3847678"/>
            <a:ext cx="4367346" cy="2539218"/>
            <a:chOff x="5338031" y="3986050"/>
            <a:chExt cx="4368484" cy="2539879"/>
          </a:xfrm>
        </p:grpSpPr>
        <p:grpSp>
          <p:nvGrpSpPr>
            <p:cNvPr id="2158" name="Group 2157">
              <a:extLst>
                <a:ext uri="{FF2B5EF4-FFF2-40B4-BE49-F238E27FC236}">
                  <a16:creationId xmlns:a16="http://schemas.microsoft.com/office/drawing/2014/main" id="{3816E7BD-500D-4A98-B9E8-FB4D8F1A725E}"/>
                </a:ext>
              </a:extLst>
            </p:cNvPr>
            <p:cNvGrpSpPr/>
            <p:nvPr/>
          </p:nvGrpSpPr>
          <p:grpSpPr>
            <a:xfrm>
              <a:off x="6626435" y="3986050"/>
              <a:ext cx="3080080" cy="2539879"/>
              <a:chOff x="6642908" y="3955938"/>
              <a:chExt cx="3087943" cy="2546363"/>
            </a:xfrm>
          </p:grpSpPr>
          <p:sp>
            <p:nvSpPr>
              <p:cNvPr id="2160" name="Rectangle 2159">
                <a:extLst>
                  <a:ext uri="{FF2B5EF4-FFF2-40B4-BE49-F238E27FC236}">
                    <a16:creationId xmlns:a16="http://schemas.microsoft.com/office/drawing/2014/main" id="{EE33E1DD-D86F-406F-AA75-ECA8B97CF39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161" name="Group 2160">
                <a:extLst>
                  <a:ext uri="{FF2B5EF4-FFF2-40B4-BE49-F238E27FC236}">
                    <a16:creationId xmlns:a16="http://schemas.microsoft.com/office/drawing/2014/main" id="{7B4AEC85-A9CF-42C1-A5D6-A84A74E512AB}"/>
                  </a:ext>
                </a:extLst>
              </p:cNvPr>
              <p:cNvGrpSpPr/>
              <p:nvPr/>
            </p:nvGrpSpPr>
            <p:grpSpPr>
              <a:xfrm>
                <a:off x="8222643" y="5655421"/>
                <a:ext cx="1030675" cy="846880"/>
                <a:chOff x="10800033" y="2297897"/>
                <a:chExt cx="1600558" cy="1315140"/>
              </a:xfrm>
            </p:grpSpPr>
            <p:grpSp>
              <p:nvGrpSpPr>
                <p:cNvPr id="2163" name="Group 2162">
                  <a:extLst>
                    <a:ext uri="{FF2B5EF4-FFF2-40B4-BE49-F238E27FC236}">
                      <a16:creationId xmlns:a16="http://schemas.microsoft.com/office/drawing/2014/main" id="{F488A4EA-6B19-4A29-A51F-11947BEC20E8}"/>
                    </a:ext>
                  </a:extLst>
                </p:cNvPr>
                <p:cNvGrpSpPr>
                  <a:grpSpLocks/>
                </p:cNvGrpSpPr>
                <p:nvPr/>
              </p:nvGrpSpPr>
              <p:grpSpPr>
                <a:xfrm>
                  <a:off x="10800033" y="2339037"/>
                  <a:ext cx="613092" cy="613092"/>
                  <a:chOff x="745985" y="4768134"/>
                  <a:chExt cx="368776" cy="368777"/>
                </a:xfrm>
              </p:grpSpPr>
              <p:grpSp>
                <p:nvGrpSpPr>
                  <p:cNvPr id="2227" name="Group 64">
                    <a:extLst>
                      <a:ext uri="{FF2B5EF4-FFF2-40B4-BE49-F238E27FC236}">
                        <a16:creationId xmlns:a16="http://schemas.microsoft.com/office/drawing/2014/main" id="{D91A28E9-E819-4B33-AAFA-F5B134B3A5E7}"/>
                      </a:ext>
                    </a:extLst>
                  </p:cNvPr>
                  <p:cNvGrpSpPr>
                    <a:grpSpLocks noChangeAspect="1"/>
                  </p:cNvGrpSpPr>
                  <p:nvPr/>
                </p:nvGrpSpPr>
                <p:grpSpPr bwMode="auto">
                  <a:xfrm rot="8100000">
                    <a:off x="745985" y="4768134"/>
                    <a:ext cx="368776" cy="368777"/>
                    <a:chOff x="701" y="2170"/>
                    <a:chExt cx="587" cy="587"/>
                  </a:xfrm>
                </p:grpSpPr>
                <p:sp>
                  <p:nvSpPr>
                    <p:cNvPr id="2238" name="Oval 65">
                      <a:extLst>
                        <a:ext uri="{FF2B5EF4-FFF2-40B4-BE49-F238E27FC236}">
                          <a16:creationId xmlns:a16="http://schemas.microsoft.com/office/drawing/2014/main" id="{710C7CD0-ACC7-47F5-BB17-B72C612A2E1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9" name="Line 66">
                      <a:extLst>
                        <a:ext uri="{FF2B5EF4-FFF2-40B4-BE49-F238E27FC236}">
                          <a16:creationId xmlns:a16="http://schemas.microsoft.com/office/drawing/2014/main" id="{15A62BF2-D8B8-41B3-AC7E-E56578BE5BD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0" name="Line 67">
                      <a:extLst>
                        <a:ext uri="{FF2B5EF4-FFF2-40B4-BE49-F238E27FC236}">
                          <a16:creationId xmlns:a16="http://schemas.microsoft.com/office/drawing/2014/main" id="{1053D753-1A28-4C20-A676-471C2793D4E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1" name="Line 69">
                      <a:extLst>
                        <a:ext uri="{FF2B5EF4-FFF2-40B4-BE49-F238E27FC236}">
                          <a16:creationId xmlns:a16="http://schemas.microsoft.com/office/drawing/2014/main" id="{B0E2D47E-7749-4395-8C1D-88844E97260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2" name="Line 74">
                      <a:extLst>
                        <a:ext uri="{FF2B5EF4-FFF2-40B4-BE49-F238E27FC236}">
                          <a16:creationId xmlns:a16="http://schemas.microsoft.com/office/drawing/2014/main" id="{95E6537A-B125-4F46-840E-7229804DA1D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3" name="Freeform 78">
                      <a:extLst>
                        <a:ext uri="{FF2B5EF4-FFF2-40B4-BE49-F238E27FC236}">
                          <a16:creationId xmlns:a16="http://schemas.microsoft.com/office/drawing/2014/main" id="{40470C41-8FA4-4CD9-B6F6-FA46F0EAEA5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44" name="Freeform 80">
                      <a:extLst>
                        <a:ext uri="{FF2B5EF4-FFF2-40B4-BE49-F238E27FC236}">
                          <a16:creationId xmlns:a16="http://schemas.microsoft.com/office/drawing/2014/main" id="{E34B0C0C-7D50-4ACB-8A43-B80A013ADEFD}"/>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28" name="Group 2227">
                    <a:extLst>
                      <a:ext uri="{FF2B5EF4-FFF2-40B4-BE49-F238E27FC236}">
                        <a16:creationId xmlns:a16="http://schemas.microsoft.com/office/drawing/2014/main" id="{DC7B0C1E-C593-4046-B3C7-EEF440A9906D}"/>
                      </a:ext>
                    </a:extLst>
                  </p:cNvPr>
                  <p:cNvGrpSpPr/>
                  <p:nvPr/>
                </p:nvGrpSpPr>
                <p:grpSpPr>
                  <a:xfrm>
                    <a:off x="837312" y="4814434"/>
                    <a:ext cx="136805" cy="278689"/>
                    <a:chOff x="2806700" y="2803319"/>
                    <a:chExt cx="433387" cy="882861"/>
                  </a:xfrm>
                </p:grpSpPr>
                <p:grpSp>
                  <p:nvGrpSpPr>
                    <p:cNvPr id="2229" name="Group 2228">
                      <a:extLst>
                        <a:ext uri="{FF2B5EF4-FFF2-40B4-BE49-F238E27FC236}">
                          <a16:creationId xmlns:a16="http://schemas.microsoft.com/office/drawing/2014/main" id="{E802251B-916F-4056-918C-34F9F2E305B3}"/>
                        </a:ext>
                      </a:extLst>
                    </p:cNvPr>
                    <p:cNvGrpSpPr>
                      <a:grpSpLocks noChangeAspect="1"/>
                    </p:cNvGrpSpPr>
                    <p:nvPr/>
                  </p:nvGrpSpPr>
                  <p:grpSpPr bwMode="auto">
                    <a:xfrm>
                      <a:off x="2806700" y="3043242"/>
                      <a:ext cx="433387" cy="642938"/>
                      <a:chOff x="1768" y="1917"/>
                      <a:chExt cx="273" cy="405"/>
                    </a:xfrm>
                  </p:grpSpPr>
                  <p:sp>
                    <p:nvSpPr>
                      <p:cNvPr id="2231" name="Freeform 52">
                        <a:extLst>
                          <a:ext uri="{FF2B5EF4-FFF2-40B4-BE49-F238E27FC236}">
                            <a16:creationId xmlns:a16="http://schemas.microsoft.com/office/drawing/2014/main" id="{192C617C-54ED-41D7-BF54-B1191B86290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32" name="Line 54">
                        <a:extLst>
                          <a:ext uri="{FF2B5EF4-FFF2-40B4-BE49-F238E27FC236}">
                            <a16:creationId xmlns:a16="http://schemas.microsoft.com/office/drawing/2014/main" id="{F1D93AA1-C9F5-4CD3-8C84-58E16DD8C70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3" name="Line 55">
                        <a:extLst>
                          <a:ext uri="{FF2B5EF4-FFF2-40B4-BE49-F238E27FC236}">
                            <a16:creationId xmlns:a16="http://schemas.microsoft.com/office/drawing/2014/main" id="{A76C7802-1BDB-493F-B4DE-9244B410BC8E}"/>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4" name="Freeform 56">
                        <a:extLst>
                          <a:ext uri="{FF2B5EF4-FFF2-40B4-BE49-F238E27FC236}">
                            <a16:creationId xmlns:a16="http://schemas.microsoft.com/office/drawing/2014/main" id="{E5574C13-BA7F-496E-BAE8-DA3839AC7C1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5" name="Line 57">
                        <a:extLst>
                          <a:ext uri="{FF2B5EF4-FFF2-40B4-BE49-F238E27FC236}">
                            <a16:creationId xmlns:a16="http://schemas.microsoft.com/office/drawing/2014/main" id="{CA15A088-9F57-47EE-B688-D99FF24C952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6" name="Freeform 58">
                        <a:extLst>
                          <a:ext uri="{FF2B5EF4-FFF2-40B4-BE49-F238E27FC236}">
                            <a16:creationId xmlns:a16="http://schemas.microsoft.com/office/drawing/2014/main" id="{058FE3D1-C0C3-4751-ABBA-B8B392B6A96F}"/>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37" name="Rectangle 2236">
                        <a:extLst>
                          <a:ext uri="{FF2B5EF4-FFF2-40B4-BE49-F238E27FC236}">
                            <a16:creationId xmlns:a16="http://schemas.microsoft.com/office/drawing/2014/main" id="{60D10146-0BB3-45E6-B554-ED8BA9B78FE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230" name="Oval 2229">
                      <a:extLst>
                        <a:ext uri="{FF2B5EF4-FFF2-40B4-BE49-F238E27FC236}">
                          <a16:creationId xmlns:a16="http://schemas.microsoft.com/office/drawing/2014/main" id="{0E89C224-7192-4BCD-9B0A-0A944110F01F}"/>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64" name="Group 2163">
                  <a:extLst>
                    <a:ext uri="{FF2B5EF4-FFF2-40B4-BE49-F238E27FC236}">
                      <a16:creationId xmlns:a16="http://schemas.microsoft.com/office/drawing/2014/main" id="{B10CBD6C-F7C8-4A57-9ACA-D1A199EA9DCF}"/>
                    </a:ext>
                  </a:extLst>
                </p:cNvPr>
                <p:cNvGrpSpPr>
                  <a:grpSpLocks/>
                </p:cNvGrpSpPr>
                <p:nvPr/>
              </p:nvGrpSpPr>
              <p:grpSpPr>
                <a:xfrm>
                  <a:off x="11166615" y="2825631"/>
                  <a:ext cx="787402" cy="787406"/>
                  <a:chOff x="1454941" y="4721722"/>
                  <a:chExt cx="473625" cy="473627"/>
                </a:xfrm>
              </p:grpSpPr>
              <p:grpSp>
                <p:nvGrpSpPr>
                  <p:cNvPr id="2188" name="Group 64">
                    <a:extLst>
                      <a:ext uri="{FF2B5EF4-FFF2-40B4-BE49-F238E27FC236}">
                        <a16:creationId xmlns:a16="http://schemas.microsoft.com/office/drawing/2014/main" id="{ABCE2FB1-37F0-43DF-BD59-2612C72D4837}"/>
                      </a:ext>
                    </a:extLst>
                  </p:cNvPr>
                  <p:cNvGrpSpPr>
                    <a:grpSpLocks noChangeAspect="1"/>
                  </p:cNvGrpSpPr>
                  <p:nvPr/>
                </p:nvGrpSpPr>
                <p:grpSpPr bwMode="auto">
                  <a:xfrm rot="8100000">
                    <a:off x="1454941" y="4721722"/>
                    <a:ext cx="473625" cy="473627"/>
                    <a:chOff x="701" y="2170"/>
                    <a:chExt cx="587" cy="587"/>
                  </a:xfrm>
                </p:grpSpPr>
                <p:sp>
                  <p:nvSpPr>
                    <p:cNvPr id="2220" name="Oval 65">
                      <a:extLst>
                        <a:ext uri="{FF2B5EF4-FFF2-40B4-BE49-F238E27FC236}">
                          <a16:creationId xmlns:a16="http://schemas.microsoft.com/office/drawing/2014/main" id="{15961140-1A10-4BFB-89AC-F38F1D154A0B}"/>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21" name="Line 66">
                      <a:extLst>
                        <a:ext uri="{FF2B5EF4-FFF2-40B4-BE49-F238E27FC236}">
                          <a16:creationId xmlns:a16="http://schemas.microsoft.com/office/drawing/2014/main" id="{006B9D65-8AE7-4509-8B64-FC4D4FC0ADF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2" name="Line 67">
                      <a:extLst>
                        <a:ext uri="{FF2B5EF4-FFF2-40B4-BE49-F238E27FC236}">
                          <a16:creationId xmlns:a16="http://schemas.microsoft.com/office/drawing/2014/main" id="{422739C9-BFEC-4494-9964-A8C5EAD50B9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Line 69">
                      <a:extLst>
                        <a:ext uri="{FF2B5EF4-FFF2-40B4-BE49-F238E27FC236}">
                          <a16:creationId xmlns:a16="http://schemas.microsoft.com/office/drawing/2014/main" id="{58DF49C2-AA2E-484D-8385-4ECF473647B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4" name="Line 74">
                      <a:extLst>
                        <a:ext uri="{FF2B5EF4-FFF2-40B4-BE49-F238E27FC236}">
                          <a16:creationId xmlns:a16="http://schemas.microsoft.com/office/drawing/2014/main" id="{4BD4124B-A4DE-462F-8F88-48258FCF99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5" name="Freeform 78">
                      <a:extLst>
                        <a:ext uri="{FF2B5EF4-FFF2-40B4-BE49-F238E27FC236}">
                          <a16:creationId xmlns:a16="http://schemas.microsoft.com/office/drawing/2014/main" id="{2520C878-1E4A-4B6B-BDFB-B88CEE25C4A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26" name="Freeform 80">
                      <a:extLst>
                        <a:ext uri="{FF2B5EF4-FFF2-40B4-BE49-F238E27FC236}">
                          <a16:creationId xmlns:a16="http://schemas.microsoft.com/office/drawing/2014/main" id="{2F761D6F-C8D8-4C87-983A-3C4B884C532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89" name="Group 2188">
                    <a:extLst>
                      <a:ext uri="{FF2B5EF4-FFF2-40B4-BE49-F238E27FC236}">
                        <a16:creationId xmlns:a16="http://schemas.microsoft.com/office/drawing/2014/main" id="{DEBD9B1D-166D-4170-B078-B2D377479FC6}"/>
                      </a:ext>
                    </a:extLst>
                  </p:cNvPr>
                  <p:cNvGrpSpPr/>
                  <p:nvPr/>
                </p:nvGrpSpPr>
                <p:grpSpPr>
                  <a:xfrm>
                    <a:off x="1511214" y="4789508"/>
                    <a:ext cx="356509" cy="349884"/>
                    <a:chOff x="468738" y="2241878"/>
                    <a:chExt cx="1655483" cy="1624719"/>
                  </a:xfrm>
                </p:grpSpPr>
                <p:sp>
                  <p:nvSpPr>
                    <p:cNvPr id="2190" name="Freeform 5">
                      <a:extLst>
                        <a:ext uri="{FF2B5EF4-FFF2-40B4-BE49-F238E27FC236}">
                          <a16:creationId xmlns:a16="http://schemas.microsoft.com/office/drawing/2014/main" id="{1D9A7314-AB98-4761-8699-586F6357DB6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91" name="Freeform 6">
                      <a:extLst>
                        <a:ext uri="{FF2B5EF4-FFF2-40B4-BE49-F238E27FC236}">
                          <a16:creationId xmlns:a16="http://schemas.microsoft.com/office/drawing/2014/main" id="{A64CF44D-CEA9-4DA5-8182-101680E2A41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2" name="Line 7">
                      <a:extLst>
                        <a:ext uri="{FF2B5EF4-FFF2-40B4-BE49-F238E27FC236}">
                          <a16:creationId xmlns:a16="http://schemas.microsoft.com/office/drawing/2014/main" id="{1C4A0DF9-5457-4922-9056-C7D3B4051B7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3" name="Freeform 8">
                      <a:extLst>
                        <a:ext uri="{FF2B5EF4-FFF2-40B4-BE49-F238E27FC236}">
                          <a16:creationId xmlns:a16="http://schemas.microsoft.com/office/drawing/2014/main" id="{738F72B4-50FB-4505-8A6C-54B5F20EE781}"/>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4" name="Line 9">
                      <a:extLst>
                        <a:ext uri="{FF2B5EF4-FFF2-40B4-BE49-F238E27FC236}">
                          <a16:creationId xmlns:a16="http://schemas.microsoft.com/office/drawing/2014/main" id="{5F21B2A7-081B-495B-B6F4-7E3C88CE811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95" name="Group 2194">
                      <a:extLst>
                        <a:ext uri="{FF2B5EF4-FFF2-40B4-BE49-F238E27FC236}">
                          <a16:creationId xmlns:a16="http://schemas.microsoft.com/office/drawing/2014/main" id="{0A3425A1-A771-4B1A-BA01-B5C61884E4A0}"/>
                        </a:ext>
                      </a:extLst>
                    </p:cNvPr>
                    <p:cNvGrpSpPr/>
                    <p:nvPr/>
                  </p:nvGrpSpPr>
                  <p:grpSpPr>
                    <a:xfrm>
                      <a:off x="1207113" y="2241878"/>
                      <a:ext cx="178734" cy="348678"/>
                      <a:chOff x="1207113" y="2241878"/>
                      <a:chExt cx="178734" cy="348678"/>
                    </a:xfrm>
                  </p:grpSpPr>
                  <p:sp>
                    <p:nvSpPr>
                      <p:cNvPr id="2218" name="Freeform 10">
                        <a:extLst>
                          <a:ext uri="{FF2B5EF4-FFF2-40B4-BE49-F238E27FC236}">
                            <a16:creationId xmlns:a16="http://schemas.microsoft.com/office/drawing/2014/main" id="{25371420-3620-4971-9DE1-63F97042398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Line 11">
                        <a:extLst>
                          <a:ext uri="{FF2B5EF4-FFF2-40B4-BE49-F238E27FC236}">
                            <a16:creationId xmlns:a16="http://schemas.microsoft.com/office/drawing/2014/main" id="{AC1D5B7B-67AB-4978-8205-867EF6E4AD2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96" name="Freeform 12">
                      <a:extLst>
                        <a:ext uri="{FF2B5EF4-FFF2-40B4-BE49-F238E27FC236}">
                          <a16:creationId xmlns:a16="http://schemas.microsoft.com/office/drawing/2014/main" id="{5FA19EC1-1058-4D85-88E9-468EF6D086ED}"/>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7" name="Line 13">
                      <a:extLst>
                        <a:ext uri="{FF2B5EF4-FFF2-40B4-BE49-F238E27FC236}">
                          <a16:creationId xmlns:a16="http://schemas.microsoft.com/office/drawing/2014/main" id="{FA969646-702F-47BD-A0EE-85918BC0E84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8" name="Freeform 14">
                      <a:extLst>
                        <a:ext uri="{FF2B5EF4-FFF2-40B4-BE49-F238E27FC236}">
                          <a16:creationId xmlns:a16="http://schemas.microsoft.com/office/drawing/2014/main" id="{F1B550C5-A998-4C1F-B315-604276039DE5}"/>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99" name="Line 15">
                      <a:extLst>
                        <a:ext uri="{FF2B5EF4-FFF2-40B4-BE49-F238E27FC236}">
                          <a16:creationId xmlns:a16="http://schemas.microsoft.com/office/drawing/2014/main" id="{DF241370-6A53-4766-B73B-14DA40B43B5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0" name="Freeform 16">
                      <a:extLst>
                        <a:ext uri="{FF2B5EF4-FFF2-40B4-BE49-F238E27FC236}">
                          <a16:creationId xmlns:a16="http://schemas.microsoft.com/office/drawing/2014/main" id="{105A38EC-5CE9-4B76-AD85-E8F3D024F71E}"/>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Line 17">
                      <a:extLst>
                        <a:ext uri="{FF2B5EF4-FFF2-40B4-BE49-F238E27FC236}">
                          <a16:creationId xmlns:a16="http://schemas.microsoft.com/office/drawing/2014/main" id="{1BF1C07B-DAF8-4146-BE40-719ED5C2DB33}"/>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2" name="Freeform 18">
                      <a:extLst>
                        <a:ext uri="{FF2B5EF4-FFF2-40B4-BE49-F238E27FC236}">
                          <a16:creationId xmlns:a16="http://schemas.microsoft.com/office/drawing/2014/main" id="{250378F1-E840-46EC-B2E2-05279B9F821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Line 19">
                      <a:extLst>
                        <a:ext uri="{FF2B5EF4-FFF2-40B4-BE49-F238E27FC236}">
                          <a16:creationId xmlns:a16="http://schemas.microsoft.com/office/drawing/2014/main" id="{2B18A366-0440-4FCA-BE1C-4918E42C72A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35">
                      <a:extLst>
                        <a:ext uri="{FF2B5EF4-FFF2-40B4-BE49-F238E27FC236}">
                          <a16:creationId xmlns:a16="http://schemas.microsoft.com/office/drawing/2014/main" id="{C314256A-E020-459A-94BB-CA59309A4CBB}"/>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36">
                      <a:extLst>
                        <a:ext uri="{FF2B5EF4-FFF2-40B4-BE49-F238E27FC236}">
                          <a16:creationId xmlns:a16="http://schemas.microsoft.com/office/drawing/2014/main" id="{60073856-1516-4212-BEAA-3A051DB31F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37">
                      <a:extLst>
                        <a:ext uri="{FF2B5EF4-FFF2-40B4-BE49-F238E27FC236}">
                          <a16:creationId xmlns:a16="http://schemas.microsoft.com/office/drawing/2014/main" id="{16CD7A93-B640-444E-9124-76CD43E0D73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38">
                      <a:extLst>
                        <a:ext uri="{FF2B5EF4-FFF2-40B4-BE49-F238E27FC236}">
                          <a16:creationId xmlns:a16="http://schemas.microsoft.com/office/drawing/2014/main" id="{F3B3FC43-39A3-4B3D-8C16-995C4B732FBE}"/>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39">
                      <a:extLst>
                        <a:ext uri="{FF2B5EF4-FFF2-40B4-BE49-F238E27FC236}">
                          <a16:creationId xmlns:a16="http://schemas.microsoft.com/office/drawing/2014/main" id="{5065377B-057A-4857-A3CD-131B34E2A81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40">
                      <a:extLst>
                        <a:ext uri="{FF2B5EF4-FFF2-40B4-BE49-F238E27FC236}">
                          <a16:creationId xmlns:a16="http://schemas.microsoft.com/office/drawing/2014/main" id="{2395F9BD-C87A-4553-ACF2-0143AFF2E3D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41">
                      <a:extLst>
                        <a:ext uri="{FF2B5EF4-FFF2-40B4-BE49-F238E27FC236}">
                          <a16:creationId xmlns:a16="http://schemas.microsoft.com/office/drawing/2014/main" id="{87AFFDBB-FE77-4963-90EE-7D3C0F8A2BFE}"/>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Line 42">
                      <a:extLst>
                        <a:ext uri="{FF2B5EF4-FFF2-40B4-BE49-F238E27FC236}">
                          <a16:creationId xmlns:a16="http://schemas.microsoft.com/office/drawing/2014/main" id="{E1A3EF65-3462-4F94-9DB7-D17FF1442F51}"/>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43">
                      <a:extLst>
                        <a:ext uri="{FF2B5EF4-FFF2-40B4-BE49-F238E27FC236}">
                          <a16:creationId xmlns:a16="http://schemas.microsoft.com/office/drawing/2014/main" id="{0BA60547-C8B3-4174-BD62-DF1EEBBC417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44">
                      <a:extLst>
                        <a:ext uri="{FF2B5EF4-FFF2-40B4-BE49-F238E27FC236}">
                          <a16:creationId xmlns:a16="http://schemas.microsoft.com/office/drawing/2014/main" id="{819EB172-557D-45B6-B1ED-00A2E71486F3}"/>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45">
                      <a:extLst>
                        <a:ext uri="{FF2B5EF4-FFF2-40B4-BE49-F238E27FC236}">
                          <a16:creationId xmlns:a16="http://schemas.microsoft.com/office/drawing/2014/main" id="{05587E12-F6B4-47EB-988A-8AA4534D8C28}"/>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15" name="Group 2214">
                      <a:extLst>
                        <a:ext uri="{FF2B5EF4-FFF2-40B4-BE49-F238E27FC236}">
                          <a16:creationId xmlns:a16="http://schemas.microsoft.com/office/drawing/2014/main" id="{636468B7-3621-461D-860D-F8C75732E462}"/>
                        </a:ext>
                      </a:extLst>
                    </p:cNvPr>
                    <p:cNvGrpSpPr/>
                    <p:nvPr/>
                  </p:nvGrpSpPr>
                  <p:grpSpPr>
                    <a:xfrm flipV="1">
                      <a:off x="1202047" y="3517919"/>
                      <a:ext cx="178734" cy="348678"/>
                      <a:chOff x="1207113" y="2241878"/>
                      <a:chExt cx="178734" cy="348678"/>
                    </a:xfrm>
                  </p:grpSpPr>
                  <p:sp>
                    <p:nvSpPr>
                      <p:cNvPr id="2216" name="Freeform 10">
                        <a:extLst>
                          <a:ext uri="{FF2B5EF4-FFF2-40B4-BE49-F238E27FC236}">
                            <a16:creationId xmlns:a16="http://schemas.microsoft.com/office/drawing/2014/main" id="{410DF577-895F-4E70-96FE-951F4D56A55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Line 11">
                        <a:extLst>
                          <a:ext uri="{FF2B5EF4-FFF2-40B4-BE49-F238E27FC236}">
                            <a16:creationId xmlns:a16="http://schemas.microsoft.com/office/drawing/2014/main" id="{40A4026E-F1FE-4204-A4A2-17BFAA8891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65" name="Group 2164">
                  <a:extLst>
                    <a:ext uri="{FF2B5EF4-FFF2-40B4-BE49-F238E27FC236}">
                      <a16:creationId xmlns:a16="http://schemas.microsoft.com/office/drawing/2014/main" id="{A4C0D400-C02F-478B-B1B9-2501C058B2EF}"/>
                    </a:ext>
                  </a:extLst>
                </p:cNvPr>
                <p:cNvGrpSpPr>
                  <a:grpSpLocks/>
                </p:cNvGrpSpPr>
                <p:nvPr/>
              </p:nvGrpSpPr>
              <p:grpSpPr>
                <a:xfrm>
                  <a:off x="11709639" y="2297897"/>
                  <a:ext cx="690952" cy="690956"/>
                  <a:chOff x="2268747" y="4723725"/>
                  <a:chExt cx="415610" cy="415612"/>
                </a:xfrm>
              </p:grpSpPr>
              <p:grpSp>
                <p:nvGrpSpPr>
                  <p:cNvPr id="2166" name="Group 64">
                    <a:extLst>
                      <a:ext uri="{FF2B5EF4-FFF2-40B4-BE49-F238E27FC236}">
                        <a16:creationId xmlns:a16="http://schemas.microsoft.com/office/drawing/2014/main" id="{B17BE4DE-5375-442D-93A8-26D9889996D1}"/>
                      </a:ext>
                    </a:extLst>
                  </p:cNvPr>
                  <p:cNvGrpSpPr>
                    <a:grpSpLocks noChangeAspect="1"/>
                  </p:cNvGrpSpPr>
                  <p:nvPr/>
                </p:nvGrpSpPr>
                <p:grpSpPr bwMode="auto">
                  <a:xfrm rot="8100000">
                    <a:off x="2268747" y="4723725"/>
                    <a:ext cx="415610" cy="415612"/>
                    <a:chOff x="701" y="2170"/>
                    <a:chExt cx="587" cy="587"/>
                  </a:xfrm>
                </p:grpSpPr>
                <p:sp>
                  <p:nvSpPr>
                    <p:cNvPr id="2181" name="Oval 65">
                      <a:extLst>
                        <a:ext uri="{FF2B5EF4-FFF2-40B4-BE49-F238E27FC236}">
                          <a16:creationId xmlns:a16="http://schemas.microsoft.com/office/drawing/2014/main" id="{2EA549F0-7DF9-4B97-9922-CE022AD61A9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2" name="Line 66">
                      <a:extLst>
                        <a:ext uri="{FF2B5EF4-FFF2-40B4-BE49-F238E27FC236}">
                          <a16:creationId xmlns:a16="http://schemas.microsoft.com/office/drawing/2014/main" id="{1626D8DC-E5C3-4622-9799-B3F457B33655}"/>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3" name="Line 67">
                      <a:extLst>
                        <a:ext uri="{FF2B5EF4-FFF2-40B4-BE49-F238E27FC236}">
                          <a16:creationId xmlns:a16="http://schemas.microsoft.com/office/drawing/2014/main" id="{8C443901-746E-4E3C-9975-9C7FDAE9584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9">
                      <a:extLst>
                        <a:ext uri="{FF2B5EF4-FFF2-40B4-BE49-F238E27FC236}">
                          <a16:creationId xmlns:a16="http://schemas.microsoft.com/office/drawing/2014/main" id="{DEC89C1E-4381-4EBD-B1C1-2E75571B377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74">
                      <a:extLst>
                        <a:ext uri="{FF2B5EF4-FFF2-40B4-BE49-F238E27FC236}">
                          <a16:creationId xmlns:a16="http://schemas.microsoft.com/office/drawing/2014/main" id="{426BA79C-657F-4D18-AA4C-7F1387458C2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Freeform 78">
                      <a:extLst>
                        <a:ext uri="{FF2B5EF4-FFF2-40B4-BE49-F238E27FC236}">
                          <a16:creationId xmlns:a16="http://schemas.microsoft.com/office/drawing/2014/main" id="{F0B56726-E777-4F0E-9913-AC854618759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80">
                      <a:extLst>
                        <a:ext uri="{FF2B5EF4-FFF2-40B4-BE49-F238E27FC236}">
                          <a16:creationId xmlns:a16="http://schemas.microsoft.com/office/drawing/2014/main" id="{34C04358-9512-4CD4-886E-84CD468CF735}"/>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67" name="Group 2166">
                    <a:extLst>
                      <a:ext uri="{FF2B5EF4-FFF2-40B4-BE49-F238E27FC236}">
                        <a16:creationId xmlns:a16="http://schemas.microsoft.com/office/drawing/2014/main" id="{28E34054-7D3B-4D8B-809C-73B1468F8192}"/>
                      </a:ext>
                    </a:extLst>
                  </p:cNvPr>
                  <p:cNvGrpSpPr/>
                  <p:nvPr/>
                </p:nvGrpSpPr>
                <p:grpSpPr>
                  <a:xfrm>
                    <a:off x="2318076" y="4830163"/>
                    <a:ext cx="313949" cy="233075"/>
                    <a:chOff x="3707533" y="2731244"/>
                    <a:chExt cx="389644" cy="289271"/>
                  </a:xfrm>
                </p:grpSpPr>
                <p:sp>
                  <p:nvSpPr>
                    <p:cNvPr id="2168" name="Freeform 33">
                      <a:extLst>
                        <a:ext uri="{FF2B5EF4-FFF2-40B4-BE49-F238E27FC236}">
                          <a16:creationId xmlns:a16="http://schemas.microsoft.com/office/drawing/2014/main" id="{B4FE439A-D777-407F-8F08-0BC6EBC1C2D6}"/>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34">
                      <a:extLst>
                        <a:ext uri="{FF2B5EF4-FFF2-40B4-BE49-F238E27FC236}">
                          <a16:creationId xmlns:a16="http://schemas.microsoft.com/office/drawing/2014/main" id="{A7917E2E-9536-4410-93D6-656EDC142761}"/>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37">
                      <a:extLst>
                        <a:ext uri="{FF2B5EF4-FFF2-40B4-BE49-F238E27FC236}">
                          <a16:creationId xmlns:a16="http://schemas.microsoft.com/office/drawing/2014/main" id="{7418AC65-96AB-48C2-A3DC-C781B6A5601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1" name="Freeform 38">
                      <a:extLst>
                        <a:ext uri="{FF2B5EF4-FFF2-40B4-BE49-F238E27FC236}">
                          <a16:creationId xmlns:a16="http://schemas.microsoft.com/office/drawing/2014/main" id="{557D2715-D97B-4738-98D4-E23F68AE6988}"/>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2" name="Freeform 32">
                      <a:extLst>
                        <a:ext uri="{FF2B5EF4-FFF2-40B4-BE49-F238E27FC236}">
                          <a16:creationId xmlns:a16="http://schemas.microsoft.com/office/drawing/2014/main" id="{DEC47B83-3F1C-4953-A0B9-C3D43DFC4F0E}"/>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3" name="Freeform 35">
                      <a:extLst>
                        <a:ext uri="{FF2B5EF4-FFF2-40B4-BE49-F238E27FC236}">
                          <a16:creationId xmlns:a16="http://schemas.microsoft.com/office/drawing/2014/main" id="{14C3980E-5D17-42A2-9AF6-DF0BD721DAB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4" name="Freeform 36">
                      <a:extLst>
                        <a:ext uri="{FF2B5EF4-FFF2-40B4-BE49-F238E27FC236}">
                          <a16:creationId xmlns:a16="http://schemas.microsoft.com/office/drawing/2014/main" id="{E2126AF0-F9CB-46E6-B4B5-C82F0087B75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5" name="Freeform 25">
                      <a:extLst>
                        <a:ext uri="{FF2B5EF4-FFF2-40B4-BE49-F238E27FC236}">
                          <a16:creationId xmlns:a16="http://schemas.microsoft.com/office/drawing/2014/main" id="{11D152C7-7F05-49D9-80E9-C5D5E192028C}"/>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Freeform 39">
                      <a:extLst>
                        <a:ext uri="{FF2B5EF4-FFF2-40B4-BE49-F238E27FC236}">
                          <a16:creationId xmlns:a16="http://schemas.microsoft.com/office/drawing/2014/main" id="{3E5E4F9B-F62E-4CFC-8045-EA707BEB219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7" name="Freeform 26">
                      <a:extLst>
                        <a:ext uri="{FF2B5EF4-FFF2-40B4-BE49-F238E27FC236}">
                          <a16:creationId xmlns:a16="http://schemas.microsoft.com/office/drawing/2014/main" id="{1FB77C3F-FFFA-4A3E-84CC-B47EE967B735}"/>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8" name="Rectangle 27">
                      <a:extLst>
                        <a:ext uri="{FF2B5EF4-FFF2-40B4-BE49-F238E27FC236}">
                          <a16:creationId xmlns:a16="http://schemas.microsoft.com/office/drawing/2014/main" id="{3EED932C-C3FE-4DAC-BA81-3C9564ECF7CC}"/>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9" name="Line 29">
                      <a:extLst>
                        <a:ext uri="{FF2B5EF4-FFF2-40B4-BE49-F238E27FC236}">
                          <a16:creationId xmlns:a16="http://schemas.microsoft.com/office/drawing/2014/main" id="{22E7952B-986D-4EF6-9D90-4EB2570B4F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Line 31">
                      <a:extLst>
                        <a:ext uri="{FF2B5EF4-FFF2-40B4-BE49-F238E27FC236}">
                          <a16:creationId xmlns:a16="http://schemas.microsoft.com/office/drawing/2014/main" id="{2E09664D-FC2E-4C7B-BD8B-EB6B09534C71}"/>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162" name="Rectangle 2161">
                <a:extLst>
                  <a:ext uri="{FF2B5EF4-FFF2-40B4-BE49-F238E27FC236}">
                    <a16:creationId xmlns:a16="http://schemas.microsoft.com/office/drawing/2014/main" id="{AE3A9622-2C3B-4723-82C0-04A11F7A67D5}"/>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159" name="Rectangle 2158">
              <a:extLst>
                <a:ext uri="{FF2B5EF4-FFF2-40B4-BE49-F238E27FC236}">
                  <a16:creationId xmlns:a16="http://schemas.microsoft.com/office/drawing/2014/main" id="{7B1DC118-2B61-4544-A6B5-CE5166EAF1B2}"/>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245" name="Group 2244">
            <a:extLst>
              <a:ext uri="{FF2B5EF4-FFF2-40B4-BE49-F238E27FC236}">
                <a16:creationId xmlns:a16="http://schemas.microsoft.com/office/drawing/2014/main" id="{596718D9-B325-4276-BE50-22747C501F7B}"/>
              </a:ext>
            </a:extLst>
          </p:cNvPr>
          <p:cNvGrpSpPr/>
          <p:nvPr/>
        </p:nvGrpSpPr>
        <p:grpSpPr>
          <a:xfrm>
            <a:off x="5581513" y="3847679"/>
            <a:ext cx="2022711" cy="2582790"/>
            <a:chOff x="5596776" y="3955938"/>
            <a:chExt cx="2028403" cy="2590058"/>
          </a:xfrm>
        </p:grpSpPr>
        <p:sp>
          <p:nvSpPr>
            <p:cNvPr id="2246" name="Rectangle 2245">
              <a:extLst>
                <a:ext uri="{FF2B5EF4-FFF2-40B4-BE49-F238E27FC236}">
                  <a16:creationId xmlns:a16="http://schemas.microsoft.com/office/drawing/2014/main" id="{03BB922D-F8C3-47FC-AA81-6A5C008CECFB}"/>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247" name="Group 2246">
              <a:extLst>
                <a:ext uri="{FF2B5EF4-FFF2-40B4-BE49-F238E27FC236}">
                  <a16:creationId xmlns:a16="http://schemas.microsoft.com/office/drawing/2014/main" id="{AB14F307-12B8-4AE9-92BB-F70CE51DB976}"/>
                </a:ext>
              </a:extLst>
            </p:cNvPr>
            <p:cNvGrpSpPr/>
            <p:nvPr/>
          </p:nvGrpSpPr>
          <p:grpSpPr>
            <a:xfrm>
              <a:off x="5596776" y="4804677"/>
              <a:ext cx="2028403" cy="1741319"/>
              <a:chOff x="5596776" y="4804677"/>
              <a:chExt cx="2028403" cy="1741319"/>
            </a:xfrm>
          </p:grpSpPr>
          <p:sp>
            <p:nvSpPr>
              <p:cNvPr id="2248" name="Rectangle 2247">
                <a:extLst>
                  <a:ext uri="{FF2B5EF4-FFF2-40B4-BE49-F238E27FC236}">
                    <a16:creationId xmlns:a16="http://schemas.microsoft.com/office/drawing/2014/main" id="{B5C15643-696C-4B68-B4F3-27F9B158E634}"/>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249" name="Rectangle 2248">
                <a:extLst>
                  <a:ext uri="{FF2B5EF4-FFF2-40B4-BE49-F238E27FC236}">
                    <a16:creationId xmlns:a16="http://schemas.microsoft.com/office/drawing/2014/main" id="{824E8C0B-7301-415E-927C-E31738F8E963}"/>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250" name="Picture 2249">
                <a:extLst>
                  <a:ext uri="{FF2B5EF4-FFF2-40B4-BE49-F238E27FC236}">
                    <a16:creationId xmlns:a16="http://schemas.microsoft.com/office/drawing/2014/main" id="{C0A13450-F53F-471B-AEB9-B117E07C02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251" name="Group 2250">
                <a:extLst>
                  <a:ext uri="{FF2B5EF4-FFF2-40B4-BE49-F238E27FC236}">
                    <a16:creationId xmlns:a16="http://schemas.microsoft.com/office/drawing/2014/main" id="{0E61A0F9-5D07-4172-B2BE-F9802232F912}"/>
                  </a:ext>
                </a:extLst>
              </p:cNvPr>
              <p:cNvGrpSpPr>
                <a:grpSpLocks/>
              </p:cNvGrpSpPr>
              <p:nvPr/>
            </p:nvGrpSpPr>
            <p:grpSpPr>
              <a:xfrm>
                <a:off x="6916019" y="5876745"/>
                <a:ext cx="476834" cy="476835"/>
                <a:chOff x="7895435" y="7917966"/>
                <a:chExt cx="473625" cy="473627"/>
              </a:xfrm>
            </p:grpSpPr>
            <p:grpSp>
              <p:nvGrpSpPr>
                <p:cNvPr id="2252" name="Group 64">
                  <a:extLst>
                    <a:ext uri="{FF2B5EF4-FFF2-40B4-BE49-F238E27FC236}">
                      <a16:creationId xmlns:a16="http://schemas.microsoft.com/office/drawing/2014/main" id="{C72A6242-D538-4F2C-B3CA-7E31CC7B97BA}"/>
                    </a:ext>
                  </a:extLst>
                </p:cNvPr>
                <p:cNvGrpSpPr>
                  <a:grpSpLocks noChangeAspect="1"/>
                </p:cNvGrpSpPr>
                <p:nvPr/>
              </p:nvGrpSpPr>
              <p:grpSpPr bwMode="auto">
                <a:xfrm rot="8100000">
                  <a:off x="7895435" y="7917966"/>
                  <a:ext cx="473625" cy="473627"/>
                  <a:chOff x="701" y="2170"/>
                  <a:chExt cx="587" cy="587"/>
                </a:xfrm>
              </p:grpSpPr>
              <p:sp>
                <p:nvSpPr>
                  <p:cNvPr id="2284" name="Oval 65">
                    <a:extLst>
                      <a:ext uri="{FF2B5EF4-FFF2-40B4-BE49-F238E27FC236}">
                        <a16:creationId xmlns:a16="http://schemas.microsoft.com/office/drawing/2014/main" id="{72CD75EB-BF3E-4603-8B5F-76E6AAA1404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5" name="Line 66">
                    <a:extLst>
                      <a:ext uri="{FF2B5EF4-FFF2-40B4-BE49-F238E27FC236}">
                        <a16:creationId xmlns:a16="http://schemas.microsoft.com/office/drawing/2014/main" id="{C2ABC0FA-E95F-4846-8E5B-60C4FBF614A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67">
                    <a:extLst>
                      <a:ext uri="{FF2B5EF4-FFF2-40B4-BE49-F238E27FC236}">
                        <a16:creationId xmlns:a16="http://schemas.microsoft.com/office/drawing/2014/main" id="{78BD8519-5A33-45C0-8EAD-7490E9E31E7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7" name="Line 69">
                    <a:extLst>
                      <a:ext uri="{FF2B5EF4-FFF2-40B4-BE49-F238E27FC236}">
                        <a16:creationId xmlns:a16="http://schemas.microsoft.com/office/drawing/2014/main" id="{4F6079F1-90DE-4314-9807-A9534643861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8" name="Line 74">
                    <a:extLst>
                      <a:ext uri="{FF2B5EF4-FFF2-40B4-BE49-F238E27FC236}">
                        <a16:creationId xmlns:a16="http://schemas.microsoft.com/office/drawing/2014/main" id="{6D38F3F5-61E8-41D1-90C0-8623D31AB56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Freeform 78">
                    <a:extLst>
                      <a:ext uri="{FF2B5EF4-FFF2-40B4-BE49-F238E27FC236}">
                        <a16:creationId xmlns:a16="http://schemas.microsoft.com/office/drawing/2014/main" id="{4FFF2C2E-7700-46EE-8D2B-4A891EB9A263}"/>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80">
                    <a:extLst>
                      <a:ext uri="{FF2B5EF4-FFF2-40B4-BE49-F238E27FC236}">
                        <a16:creationId xmlns:a16="http://schemas.microsoft.com/office/drawing/2014/main" id="{1122B5A9-3C84-4127-BD29-A75546B1522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3" name="Group 2252">
                  <a:extLst>
                    <a:ext uri="{FF2B5EF4-FFF2-40B4-BE49-F238E27FC236}">
                      <a16:creationId xmlns:a16="http://schemas.microsoft.com/office/drawing/2014/main" id="{BD6D89E2-0839-4366-A46C-1684A8249CCE}"/>
                    </a:ext>
                  </a:extLst>
                </p:cNvPr>
                <p:cNvGrpSpPr/>
                <p:nvPr/>
              </p:nvGrpSpPr>
              <p:grpSpPr>
                <a:xfrm>
                  <a:off x="7951708" y="7985752"/>
                  <a:ext cx="356509" cy="349884"/>
                  <a:chOff x="468738" y="2241878"/>
                  <a:chExt cx="1655483" cy="1624719"/>
                </a:xfrm>
              </p:grpSpPr>
              <p:sp>
                <p:nvSpPr>
                  <p:cNvPr id="2254" name="Freeform 5">
                    <a:extLst>
                      <a:ext uri="{FF2B5EF4-FFF2-40B4-BE49-F238E27FC236}">
                        <a16:creationId xmlns:a16="http://schemas.microsoft.com/office/drawing/2014/main" id="{0653FA21-B855-4F64-ABA6-8F7F26150D5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55" name="Freeform 6">
                    <a:extLst>
                      <a:ext uri="{FF2B5EF4-FFF2-40B4-BE49-F238E27FC236}">
                        <a16:creationId xmlns:a16="http://schemas.microsoft.com/office/drawing/2014/main" id="{3EEE02F6-99B8-44B6-A1AB-129B9A2D36D1}"/>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6" name="Line 7">
                    <a:extLst>
                      <a:ext uri="{FF2B5EF4-FFF2-40B4-BE49-F238E27FC236}">
                        <a16:creationId xmlns:a16="http://schemas.microsoft.com/office/drawing/2014/main" id="{90AE3C5E-3F0F-4BE2-9E91-F0C330609DA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7" name="Freeform 8">
                    <a:extLst>
                      <a:ext uri="{FF2B5EF4-FFF2-40B4-BE49-F238E27FC236}">
                        <a16:creationId xmlns:a16="http://schemas.microsoft.com/office/drawing/2014/main" id="{E22ACE02-9420-4BCC-8D52-9BE7FC9D81D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58" name="Line 9">
                    <a:extLst>
                      <a:ext uri="{FF2B5EF4-FFF2-40B4-BE49-F238E27FC236}">
                        <a16:creationId xmlns:a16="http://schemas.microsoft.com/office/drawing/2014/main" id="{9D6358CD-970F-4D04-8F13-9E65006FDE4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59" name="Group 2258">
                    <a:extLst>
                      <a:ext uri="{FF2B5EF4-FFF2-40B4-BE49-F238E27FC236}">
                        <a16:creationId xmlns:a16="http://schemas.microsoft.com/office/drawing/2014/main" id="{4647B62F-46AC-4F4F-8170-2E739DB9CFBE}"/>
                      </a:ext>
                    </a:extLst>
                  </p:cNvPr>
                  <p:cNvGrpSpPr/>
                  <p:nvPr/>
                </p:nvGrpSpPr>
                <p:grpSpPr>
                  <a:xfrm>
                    <a:off x="1207113" y="2241878"/>
                    <a:ext cx="178734" cy="348678"/>
                    <a:chOff x="1207113" y="2241878"/>
                    <a:chExt cx="178734" cy="348678"/>
                  </a:xfrm>
                </p:grpSpPr>
                <p:sp>
                  <p:nvSpPr>
                    <p:cNvPr id="2282" name="Freeform 10">
                      <a:extLst>
                        <a:ext uri="{FF2B5EF4-FFF2-40B4-BE49-F238E27FC236}">
                          <a16:creationId xmlns:a16="http://schemas.microsoft.com/office/drawing/2014/main" id="{46854A5F-4070-4A86-9B3D-060898EF8DA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3" name="Line 11">
                      <a:extLst>
                        <a:ext uri="{FF2B5EF4-FFF2-40B4-BE49-F238E27FC236}">
                          <a16:creationId xmlns:a16="http://schemas.microsoft.com/office/drawing/2014/main" id="{49AB5A88-DEE1-42E4-85D7-0ECD6FE40B2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60" name="Freeform 12">
                    <a:extLst>
                      <a:ext uri="{FF2B5EF4-FFF2-40B4-BE49-F238E27FC236}">
                        <a16:creationId xmlns:a16="http://schemas.microsoft.com/office/drawing/2014/main" id="{2300F74C-6849-42A6-AB6A-692104E3665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1" name="Line 13">
                    <a:extLst>
                      <a:ext uri="{FF2B5EF4-FFF2-40B4-BE49-F238E27FC236}">
                        <a16:creationId xmlns:a16="http://schemas.microsoft.com/office/drawing/2014/main" id="{27BBF1D8-6172-4BE0-A288-26B9081155B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14">
                    <a:extLst>
                      <a:ext uri="{FF2B5EF4-FFF2-40B4-BE49-F238E27FC236}">
                        <a16:creationId xmlns:a16="http://schemas.microsoft.com/office/drawing/2014/main" id="{1A0E8633-E13B-41E8-B429-1F58A35142A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3" name="Line 15">
                    <a:extLst>
                      <a:ext uri="{FF2B5EF4-FFF2-40B4-BE49-F238E27FC236}">
                        <a16:creationId xmlns:a16="http://schemas.microsoft.com/office/drawing/2014/main" id="{7C25BDBF-306B-4FF3-A2C0-3FFF40E99EAD}"/>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16">
                    <a:extLst>
                      <a:ext uri="{FF2B5EF4-FFF2-40B4-BE49-F238E27FC236}">
                        <a16:creationId xmlns:a16="http://schemas.microsoft.com/office/drawing/2014/main" id="{0D3617B8-E7D3-4E1A-9A38-846DF11C0CB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5" name="Line 17">
                    <a:extLst>
                      <a:ext uri="{FF2B5EF4-FFF2-40B4-BE49-F238E27FC236}">
                        <a16:creationId xmlns:a16="http://schemas.microsoft.com/office/drawing/2014/main" id="{6306F9CC-64AE-417A-A2EA-C4A7146711B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18">
                    <a:extLst>
                      <a:ext uri="{FF2B5EF4-FFF2-40B4-BE49-F238E27FC236}">
                        <a16:creationId xmlns:a16="http://schemas.microsoft.com/office/drawing/2014/main" id="{E72E4136-DDFA-4084-8228-ADA12BE42C9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7" name="Line 19">
                    <a:extLst>
                      <a:ext uri="{FF2B5EF4-FFF2-40B4-BE49-F238E27FC236}">
                        <a16:creationId xmlns:a16="http://schemas.microsoft.com/office/drawing/2014/main" id="{E7619B44-B2C5-4FCF-ABA8-178E9BE2E79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5">
                    <a:extLst>
                      <a:ext uri="{FF2B5EF4-FFF2-40B4-BE49-F238E27FC236}">
                        <a16:creationId xmlns:a16="http://schemas.microsoft.com/office/drawing/2014/main" id="{30FC848C-A264-4C36-AA77-5BA5B0D0C18C}"/>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36">
                    <a:extLst>
                      <a:ext uri="{FF2B5EF4-FFF2-40B4-BE49-F238E27FC236}">
                        <a16:creationId xmlns:a16="http://schemas.microsoft.com/office/drawing/2014/main" id="{0436AAF8-A9E1-4FCE-9DC6-EBB2FD0588FB}"/>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0" name="Freeform 37">
                    <a:extLst>
                      <a:ext uri="{FF2B5EF4-FFF2-40B4-BE49-F238E27FC236}">
                        <a16:creationId xmlns:a16="http://schemas.microsoft.com/office/drawing/2014/main" id="{10F2FB4B-92A9-45AB-9CE1-9AD50732BD2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1" name="Freeform 38">
                    <a:extLst>
                      <a:ext uri="{FF2B5EF4-FFF2-40B4-BE49-F238E27FC236}">
                        <a16:creationId xmlns:a16="http://schemas.microsoft.com/office/drawing/2014/main" id="{FE722393-6BB9-4A5A-98BF-D4876777A2E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2" name="Freeform 39">
                    <a:extLst>
                      <a:ext uri="{FF2B5EF4-FFF2-40B4-BE49-F238E27FC236}">
                        <a16:creationId xmlns:a16="http://schemas.microsoft.com/office/drawing/2014/main" id="{88CADD58-5B4A-476A-BE4A-D2CCF9D15BE6}"/>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3" name="Freeform 40">
                    <a:extLst>
                      <a:ext uri="{FF2B5EF4-FFF2-40B4-BE49-F238E27FC236}">
                        <a16:creationId xmlns:a16="http://schemas.microsoft.com/office/drawing/2014/main" id="{152C18AC-19C3-4697-A15C-F43B6A61509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Freeform 41">
                    <a:extLst>
                      <a:ext uri="{FF2B5EF4-FFF2-40B4-BE49-F238E27FC236}">
                        <a16:creationId xmlns:a16="http://schemas.microsoft.com/office/drawing/2014/main" id="{4639A05C-6087-4E97-A772-E66E85C37A8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42">
                    <a:extLst>
                      <a:ext uri="{FF2B5EF4-FFF2-40B4-BE49-F238E27FC236}">
                        <a16:creationId xmlns:a16="http://schemas.microsoft.com/office/drawing/2014/main" id="{0D27C245-CE15-435D-9C25-F3E9D1F2B87B}"/>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Freeform 43">
                    <a:extLst>
                      <a:ext uri="{FF2B5EF4-FFF2-40B4-BE49-F238E27FC236}">
                        <a16:creationId xmlns:a16="http://schemas.microsoft.com/office/drawing/2014/main" id="{9C165DC9-3DC0-4651-B883-E82F608DBDC8}"/>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Freeform 44">
                    <a:extLst>
                      <a:ext uri="{FF2B5EF4-FFF2-40B4-BE49-F238E27FC236}">
                        <a16:creationId xmlns:a16="http://schemas.microsoft.com/office/drawing/2014/main" id="{8BAE83BE-3698-4C26-9575-E546490E770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45">
                    <a:extLst>
                      <a:ext uri="{FF2B5EF4-FFF2-40B4-BE49-F238E27FC236}">
                        <a16:creationId xmlns:a16="http://schemas.microsoft.com/office/drawing/2014/main" id="{A310B445-8B7A-44EF-B972-9BDBC2819AD6}"/>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79" name="Group 2278">
                    <a:extLst>
                      <a:ext uri="{FF2B5EF4-FFF2-40B4-BE49-F238E27FC236}">
                        <a16:creationId xmlns:a16="http://schemas.microsoft.com/office/drawing/2014/main" id="{359AA665-FA51-45A6-8CC9-B36FB28042EE}"/>
                      </a:ext>
                    </a:extLst>
                  </p:cNvPr>
                  <p:cNvGrpSpPr/>
                  <p:nvPr/>
                </p:nvGrpSpPr>
                <p:grpSpPr>
                  <a:xfrm flipV="1">
                    <a:off x="1202047" y="3517919"/>
                    <a:ext cx="178734" cy="348678"/>
                    <a:chOff x="1207113" y="2241878"/>
                    <a:chExt cx="178734" cy="348678"/>
                  </a:xfrm>
                </p:grpSpPr>
                <p:sp>
                  <p:nvSpPr>
                    <p:cNvPr id="2280" name="Freeform 10">
                      <a:extLst>
                        <a:ext uri="{FF2B5EF4-FFF2-40B4-BE49-F238E27FC236}">
                          <a16:creationId xmlns:a16="http://schemas.microsoft.com/office/drawing/2014/main" id="{79C2BAE8-234E-43FE-9122-B0E1DF14BEA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1" name="Line 11">
                      <a:extLst>
                        <a:ext uri="{FF2B5EF4-FFF2-40B4-BE49-F238E27FC236}">
                          <a16:creationId xmlns:a16="http://schemas.microsoft.com/office/drawing/2014/main" id="{C8E41F0F-82EB-44DB-B172-26F6FCDB907D}"/>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291" name="Group 2290">
            <a:extLst>
              <a:ext uri="{FF2B5EF4-FFF2-40B4-BE49-F238E27FC236}">
                <a16:creationId xmlns:a16="http://schemas.microsoft.com/office/drawing/2014/main" id="{82D36B90-9FCA-46DF-B916-C7EFFF1AF0DE}"/>
              </a:ext>
            </a:extLst>
          </p:cNvPr>
          <p:cNvGrpSpPr/>
          <p:nvPr/>
        </p:nvGrpSpPr>
        <p:grpSpPr>
          <a:xfrm>
            <a:off x="495092" y="1726072"/>
            <a:ext cx="1451488" cy="649270"/>
            <a:chOff x="1688915" y="1573673"/>
            <a:chExt cx="1455572" cy="651097"/>
          </a:xfrm>
        </p:grpSpPr>
        <p:sp>
          <p:nvSpPr>
            <p:cNvPr id="2292" name="Right Arrow 551">
              <a:extLst>
                <a:ext uri="{FF2B5EF4-FFF2-40B4-BE49-F238E27FC236}">
                  <a16:creationId xmlns:a16="http://schemas.microsoft.com/office/drawing/2014/main" id="{08704D7F-A011-42E6-A7D1-539040737BB7}"/>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293" name="Group 2292">
              <a:extLst>
                <a:ext uri="{FF2B5EF4-FFF2-40B4-BE49-F238E27FC236}">
                  <a16:creationId xmlns:a16="http://schemas.microsoft.com/office/drawing/2014/main" id="{43A29FF4-15CE-4DB9-8823-A6C1C1E7E670}"/>
                </a:ext>
              </a:extLst>
            </p:cNvPr>
            <p:cNvGrpSpPr>
              <a:grpSpLocks/>
            </p:cNvGrpSpPr>
            <p:nvPr/>
          </p:nvGrpSpPr>
          <p:grpSpPr>
            <a:xfrm>
              <a:off x="1688915" y="1795002"/>
              <a:ext cx="418017" cy="418017"/>
              <a:chOff x="745985" y="4768134"/>
              <a:chExt cx="368776" cy="368777"/>
            </a:xfrm>
          </p:grpSpPr>
          <p:grpSp>
            <p:nvGrpSpPr>
              <p:cNvPr id="2357" name="Group 64">
                <a:extLst>
                  <a:ext uri="{FF2B5EF4-FFF2-40B4-BE49-F238E27FC236}">
                    <a16:creationId xmlns:a16="http://schemas.microsoft.com/office/drawing/2014/main" id="{45A4255D-24C3-4932-A718-372CFFEBB6E2}"/>
                  </a:ext>
                </a:extLst>
              </p:cNvPr>
              <p:cNvGrpSpPr>
                <a:grpSpLocks noChangeAspect="1"/>
              </p:cNvGrpSpPr>
              <p:nvPr/>
            </p:nvGrpSpPr>
            <p:grpSpPr bwMode="auto">
              <a:xfrm rot="8100000">
                <a:off x="745985" y="4768134"/>
                <a:ext cx="368776" cy="368777"/>
                <a:chOff x="701" y="2170"/>
                <a:chExt cx="587" cy="587"/>
              </a:xfrm>
            </p:grpSpPr>
            <p:sp>
              <p:nvSpPr>
                <p:cNvPr id="2368" name="Oval 65">
                  <a:extLst>
                    <a:ext uri="{FF2B5EF4-FFF2-40B4-BE49-F238E27FC236}">
                      <a16:creationId xmlns:a16="http://schemas.microsoft.com/office/drawing/2014/main" id="{2D23E31A-0A0D-49B9-A7F6-0C9E38714AB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Line 66">
                  <a:extLst>
                    <a:ext uri="{FF2B5EF4-FFF2-40B4-BE49-F238E27FC236}">
                      <a16:creationId xmlns:a16="http://schemas.microsoft.com/office/drawing/2014/main" id="{9EA35FC4-364F-4A50-B75D-30BDD4396C3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67">
                  <a:extLst>
                    <a:ext uri="{FF2B5EF4-FFF2-40B4-BE49-F238E27FC236}">
                      <a16:creationId xmlns:a16="http://schemas.microsoft.com/office/drawing/2014/main" id="{C49546F8-F738-4BD3-9506-8A0B5B18C2E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Line 69">
                  <a:extLst>
                    <a:ext uri="{FF2B5EF4-FFF2-40B4-BE49-F238E27FC236}">
                      <a16:creationId xmlns:a16="http://schemas.microsoft.com/office/drawing/2014/main" id="{33DD8474-3860-4B59-A872-07B4D9FC499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74">
                  <a:extLst>
                    <a:ext uri="{FF2B5EF4-FFF2-40B4-BE49-F238E27FC236}">
                      <a16:creationId xmlns:a16="http://schemas.microsoft.com/office/drawing/2014/main" id="{B884B2EF-C60D-4AC4-843F-0569CEDF3CF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3" name="Freeform 78">
                  <a:extLst>
                    <a:ext uri="{FF2B5EF4-FFF2-40B4-BE49-F238E27FC236}">
                      <a16:creationId xmlns:a16="http://schemas.microsoft.com/office/drawing/2014/main" id="{9D8480CE-14F9-43F1-920C-CE5D992350C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4" name="Freeform 80">
                  <a:extLst>
                    <a:ext uri="{FF2B5EF4-FFF2-40B4-BE49-F238E27FC236}">
                      <a16:creationId xmlns:a16="http://schemas.microsoft.com/office/drawing/2014/main" id="{999CD18A-8B73-434F-900C-B58352709B6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58" name="Group 2357">
                <a:extLst>
                  <a:ext uri="{FF2B5EF4-FFF2-40B4-BE49-F238E27FC236}">
                    <a16:creationId xmlns:a16="http://schemas.microsoft.com/office/drawing/2014/main" id="{5AD2B93D-D908-4824-991D-178CBD7C459F}"/>
                  </a:ext>
                </a:extLst>
              </p:cNvPr>
              <p:cNvGrpSpPr/>
              <p:nvPr/>
            </p:nvGrpSpPr>
            <p:grpSpPr>
              <a:xfrm>
                <a:off x="837312" y="4814434"/>
                <a:ext cx="136805" cy="278689"/>
                <a:chOff x="2806700" y="2803319"/>
                <a:chExt cx="433387" cy="882861"/>
              </a:xfrm>
            </p:grpSpPr>
            <p:grpSp>
              <p:nvGrpSpPr>
                <p:cNvPr id="2359" name="Group 2358">
                  <a:extLst>
                    <a:ext uri="{FF2B5EF4-FFF2-40B4-BE49-F238E27FC236}">
                      <a16:creationId xmlns:a16="http://schemas.microsoft.com/office/drawing/2014/main" id="{094EAC7A-68D6-4343-B795-E6802C043629}"/>
                    </a:ext>
                  </a:extLst>
                </p:cNvPr>
                <p:cNvGrpSpPr>
                  <a:grpSpLocks noChangeAspect="1"/>
                </p:cNvGrpSpPr>
                <p:nvPr/>
              </p:nvGrpSpPr>
              <p:grpSpPr bwMode="auto">
                <a:xfrm>
                  <a:off x="2806700" y="3043242"/>
                  <a:ext cx="433387" cy="642938"/>
                  <a:chOff x="1768" y="1917"/>
                  <a:chExt cx="273" cy="405"/>
                </a:xfrm>
              </p:grpSpPr>
              <p:sp>
                <p:nvSpPr>
                  <p:cNvPr id="2361" name="Freeform 52">
                    <a:extLst>
                      <a:ext uri="{FF2B5EF4-FFF2-40B4-BE49-F238E27FC236}">
                        <a16:creationId xmlns:a16="http://schemas.microsoft.com/office/drawing/2014/main" id="{61882AED-B320-4541-ABFA-ECBCDF06A81C}"/>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2" name="Line 54">
                    <a:extLst>
                      <a:ext uri="{FF2B5EF4-FFF2-40B4-BE49-F238E27FC236}">
                        <a16:creationId xmlns:a16="http://schemas.microsoft.com/office/drawing/2014/main" id="{C0BF3190-6367-4893-9EC5-442228A3957D}"/>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55">
                    <a:extLst>
                      <a:ext uri="{FF2B5EF4-FFF2-40B4-BE49-F238E27FC236}">
                        <a16:creationId xmlns:a16="http://schemas.microsoft.com/office/drawing/2014/main" id="{5B012137-BCE2-4577-B554-0EB39837BB4B}"/>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56">
                    <a:extLst>
                      <a:ext uri="{FF2B5EF4-FFF2-40B4-BE49-F238E27FC236}">
                        <a16:creationId xmlns:a16="http://schemas.microsoft.com/office/drawing/2014/main" id="{CCAE48A1-B818-4BF8-BDC6-2231C6C2B2A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Line 57">
                    <a:extLst>
                      <a:ext uri="{FF2B5EF4-FFF2-40B4-BE49-F238E27FC236}">
                        <a16:creationId xmlns:a16="http://schemas.microsoft.com/office/drawing/2014/main" id="{4991A450-651C-417B-A147-07F9E4EA1717}"/>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6" name="Freeform 58">
                    <a:extLst>
                      <a:ext uri="{FF2B5EF4-FFF2-40B4-BE49-F238E27FC236}">
                        <a16:creationId xmlns:a16="http://schemas.microsoft.com/office/drawing/2014/main" id="{6C8FEB99-5345-4159-9A98-FFA24784928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7" name="Rectangle 2366">
                    <a:extLst>
                      <a:ext uri="{FF2B5EF4-FFF2-40B4-BE49-F238E27FC236}">
                        <a16:creationId xmlns:a16="http://schemas.microsoft.com/office/drawing/2014/main" id="{DEBC5C6D-D290-4A5F-8769-F00AF636459D}"/>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60" name="Oval 2359">
                  <a:extLst>
                    <a:ext uri="{FF2B5EF4-FFF2-40B4-BE49-F238E27FC236}">
                      <a16:creationId xmlns:a16="http://schemas.microsoft.com/office/drawing/2014/main" id="{D16194F5-2761-4126-B6C7-633AF88C2D2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94" name="Group 2293">
              <a:extLst>
                <a:ext uri="{FF2B5EF4-FFF2-40B4-BE49-F238E27FC236}">
                  <a16:creationId xmlns:a16="http://schemas.microsoft.com/office/drawing/2014/main" id="{C6E701D3-58D6-44E9-8590-405ED74DA4E8}"/>
                </a:ext>
              </a:extLst>
            </p:cNvPr>
            <p:cNvGrpSpPr>
              <a:grpSpLocks/>
            </p:cNvGrpSpPr>
            <p:nvPr/>
          </p:nvGrpSpPr>
          <p:grpSpPr>
            <a:xfrm>
              <a:off x="2196256" y="1795002"/>
              <a:ext cx="429139" cy="429142"/>
              <a:chOff x="1454941" y="4721722"/>
              <a:chExt cx="473625" cy="473627"/>
            </a:xfrm>
          </p:grpSpPr>
          <p:grpSp>
            <p:nvGrpSpPr>
              <p:cNvPr id="2318" name="Group 64">
                <a:extLst>
                  <a:ext uri="{FF2B5EF4-FFF2-40B4-BE49-F238E27FC236}">
                    <a16:creationId xmlns:a16="http://schemas.microsoft.com/office/drawing/2014/main" id="{E42FB29D-11B6-4ACE-8370-FCF72A23499A}"/>
                  </a:ext>
                </a:extLst>
              </p:cNvPr>
              <p:cNvGrpSpPr>
                <a:grpSpLocks noChangeAspect="1"/>
              </p:cNvGrpSpPr>
              <p:nvPr/>
            </p:nvGrpSpPr>
            <p:grpSpPr bwMode="auto">
              <a:xfrm rot="8100000">
                <a:off x="1454941" y="4721722"/>
                <a:ext cx="473625" cy="473627"/>
                <a:chOff x="701" y="2170"/>
                <a:chExt cx="587" cy="587"/>
              </a:xfrm>
            </p:grpSpPr>
            <p:sp>
              <p:nvSpPr>
                <p:cNvPr id="2350" name="Oval 65">
                  <a:extLst>
                    <a:ext uri="{FF2B5EF4-FFF2-40B4-BE49-F238E27FC236}">
                      <a16:creationId xmlns:a16="http://schemas.microsoft.com/office/drawing/2014/main" id="{51AD352E-7942-4665-93B7-56D7C3F831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Line 66">
                  <a:extLst>
                    <a:ext uri="{FF2B5EF4-FFF2-40B4-BE49-F238E27FC236}">
                      <a16:creationId xmlns:a16="http://schemas.microsoft.com/office/drawing/2014/main" id="{09145D1F-66AC-47C0-B404-99C578980C1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2" name="Line 67">
                  <a:extLst>
                    <a:ext uri="{FF2B5EF4-FFF2-40B4-BE49-F238E27FC236}">
                      <a16:creationId xmlns:a16="http://schemas.microsoft.com/office/drawing/2014/main" id="{D9D32373-D080-46A7-8230-5D041A6E78A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3" name="Line 69">
                  <a:extLst>
                    <a:ext uri="{FF2B5EF4-FFF2-40B4-BE49-F238E27FC236}">
                      <a16:creationId xmlns:a16="http://schemas.microsoft.com/office/drawing/2014/main" id="{0739E971-762E-4507-BA96-7237A9C7DD14}"/>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4" name="Line 74">
                  <a:extLst>
                    <a:ext uri="{FF2B5EF4-FFF2-40B4-BE49-F238E27FC236}">
                      <a16:creationId xmlns:a16="http://schemas.microsoft.com/office/drawing/2014/main" id="{7786D655-8BBE-4232-8E68-0B9FA9D1C34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78">
                  <a:extLst>
                    <a:ext uri="{FF2B5EF4-FFF2-40B4-BE49-F238E27FC236}">
                      <a16:creationId xmlns:a16="http://schemas.microsoft.com/office/drawing/2014/main" id="{508966EE-9159-4DD8-A751-43B8EC978B3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6" name="Freeform 80">
                  <a:extLst>
                    <a:ext uri="{FF2B5EF4-FFF2-40B4-BE49-F238E27FC236}">
                      <a16:creationId xmlns:a16="http://schemas.microsoft.com/office/drawing/2014/main" id="{EAC26E66-685D-4608-89A1-F10A153C057A}"/>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19" name="Group 2318">
                <a:extLst>
                  <a:ext uri="{FF2B5EF4-FFF2-40B4-BE49-F238E27FC236}">
                    <a16:creationId xmlns:a16="http://schemas.microsoft.com/office/drawing/2014/main" id="{6F9AA22B-1F65-4B1E-9C87-47E987F3582B}"/>
                  </a:ext>
                </a:extLst>
              </p:cNvPr>
              <p:cNvGrpSpPr/>
              <p:nvPr/>
            </p:nvGrpSpPr>
            <p:grpSpPr>
              <a:xfrm>
                <a:off x="1511214" y="4789508"/>
                <a:ext cx="356509" cy="349884"/>
                <a:chOff x="468738" y="2241878"/>
                <a:chExt cx="1655483" cy="1624719"/>
              </a:xfrm>
            </p:grpSpPr>
            <p:sp>
              <p:nvSpPr>
                <p:cNvPr id="2320" name="Freeform 5">
                  <a:extLst>
                    <a:ext uri="{FF2B5EF4-FFF2-40B4-BE49-F238E27FC236}">
                      <a16:creationId xmlns:a16="http://schemas.microsoft.com/office/drawing/2014/main" id="{1C70A36E-B1CC-4DD6-A684-14D84C901A8C}"/>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1" name="Freeform 6">
                  <a:extLst>
                    <a:ext uri="{FF2B5EF4-FFF2-40B4-BE49-F238E27FC236}">
                      <a16:creationId xmlns:a16="http://schemas.microsoft.com/office/drawing/2014/main" id="{B8A9288D-C7ED-47AF-9C98-F0E7435DB36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2" name="Line 7">
                  <a:extLst>
                    <a:ext uri="{FF2B5EF4-FFF2-40B4-BE49-F238E27FC236}">
                      <a16:creationId xmlns:a16="http://schemas.microsoft.com/office/drawing/2014/main" id="{28BC763E-5E35-41A4-8F3E-1C73DC7B621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3" name="Freeform 8">
                  <a:extLst>
                    <a:ext uri="{FF2B5EF4-FFF2-40B4-BE49-F238E27FC236}">
                      <a16:creationId xmlns:a16="http://schemas.microsoft.com/office/drawing/2014/main" id="{255B6E54-53F0-427C-814C-AD758D88341A}"/>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4" name="Line 9">
                  <a:extLst>
                    <a:ext uri="{FF2B5EF4-FFF2-40B4-BE49-F238E27FC236}">
                      <a16:creationId xmlns:a16="http://schemas.microsoft.com/office/drawing/2014/main" id="{E2EFB0AE-A008-4A6F-B850-9D235074B9C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25" name="Group 2324">
                  <a:extLst>
                    <a:ext uri="{FF2B5EF4-FFF2-40B4-BE49-F238E27FC236}">
                      <a16:creationId xmlns:a16="http://schemas.microsoft.com/office/drawing/2014/main" id="{CA6B4872-FF48-46AD-AD78-2FE32E26FFBA}"/>
                    </a:ext>
                  </a:extLst>
                </p:cNvPr>
                <p:cNvGrpSpPr/>
                <p:nvPr/>
              </p:nvGrpSpPr>
              <p:grpSpPr>
                <a:xfrm>
                  <a:off x="1207113" y="2241878"/>
                  <a:ext cx="178734" cy="348678"/>
                  <a:chOff x="1207113" y="2241878"/>
                  <a:chExt cx="178734" cy="348678"/>
                </a:xfrm>
              </p:grpSpPr>
              <p:sp>
                <p:nvSpPr>
                  <p:cNvPr id="2348" name="Freeform 10">
                    <a:extLst>
                      <a:ext uri="{FF2B5EF4-FFF2-40B4-BE49-F238E27FC236}">
                        <a16:creationId xmlns:a16="http://schemas.microsoft.com/office/drawing/2014/main" id="{B6049F59-9585-439A-98AE-C481AB994BD3}"/>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9" name="Line 11">
                    <a:extLst>
                      <a:ext uri="{FF2B5EF4-FFF2-40B4-BE49-F238E27FC236}">
                        <a16:creationId xmlns:a16="http://schemas.microsoft.com/office/drawing/2014/main" id="{91028E61-AAA0-4B52-960C-ECBD1EAB48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26" name="Freeform 12">
                  <a:extLst>
                    <a:ext uri="{FF2B5EF4-FFF2-40B4-BE49-F238E27FC236}">
                      <a16:creationId xmlns:a16="http://schemas.microsoft.com/office/drawing/2014/main" id="{15652DC4-9FAD-4402-A83B-7ABB09328EF8}"/>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13">
                  <a:extLst>
                    <a:ext uri="{FF2B5EF4-FFF2-40B4-BE49-F238E27FC236}">
                      <a16:creationId xmlns:a16="http://schemas.microsoft.com/office/drawing/2014/main" id="{3B771E34-142A-45F7-A0BE-53871E5BBDD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14">
                  <a:extLst>
                    <a:ext uri="{FF2B5EF4-FFF2-40B4-BE49-F238E27FC236}">
                      <a16:creationId xmlns:a16="http://schemas.microsoft.com/office/drawing/2014/main" id="{1910D1C8-9CD2-4D26-AF1D-54712413296F}"/>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Line 15">
                  <a:extLst>
                    <a:ext uri="{FF2B5EF4-FFF2-40B4-BE49-F238E27FC236}">
                      <a16:creationId xmlns:a16="http://schemas.microsoft.com/office/drawing/2014/main" id="{3C5869CB-8033-4DF3-AD20-8E76D21BEE2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0" name="Freeform 16">
                  <a:extLst>
                    <a:ext uri="{FF2B5EF4-FFF2-40B4-BE49-F238E27FC236}">
                      <a16:creationId xmlns:a16="http://schemas.microsoft.com/office/drawing/2014/main" id="{A9777979-CA6B-49D7-8708-0F818E3E934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1" name="Line 17">
                  <a:extLst>
                    <a:ext uri="{FF2B5EF4-FFF2-40B4-BE49-F238E27FC236}">
                      <a16:creationId xmlns:a16="http://schemas.microsoft.com/office/drawing/2014/main" id="{9AA4284B-34A2-4FCA-81E9-C5BBCD088B6A}"/>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Freeform 18">
                  <a:extLst>
                    <a:ext uri="{FF2B5EF4-FFF2-40B4-BE49-F238E27FC236}">
                      <a16:creationId xmlns:a16="http://schemas.microsoft.com/office/drawing/2014/main" id="{7CE2602E-C266-4BD5-9CA2-9CC95C4B3104}"/>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19">
                  <a:extLst>
                    <a:ext uri="{FF2B5EF4-FFF2-40B4-BE49-F238E27FC236}">
                      <a16:creationId xmlns:a16="http://schemas.microsoft.com/office/drawing/2014/main" id="{B3EF2A59-24DC-4423-BEF3-B355E0DBCBD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Freeform 35">
                  <a:extLst>
                    <a:ext uri="{FF2B5EF4-FFF2-40B4-BE49-F238E27FC236}">
                      <a16:creationId xmlns:a16="http://schemas.microsoft.com/office/drawing/2014/main" id="{ED2FC11D-E6EC-4642-846A-1FC71C044ED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36">
                  <a:extLst>
                    <a:ext uri="{FF2B5EF4-FFF2-40B4-BE49-F238E27FC236}">
                      <a16:creationId xmlns:a16="http://schemas.microsoft.com/office/drawing/2014/main" id="{3DE502E9-5516-42A0-B366-6020E34545C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37">
                  <a:extLst>
                    <a:ext uri="{FF2B5EF4-FFF2-40B4-BE49-F238E27FC236}">
                      <a16:creationId xmlns:a16="http://schemas.microsoft.com/office/drawing/2014/main" id="{13AED33A-73B0-4CF8-8E7C-E482AE8BD17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7" name="Freeform 38">
                  <a:extLst>
                    <a:ext uri="{FF2B5EF4-FFF2-40B4-BE49-F238E27FC236}">
                      <a16:creationId xmlns:a16="http://schemas.microsoft.com/office/drawing/2014/main" id="{21902428-6C16-4A53-9563-2CBD6383F088}"/>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8" name="Freeform 39">
                  <a:extLst>
                    <a:ext uri="{FF2B5EF4-FFF2-40B4-BE49-F238E27FC236}">
                      <a16:creationId xmlns:a16="http://schemas.microsoft.com/office/drawing/2014/main" id="{0C865A20-7E53-4608-93A9-10895C127E8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9" name="Freeform 40">
                  <a:extLst>
                    <a:ext uri="{FF2B5EF4-FFF2-40B4-BE49-F238E27FC236}">
                      <a16:creationId xmlns:a16="http://schemas.microsoft.com/office/drawing/2014/main" id="{4D93FEB6-AF6E-4977-8D00-9BFA689C51B1}"/>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0" name="Freeform 41">
                  <a:extLst>
                    <a:ext uri="{FF2B5EF4-FFF2-40B4-BE49-F238E27FC236}">
                      <a16:creationId xmlns:a16="http://schemas.microsoft.com/office/drawing/2014/main" id="{68168044-3829-4FA8-B699-C1B96DE71BD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1" name="Line 42">
                  <a:extLst>
                    <a:ext uri="{FF2B5EF4-FFF2-40B4-BE49-F238E27FC236}">
                      <a16:creationId xmlns:a16="http://schemas.microsoft.com/office/drawing/2014/main" id="{13642081-49EB-46BD-A80A-5D9DC278693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2" name="Freeform 43">
                  <a:extLst>
                    <a:ext uri="{FF2B5EF4-FFF2-40B4-BE49-F238E27FC236}">
                      <a16:creationId xmlns:a16="http://schemas.microsoft.com/office/drawing/2014/main" id="{98C32E50-A6DA-44F7-BA5C-60135F45E7EB}"/>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3" name="Freeform 44">
                  <a:extLst>
                    <a:ext uri="{FF2B5EF4-FFF2-40B4-BE49-F238E27FC236}">
                      <a16:creationId xmlns:a16="http://schemas.microsoft.com/office/drawing/2014/main" id="{1D298466-73F9-4CC0-AFAA-564C7B233608}"/>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4" name="Freeform 45">
                  <a:extLst>
                    <a:ext uri="{FF2B5EF4-FFF2-40B4-BE49-F238E27FC236}">
                      <a16:creationId xmlns:a16="http://schemas.microsoft.com/office/drawing/2014/main" id="{4F65E722-66AD-4D1A-A032-EBFE199D92D7}"/>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45" name="Group 2344">
                  <a:extLst>
                    <a:ext uri="{FF2B5EF4-FFF2-40B4-BE49-F238E27FC236}">
                      <a16:creationId xmlns:a16="http://schemas.microsoft.com/office/drawing/2014/main" id="{A5666C53-80FF-46F0-8DB8-A3070D538240}"/>
                    </a:ext>
                  </a:extLst>
                </p:cNvPr>
                <p:cNvGrpSpPr/>
                <p:nvPr/>
              </p:nvGrpSpPr>
              <p:grpSpPr>
                <a:xfrm flipV="1">
                  <a:off x="1202047" y="3517919"/>
                  <a:ext cx="178734" cy="348678"/>
                  <a:chOff x="1207113" y="2241878"/>
                  <a:chExt cx="178734" cy="348678"/>
                </a:xfrm>
              </p:grpSpPr>
              <p:sp>
                <p:nvSpPr>
                  <p:cNvPr id="2346" name="Freeform 10">
                    <a:extLst>
                      <a:ext uri="{FF2B5EF4-FFF2-40B4-BE49-F238E27FC236}">
                        <a16:creationId xmlns:a16="http://schemas.microsoft.com/office/drawing/2014/main" id="{8D484941-D0F1-4EEA-B0F7-66A92F5D8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47" name="Line 11">
                    <a:extLst>
                      <a:ext uri="{FF2B5EF4-FFF2-40B4-BE49-F238E27FC236}">
                        <a16:creationId xmlns:a16="http://schemas.microsoft.com/office/drawing/2014/main" id="{7E75D629-CDE5-45AB-BBF7-7830060F70C1}"/>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95" name="Group 2294">
              <a:extLst>
                <a:ext uri="{FF2B5EF4-FFF2-40B4-BE49-F238E27FC236}">
                  <a16:creationId xmlns:a16="http://schemas.microsoft.com/office/drawing/2014/main" id="{977426F9-49D7-4246-AE29-753723C23D83}"/>
                </a:ext>
              </a:extLst>
            </p:cNvPr>
            <p:cNvGrpSpPr>
              <a:grpSpLocks/>
            </p:cNvGrpSpPr>
            <p:nvPr/>
          </p:nvGrpSpPr>
          <p:grpSpPr>
            <a:xfrm>
              <a:off x="2714719" y="1795002"/>
              <a:ext cx="429768" cy="429768"/>
              <a:chOff x="2268747" y="4723725"/>
              <a:chExt cx="415610" cy="415612"/>
            </a:xfrm>
          </p:grpSpPr>
          <p:grpSp>
            <p:nvGrpSpPr>
              <p:cNvPr id="2296" name="Group 64">
                <a:extLst>
                  <a:ext uri="{FF2B5EF4-FFF2-40B4-BE49-F238E27FC236}">
                    <a16:creationId xmlns:a16="http://schemas.microsoft.com/office/drawing/2014/main" id="{CD61BC95-5205-4CB6-964A-F0F93DB65C76}"/>
                  </a:ext>
                </a:extLst>
              </p:cNvPr>
              <p:cNvGrpSpPr>
                <a:grpSpLocks noChangeAspect="1"/>
              </p:cNvGrpSpPr>
              <p:nvPr/>
            </p:nvGrpSpPr>
            <p:grpSpPr bwMode="auto">
              <a:xfrm rot="8100000">
                <a:off x="2268747" y="4723725"/>
                <a:ext cx="415610" cy="415612"/>
                <a:chOff x="701" y="2170"/>
                <a:chExt cx="587" cy="587"/>
              </a:xfrm>
            </p:grpSpPr>
            <p:sp>
              <p:nvSpPr>
                <p:cNvPr id="2311" name="Oval 65">
                  <a:extLst>
                    <a:ext uri="{FF2B5EF4-FFF2-40B4-BE49-F238E27FC236}">
                      <a16:creationId xmlns:a16="http://schemas.microsoft.com/office/drawing/2014/main" id="{E95E76F0-0DBD-4756-8AB1-41BCFDAEDCF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2" name="Line 66">
                  <a:extLst>
                    <a:ext uri="{FF2B5EF4-FFF2-40B4-BE49-F238E27FC236}">
                      <a16:creationId xmlns:a16="http://schemas.microsoft.com/office/drawing/2014/main" id="{0EEA7B7F-BD33-4319-AFC7-A41FA6A00FF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3" name="Line 67">
                  <a:extLst>
                    <a:ext uri="{FF2B5EF4-FFF2-40B4-BE49-F238E27FC236}">
                      <a16:creationId xmlns:a16="http://schemas.microsoft.com/office/drawing/2014/main" id="{7ED66836-5179-4300-93A5-28396A1DD6C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9">
                  <a:extLst>
                    <a:ext uri="{FF2B5EF4-FFF2-40B4-BE49-F238E27FC236}">
                      <a16:creationId xmlns:a16="http://schemas.microsoft.com/office/drawing/2014/main" id="{201622C1-FF4C-4153-A72D-CC7D5F56D7D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74">
                  <a:extLst>
                    <a:ext uri="{FF2B5EF4-FFF2-40B4-BE49-F238E27FC236}">
                      <a16:creationId xmlns:a16="http://schemas.microsoft.com/office/drawing/2014/main" id="{1B885A0B-596D-4FBE-8011-DA86161A063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Freeform 78">
                  <a:extLst>
                    <a:ext uri="{FF2B5EF4-FFF2-40B4-BE49-F238E27FC236}">
                      <a16:creationId xmlns:a16="http://schemas.microsoft.com/office/drawing/2014/main" id="{DD59343D-6E88-4C6E-9314-7DDD16E7292F}"/>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80">
                  <a:extLst>
                    <a:ext uri="{FF2B5EF4-FFF2-40B4-BE49-F238E27FC236}">
                      <a16:creationId xmlns:a16="http://schemas.microsoft.com/office/drawing/2014/main" id="{47F407BB-6515-4E34-8EB6-220377727C1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97" name="Group 2296">
                <a:extLst>
                  <a:ext uri="{FF2B5EF4-FFF2-40B4-BE49-F238E27FC236}">
                    <a16:creationId xmlns:a16="http://schemas.microsoft.com/office/drawing/2014/main" id="{77D76966-B393-434A-9AC0-21C7B86AB209}"/>
                  </a:ext>
                </a:extLst>
              </p:cNvPr>
              <p:cNvGrpSpPr/>
              <p:nvPr/>
            </p:nvGrpSpPr>
            <p:grpSpPr>
              <a:xfrm>
                <a:off x="2318076" y="4830163"/>
                <a:ext cx="313949" cy="233075"/>
                <a:chOff x="3707533" y="2731244"/>
                <a:chExt cx="389644" cy="289271"/>
              </a:xfrm>
            </p:grpSpPr>
            <p:sp>
              <p:nvSpPr>
                <p:cNvPr id="2298" name="Freeform 33">
                  <a:extLst>
                    <a:ext uri="{FF2B5EF4-FFF2-40B4-BE49-F238E27FC236}">
                      <a16:creationId xmlns:a16="http://schemas.microsoft.com/office/drawing/2014/main" id="{774588ED-2271-4B77-BAC5-D55E19C4A39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4">
                  <a:extLst>
                    <a:ext uri="{FF2B5EF4-FFF2-40B4-BE49-F238E27FC236}">
                      <a16:creationId xmlns:a16="http://schemas.microsoft.com/office/drawing/2014/main" id="{642E7CBC-1697-411B-A358-1CB4FAEF63FA}"/>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7">
                  <a:extLst>
                    <a:ext uri="{FF2B5EF4-FFF2-40B4-BE49-F238E27FC236}">
                      <a16:creationId xmlns:a16="http://schemas.microsoft.com/office/drawing/2014/main" id="{AB19BBF7-2FE0-472B-A633-84A022D19486}"/>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38">
                  <a:extLst>
                    <a:ext uri="{FF2B5EF4-FFF2-40B4-BE49-F238E27FC236}">
                      <a16:creationId xmlns:a16="http://schemas.microsoft.com/office/drawing/2014/main" id="{EF579692-8DB5-47C7-BAB4-9EF0B4B72E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32">
                  <a:extLst>
                    <a:ext uri="{FF2B5EF4-FFF2-40B4-BE49-F238E27FC236}">
                      <a16:creationId xmlns:a16="http://schemas.microsoft.com/office/drawing/2014/main" id="{B0568587-49BB-428D-919D-1DF5BAFE8060}"/>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3" name="Freeform 35">
                  <a:extLst>
                    <a:ext uri="{FF2B5EF4-FFF2-40B4-BE49-F238E27FC236}">
                      <a16:creationId xmlns:a16="http://schemas.microsoft.com/office/drawing/2014/main" id="{F9A7F40F-92CB-4549-8790-2ECF4EC0086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36">
                  <a:extLst>
                    <a:ext uri="{FF2B5EF4-FFF2-40B4-BE49-F238E27FC236}">
                      <a16:creationId xmlns:a16="http://schemas.microsoft.com/office/drawing/2014/main" id="{ABED669A-4D6E-41E1-B2BA-8D2B66428BDB}"/>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25">
                  <a:extLst>
                    <a:ext uri="{FF2B5EF4-FFF2-40B4-BE49-F238E27FC236}">
                      <a16:creationId xmlns:a16="http://schemas.microsoft.com/office/drawing/2014/main" id="{CC1542F3-A8A5-4B6B-953F-87E430F7E12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39">
                  <a:extLst>
                    <a:ext uri="{FF2B5EF4-FFF2-40B4-BE49-F238E27FC236}">
                      <a16:creationId xmlns:a16="http://schemas.microsoft.com/office/drawing/2014/main" id="{0E4F895C-7C44-4F2A-BBD4-24B5DE12A968}"/>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7" name="Freeform 26">
                  <a:extLst>
                    <a:ext uri="{FF2B5EF4-FFF2-40B4-BE49-F238E27FC236}">
                      <a16:creationId xmlns:a16="http://schemas.microsoft.com/office/drawing/2014/main" id="{34264F60-E1DA-444D-B773-40F79BF1757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8" name="Rectangle 27">
                  <a:extLst>
                    <a:ext uri="{FF2B5EF4-FFF2-40B4-BE49-F238E27FC236}">
                      <a16:creationId xmlns:a16="http://schemas.microsoft.com/office/drawing/2014/main" id="{1C993D86-94AA-40E6-B90F-9C0FA4859551}"/>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9" name="Line 29">
                  <a:extLst>
                    <a:ext uri="{FF2B5EF4-FFF2-40B4-BE49-F238E27FC236}">
                      <a16:creationId xmlns:a16="http://schemas.microsoft.com/office/drawing/2014/main" id="{D7CB9835-A7A9-42E4-86E0-2B9606048DA9}"/>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0" name="Line 31">
                  <a:extLst>
                    <a:ext uri="{FF2B5EF4-FFF2-40B4-BE49-F238E27FC236}">
                      <a16:creationId xmlns:a16="http://schemas.microsoft.com/office/drawing/2014/main" id="{CF312B08-C71C-4D3C-8BF2-8B8E56C9381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75" name="Group 2374">
            <a:extLst>
              <a:ext uri="{FF2B5EF4-FFF2-40B4-BE49-F238E27FC236}">
                <a16:creationId xmlns:a16="http://schemas.microsoft.com/office/drawing/2014/main" id="{6F1467A9-02D8-4628-8E0A-231D5AA2C62B}"/>
              </a:ext>
            </a:extLst>
          </p:cNvPr>
          <p:cNvGrpSpPr/>
          <p:nvPr/>
        </p:nvGrpSpPr>
        <p:grpSpPr>
          <a:xfrm>
            <a:off x="10069943" y="2131578"/>
            <a:ext cx="1723479" cy="3110477"/>
            <a:chOff x="10072567" y="2269503"/>
            <a:chExt cx="1723928" cy="3111287"/>
          </a:xfrm>
        </p:grpSpPr>
        <p:grpSp>
          <p:nvGrpSpPr>
            <p:cNvPr id="2376" name="Group 2375">
              <a:extLst>
                <a:ext uri="{FF2B5EF4-FFF2-40B4-BE49-F238E27FC236}">
                  <a16:creationId xmlns:a16="http://schemas.microsoft.com/office/drawing/2014/main" id="{1DC8F8AB-AE6B-433A-A8B6-B8D11DEB0C6C}"/>
                </a:ext>
              </a:extLst>
            </p:cNvPr>
            <p:cNvGrpSpPr/>
            <p:nvPr/>
          </p:nvGrpSpPr>
          <p:grpSpPr>
            <a:xfrm>
              <a:off x="10075218" y="2269503"/>
              <a:ext cx="1586257" cy="2254230"/>
              <a:chOff x="9895314" y="2107193"/>
              <a:chExt cx="1590306" cy="2259985"/>
            </a:xfrm>
          </p:grpSpPr>
          <p:grpSp>
            <p:nvGrpSpPr>
              <p:cNvPr id="2378" name="Group 2377">
                <a:extLst>
                  <a:ext uri="{FF2B5EF4-FFF2-40B4-BE49-F238E27FC236}">
                    <a16:creationId xmlns:a16="http://schemas.microsoft.com/office/drawing/2014/main" id="{623370E1-0EE5-47AB-8332-21F6C5A14921}"/>
                  </a:ext>
                </a:extLst>
              </p:cNvPr>
              <p:cNvGrpSpPr/>
              <p:nvPr/>
            </p:nvGrpSpPr>
            <p:grpSpPr>
              <a:xfrm>
                <a:off x="9895314" y="2107193"/>
                <a:ext cx="1231250" cy="1189486"/>
                <a:chOff x="7839761" y="1053755"/>
                <a:chExt cx="927651" cy="896185"/>
              </a:xfrm>
            </p:grpSpPr>
            <p:sp>
              <p:nvSpPr>
                <p:cNvPr id="2495" name="TextBox 2494">
                  <a:extLst>
                    <a:ext uri="{FF2B5EF4-FFF2-40B4-BE49-F238E27FC236}">
                      <a16:creationId xmlns:a16="http://schemas.microsoft.com/office/drawing/2014/main" id="{2B5C86AA-9CC3-4F04-ACEF-B1D5B6EC2660}"/>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96" name="Group 2495">
                  <a:extLst>
                    <a:ext uri="{FF2B5EF4-FFF2-40B4-BE49-F238E27FC236}">
                      <a16:creationId xmlns:a16="http://schemas.microsoft.com/office/drawing/2014/main" id="{8C26EEF5-93D4-4A65-B29B-EC31AAC0809F}"/>
                    </a:ext>
                  </a:extLst>
                </p:cNvPr>
                <p:cNvGrpSpPr/>
                <p:nvPr/>
              </p:nvGrpSpPr>
              <p:grpSpPr>
                <a:xfrm>
                  <a:off x="7839761" y="1053755"/>
                  <a:ext cx="927651" cy="523122"/>
                  <a:chOff x="7839761" y="1053755"/>
                  <a:chExt cx="927651" cy="523122"/>
                </a:xfrm>
              </p:grpSpPr>
              <p:sp>
                <p:nvSpPr>
                  <p:cNvPr id="2497" name="Line 66">
                    <a:extLst>
                      <a:ext uri="{FF2B5EF4-FFF2-40B4-BE49-F238E27FC236}">
                        <a16:creationId xmlns:a16="http://schemas.microsoft.com/office/drawing/2014/main" id="{0E224E35-D40B-455A-AFEE-E49F9072283B}"/>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8" name="Line 67">
                    <a:extLst>
                      <a:ext uri="{FF2B5EF4-FFF2-40B4-BE49-F238E27FC236}">
                        <a16:creationId xmlns:a16="http://schemas.microsoft.com/office/drawing/2014/main" id="{A03376AC-A659-4F26-8483-005FC5AE5A93}"/>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9" name="Line 74">
                    <a:extLst>
                      <a:ext uri="{FF2B5EF4-FFF2-40B4-BE49-F238E27FC236}">
                        <a16:creationId xmlns:a16="http://schemas.microsoft.com/office/drawing/2014/main" id="{B113259C-5FF6-49BF-AC35-2173978239E0}"/>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0" name="Freeform 78">
                    <a:extLst>
                      <a:ext uri="{FF2B5EF4-FFF2-40B4-BE49-F238E27FC236}">
                        <a16:creationId xmlns:a16="http://schemas.microsoft.com/office/drawing/2014/main" id="{5BD90649-4991-47E5-B8F3-F8037F170692}"/>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1" name="Freeform 80">
                    <a:extLst>
                      <a:ext uri="{FF2B5EF4-FFF2-40B4-BE49-F238E27FC236}">
                        <a16:creationId xmlns:a16="http://schemas.microsoft.com/office/drawing/2014/main" id="{D1CAD3D0-0D25-40C2-A571-37DE7AC28529}"/>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2" name="Freeform 1575">
                    <a:extLst>
                      <a:ext uri="{FF2B5EF4-FFF2-40B4-BE49-F238E27FC236}">
                        <a16:creationId xmlns:a16="http://schemas.microsoft.com/office/drawing/2014/main" id="{E6E84BBC-EFDA-4D72-A9BF-F47A363D42FD}"/>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3" name="Freeform 1576">
                    <a:extLst>
                      <a:ext uri="{FF2B5EF4-FFF2-40B4-BE49-F238E27FC236}">
                        <a16:creationId xmlns:a16="http://schemas.microsoft.com/office/drawing/2014/main" id="{0C3B113C-0F6E-4C13-A033-92217B0A1095}"/>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4" name="Freeform 1577">
                    <a:extLst>
                      <a:ext uri="{FF2B5EF4-FFF2-40B4-BE49-F238E27FC236}">
                        <a16:creationId xmlns:a16="http://schemas.microsoft.com/office/drawing/2014/main" id="{906AA8A8-61F8-406E-86B6-9E0C936E1928}"/>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5" name="Freeform 1578">
                    <a:extLst>
                      <a:ext uri="{FF2B5EF4-FFF2-40B4-BE49-F238E27FC236}">
                        <a16:creationId xmlns:a16="http://schemas.microsoft.com/office/drawing/2014/main" id="{FD189EDA-48F5-453D-8537-3BD14ADB6F13}"/>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6" name="Freeform 1579">
                    <a:extLst>
                      <a:ext uri="{FF2B5EF4-FFF2-40B4-BE49-F238E27FC236}">
                        <a16:creationId xmlns:a16="http://schemas.microsoft.com/office/drawing/2014/main" id="{987BD3C4-011F-4DC5-9256-BC3588BE125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7" name="Freeform 1580">
                    <a:extLst>
                      <a:ext uri="{FF2B5EF4-FFF2-40B4-BE49-F238E27FC236}">
                        <a16:creationId xmlns:a16="http://schemas.microsoft.com/office/drawing/2014/main" id="{C38B3F0C-BEE2-49FE-91AA-85DF9E9CF6B7}"/>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1581">
                    <a:extLst>
                      <a:ext uri="{FF2B5EF4-FFF2-40B4-BE49-F238E27FC236}">
                        <a16:creationId xmlns:a16="http://schemas.microsoft.com/office/drawing/2014/main" id="{A6A4202D-3106-45AB-8DB8-2AA74310A335}"/>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Freeform 1582">
                    <a:extLst>
                      <a:ext uri="{FF2B5EF4-FFF2-40B4-BE49-F238E27FC236}">
                        <a16:creationId xmlns:a16="http://schemas.microsoft.com/office/drawing/2014/main" id="{F19890FB-8396-4D00-A965-D64B63D8DAA4}"/>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1583">
                    <a:extLst>
                      <a:ext uri="{FF2B5EF4-FFF2-40B4-BE49-F238E27FC236}">
                        <a16:creationId xmlns:a16="http://schemas.microsoft.com/office/drawing/2014/main" id="{066D9041-8CA4-4BC1-9BF9-776CB6CEEF6B}"/>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Freeform 1584">
                    <a:extLst>
                      <a:ext uri="{FF2B5EF4-FFF2-40B4-BE49-F238E27FC236}">
                        <a16:creationId xmlns:a16="http://schemas.microsoft.com/office/drawing/2014/main" id="{B7ACFD54-9997-428F-9FF7-A05FB26DAD68}"/>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2" name="Freeform 1585">
                    <a:extLst>
                      <a:ext uri="{FF2B5EF4-FFF2-40B4-BE49-F238E27FC236}">
                        <a16:creationId xmlns:a16="http://schemas.microsoft.com/office/drawing/2014/main" id="{7E524910-857F-4B0C-81B8-18455967030C}"/>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3" name="Freeform 1586">
                    <a:extLst>
                      <a:ext uri="{FF2B5EF4-FFF2-40B4-BE49-F238E27FC236}">
                        <a16:creationId xmlns:a16="http://schemas.microsoft.com/office/drawing/2014/main" id="{F4CDAA51-7536-491C-A8AD-92C85B25BBCF}"/>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4" name="Freeform 1587">
                    <a:extLst>
                      <a:ext uri="{FF2B5EF4-FFF2-40B4-BE49-F238E27FC236}">
                        <a16:creationId xmlns:a16="http://schemas.microsoft.com/office/drawing/2014/main" id="{DE24308F-F7A4-46A9-8BCA-1E51617EF7F1}"/>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588">
                    <a:extLst>
                      <a:ext uri="{FF2B5EF4-FFF2-40B4-BE49-F238E27FC236}">
                        <a16:creationId xmlns:a16="http://schemas.microsoft.com/office/drawing/2014/main" id="{76DA9D8C-3ED5-4B0D-B245-088818574980}"/>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16" name="Rectangle 1589">
                    <a:extLst>
                      <a:ext uri="{FF2B5EF4-FFF2-40B4-BE49-F238E27FC236}">
                        <a16:creationId xmlns:a16="http://schemas.microsoft.com/office/drawing/2014/main" id="{C14E9EAF-EF9F-4819-950B-7295F7DB2A0D}"/>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Rectangle 1590">
                    <a:extLst>
                      <a:ext uri="{FF2B5EF4-FFF2-40B4-BE49-F238E27FC236}">
                        <a16:creationId xmlns:a16="http://schemas.microsoft.com/office/drawing/2014/main" id="{5508DBB9-AD3D-437A-8278-15DEA1E525D4}"/>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Freeform 1591">
                    <a:extLst>
                      <a:ext uri="{FF2B5EF4-FFF2-40B4-BE49-F238E27FC236}">
                        <a16:creationId xmlns:a16="http://schemas.microsoft.com/office/drawing/2014/main" id="{2440E61C-F620-413F-BB77-CFA9A52F4F3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592">
                    <a:extLst>
                      <a:ext uri="{FF2B5EF4-FFF2-40B4-BE49-F238E27FC236}">
                        <a16:creationId xmlns:a16="http://schemas.microsoft.com/office/drawing/2014/main" id="{7057E6AA-F9D0-44DE-AB10-A4A38C36FC68}"/>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Freeform 1593">
                    <a:extLst>
                      <a:ext uri="{FF2B5EF4-FFF2-40B4-BE49-F238E27FC236}">
                        <a16:creationId xmlns:a16="http://schemas.microsoft.com/office/drawing/2014/main" id="{35E71B75-4768-4FE9-872F-A274CF9261A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1594">
                    <a:extLst>
                      <a:ext uri="{FF2B5EF4-FFF2-40B4-BE49-F238E27FC236}">
                        <a16:creationId xmlns:a16="http://schemas.microsoft.com/office/drawing/2014/main" id="{EF528B88-3CD9-44E2-9CD9-C01C473590E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1595">
                    <a:extLst>
                      <a:ext uri="{FF2B5EF4-FFF2-40B4-BE49-F238E27FC236}">
                        <a16:creationId xmlns:a16="http://schemas.microsoft.com/office/drawing/2014/main" id="{6CE53CB9-B37D-4FAC-B97F-6CB6C32EEDD7}"/>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1596">
                    <a:extLst>
                      <a:ext uri="{FF2B5EF4-FFF2-40B4-BE49-F238E27FC236}">
                        <a16:creationId xmlns:a16="http://schemas.microsoft.com/office/drawing/2014/main" id="{406DA41B-327E-428A-B582-B847772A731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1672">
                    <a:extLst>
                      <a:ext uri="{FF2B5EF4-FFF2-40B4-BE49-F238E27FC236}">
                        <a16:creationId xmlns:a16="http://schemas.microsoft.com/office/drawing/2014/main" id="{EEB6D1B7-F3A3-4CBA-AA02-F7111F0C72A3}"/>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1673">
                    <a:extLst>
                      <a:ext uri="{FF2B5EF4-FFF2-40B4-BE49-F238E27FC236}">
                        <a16:creationId xmlns:a16="http://schemas.microsoft.com/office/drawing/2014/main" id="{5DA7DB5A-278D-4824-95B5-A875DCE53CF4}"/>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1674">
                    <a:extLst>
                      <a:ext uri="{FF2B5EF4-FFF2-40B4-BE49-F238E27FC236}">
                        <a16:creationId xmlns:a16="http://schemas.microsoft.com/office/drawing/2014/main" id="{1C08B6AF-5978-466D-AB6F-519B8F01DF2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1675">
                    <a:extLst>
                      <a:ext uri="{FF2B5EF4-FFF2-40B4-BE49-F238E27FC236}">
                        <a16:creationId xmlns:a16="http://schemas.microsoft.com/office/drawing/2014/main" id="{0ED064DC-5FD5-4FD4-B5B6-E7BE9F213E3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Freeform 1676">
                    <a:extLst>
                      <a:ext uri="{FF2B5EF4-FFF2-40B4-BE49-F238E27FC236}">
                        <a16:creationId xmlns:a16="http://schemas.microsoft.com/office/drawing/2014/main" id="{606C1274-9CF4-4E82-9E39-9DBD4E01FD2F}"/>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1677">
                    <a:extLst>
                      <a:ext uri="{FF2B5EF4-FFF2-40B4-BE49-F238E27FC236}">
                        <a16:creationId xmlns:a16="http://schemas.microsoft.com/office/drawing/2014/main" id="{120B60DA-7145-4E84-A5FB-1A6ED91742A6}"/>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1678">
                    <a:extLst>
                      <a:ext uri="{FF2B5EF4-FFF2-40B4-BE49-F238E27FC236}">
                        <a16:creationId xmlns:a16="http://schemas.microsoft.com/office/drawing/2014/main" id="{2F3C57A9-149C-4186-82D2-0DC34FABBD0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1679">
                    <a:extLst>
                      <a:ext uri="{FF2B5EF4-FFF2-40B4-BE49-F238E27FC236}">
                        <a16:creationId xmlns:a16="http://schemas.microsoft.com/office/drawing/2014/main" id="{6F19BB5F-DF1A-4C17-9A44-A37C9E2BACBD}"/>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2" name="Freeform 1680">
                    <a:extLst>
                      <a:ext uri="{FF2B5EF4-FFF2-40B4-BE49-F238E27FC236}">
                        <a16:creationId xmlns:a16="http://schemas.microsoft.com/office/drawing/2014/main" id="{C006D238-3871-4A33-8ECC-85C842037FA0}"/>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3" name="Freeform 1681">
                    <a:extLst>
                      <a:ext uri="{FF2B5EF4-FFF2-40B4-BE49-F238E27FC236}">
                        <a16:creationId xmlns:a16="http://schemas.microsoft.com/office/drawing/2014/main" id="{7DB52A53-C52A-49D8-AB62-5B1D875DAD0E}"/>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Freeform 1682">
                    <a:extLst>
                      <a:ext uri="{FF2B5EF4-FFF2-40B4-BE49-F238E27FC236}">
                        <a16:creationId xmlns:a16="http://schemas.microsoft.com/office/drawing/2014/main" id="{DFADAF61-ED1C-4D69-BFA7-B1CE935D06D5}"/>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5" name="Freeform 1683">
                    <a:extLst>
                      <a:ext uri="{FF2B5EF4-FFF2-40B4-BE49-F238E27FC236}">
                        <a16:creationId xmlns:a16="http://schemas.microsoft.com/office/drawing/2014/main" id="{1B19035F-772E-41B6-AC46-B68359E2381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Freeform 1684">
                    <a:extLst>
                      <a:ext uri="{FF2B5EF4-FFF2-40B4-BE49-F238E27FC236}">
                        <a16:creationId xmlns:a16="http://schemas.microsoft.com/office/drawing/2014/main" id="{24CC6228-E00E-4974-A16B-DF6291FF7CEA}"/>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7" name="Freeform 1685">
                    <a:extLst>
                      <a:ext uri="{FF2B5EF4-FFF2-40B4-BE49-F238E27FC236}">
                        <a16:creationId xmlns:a16="http://schemas.microsoft.com/office/drawing/2014/main" id="{0AB8C672-7589-4662-9568-C9026C70150B}"/>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8" name="Freeform 1686">
                    <a:extLst>
                      <a:ext uri="{FF2B5EF4-FFF2-40B4-BE49-F238E27FC236}">
                        <a16:creationId xmlns:a16="http://schemas.microsoft.com/office/drawing/2014/main" id="{137E2898-2856-4E69-A9B8-E6A773010EB4}"/>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Freeform 1687">
                    <a:extLst>
                      <a:ext uri="{FF2B5EF4-FFF2-40B4-BE49-F238E27FC236}">
                        <a16:creationId xmlns:a16="http://schemas.microsoft.com/office/drawing/2014/main" id="{0B3AE3E3-E30E-48D8-955D-200133453EE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Freeform 1688">
                    <a:extLst>
                      <a:ext uri="{FF2B5EF4-FFF2-40B4-BE49-F238E27FC236}">
                        <a16:creationId xmlns:a16="http://schemas.microsoft.com/office/drawing/2014/main" id="{A03D8CE0-AC06-434A-B4F0-DD1CC2DB12D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Freeform 1689">
                    <a:extLst>
                      <a:ext uri="{FF2B5EF4-FFF2-40B4-BE49-F238E27FC236}">
                        <a16:creationId xmlns:a16="http://schemas.microsoft.com/office/drawing/2014/main" id="{A1FC801A-06A8-4A68-A010-ED5D9059BFFB}"/>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1690">
                    <a:extLst>
                      <a:ext uri="{FF2B5EF4-FFF2-40B4-BE49-F238E27FC236}">
                        <a16:creationId xmlns:a16="http://schemas.microsoft.com/office/drawing/2014/main" id="{940E5F70-E120-4DC4-A6BA-A6C5EBB76A3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1691">
                    <a:extLst>
                      <a:ext uri="{FF2B5EF4-FFF2-40B4-BE49-F238E27FC236}">
                        <a16:creationId xmlns:a16="http://schemas.microsoft.com/office/drawing/2014/main" id="{5801D90A-78A1-461A-8281-0DAC5E59FC39}"/>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4" name="Freeform 1692">
                    <a:extLst>
                      <a:ext uri="{FF2B5EF4-FFF2-40B4-BE49-F238E27FC236}">
                        <a16:creationId xmlns:a16="http://schemas.microsoft.com/office/drawing/2014/main" id="{8DEDFF0A-AA68-4F37-BF22-AC5D76E6203C}"/>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5" name="Freeform 1693">
                    <a:extLst>
                      <a:ext uri="{FF2B5EF4-FFF2-40B4-BE49-F238E27FC236}">
                        <a16:creationId xmlns:a16="http://schemas.microsoft.com/office/drawing/2014/main" id="{8A2D3678-EA8F-43D6-883B-78F9A6F214CF}"/>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6" name="Freeform 1694">
                    <a:extLst>
                      <a:ext uri="{FF2B5EF4-FFF2-40B4-BE49-F238E27FC236}">
                        <a16:creationId xmlns:a16="http://schemas.microsoft.com/office/drawing/2014/main" id="{00C644A8-0EAA-459D-A99A-0A8D02C4043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7" name="Freeform 1695">
                    <a:extLst>
                      <a:ext uri="{FF2B5EF4-FFF2-40B4-BE49-F238E27FC236}">
                        <a16:creationId xmlns:a16="http://schemas.microsoft.com/office/drawing/2014/main" id="{2D063084-7BD1-490F-9EFA-026B81E8E93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8" name="Freeform 1696">
                    <a:extLst>
                      <a:ext uri="{FF2B5EF4-FFF2-40B4-BE49-F238E27FC236}">
                        <a16:creationId xmlns:a16="http://schemas.microsoft.com/office/drawing/2014/main" id="{8AA07749-EDF2-4D1E-B769-62D70B52FF61}"/>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549" name="Freeform 1697">
                    <a:extLst>
                      <a:ext uri="{FF2B5EF4-FFF2-40B4-BE49-F238E27FC236}">
                        <a16:creationId xmlns:a16="http://schemas.microsoft.com/office/drawing/2014/main" id="{B8E4AEED-E90F-471B-80BD-F209EA7E695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79" name="Group 2378">
                <a:extLst>
                  <a:ext uri="{FF2B5EF4-FFF2-40B4-BE49-F238E27FC236}">
                    <a16:creationId xmlns:a16="http://schemas.microsoft.com/office/drawing/2014/main" id="{E969343E-FE02-4A98-A837-76C025B194A4}"/>
                  </a:ext>
                </a:extLst>
              </p:cNvPr>
              <p:cNvGrpSpPr/>
              <p:nvPr/>
            </p:nvGrpSpPr>
            <p:grpSpPr>
              <a:xfrm>
                <a:off x="10074842" y="2518176"/>
                <a:ext cx="1231250" cy="1313698"/>
                <a:chOff x="12023909" y="2412144"/>
                <a:chExt cx="1231250" cy="1313698"/>
              </a:xfrm>
            </p:grpSpPr>
            <p:sp>
              <p:nvSpPr>
                <p:cNvPr id="2438" name="Rectangle: Rounded Corners 2437">
                  <a:extLst>
                    <a:ext uri="{FF2B5EF4-FFF2-40B4-BE49-F238E27FC236}">
                      <a16:creationId xmlns:a16="http://schemas.microsoft.com/office/drawing/2014/main" id="{AF1D7B56-D8AF-48E0-B06C-43FADC544F4A}"/>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439" name="Group 2438">
                  <a:extLst>
                    <a:ext uri="{FF2B5EF4-FFF2-40B4-BE49-F238E27FC236}">
                      <a16:creationId xmlns:a16="http://schemas.microsoft.com/office/drawing/2014/main" id="{F3F64A8B-8607-4FB2-B715-FEFF086181DD}"/>
                    </a:ext>
                  </a:extLst>
                </p:cNvPr>
                <p:cNvGrpSpPr/>
                <p:nvPr/>
              </p:nvGrpSpPr>
              <p:grpSpPr>
                <a:xfrm>
                  <a:off x="12023909" y="2526190"/>
                  <a:ext cx="1231250" cy="1189484"/>
                  <a:chOff x="7839761" y="1053755"/>
                  <a:chExt cx="927651" cy="896184"/>
                </a:xfrm>
              </p:grpSpPr>
              <p:sp>
                <p:nvSpPr>
                  <p:cNvPr id="2440" name="TextBox 2439">
                    <a:extLst>
                      <a:ext uri="{FF2B5EF4-FFF2-40B4-BE49-F238E27FC236}">
                        <a16:creationId xmlns:a16="http://schemas.microsoft.com/office/drawing/2014/main" id="{3327D23B-27C1-421E-99D4-C1A996F7657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441" name="Group 2440">
                    <a:extLst>
                      <a:ext uri="{FF2B5EF4-FFF2-40B4-BE49-F238E27FC236}">
                        <a16:creationId xmlns:a16="http://schemas.microsoft.com/office/drawing/2014/main" id="{4B634D41-D14B-40C1-BB74-499871B2FC76}"/>
                      </a:ext>
                    </a:extLst>
                  </p:cNvPr>
                  <p:cNvGrpSpPr/>
                  <p:nvPr/>
                </p:nvGrpSpPr>
                <p:grpSpPr>
                  <a:xfrm>
                    <a:off x="7839761" y="1053755"/>
                    <a:ext cx="927651" cy="523122"/>
                    <a:chOff x="7839761" y="1053755"/>
                    <a:chExt cx="927651" cy="523122"/>
                  </a:xfrm>
                </p:grpSpPr>
                <p:sp>
                  <p:nvSpPr>
                    <p:cNvPr id="2442" name="Line 66">
                      <a:extLst>
                        <a:ext uri="{FF2B5EF4-FFF2-40B4-BE49-F238E27FC236}">
                          <a16:creationId xmlns:a16="http://schemas.microsoft.com/office/drawing/2014/main" id="{F5E51A6D-3E23-497F-960D-91F3100205FC}"/>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3" name="Line 67">
                      <a:extLst>
                        <a:ext uri="{FF2B5EF4-FFF2-40B4-BE49-F238E27FC236}">
                          <a16:creationId xmlns:a16="http://schemas.microsoft.com/office/drawing/2014/main" id="{9A1084EF-6AC6-46D1-ADB8-0959755A978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4" name="Line 74">
                      <a:extLst>
                        <a:ext uri="{FF2B5EF4-FFF2-40B4-BE49-F238E27FC236}">
                          <a16:creationId xmlns:a16="http://schemas.microsoft.com/office/drawing/2014/main" id="{E8DF8C03-69F7-47B6-B324-97B05FD1F52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5" name="Freeform 78">
                      <a:extLst>
                        <a:ext uri="{FF2B5EF4-FFF2-40B4-BE49-F238E27FC236}">
                          <a16:creationId xmlns:a16="http://schemas.microsoft.com/office/drawing/2014/main" id="{65C78AE3-8C32-4749-B291-0C436B3C6571}"/>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6" name="Freeform 80">
                      <a:extLst>
                        <a:ext uri="{FF2B5EF4-FFF2-40B4-BE49-F238E27FC236}">
                          <a16:creationId xmlns:a16="http://schemas.microsoft.com/office/drawing/2014/main" id="{290E3A86-DD1C-48B6-8F04-11482055EB9A}"/>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7" name="Freeform 1575">
                      <a:extLst>
                        <a:ext uri="{FF2B5EF4-FFF2-40B4-BE49-F238E27FC236}">
                          <a16:creationId xmlns:a16="http://schemas.microsoft.com/office/drawing/2014/main" id="{4D25363C-0392-40A4-8E92-E9105D07319B}"/>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8" name="Freeform 1576">
                      <a:extLst>
                        <a:ext uri="{FF2B5EF4-FFF2-40B4-BE49-F238E27FC236}">
                          <a16:creationId xmlns:a16="http://schemas.microsoft.com/office/drawing/2014/main" id="{372228A8-2FAD-46C2-967D-53DA75D225D6}"/>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49" name="Freeform 1577">
                      <a:extLst>
                        <a:ext uri="{FF2B5EF4-FFF2-40B4-BE49-F238E27FC236}">
                          <a16:creationId xmlns:a16="http://schemas.microsoft.com/office/drawing/2014/main" id="{9001955B-529A-4328-9727-B4E94AB0CCF4}"/>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0" name="Freeform 1578">
                      <a:extLst>
                        <a:ext uri="{FF2B5EF4-FFF2-40B4-BE49-F238E27FC236}">
                          <a16:creationId xmlns:a16="http://schemas.microsoft.com/office/drawing/2014/main" id="{367FED26-485B-44A7-AFB0-3D07A0991A44}"/>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1" name="Freeform 1579">
                      <a:extLst>
                        <a:ext uri="{FF2B5EF4-FFF2-40B4-BE49-F238E27FC236}">
                          <a16:creationId xmlns:a16="http://schemas.microsoft.com/office/drawing/2014/main" id="{79A14E87-7915-484B-8ECA-E9E33B3FCB7F}"/>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2" name="Freeform 1580">
                      <a:extLst>
                        <a:ext uri="{FF2B5EF4-FFF2-40B4-BE49-F238E27FC236}">
                          <a16:creationId xmlns:a16="http://schemas.microsoft.com/office/drawing/2014/main" id="{DF3D1265-054C-44D6-B385-F87F62B6D3E1}"/>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3" name="Freeform 1581">
                      <a:extLst>
                        <a:ext uri="{FF2B5EF4-FFF2-40B4-BE49-F238E27FC236}">
                          <a16:creationId xmlns:a16="http://schemas.microsoft.com/office/drawing/2014/main" id="{70EE5B1B-F9C2-4E19-9A49-1F8B6A40B9B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4" name="Freeform 1582">
                      <a:extLst>
                        <a:ext uri="{FF2B5EF4-FFF2-40B4-BE49-F238E27FC236}">
                          <a16:creationId xmlns:a16="http://schemas.microsoft.com/office/drawing/2014/main" id="{8EEEA3AD-BA02-474E-A2D4-4E79F4AB7E9F}"/>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55" name="Freeform 1583">
                      <a:extLst>
                        <a:ext uri="{FF2B5EF4-FFF2-40B4-BE49-F238E27FC236}">
                          <a16:creationId xmlns:a16="http://schemas.microsoft.com/office/drawing/2014/main" id="{C83DF9B3-EEB3-4B7A-ADB7-247B6F43CB5C}"/>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6" name="Freeform 1584">
                      <a:extLst>
                        <a:ext uri="{FF2B5EF4-FFF2-40B4-BE49-F238E27FC236}">
                          <a16:creationId xmlns:a16="http://schemas.microsoft.com/office/drawing/2014/main" id="{7DBFC115-239D-46BC-8476-CDF3CBC4F242}"/>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7" name="Freeform 1585">
                      <a:extLst>
                        <a:ext uri="{FF2B5EF4-FFF2-40B4-BE49-F238E27FC236}">
                          <a16:creationId xmlns:a16="http://schemas.microsoft.com/office/drawing/2014/main" id="{FBAAAA0E-0BD0-4052-87C1-C3DF25B1A12B}"/>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8" name="Freeform 1586">
                      <a:extLst>
                        <a:ext uri="{FF2B5EF4-FFF2-40B4-BE49-F238E27FC236}">
                          <a16:creationId xmlns:a16="http://schemas.microsoft.com/office/drawing/2014/main" id="{3933F2A8-7231-4F1B-9C7E-36B3799E9F4B}"/>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9" name="Freeform 1587">
                      <a:extLst>
                        <a:ext uri="{FF2B5EF4-FFF2-40B4-BE49-F238E27FC236}">
                          <a16:creationId xmlns:a16="http://schemas.microsoft.com/office/drawing/2014/main" id="{BAFB11BC-52C2-436A-9077-F649BD16CF75}"/>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0" name="Freeform 1588">
                      <a:extLst>
                        <a:ext uri="{FF2B5EF4-FFF2-40B4-BE49-F238E27FC236}">
                          <a16:creationId xmlns:a16="http://schemas.microsoft.com/office/drawing/2014/main" id="{EABE68F3-BCB1-4041-91B3-FBEA389EC54E}"/>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61" name="Rectangle 1589">
                      <a:extLst>
                        <a:ext uri="{FF2B5EF4-FFF2-40B4-BE49-F238E27FC236}">
                          <a16:creationId xmlns:a16="http://schemas.microsoft.com/office/drawing/2014/main" id="{6CB652D6-C859-453B-BE90-EC3CCE2F1199}"/>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2" name="Rectangle 1590">
                      <a:extLst>
                        <a:ext uri="{FF2B5EF4-FFF2-40B4-BE49-F238E27FC236}">
                          <a16:creationId xmlns:a16="http://schemas.microsoft.com/office/drawing/2014/main" id="{3F5C6005-5BF3-43EC-AAB3-B090C234307F}"/>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3" name="Freeform 1591">
                      <a:extLst>
                        <a:ext uri="{FF2B5EF4-FFF2-40B4-BE49-F238E27FC236}">
                          <a16:creationId xmlns:a16="http://schemas.microsoft.com/office/drawing/2014/main" id="{447DD01B-7F71-4ED5-BD98-28B7C8389FFD}"/>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4" name="Freeform 1592">
                      <a:extLst>
                        <a:ext uri="{FF2B5EF4-FFF2-40B4-BE49-F238E27FC236}">
                          <a16:creationId xmlns:a16="http://schemas.microsoft.com/office/drawing/2014/main" id="{91FF6244-B972-4656-8AF5-251EBC11F35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5" name="Freeform 1593">
                      <a:extLst>
                        <a:ext uri="{FF2B5EF4-FFF2-40B4-BE49-F238E27FC236}">
                          <a16:creationId xmlns:a16="http://schemas.microsoft.com/office/drawing/2014/main" id="{3D5419D9-F8A1-4D29-AC50-8AFB43383C42}"/>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6" name="Freeform 1594">
                      <a:extLst>
                        <a:ext uri="{FF2B5EF4-FFF2-40B4-BE49-F238E27FC236}">
                          <a16:creationId xmlns:a16="http://schemas.microsoft.com/office/drawing/2014/main" id="{405EEF72-27B4-4E31-BB01-550DAAE44DDD}"/>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7" name="Freeform 1595">
                      <a:extLst>
                        <a:ext uri="{FF2B5EF4-FFF2-40B4-BE49-F238E27FC236}">
                          <a16:creationId xmlns:a16="http://schemas.microsoft.com/office/drawing/2014/main" id="{368D6F56-D422-4CFA-AD1F-D235E7D84DC9}"/>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8" name="Freeform 1596">
                      <a:extLst>
                        <a:ext uri="{FF2B5EF4-FFF2-40B4-BE49-F238E27FC236}">
                          <a16:creationId xmlns:a16="http://schemas.microsoft.com/office/drawing/2014/main" id="{C735E8E0-ACEB-41EA-BBF4-5E69AC3B4B1E}"/>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69" name="Freeform 1672">
                      <a:extLst>
                        <a:ext uri="{FF2B5EF4-FFF2-40B4-BE49-F238E27FC236}">
                          <a16:creationId xmlns:a16="http://schemas.microsoft.com/office/drawing/2014/main" id="{025C8503-9480-42F8-88F9-3BDB42B929EB}"/>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0" name="Freeform 1673">
                      <a:extLst>
                        <a:ext uri="{FF2B5EF4-FFF2-40B4-BE49-F238E27FC236}">
                          <a16:creationId xmlns:a16="http://schemas.microsoft.com/office/drawing/2014/main" id="{B4AADBD9-1F84-49EA-969A-DBA7F4EBE787}"/>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1" name="Freeform 1674">
                      <a:extLst>
                        <a:ext uri="{FF2B5EF4-FFF2-40B4-BE49-F238E27FC236}">
                          <a16:creationId xmlns:a16="http://schemas.microsoft.com/office/drawing/2014/main" id="{0CDB8C3D-FF11-44B0-8D44-6F89F2923628}"/>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2" name="Freeform 1675">
                      <a:extLst>
                        <a:ext uri="{FF2B5EF4-FFF2-40B4-BE49-F238E27FC236}">
                          <a16:creationId xmlns:a16="http://schemas.microsoft.com/office/drawing/2014/main" id="{C6331B20-B547-44C9-A78B-4A58170187EE}"/>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3" name="Freeform 1676">
                      <a:extLst>
                        <a:ext uri="{FF2B5EF4-FFF2-40B4-BE49-F238E27FC236}">
                          <a16:creationId xmlns:a16="http://schemas.microsoft.com/office/drawing/2014/main" id="{C2EB9BEC-836E-4DA9-AB08-5FBD1CEAB4BE}"/>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4" name="Freeform 1677">
                      <a:extLst>
                        <a:ext uri="{FF2B5EF4-FFF2-40B4-BE49-F238E27FC236}">
                          <a16:creationId xmlns:a16="http://schemas.microsoft.com/office/drawing/2014/main" id="{147C919C-61E7-45F9-B412-FA216C18E83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5" name="Freeform 1678">
                      <a:extLst>
                        <a:ext uri="{FF2B5EF4-FFF2-40B4-BE49-F238E27FC236}">
                          <a16:creationId xmlns:a16="http://schemas.microsoft.com/office/drawing/2014/main" id="{822E146F-A8A0-40EE-A439-5F00E90CFD6C}"/>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6" name="Freeform 1679">
                      <a:extLst>
                        <a:ext uri="{FF2B5EF4-FFF2-40B4-BE49-F238E27FC236}">
                          <a16:creationId xmlns:a16="http://schemas.microsoft.com/office/drawing/2014/main" id="{C5FB7257-596D-4586-8FF2-6792E533A7E7}"/>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7" name="Freeform 1680">
                      <a:extLst>
                        <a:ext uri="{FF2B5EF4-FFF2-40B4-BE49-F238E27FC236}">
                          <a16:creationId xmlns:a16="http://schemas.microsoft.com/office/drawing/2014/main" id="{D3B8E644-AAF4-4A9D-9F52-D1BA042A38EA}"/>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8" name="Freeform 1681">
                      <a:extLst>
                        <a:ext uri="{FF2B5EF4-FFF2-40B4-BE49-F238E27FC236}">
                          <a16:creationId xmlns:a16="http://schemas.microsoft.com/office/drawing/2014/main" id="{2C94F140-481A-4267-B496-6DC7E874F8EB}"/>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79" name="Freeform 1682">
                      <a:extLst>
                        <a:ext uri="{FF2B5EF4-FFF2-40B4-BE49-F238E27FC236}">
                          <a16:creationId xmlns:a16="http://schemas.microsoft.com/office/drawing/2014/main" id="{7A1A22FB-94D1-4011-A1BD-7DBE818657A3}"/>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0" name="Freeform 1683">
                      <a:extLst>
                        <a:ext uri="{FF2B5EF4-FFF2-40B4-BE49-F238E27FC236}">
                          <a16:creationId xmlns:a16="http://schemas.microsoft.com/office/drawing/2014/main" id="{4D49E035-DD5F-4B62-A2FC-712AA0185418}"/>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1" name="Freeform 1684">
                      <a:extLst>
                        <a:ext uri="{FF2B5EF4-FFF2-40B4-BE49-F238E27FC236}">
                          <a16:creationId xmlns:a16="http://schemas.microsoft.com/office/drawing/2014/main" id="{361BA7F0-ADE8-45FD-BCBE-F73C2409B516}"/>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2" name="Freeform 1685">
                      <a:extLst>
                        <a:ext uri="{FF2B5EF4-FFF2-40B4-BE49-F238E27FC236}">
                          <a16:creationId xmlns:a16="http://schemas.microsoft.com/office/drawing/2014/main" id="{CE34B47B-7244-40D6-B58B-295046EBBF98}"/>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3" name="Freeform 1686">
                      <a:extLst>
                        <a:ext uri="{FF2B5EF4-FFF2-40B4-BE49-F238E27FC236}">
                          <a16:creationId xmlns:a16="http://schemas.microsoft.com/office/drawing/2014/main" id="{93797A41-D47B-498E-9B2D-5DCAA2B1ECC7}"/>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4" name="Freeform 1687">
                      <a:extLst>
                        <a:ext uri="{FF2B5EF4-FFF2-40B4-BE49-F238E27FC236}">
                          <a16:creationId xmlns:a16="http://schemas.microsoft.com/office/drawing/2014/main" id="{22EE044E-15F8-45C5-8DD4-884BD5AF7EF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5" name="Freeform 1688">
                      <a:extLst>
                        <a:ext uri="{FF2B5EF4-FFF2-40B4-BE49-F238E27FC236}">
                          <a16:creationId xmlns:a16="http://schemas.microsoft.com/office/drawing/2014/main" id="{9C1C1FB1-94F0-4DCF-85B2-7F28C74F39F7}"/>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6" name="Freeform 1689">
                      <a:extLst>
                        <a:ext uri="{FF2B5EF4-FFF2-40B4-BE49-F238E27FC236}">
                          <a16:creationId xmlns:a16="http://schemas.microsoft.com/office/drawing/2014/main" id="{44B2BC52-481D-4BC2-AA13-688AEB818B3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7" name="Freeform 1690">
                      <a:extLst>
                        <a:ext uri="{FF2B5EF4-FFF2-40B4-BE49-F238E27FC236}">
                          <a16:creationId xmlns:a16="http://schemas.microsoft.com/office/drawing/2014/main" id="{7373923F-BB79-40E9-8FD6-FAF3462007B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8" name="Freeform 1691">
                      <a:extLst>
                        <a:ext uri="{FF2B5EF4-FFF2-40B4-BE49-F238E27FC236}">
                          <a16:creationId xmlns:a16="http://schemas.microsoft.com/office/drawing/2014/main" id="{1FA89372-8393-49B4-A4B7-F0EE8583833E}"/>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89" name="Freeform 1692">
                      <a:extLst>
                        <a:ext uri="{FF2B5EF4-FFF2-40B4-BE49-F238E27FC236}">
                          <a16:creationId xmlns:a16="http://schemas.microsoft.com/office/drawing/2014/main" id="{E2FE1CC5-EDA9-466F-9657-697E2989079F}"/>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0" name="Freeform 1693">
                      <a:extLst>
                        <a:ext uri="{FF2B5EF4-FFF2-40B4-BE49-F238E27FC236}">
                          <a16:creationId xmlns:a16="http://schemas.microsoft.com/office/drawing/2014/main" id="{1D8E0D90-624F-4B91-A019-E567EE3164FB}"/>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1" name="Freeform 1694">
                      <a:extLst>
                        <a:ext uri="{FF2B5EF4-FFF2-40B4-BE49-F238E27FC236}">
                          <a16:creationId xmlns:a16="http://schemas.microsoft.com/office/drawing/2014/main" id="{44691AC3-40FE-4CEA-8FD1-8E075B57347C}"/>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2" name="Freeform 1695">
                      <a:extLst>
                        <a:ext uri="{FF2B5EF4-FFF2-40B4-BE49-F238E27FC236}">
                          <a16:creationId xmlns:a16="http://schemas.microsoft.com/office/drawing/2014/main" id="{25E8A13D-101E-4201-BEFC-465EF69CF386}"/>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3" name="Freeform 1696">
                      <a:extLst>
                        <a:ext uri="{FF2B5EF4-FFF2-40B4-BE49-F238E27FC236}">
                          <a16:creationId xmlns:a16="http://schemas.microsoft.com/office/drawing/2014/main" id="{0B80BB4C-1B57-4208-840C-A999CDC93970}"/>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94" name="Freeform 1697">
                      <a:extLst>
                        <a:ext uri="{FF2B5EF4-FFF2-40B4-BE49-F238E27FC236}">
                          <a16:creationId xmlns:a16="http://schemas.microsoft.com/office/drawing/2014/main" id="{ACD61306-296C-4AB1-8A52-42D96A2BB5E4}"/>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80" name="Group 2379">
                <a:extLst>
                  <a:ext uri="{FF2B5EF4-FFF2-40B4-BE49-F238E27FC236}">
                    <a16:creationId xmlns:a16="http://schemas.microsoft.com/office/drawing/2014/main" id="{FFC3E585-1D13-4787-9027-5919714AB77F}"/>
                  </a:ext>
                </a:extLst>
              </p:cNvPr>
              <p:cNvGrpSpPr/>
              <p:nvPr/>
            </p:nvGrpSpPr>
            <p:grpSpPr>
              <a:xfrm>
                <a:off x="10254370" y="3053480"/>
                <a:ext cx="1231250" cy="1313698"/>
                <a:chOff x="12023909" y="2412144"/>
                <a:chExt cx="1231250" cy="1313698"/>
              </a:xfrm>
            </p:grpSpPr>
            <p:sp>
              <p:nvSpPr>
                <p:cNvPr id="2381" name="Rectangle: Rounded Corners 2380">
                  <a:extLst>
                    <a:ext uri="{FF2B5EF4-FFF2-40B4-BE49-F238E27FC236}">
                      <a16:creationId xmlns:a16="http://schemas.microsoft.com/office/drawing/2014/main" id="{05A5F541-CE7B-43F6-A3F4-9FCF0AA52083}"/>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382" name="Group 2381">
                  <a:extLst>
                    <a:ext uri="{FF2B5EF4-FFF2-40B4-BE49-F238E27FC236}">
                      <a16:creationId xmlns:a16="http://schemas.microsoft.com/office/drawing/2014/main" id="{7A52E961-1A67-4779-9FDF-90FF0A6DD9C6}"/>
                    </a:ext>
                  </a:extLst>
                </p:cNvPr>
                <p:cNvGrpSpPr/>
                <p:nvPr/>
              </p:nvGrpSpPr>
              <p:grpSpPr>
                <a:xfrm>
                  <a:off x="12023909" y="2526190"/>
                  <a:ext cx="1231250" cy="1189484"/>
                  <a:chOff x="7839761" y="1053755"/>
                  <a:chExt cx="927651" cy="896184"/>
                </a:xfrm>
              </p:grpSpPr>
              <p:sp>
                <p:nvSpPr>
                  <p:cNvPr id="2383" name="TextBox 2382">
                    <a:extLst>
                      <a:ext uri="{FF2B5EF4-FFF2-40B4-BE49-F238E27FC236}">
                        <a16:creationId xmlns:a16="http://schemas.microsoft.com/office/drawing/2014/main" id="{10475F5B-D473-4244-814D-777D208FC63A}"/>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384" name="Group 2383">
                    <a:extLst>
                      <a:ext uri="{FF2B5EF4-FFF2-40B4-BE49-F238E27FC236}">
                        <a16:creationId xmlns:a16="http://schemas.microsoft.com/office/drawing/2014/main" id="{D85A5810-A0B7-4727-ADE1-D432A8FD09BF}"/>
                      </a:ext>
                    </a:extLst>
                  </p:cNvPr>
                  <p:cNvGrpSpPr/>
                  <p:nvPr/>
                </p:nvGrpSpPr>
                <p:grpSpPr>
                  <a:xfrm>
                    <a:off x="7839761" y="1053755"/>
                    <a:ext cx="927651" cy="523122"/>
                    <a:chOff x="7839761" y="1053755"/>
                    <a:chExt cx="927651" cy="523122"/>
                  </a:xfrm>
                </p:grpSpPr>
                <p:sp>
                  <p:nvSpPr>
                    <p:cNvPr id="2385" name="Line 66">
                      <a:extLst>
                        <a:ext uri="{FF2B5EF4-FFF2-40B4-BE49-F238E27FC236}">
                          <a16:creationId xmlns:a16="http://schemas.microsoft.com/office/drawing/2014/main" id="{4D5BDF05-8AB9-4D0C-9936-6E5221701357}"/>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6" name="Line 67">
                      <a:extLst>
                        <a:ext uri="{FF2B5EF4-FFF2-40B4-BE49-F238E27FC236}">
                          <a16:creationId xmlns:a16="http://schemas.microsoft.com/office/drawing/2014/main" id="{EEE70E7D-E88D-4730-B591-9151AAF6AEFC}"/>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7" name="Line 74">
                      <a:extLst>
                        <a:ext uri="{FF2B5EF4-FFF2-40B4-BE49-F238E27FC236}">
                          <a16:creationId xmlns:a16="http://schemas.microsoft.com/office/drawing/2014/main" id="{AF24F0B3-60B5-4555-994D-83D496662726}"/>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78">
                      <a:extLst>
                        <a:ext uri="{FF2B5EF4-FFF2-40B4-BE49-F238E27FC236}">
                          <a16:creationId xmlns:a16="http://schemas.microsoft.com/office/drawing/2014/main" id="{48DE2164-D559-4B14-BD4D-4E4F2C15B217}"/>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Freeform 80">
                      <a:extLst>
                        <a:ext uri="{FF2B5EF4-FFF2-40B4-BE49-F238E27FC236}">
                          <a16:creationId xmlns:a16="http://schemas.microsoft.com/office/drawing/2014/main" id="{6E57422F-86DC-4AE2-90E2-5FE1DD5FF2D7}"/>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1575">
                      <a:extLst>
                        <a:ext uri="{FF2B5EF4-FFF2-40B4-BE49-F238E27FC236}">
                          <a16:creationId xmlns:a16="http://schemas.microsoft.com/office/drawing/2014/main" id="{3247854F-01BC-44F5-9741-9C1E250D2657}"/>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1576">
                      <a:extLst>
                        <a:ext uri="{FF2B5EF4-FFF2-40B4-BE49-F238E27FC236}">
                          <a16:creationId xmlns:a16="http://schemas.microsoft.com/office/drawing/2014/main" id="{59D4CB40-2F18-4509-8B19-A6F5998A7153}"/>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1577">
                      <a:extLst>
                        <a:ext uri="{FF2B5EF4-FFF2-40B4-BE49-F238E27FC236}">
                          <a16:creationId xmlns:a16="http://schemas.microsoft.com/office/drawing/2014/main" id="{8875CFCC-F6A3-488A-B4FC-E5665A339A6D}"/>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3" name="Freeform 1578">
                      <a:extLst>
                        <a:ext uri="{FF2B5EF4-FFF2-40B4-BE49-F238E27FC236}">
                          <a16:creationId xmlns:a16="http://schemas.microsoft.com/office/drawing/2014/main" id="{2A8A8D95-C870-432C-A5E6-BB7355198482}"/>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4" name="Freeform 1579">
                      <a:extLst>
                        <a:ext uri="{FF2B5EF4-FFF2-40B4-BE49-F238E27FC236}">
                          <a16:creationId xmlns:a16="http://schemas.microsoft.com/office/drawing/2014/main" id="{E7B8E060-68B2-4080-B658-6BE76D84DEA2}"/>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Freeform 1580">
                      <a:extLst>
                        <a:ext uri="{FF2B5EF4-FFF2-40B4-BE49-F238E27FC236}">
                          <a16:creationId xmlns:a16="http://schemas.microsoft.com/office/drawing/2014/main" id="{007187D5-1B56-4D50-AF29-45393CFBBFC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6" name="Freeform 1581">
                      <a:extLst>
                        <a:ext uri="{FF2B5EF4-FFF2-40B4-BE49-F238E27FC236}">
                          <a16:creationId xmlns:a16="http://schemas.microsoft.com/office/drawing/2014/main" id="{87FC41A0-BBC5-4952-9B8F-223A5CD10F74}"/>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Freeform 1582">
                      <a:extLst>
                        <a:ext uri="{FF2B5EF4-FFF2-40B4-BE49-F238E27FC236}">
                          <a16:creationId xmlns:a16="http://schemas.microsoft.com/office/drawing/2014/main" id="{62E19466-3A2D-4D15-AD75-B8EF5D94F40A}"/>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398" name="Freeform 1583">
                      <a:extLst>
                        <a:ext uri="{FF2B5EF4-FFF2-40B4-BE49-F238E27FC236}">
                          <a16:creationId xmlns:a16="http://schemas.microsoft.com/office/drawing/2014/main" id="{543017A5-5BB1-4C0A-BC6A-89ADE55B90D4}"/>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9" name="Freeform 1584">
                      <a:extLst>
                        <a:ext uri="{FF2B5EF4-FFF2-40B4-BE49-F238E27FC236}">
                          <a16:creationId xmlns:a16="http://schemas.microsoft.com/office/drawing/2014/main" id="{0B5A2709-EAB6-42C2-AC81-A75ACE2D6290}"/>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0" name="Freeform 1585">
                      <a:extLst>
                        <a:ext uri="{FF2B5EF4-FFF2-40B4-BE49-F238E27FC236}">
                          <a16:creationId xmlns:a16="http://schemas.microsoft.com/office/drawing/2014/main" id="{EFA2B0B4-1714-4B51-A790-3E14DE418220}"/>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1" name="Freeform 1586">
                      <a:extLst>
                        <a:ext uri="{FF2B5EF4-FFF2-40B4-BE49-F238E27FC236}">
                          <a16:creationId xmlns:a16="http://schemas.microsoft.com/office/drawing/2014/main" id="{37A02652-D95B-4A32-A8FF-A18666DB6B2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2" name="Freeform 1587">
                      <a:extLst>
                        <a:ext uri="{FF2B5EF4-FFF2-40B4-BE49-F238E27FC236}">
                          <a16:creationId xmlns:a16="http://schemas.microsoft.com/office/drawing/2014/main" id="{D674FEAD-2C3F-4CD9-9A09-46DAB1EB91B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1588">
                      <a:extLst>
                        <a:ext uri="{FF2B5EF4-FFF2-40B4-BE49-F238E27FC236}">
                          <a16:creationId xmlns:a16="http://schemas.microsoft.com/office/drawing/2014/main" id="{161E3166-7BAB-4F0B-8039-A1325AA6F3D1}"/>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04" name="Rectangle 1589">
                      <a:extLst>
                        <a:ext uri="{FF2B5EF4-FFF2-40B4-BE49-F238E27FC236}">
                          <a16:creationId xmlns:a16="http://schemas.microsoft.com/office/drawing/2014/main" id="{CA7A642B-23AF-4FB6-8A19-446BB3179BAF}"/>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5" name="Rectangle 1590">
                      <a:extLst>
                        <a:ext uri="{FF2B5EF4-FFF2-40B4-BE49-F238E27FC236}">
                          <a16:creationId xmlns:a16="http://schemas.microsoft.com/office/drawing/2014/main" id="{26E6A0EA-4C1A-42AE-A015-0565599540B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6" name="Freeform 1591">
                      <a:extLst>
                        <a:ext uri="{FF2B5EF4-FFF2-40B4-BE49-F238E27FC236}">
                          <a16:creationId xmlns:a16="http://schemas.microsoft.com/office/drawing/2014/main" id="{D7C31A1F-7DEE-49CD-90BF-F6D3973DD215}"/>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7" name="Freeform 1592">
                      <a:extLst>
                        <a:ext uri="{FF2B5EF4-FFF2-40B4-BE49-F238E27FC236}">
                          <a16:creationId xmlns:a16="http://schemas.microsoft.com/office/drawing/2014/main" id="{6E89F0EB-FB54-4C2D-8FF3-75AA8BFF110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8" name="Freeform 1593">
                      <a:extLst>
                        <a:ext uri="{FF2B5EF4-FFF2-40B4-BE49-F238E27FC236}">
                          <a16:creationId xmlns:a16="http://schemas.microsoft.com/office/drawing/2014/main" id="{46B295E8-BDEB-4C2D-9527-00B194A94211}"/>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09" name="Freeform 1594">
                      <a:extLst>
                        <a:ext uri="{FF2B5EF4-FFF2-40B4-BE49-F238E27FC236}">
                          <a16:creationId xmlns:a16="http://schemas.microsoft.com/office/drawing/2014/main" id="{99A978CF-70B6-41A9-B7D6-D9DCFAE69B88}"/>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0" name="Freeform 1595">
                      <a:extLst>
                        <a:ext uri="{FF2B5EF4-FFF2-40B4-BE49-F238E27FC236}">
                          <a16:creationId xmlns:a16="http://schemas.microsoft.com/office/drawing/2014/main" id="{95DF9872-F96F-4DEE-8E9E-99167FFE230D}"/>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Freeform 1596">
                      <a:extLst>
                        <a:ext uri="{FF2B5EF4-FFF2-40B4-BE49-F238E27FC236}">
                          <a16:creationId xmlns:a16="http://schemas.microsoft.com/office/drawing/2014/main" id="{F974AF27-C210-4DEE-B2B8-04ED139DB68D}"/>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1672">
                      <a:extLst>
                        <a:ext uri="{FF2B5EF4-FFF2-40B4-BE49-F238E27FC236}">
                          <a16:creationId xmlns:a16="http://schemas.microsoft.com/office/drawing/2014/main" id="{21FE80A1-55FF-4F03-B5E4-5C2FDCAFCCD9}"/>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Freeform 1673">
                      <a:extLst>
                        <a:ext uri="{FF2B5EF4-FFF2-40B4-BE49-F238E27FC236}">
                          <a16:creationId xmlns:a16="http://schemas.microsoft.com/office/drawing/2014/main" id="{8466F4B9-1DF6-4CDA-819A-0625023BCE22}"/>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1674">
                      <a:extLst>
                        <a:ext uri="{FF2B5EF4-FFF2-40B4-BE49-F238E27FC236}">
                          <a16:creationId xmlns:a16="http://schemas.microsoft.com/office/drawing/2014/main" id="{13DC24B5-1D95-482D-9F59-EDCA018AEF5B}"/>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Freeform 1675">
                      <a:extLst>
                        <a:ext uri="{FF2B5EF4-FFF2-40B4-BE49-F238E27FC236}">
                          <a16:creationId xmlns:a16="http://schemas.microsoft.com/office/drawing/2014/main" id="{1B1C6715-3E36-4764-B8C7-A710A0DBB42A}"/>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6" name="Freeform 1676">
                      <a:extLst>
                        <a:ext uri="{FF2B5EF4-FFF2-40B4-BE49-F238E27FC236}">
                          <a16:creationId xmlns:a16="http://schemas.microsoft.com/office/drawing/2014/main" id="{164C8603-4592-4205-A845-F3CFBCE350FB}"/>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7" name="Freeform 1677">
                      <a:extLst>
                        <a:ext uri="{FF2B5EF4-FFF2-40B4-BE49-F238E27FC236}">
                          <a16:creationId xmlns:a16="http://schemas.microsoft.com/office/drawing/2014/main" id="{6294573F-4EAA-4EFF-98AB-D8C3F866A52E}"/>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Freeform 1678">
                      <a:extLst>
                        <a:ext uri="{FF2B5EF4-FFF2-40B4-BE49-F238E27FC236}">
                          <a16:creationId xmlns:a16="http://schemas.microsoft.com/office/drawing/2014/main" id="{85F4228C-E266-458E-9740-4874A0A936A7}"/>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Freeform 1679">
                      <a:extLst>
                        <a:ext uri="{FF2B5EF4-FFF2-40B4-BE49-F238E27FC236}">
                          <a16:creationId xmlns:a16="http://schemas.microsoft.com/office/drawing/2014/main" id="{7ED44B2C-862F-40EA-9169-FA7B5F33977F}"/>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Freeform 1680">
                      <a:extLst>
                        <a:ext uri="{FF2B5EF4-FFF2-40B4-BE49-F238E27FC236}">
                          <a16:creationId xmlns:a16="http://schemas.microsoft.com/office/drawing/2014/main" id="{762AD06F-CC23-42EF-AF53-804137CB20EB}"/>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1681">
                      <a:extLst>
                        <a:ext uri="{FF2B5EF4-FFF2-40B4-BE49-F238E27FC236}">
                          <a16:creationId xmlns:a16="http://schemas.microsoft.com/office/drawing/2014/main" id="{D9DC93CD-A908-459D-8179-11A71A2EA65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1682">
                      <a:extLst>
                        <a:ext uri="{FF2B5EF4-FFF2-40B4-BE49-F238E27FC236}">
                          <a16:creationId xmlns:a16="http://schemas.microsoft.com/office/drawing/2014/main" id="{D8FD2FBD-1657-4AC2-B08B-258028AB1E9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3" name="Freeform 1683">
                      <a:extLst>
                        <a:ext uri="{FF2B5EF4-FFF2-40B4-BE49-F238E27FC236}">
                          <a16:creationId xmlns:a16="http://schemas.microsoft.com/office/drawing/2014/main" id="{4142D5DB-DF42-488D-8EAA-349EE691496B}"/>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4" name="Freeform 1684">
                      <a:extLst>
                        <a:ext uri="{FF2B5EF4-FFF2-40B4-BE49-F238E27FC236}">
                          <a16:creationId xmlns:a16="http://schemas.microsoft.com/office/drawing/2014/main" id="{1D498592-86F6-41D7-B042-50B49D34B67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5" name="Freeform 1685">
                      <a:extLst>
                        <a:ext uri="{FF2B5EF4-FFF2-40B4-BE49-F238E27FC236}">
                          <a16:creationId xmlns:a16="http://schemas.microsoft.com/office/drawing/2014/main" id="{84E9F0CF-8D9F-4C14-A045-10C218E42B8A}"/>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6" name="Freeform 1686">
                      <a:extLst>
                        <a:ext uri="{FF2B5EF4-FFF2-40B4-BE49-F238E27FC236}">
                          <a16:creationId xmlns:a16="http://schemas.microsoft.com/office/drawing/2014/main" id="{AE38F2F4-D701-4A2A-81DF-A06076D4FFE8}"/>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7" name="Freeform 1687">
                      <a:extLst>
                        <a:ext uri="{FF2B5EF4-FFF2-40B4-BE49-F238E27FC236}">
                          <a16:creationId xmlns:a16="http://schemas.microsoft.com/office/drawing/2014/main" id="{461E1B31-489A-4C36-AF4C-EA35FD50D573}"/>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8" name="Freeform 1688">
                      <a:extLst>
                        <a:ext uri="{FF2B5EF4-FFF2-40B4-BE49-F238E27FC236}">
                          <a16:creationId xmlns:a16="http://schemas.microsoft.com/office/drawing/2014/main" id="{7734DE4E-535C-478A-9A26-DE04B89EEF2C}"/>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29" name="Freeform 1689">
                      <a:extLst>
                        <a:ext uri="{FF2B5EF4-FFF2-40B4-BE49-F238E27FC236}">
                          <a16:creationId xmlns:a16="http://schemas.microsoft.com/office/drawing/2014/main" id="{FECB615F-B614-4B52-B6DA-8652986BB486}"/>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0" name="Freeform 1690">
                      <a:extLst>
                        <a:ext uri="{FF2B5EF4-FFF2-40B4-BE49-F238E27FC236}">
                          <a16:creationId xmlns:a16="http://schemas.microsoft.com/office/drawing/2014/main" id="{C564DE4A-EC4B-4D6A-9F7B-DF417087A253}"/>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1" name="Freeform 1691">
                      <a:extLst>
                        <a:ext uri="{FF2B5EF4-FFF2-40B4-BE49-F238E27FC236}">
                          <a16:creationId xmlns:a16="http://schemas.microsoft.com/office/drawing/2014/main" id="{2B5035C6-4A58-4CBD-AB05-E0BACEC8105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2" name="Freeform 1692">
                      <a:extLst>
                        <a:ext uri="{FF2B5EF4-FFF2-40B4-BE49-F238E27FC236}">
                          <a16:creationId xmlns:a16="http://schemas.microsoft.com/office/drawing/2014/main" id="{5505ABC9-578A-4ED0-AD77-0B3177D4301E}"/>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3" name="Freeform 1693">
                      <a:extLst>
                        <a:ext uri="{FF2B5EF4-FFF2-40B4-BE49-F238E27FC236}">
                          <a16:creationId xmlns:a16="http://schemas.microsoft.com/office/drawing/2014/main" id="{86181943-C0A9-440A-B2D8-02AA9243763D}"/>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4" name="Freeform 1694">
                      <a:extLst>
                        <a:ext uri="{FF2B5EF4-FFF2-40B4-BE49-F238E27FC236}">
                          <a16:creationId xmlns:a16="http://schemas.microsoft.com/office/drawing/2014/main" id="{0F02ACD1-10A8-4BEF-A44F-73B915E2B6BF}"/>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5" name="Freeform 1695">
                      <a:extLst>
                        <a:ext uri="{FF2B5EF4-FFF2-40B4-BE49-F238E27FC236}">
                          <a16:creationId xmlns:a16="http://schemas.microsoft.com/office/drawing/2014/main" id="{C3511B33-6FC4-4AC0-8C93-74E6F1E10503}"/>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6" name="Freeform 1696">
                      <a:extLst>
                        <a:ext uri="{FF2B5EF4-FFF2-40B4-BE49-F238E27FC236}">
                          <a16:creationId xmlns:a16="http://schemas.microsoft.com/office/drawing/2014/main" id="{D56A2DC5-6B64-44F4-B662-82FF8A3E271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437" name="Freeform 1697">
                      <a:extLst>
                        <a:ext uri="{FF2B5EF4-FFF2-40B4-BE49-F238E27FC236}">
                          <a16:creationId xmlns:a16="http://schemas.microsoft.com/office/drawing/2014/main" id="{50CAF6CB-134D-40C6-BC8B-8F2A7A229B88}"/>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377" name="Rectangle 2376">
              <a:extLst>
                <a:ext uri="{FF2B5EF4-FFF2-40B4-BE49-F238E27FC236}">
                  <a16:creationId xmlns:a16="http://schemas.microsoft.com/office/drawing/2014/main" id="{99E5C539-D3F8-4075-B6A5-08257CF9C719}"/>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2550" name="Group 2549">
            <a:extLst>
              <a:ext uri="{FF2B5EF4-FFF2-40B4-BE49-F238E27FC236}">
                <a16:creationId xmlns:a16="http://schemas.microsoft.com/office/drawing/2014/main" id="{3E0AE51B-14D6-48BC-BAF6-C84022DF070C}"/>
              </a:ext>
            </a:extLst>
          </p:cNvPr>
          <p:cNvGrpSpPr/>
          <p:nvPr/>
        </p:nvGrpSpPr>
        <p:grpSpPr>
          <a:xfrm>
            <a:off x="3480033" y="3477736"/>
            <a:ext cx="4581486" cy="2892141"/>
            <a:chOff x="3480940" y="3616012"/>
            <a:chExt cx="4582679" cy="2892894"/>
          </a:xfrm>
        </p:grpSpPr>
        <p:grpSp>
          <p:nvGrpSpPr>
            <p:cNvPr id="2551" name="Group 2550">
              <a:extLst>
                <a:ext uri="{FF2B5EF4-FFF2-40B4-BE49-F238E27FC236}">
                  <a16:creationId xmlns:a16="http://schemas.microsoft.com/office/drawing/2014/main" id="{D799E28B-E475-4C47-90DA-CF772C21780F}"/>
                </a:ext>
              </a:extLst>
            </p:cNvPr>
            <p:cNvGrpSpPr/>
            <p:nvPr/>
          </p:nvGrpSpPr>
          <p:grpSpPr>
            <a:xfrm>
              <a:off x="3480940" y="4590574"/>
              <a:ext cx="2021522" cy="1918332"/>
              <a:chOff x="3480940" y="4590574"/>
              <a:chExt cx="2021522" cy="1918332"/>
            </a:xfrm>
          </p:grpSpPr>
          <p:grpSp>
            <p:nvGrpSpPr>
              <p:cNvPr id="2562" name="Group 2561">
                <a:extLst>
                  <a:ext uri="{FF2B5EF4-FFF2-40B4-BE49-F238E27FC236}">
                    <a16:creationId xmlns:a16="http://schemas.microsoft.com/office/drawing/2014/main" id="{9C0AB398-29FB-436D-B480-1E17D6E49F46}"/>
                  </a:ext>
                </a:extLst>
              </p:cNvPr>
              <p:cNvGrpSpPr/>
              <p:nvPr/>
            </p:nvGrpSpPr>
            <p:grpSpPr>
              <a:xfrm>
                <a:off x="3480940" y="4590574"/>
                <a:ext cx="2021522" cy="1918332"/>
                <a:chOff x="3489383" y="4562005"/>
                <a:chExt cx="2026683" cy="1923229"/>
              </a:xfrm>
            </p:grpSpPr>
            <p:sp>
              <p:nvSpPr>
                <p:cNvPr id="2566" name="Rectangle 2565">
                  <a:extLst>
                    <a:ext uri="{FF2B5EF4-FFF2-40B4-BE49-F238E27FC236}">
                      <a16:creationId xmlns:a16="http://schemas.microsoft.com/office/drawing/2014/main" id="{19DC4D5A-2DE1-463A-A079-CC6CE96D890F}"/>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567" name="Picture 2566">
                  <a:extLst>
                    <a:ext uri="{FF2B5EF4-FFF2-40B4-BE49-F238E27FC236}">
                      <a16:creationId xmlns:a16="http://schemas.microsoft.com/office/drawing/2014/main" id="{833C0D28-A695-4844-A456-4D19FF1DFB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568" name="Rectangle 2567">
                  <a:extLst>
                    <a:ext uri="{FF2B5EF4-FFF2-40B4-BE49-F238E27FC236}">
                      <a16:creationId xmlns:a16="http://schemas.microsoft.com/office/drawing/2014/main" id="{E9152862-B2BB-4998-8C8E-5DF1F6870987}"/>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569" name="Group 2568">
                  <a:extLst>
                    <a:ext uri="{FF2B5EF4-FFF2-40B4-BE49-F238E27FC236}">
                      <a16:creationId xmlns:a16="http://schemas.microsoft.com/office/drawing/2014/main" id="{9F2740F3-1EED-444A-B76A-1B59C458AB57}"/>
                    </a:ext>
                  </a:extLst>
                </p:cNvPr>
                <p:cNvGrpSpPr/>
                <p:nvPr/>
              </p:nvGrpSpPr>
              <p:grpSpPr>
                <a:xfrm>
                  <a:off x="4439956" y="4676083"/>
                  <a:ext cx="1030675" cy="846880"/>
                  <a:chOff x="10800033" y="2297897"/>
                  <a:chExt cx="1600558" cy="1315140"/>
                </a:xfrm>
              </p:grpSpPr>
              <p:grpSp>
                <p:nvGrpSpPr>
                  <p:cNvPr id="2570" name="Group 2569">
                    <a:extLst>
                      <a:ext uri="{FF2B5EF4-FFF2-40B4-BE49-F238E27FC236}">
                        <a16:creationId xmlns:a16="http://schemas.microsoft.com/office/drawing/2014/main" id="{F075F749-BE74-495A-A0E4-2FA1DFBC139D}"/>
                      </a:ext>
                    </a:extLst>
                  </p:cNvPr>
                  <p:cNvGrpSpPr>
                    <a:grpSpLocks/>
                  </p:cNvGrpSpPr>
                  <p:nvPr/>
                </p:nvGrpSpPr>
                <p:grpSpPr>
                  <a:xfrm>
                    <a:off x="10800033" y="2339037"/>
                    <a:ext cx="613092" cy="613092"/>
                    <a:chOff x="745985" y="4768134"/>
                    <a:chExt cx="368776" cy="368777"/>
                  </a:xfrm>
                </p:grpSpPr>
                <p:grpSp>
                  <p:nvGrpSpPr>
                    <p:cNvPr id="2634" name="Group 64">
                      <a:extLst>
                        <a:ext uri="{FF2B5EF4-FFF2-40B4-BE49-F238E27FC236}">
                          <a16:creationId xmlns:a16="http://schemas.microsoft.com/office/drawing/2014/main" id="{394FBB97-BB17-4076-BA7F-6E44C259DA31}"/>
                        </a:ext>
                      </a:extLst>
                    </p:cNvPr>
                    <p:cNvGrpSpPr>
                      <a:grpSpLocks noChangeAspect="1"/>
                    </p:cNvGrpSpPr>
                    <p:nvPr/>
                  </p:nvGrpSpPr>
                  <p:grpSpPr bwMode="auto">
                    <a:xfrm rot="8100000">
                      <a:off x="745985" y="4768134"/>
                      <a:ext cx="368776" cy="368777"/>
                      <a:chOff x="701" y="2170"/>
                      <a:chExt cx="587" cy="587"/>
                    </a:xfrm>
                  </p:grpSpPr>
                  <p:sp>
                    <p:nvSpPr>
                      <p:cNvPr id="2645" name="Oval 65">
                        <a:extLst>
                          <a:ext uri="{FF2B5EF4-FFF2-40B4-BE49-F238E27FC236}">
                            <a16:creationId xmlns:a16="http://schemas.microsoft.com/office/drawing/2014/main" id="{D99513BE-F489-472D-AD4C-35876DF37983}"/>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46" name="Line 66">
                        <a:extLst>
                          <a:ext uri="{FF2B5EF4-FFF2-40B4-BE49-F238E27FC236}">
                            <a16:creationId xmlns:a16="http://schemas.microsoft.com/office/drawing/2014/main" id="{A6362BC5-7C70-4C28-9301-F5F860A5ACD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Line 67">
                        <a:extLst>
                          <a:ext uri="{FF2B5EF4-FFF2-40B4-BE49-F238E27FC236}">
                            <a16:creationId xmlns:a16="http://schemas.microsoft.com/office/drawing/2014/main" id="{8BEBF1E1-7017-469E-B1FF-3766FB6F81F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Line 69">
                        <a:extLst>
                          <a:ext uri="{FF2B5EF4-FFF2-40B4-BE49-F238E27FC236}">
                            <a16:creationId xmlns:a16="http://schemas.microsoft.com/office/drawing/2014/main" id="{593E4B9B-67E2-4823-B463-BCBF04373F9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Line 74">
                        <a:extLst>
                          <a:ext uri="{FF2B5EF4-FFF2-40B4-BE49-F238E27FC236}">
                            <a16:creationId xmlns:a16="http://schemas.microsoft.com/office/drawing/2014/main" id="{CBE50248-C269-4141-AEDB-BF932F1D71E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78">
                        <a:extLst>
                          <a:ext uri="{FF2B5EF4-FFF2-40B4-BE49-F238E27FC236}">
                            <a16:creationId xmlns:a16="http://schemas.microsoft.com/office/drawing/2014/main" id="{F8AAD8A0-3AD4-4D1C-8596-F992645987A4}"/>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80">
                        <a:extLst>
                          <a:ext uri="{FF2B5EF4-FFF2-40B4-BE49-F238E27FC236}">
                            <a16:creationId xmlns:a16="http://schemas.microsoft.com/office/drawing/2014/main" id="{B8C6B84D-C717-420F-BC0B-FDF51ABB1ED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35" name="Group 2634">
                      <a:extLst>
                        <a:ext uri="{FF2B5EF4-FFF2-40B4-BE49-F238E27FC236}">
                          <a16:creationId xmlns:a16="http://schemas.microsoft.com/office/drawing/2014/main" id="{A6FE112D-A35B-4672-A6BF-C91082FDA1D8}"/>
                        </a:ext>
                      </a:extLst>
                    </p:cNvPr>
                    <p:cNvGrpSpPr/>
                    <p:nvPr/>
                  </p:nvGrpSpPr>
                  <p:grpSpPr>
                    <a:xfrm>
                      <a:off x="837312" y="4814434"/>
                      <a:ext cx="136805" cy="278689"/>
                      <a:chOff x="2806700" y="2803319"/>
                      <a:chExt cx="433387" cy="882861"/>
                    </a:xfrm>
                  </p:grpSpPr>
                  <p:grpSp>
                    <p:nvGrpSpPr>
                      <p:cNvPr id="2636" name="Group 2635">
                        <a:extLst>
                          <a:ext uri="{FF2B5EF4-FFF2-40B4-BE49-F238E27FC236}">
                            <a16:creationId xmlns:a16="http://schemas.microsoft.com/office/drawing/2014/main" id="{7958D822-9A07-41A1-964F-F3A3741CC56E}"/>
                          </a:ext>
                        </a:extLst>
                      </p:cNvPr>
                      <p:cNvGrpSpPr>
                        <a:grpSpLocks noChangeAspect="1"/>
                      </p:cNvGrpSpPr>
                      <p:nvPr/>
                    </p:nvGrpSpPr>
                    <p:grpSpPr bwMode="auto">
                      <a:xfrm>
                        <a:off x="2806700" y="3043242"/>
                        <a:ext cx="433387" cy="642938"/>
                        <a:chOff x="1768" y="1917"/>
                        <a:chExt cx="273" cy="405"/>
                      </a:xfrm>
                    </p:grpSpPr>
                    <p:sp>
                      <p:nvSpPr>
                        <p:cNvPr id="2638" name="Freeform 52">
                          <a:extLst>
                            <a:ext uri="{FF2B5EF4-FFF2-40B4-BE49-F238E27FC236}">
                              <a16:creationId xmlns:a16="http://schemas.microsoft.com/office/drawing/2014/main" id="{FBC7DF40-042D-488A-AB36-6052EC556E96}"/>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39" name="Line 54">
                          <a:extLst>
                            <a:ext uri="{FF2B5EF4-FFF2-40B4-BE49-F238E27FC236}">
                              <a16:creationId xmlns:a16="http://schemas.microsoft.com/office/drawing/2014/main" id="{883F93AB-C3A3-4B5F-A1CF-456068BC767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Line 55">
                          <a:extLst>
                            <a:ext uri="{FF2B5EF4-FFF2-40B4-BE49-F238E27FC236}">
                              <a16:creationId xmlns:a16="http://schemas.microsoft.com/office/drawing/2014/main" id="{D87EFF51-6855-44CF-A79C-2DF4A98D1D78}"/>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56">
                          <a:extLst>
                            <a:ext uri="{FF2B5EF4-FFF2-40B4-BE49-F238E27FC236}">
                              <a16:creationId xmlns:a16="http://schemas.microsoft.com/office/drawing/2014/main" id="{D134498A-294A-4A10-B100-9F8D5A91E25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Line 57">
                          <a:extLst>
                            <a:ext uri="{FF2B5EF4-FFF2-40B4-BE49-F238E27FC236}">
                              <a16:creationId xmlns:a16="http://schemas.microsoft.com/office/drawing/2014/main" id="{6654C4FD-F40F-41F0-B8CE-017936FC13D9}"/>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58">
                          <a:extLst>
                            <a:ext uri="{FF2B5EF4-FFF2-40B4-BE49-F238E27FC236}">
                              <a16:creationId xmlns:a16="http://schemas.microsoft.com/office/drawing/2014/main" id="{19555386-5E67-4B2F-B94C-AFDC1B0461F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Rectangle 2643">
                          <a:extLst>
                            <a:ext uri="{FF2B5EF4-FFF2-40B4-BE49-F238E27FC236}">
                              <a16:creationId xmlns:a16="http://schemas.microsoft.com/office/drawing/2014/main" id="{EFBD8C20-5250-432C-AC66-0060310B0E5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37" name="Oval 2636">
                        <a:extLst>
                          <a:ext uri="{FF2B5EF4-FFF2-40B4-BE49-F238E27FC236}">
                            <a16:creationId xmlns:a16="http://schemas.microsoft.com/office/drawing/2014/main" id="{9A6CA460-C797-4F41-BE4D-49D8B5015723}"/>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71" name="Group 2570">
                    <a:extLst>
                      <a:ext uri="{FF2B5EF4-FFF2-40B4-BE49-F238E27FC236}">
                        <a16:creationId xmlns:a16="http://schemas.microsoft.com/office/drawing/2014/main" id="{5306A91F-CF42-4203-8ED0-4140C16B11AE}"/>
                      </a:ext>
                    </a:extLst>
                  </p:cNvPr>
                  <p:cNvGrpSpPr>
                    <a:grpSpLocks/>
                  </p:cNvGrpSpPr>
                  <p:nvPr/>
                </p:nvGrpSpPr>
                <p:grpSpPr>
                  <a:xfrm>
                    <a:off x="11166615" y="2825631"/>
                    <a:ext cx="787402" cy="787406"/>
                    <a:chOff x="1454941" y="4721722"/>
                    <a:chExt cx="473625" cy="473627"/>
                  </a:xfrm>
                </p:grpSpPr>
                <p:grpSp>
                  <p:nvGrpSpPr>
                    <p:cNvPr id="2595" name="Group 64">
                      <a:extLst>
                        <a:ext uri="{FF2B5EF4-FFF2-40B4-BE49-F238E27FC236}">
                          <a16:creationId xmlns:a16="http://schemas.microsoft.com/office/drawing/2014/main" id="{68666D46-D43D-46E1-909D-AF14B0BBDAA3}"/>
                        </a:ext>
                      </a:extLst>
                    </p:cNvPr>
                    <p:cNvGrpSpPr>
                      <a:grpSpLocks noChangeAspect="1"/>
                    </p:cNvGrpSpPr>
                    <p:nvPr/>
                  </p:nvGrpSpPr>
                  <p:grpSpPr bwMode="auto">
                    <a:xfrm rot="8100000">
                      <a:off x="1454941" y="4721722"/>
                      <a:ext cx="473625" cy="473627"/>
                      <a:chOff x="701" y="2170"/>
                      <a:chExt cx="587" cy="587"/>
                    </a:xfrm>
                  </p:grpSpPr>
                  <p:sp>
                    <p:nvSpPr>
                      <p:cNvPr id="2627" name="Oval 65">
                        <a:extLst>
                          <a:ext uri="{FF2B5EF4-FFF2-40B4-BE49-F238E27FC236}">
                            <a16:creationId xmlns:a16="http://schemas.microsoft.com/office/drawing/2014/main" id="{48017EDA-3C29-4CEA-BC0B-80A8BD0796C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8" name="Line 66">
                        <a:extLst>
                          <a:ext uri="{FF2B5EF4-FFF2-40B4-BE49-F238E27FC236}">
                            <a16:creationId xmlns:a16="http://schemas.microsoft.com/office/drawing/2014/main" id="{ECC64540-7134-4AED-B8DC-42AEAAC639AC}"/>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9" name="Line 67">
                        <a:extLst>
                          <a:ext uri="{FF2B5EF4-FFF2-40B4-BE49-F238E27FC236}">
                            <a16:creationId xmlns:a16="http://schemas.microsoft.com/office/drawing/2014/main" id="{EBC0855D-C2AD-4CE4-A679-0D1CEE5DFE8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0" name="Line 69">
                        <a:extLst>
                          <a:ext uri="{FF2B5EF4-FFF2-40B4-BE49-F238E27FC236}">
                            <a16:creationId xmlns:a16="http://schemas.microsoft.com/office/drawing/2014/main" id="{7B34E0DF-7FC3-43DD-A1D6-182D7FDAC5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1" name="Line 74">
                        <a:extLst>
                          <a:ext uri="{FF2B5EF4-FFF2-40B4-BE49-F238E27FC236}">
                            <a16:creationId xmlns:a16="http://schemas.microsoft.com/office/drawing/2014/main" id="{770634F6-E1B0-440B-AFDC-6D0B459927B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2" name="Freeform 78">
                        <a:extLst>
                          <a:ext uri="{FF2B5EF4-FFF2-40B4-BE49-F238E27FC236}">
                            <a16:creationId xmlns:a16="http://schemas.microsoft.com/office/drawing/2014/main" id="{300F9431-A749-4C71-AD48-AD88F20713B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3" name="Freeform 80">
                        <a:extLst>
                          <a:ext uri="{FF2B5EF4-FFF2-40B4-BE49-F238E27FC236}">
                            <a16:creationId xmlns:a16="http://schemas.microsoft.com/office/drawing/2014/main" id="{9E0FD27F-6C1B-400F-9C1B-00F54ADC628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96" name="Group 2595">
                      <a:extLst>
                        <a:ext uri="{FF2B5EF4-FFF2-40B4-BE49-F238E27FC236}">
                          <a16:creationId xmlns:a16="http://schemas.microsoft.com/office/drawing/2014/main" id="{CE1C56D1-BF2E-456A-8742-E449CE5B6954}"/>
                        </a:ext>
                      </a:extLst>
                    </p:cNvPr>
                    <p:cNvGrpSpPr/>
                    <p:nvPr/>
                  </p:nvGrpSpPr>
                  <p:grpSpPr>
                    <a:xfrm>
                      <a:off x="1511214" y="4789508"/>
                      <a:ext cx="356509" cy="349884"/>
                      <a:chOff x="468738" y="2241878"/>
                      <a:chExt cx="1655483" cy="1624719"/>
                    </a:xfrm>
                  </p:grpSpPr>
                  <p:sp>
                    <p:nvSpPr>
                      <p:cNvPr id="2597" name="Freeform 5">
                        <a:extLst>
                          <a:ext uri="{FF2B5EF4-FFF2-40B4-BE49-F238E27FC236}">
                            <a16:creationId xmlns:a16="http://schemas.microsoft.com/office/drawing/2014/main" id="{079EC6CC-9435-45FB-99C1-4DA947F1C1D5}"/>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8" name="Freeform 6">
                        <a:extLst>
                          <a:ext uri="{FF2B5EF4-FFF2-40B4-BE49-F238E27FC236}">
                            <a16:creationId xmlns:a16="http://schemas.microsoft.com/office/drawing/2014/main" id="{67DED1AC-696F-4863-88E4-DC7BF1B7AFC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9" name="Line 7">
                        <a:extLst>
                          <a:ext uri="{FF2B5EF4-FFF2-40B4-BE49-F238E27FC236}">
                            <a16:creationId xmlns:a16="http://schemas.microsoft.com/office/drawing/2014/main" id="{96B13123-371D-44BC-BB70-7C4F8079D619}"/>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Freeform 8">
                        <a:extLst>
                          <a:ext uri="{FF2B5EF4-FFF2-40B4-BE49-F238E27FC236}">
                            <a16:creationId xmlns:a16="http://schemas.microsoft.com/office/drawing/2014/main" id="{B3A07210-1401-48E3-A8BF-B23886CB466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1" name="Line 9">
                        <a:extLst>
                          <a:ext uri="{FF2B5EF4-FFF2-40B4-BE49-F238E27FC236}">
                            <a16:creationId xmlns:a16="http://schemas.microsoft.com/office/drawing/2014/main" id="{4FEE55D0-43F0-43C7-8DAD-C5DD766DADCD}"/>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02" name="Group 2601">
                        <a:extLst>
                          <a:ext uri="{FF2B5EF4-FFF2-40B4-BE49-F238E27FC236}">
                            <a16:creationId xmlns:a16="http://schemas.microsoft.com/office/drawing/2014/main" id="{577664B5-37A8-493E-B365-0E0ACC7C6DA7}"/>
                          </a:ext>
                        </a:extLst>
                      </p:cNvPr>
                      <p:cNvGrpSpPr/>
                      <p:nvPr/>
                    </p:nvGrpSpPr>
                    <p:grpSpPr>
                      <a:xfrm>
                        <a:off x="1207113" y="2241878"/>
                        <a:ext cx="178734" cy="348678"/>
                        <a:chOff x="1207113" y="2241878"/>
                        <a:chExt cx="178734" cy="348678"/>
                      </a:xfrm>
                    </p:grpSpPr>
                    <p:sp>
                      <p:nvSpPr>
                        <p:cNvPr id="2625" name="Freeform 10">
                          <a:extLst>
                            <a:ext uri="{FF2B5EF4-FFF2-40B4-BE49-F238E27FC236}">
                              <a16:creationId xmlns:a16="http://schemas.microsoft.com/office/drawing/2014/main" id="{E9CB101F-2595-44CC-AD60-3A73F43F42F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Line 11">
                          <a:extLst>
                            <a:ext uri="{FF2B5EF4-FFF2-40B4-BE49-F238E27FC236}">
                              <a16:creationId xmlns:a16="http://schemas.microsoft.com/office/drawing/2014/main" id="{23C1F688-8311-46B8-8B85-E7E7D6E8483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603" name="Freeform 12">
                        <a:extLst>
                          <a:ext uri="{FF2B5EF4-FFF2-40B4-BE49-F238E27FC236}">
                            <a16:creationId xmlns:a16="http://schemas.microsoft.com/office/drawing/2014/main" id="{F1354873-BD82-41AF-80DC-D721DDAC4F8A}"/>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4" name="Line 13">
                        <a:extLst>
                          <a:ext uri="{FF2B5EF4-FFF2-40B4-BE49-F238E27FC236}">
                            <a16:creationId xmlns:a16="http://schemas.microsoft.com/office/drawing/2014/main" id="{4A9B55B8-5062-4C04-BDB6-BD30FA45C77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Freeform 14">
                        <a:extLst>
                          <a:ext uri="{FF2B5EF4-FFF2-40B4-BE49-F238E27FC236}">
                            <a16:creationId xmlns:a16="http://schemas.microsoft.com/office/drawing/2014/main" id="{3D292B1F-307D-43C6-A918-7788D68A170A}"/>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15">
                        <a:extLst>
                          <a:ext uri="{FF2B5EF4-FFF2-40B4-BE49-F238E27FC236}">
                            <a16:creationId xmlns:a16="http://schemas.microsoft.com/office/drawing/2014/main" id="{F68ABD0A-ED29-43E2-8441-4741D68A0EEB}"/>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Freeform 16">
                        <a:extLst>
                          <a:ext uri="{FF2B5EF4-FFF2-40B4-BE49-F238E27FC236}">
                            <a16:creationId xmlns:a16="http://schemas.microsoft.com/office/drawing/2014/main" id="{B09506B1-ED45-4096-9E3D-87566CD29B61}"/>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Line 17">
                        <a:extLst>
                          <a:ext uri="{FF2B5EF4-FFF2-40B4-BE49-F238E27FC236}">
                            <a16:creationId xmlns:a16="http://schemas.microsoft.com/office/drawing/2014/main" id="{FD44C52F-0896-4DC8-A573-F8CB9574C9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18">
                        <a:extLst>
                          <a:ext uri="{FF2B5EF4-FFF2-40B4-BE49-F238E27FC236}">
                            <a16:creationId xmlns:a16="http://schemas.microsoft.com/office/drawing/2014/main" id="{8B280140-F2C2-406D-8F12-93B0BF8169F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0" name="Line 19">
                        <a:extLst>
                          <a:ext uri="{FF2B5EF4-FFF2-40B4-BE49-F238E27FC236}">
                            <a16:creationId xmlns:a16="http://schemas.microsoft.com/office/drawing/2014/main" id="{83F8B07E-AAC4-429D-815C-600BDC67EDC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1" name="Freeform 35">
                        <a:extLst>
                          <a:ext uri="{FF2B5EF4-FFF2-40B4-BE49-F238E27FC236}">
                            <a16:creationId xmlns:a16="http://schemas.microsoft.com/office/drawing/2014/main" id="{97B06452-C058-4055-A778-3D273FF5AD9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2" name="Freeform 36">
                        <a:extLst>
                          <a:ext uri="{FF2B5EF4-FFF2-40B4-BE49-F238E27FC236}">
                            <a16:creationId xmlns:a16="http://schemas.microsoft.com/office/drawing/2014/main" id="{D7B94512-5B7D-4E49-8A20-B7E0C59BA323}"/>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3" name="Freeform 37">
                        <a:extLst>
                          <a:ext uri="{FF2B5EF4-FFF2-40B4-BE49-F238E27FC236}">
                            <a16:creationId xmlns:a16="http://schemas.microsoft.com/office/drawing/2014/main" id="{1E9CFF19-0920-4C18-BFB6-4FA99EFAAE4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4" name="Freeform 38">
                        <a:extLst>
                          <a:ext uri="{FF2B5EF4-FFF2-40B4-BE49-F238E27FC236}">
                            <a16:creationId xmlns:a16="http://schemas.microsoft.com/office/drawing/2014/main" id="{2192574F-D87E-4799-8617-9A8269FBF2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Freeform 39">
                        <a:extLst>
                          <a:ext uri="{FF2B5EF4-FFF2-40B4-BE49-F238E27FC236}">
                            <a16:creationId xmlns:a16="http://schemas.microsoft.com/office/drawing/2014/main" id="{9FA83DBA-16E9-4E67-B605-610342F2FBB7}"/>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6" name="Freeform 40">
                        <a:extLst>
                          <a:ext uri="{FF2B5EF4-FFF2-40B4-BE49-F238E27FC236}">
                            <a16:creationId xmlns:a16="http://schemas.microsoft.com/office/drawing/2014/main" id="{794D13CB-1AC0-4D12-AEFA-19F35871F8B2}"/>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41">
                        <a:extLst>
                          <a:ext uri="{FF2B5EF4-FFF2-40B4-BE49-F238E27FC236}">
                            <a16:creationId xmlns:a16="http://schemas.microsoft.com/office/drawing/2014/main" id="{3CA60CD9-2A9F-491F-8D32-DDBDC4302D7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42">
                        <a:extLst>
                          <a:ext uri="{FF2B5EF4-FFF2-40B4-BE49-F238E27FC236}">
                            <a16:creationId xmlns:a16="http://schemas.microsoft.com/office/drawing/2014/main" id="{AC0B106E-7CF1-42EC-AAD0-953B1807B0E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43">
                        <a:extLst>
                          <a:ext uri="{FF2B5EF4-FFF2-40B4-BE49-F238E27FC236}">
                            <a16:creationId xmlns:a16="http://schemas.microsoft.com/office/drawing/2014/main" id="{60BD6986-D4CD-4ADE-9B50-18E17A0C999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Freeform 44">
                        <a:extLst>
                          <a:ext uri="{FF2B5EF4-FFF2-40B4-BE49-F238E27FC236}">
                            <a16:creationId xmlns:a16="http://schemas.microsoft.com/office/drawing/2014/main" id="{0FA51F8C-4D65-4873-A054-070A6C457B6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1" name="Freeform 45">
                        <a:extLst>
                          <a:ext uri="{FF2B5EF4-FFF2-40B4-BE49-F238E27FC236}">
                            <a16:creationId xmlns:a16="http://schemas.microsoft.com/office/drawing/2014/main" id="{E9F5D74C-2F8B-4F52-8D34-E92E4468010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622" name="Group 2621">
                        <a:extLst>
                          <a:ext uri="{FF2B5EF4-FFF2-40B4-BE49-F238E27FC236}">
                            <a16:creationId xmlns:a16="http://schemas.microsoft.com/office/drawing/2014/main" id="{4FF9ADDA-1468-4D45-AEA1-96EB78A9EE70}"/>
                          </a:ext>
                        </a:extLst>
                      </p:cNvPr>
                      <p:cNvGrpSpPr/>
                      <p:nvPr/>
                    </p:nvGrpSpPr>
                    <p:grpSpPr>
                      <a:xfrm flipV="1">
                        <a:off x="1202047" y="3517919"/>
                        <a:ext cx="178734" cy="348678"/>
                        <a:chOff x="1207113" y="2241878"/>
                        <a:chExt cx="178734" cy="348678"/>
                      </a:xfrm>
                    </p:grpSpPr>
                    <p:sp>
                      <p:nvSpPr>
                        <p:cNvPr id="2623" name="Freeform 10">
                          <a:extLst>
                            <a:ext uri="{FF2B5EF4-FFF2-40B4-BE49-F238E27FC236}">
                              <a16:creationId xmlns:a16="http://schemas.microsoft.com/office/drawing/2014/main" id="{5A6D455D-656C-4F54-B11B-755FBDCF70F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11">
                          <a:extLst>
                            <a:ext uri="{FF2B5EF4-FFF2-40B4-BE49-F238E27FC236}">
                              <a16:creationId xmlns:a16="http://schemas.microsoft.com/office/drawing/2014/main" id="{33810577-77C5-4BB1-8A88-CC1A2075B6DB}"/>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72" name="Group 2571">
                    <a:extLst>
                      <a:ext uri="{FF2B5EF4-FFF2-40B4-BE49-F238E27FC236}">
                        <a16:creationId xmlns:a16="http://schemas.microsoft.com/office/drawing/2014/main" id="{C61809E5-62A9-440A-A401-E1007C351F86}"/>
                      </a:ext>
                    </a:extLst>
                  </p:cNvPr>
                  <p:cNvGrpSpPr>
                    <a:grpSpLocks/>
                  </p:cNvGrpSpPr>
                  <p:nvPr/>
                </p:nvGrpSpPr>
                <p:grpSpPr>
                  <a:xfrm>
                    <a:off x="11709639" y="2297897"/>
                    <a:ext cx="690952" cy="690956"/>
                    <a:chOff x="2268747" y="4723725"/>
                    <a:chExt cx="415610" cy="415612"/>
                  </a:xfrm>
                </p:grpSpPr>
                <p:grpSp>
                  <p:nvGrpSpPr>
                    <p:cNvPr id="2573" name="Group 64">
                      <a:extLst>
                        <a:ext uri="{FF2B5EF4-FFF2-40B4-BE49-F238E27FC236}">
                          <a16:creationId xmlns:a16="http://schemas.microsoft.com/office/drawing/2014/main" id="{9DBB6DAD-A6C6-40EE-9D11-4FDDF7A94CC3}"/>
                        </a:ext>
                      </a:extLst>
                    </p:cNvPr>
                    <p:cNvGrpSpPr>
                      <a:grpSpLocks noChangeAspect="1"/>
                    </p:cNvGrpSpPr>
                    <p:nvPr/>
                  </p:nvGrpSpPr>
                  <p:grpSpPr bwMode="auto">
                    <a:xfrm rot="8100000">
                      <a:off x="2268747" y="4723725"/>
                      <a:ext cx="415610" cy="415612"/>
                      <a:chOff x="701" y="2170"/>
                      <a:chExt cx="587" cy="587"/>
                    </a:xfrm>
                  </p:grpSpPr>
                  <p:sp>
                    <p:nvSpPr>
                      <p:cNvPr id="2588" name="Oval 65">
                        <a:extLst>
                          <a:ext uri="{FF2B5EF4-FFF2-40B4-BE49-F238E27FC236}">
                            <a16:creationId xmlns:a16="http://schemas.microsoft.com/office/drawing/2014/main" id="{2F93913E-9239-4896-982E-D4D3A9AFE9C4}"/>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9" name="Line 66">
                        <a:extLst>
                          <a:ext uri="{FF2B5EF4-FFF2-40B4-BE49-F238E27FC236}">
                            <a16:creationId xmlns:a16="http://schemas.microsoft.com/office/drawing/2014/main" id="{D516032C-314F-477F-8498-CF760CA9C2A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Line 67">
                        <a:extLst>
                          <a:ext uri="{FF2B5EF4-FFF2-40B4-BE49-F238E27FC236}">
                            <a16:creationId xmlns:a16="http://schemas.microsoft.com/office/drawing/2014/main" id="{85B0E08B-5F9E-46EF-A67C-8D3A7A7AA95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1" name="Line 69">
                        <a:extLst>
                          <a:ext uri="{FF2B5EF4-FFF2-40B4-BE49-F238E27FC236}">
                            <a16:creationId xmlns:a16="http://schemas.microsoft.com/office/drawing/2014/main" id="{0664106A-4AB4-44F0-A49A-B05E83868C8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2" name="Line 74">
                        <a:extLst>
                          <a:ext uri="{FF2B5EF4-FFF2-40B4-BE49-F238E27FC236}">
                            <a16:creationId xmlns:a16="http://schemas.microsoft.com/office/drawing/2014/main" id="{8D41BA7D-C67A-4F1F-B524-BCA54A80431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78">
                        <a:extLst>
                          <a:ext uri="{FF2B5EF4-FFF2-40B4-BE49-F238E27FC236}">
                            <a16:creationId xmlns:a16="http://schemas.microsoft.com/office/drawing/2014/main" id="{4DCCC22E-3471-4F39-BEA9-CFA0AEAFC8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Freeform 80">
                        <a:extLst>
                          <a:ext uri="{FF2B5EF4-FFF2-40B4-BE49-F238E27FC236}">
                            <a16:creationId xmlns:a16="http://schemas.microsoft.com/office/drawing/2014/main" id="{14AD47E3-0647-4EC9-8616-F585647C93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4" name="Group 2573">
                      <a:extLst>
                        <a:ext uri="{FF2B5EF4-FFF2-40B4-BE49-F238E27FC236}">
                          <a16:creationId xmlns:a16="http://schemas.microsoft.com/office/drawing/2014/main" id="{BA6D1D58-9EF5-4F3D-9C9A-D92D4231AB5E}"/>
                        </a:ext>
                      </a:extLst>
                    </p:cNvPr>
                    <p:cNvGrpSpPr/>
                    <p:nvPr/>
                  </p:nvGrpSpPr>
                  <p:grpSpPr>
                    <a:xfrm>
                      <a:off x="2318076" y="4830163"/>
                      <a:ext cx="313949" cy="233075"/>
                      <a:chOff x="3707533" y="2731244"/>
                      <a:chExt cx="389644" cy="289271"/>
                    </a:xfrm>
                  </p:grpSpPr>
                  <p:sp>
                    <p:nvSpPr>
                      <p:cNvPr id="2575" name="Freeform 33">
                        <a:extLst>
                          <a:ext uri="{FF2B5EF4-FFF2-40B4-BE49-F238E27FC236}">
                            <a16:creationId xmlns:a16="http://schemas.microsoft.com/office/drawing/2014/main" id="{80A16413-CD19-4E27-B19D-1876E3D9E01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34">
                        <a:extLst>
                          <a:ext uri="{FF2B5EF4-FFF2-40B4-BE49-F238E27FC236}">
                            <a16:creationId xmlns:a16="http://schemas.microsoft.com/office/drawing/2014/main" id="{EEC10E00-0779-42FA-BA1F-124206B4AEC3}"/>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7" name="Freeform 37">
                        <a:extLst>
                          <a:ext uri="{FF2B5EF4-FFF2-40B4-BE49-F238E27FC236}">
                            <a16:creationId xmlns:a16="http://schemas.microsoft.com/office/drawing/2014/main" id="{963E082D-F51E-4420-8A3F-38B60DC37A31}"/>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8" name="Freeform 38">
                        <a:extLst>
                          <a:ext uri="{FF2B5EF4-FFF2-40B4-BE49-F238E27FC236}">
                            <a16:creationId xmlns:a16="http://schemas.microsoft.com/office/drawing/2014/main" id="{2229CE04-704A-4F27-9E8C-4699B60CF84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9" name="Freeform 32">
                        <a:extLst>
                          <a:ext uri="{FF2B5EF4-FFF2-40B4-BE49-F238E27FC236}">
                            <a16:creationId xmlns:a16="http://schemas.microsoft.com/office/drawing/2014/main" id="{16FA405E-767F-4D26-BF6E-C576C2E17C78}"/>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0" name="Freeform 35">
                        <a:extLst>
                          <a:ext uri="{FF2B5EF4-FFF2-40B4-BE49-F238E27FC236}">
                            <a16:creationId xmlns:a16="http://schemas.microsoft.com/office/drawing/2014/main" id="{0F88731B-778E-480E-900A-9228C1157CD7}"/>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36">
                        <a:extLst>
                          <a:ext uri="{FF2B5EF4-FFF2-40B4-BE49-F238E27FC236}">
                            <a16:creationId xmlns:a16="http://schemas.microsoft.com/office/drawing/2014/main" id="{F25F84DB-8F4E-415C-BB36-DB2CD3B65E6C}"/>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2" name="Freeform 25">
                        <a:extLst>
                          <a:ext uri="{FF2B5EF4-FFF2-40B4-BE49-F238E27FC236}">
                            <a16:creationId xmlns:a16="http://schemas.microsoft.com/office/drawing/2014/main" id="{02BBD59A-2CF4-40AE-95A7-FDDEB8F965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39">
                        <a:extLst>
                          <a:ext uri="{FF2B5EF4-FFF2-40B4-BE49-F238E27FC236}">
                            <a16:creationId xmlns:a16="http://schemas.microsoft.com/office/drawing/2014/main" id="{14FD731D-AF94-44C5-AA74-3DB4EBA6A96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4" name="Freeform 26">
                        <a:extLst>
                          <a:ext uri="{FF2B5EF4-FFF2-40B4-BE49-F238E27FC236}">
                            <a16:creationId xmlns:a16="http://schemas.microsoft.com/office/drawing/2014/main" id="{C9E194B8-9DAD-40BE-B56F-801BDAE7113F}"/>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5" name="Rectangle 27">
                        <a:extLst>
                          <a:ext uri="{FF2B5EF4-FFF2-40B4-BE49-F238E27FC236}">
                            <a16:creationId xmlns:a16="http://schemas.microsoft.com/office/drawing/2014/main" id="{1BF09F81-C3A8-46B8-9D87-D52CC9D3D467}"/>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6" name="Line 29">
                        <a:extLst>
                          <a:ext uri="{FF2B5EF4-FFF2-40B4-BE49-F238E27FC236}">
                            <a16:creationId xmlns:a16="http://schemas.microsoft.com/office/drawing/2014/main" id="{796B5EC7-95AE-4638-B151-4AD5F6E603C5}"/>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Line 31">
                        <a:extLst>
                          <a:ext uri="{FF2B5EF4-FFF2-40B4-BE49-F238E27FC236}">
                            <a16:creationId xmlns:a16="http://schemas.microsoft.com/office/drawing/2014/main" id="{D74D1B5A-4088-48FD-BA39-A25E047F6E5B}"/>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563" name="Group 2562">
                <a:extLst>
                  <a:ext uri="{FF2B5EF4-FFF2-40B4-BE49-F238E27FC236}">
                    <a16:creationId xmlns:a16="http://schemas.microsoft.com/office/drawing/2014/main" id="{AAF30ECC-6547-47B1-87A6-A8AAD991517A}"/>
                  </a:ext>
                </a:extLst>
              </p:cNvPr>
              <p:cNvGrpSpPr/>
              <p:nvPr/>
            </p:nvGrpSpPr>
            <p:grpSpPr>
              <a:xfrm>
                <a:off x="3584215" y="5655005"/>
                <a:ext cx="1001118" cy="830281"/>
                <a:chOff x="3592922" y="5629153"/>
                <a:chExt cx="1003674" cy="832401"/>
              </a:xfrm>
            </p:grpSpPr>
            <p:pic>
              <p:nvPicPr>
                <p:cNvPr id="2564" name="Picture 1">
                  <a:extLst>
                    <a:ext uri="{FF2B5EF4-FFF2-40B4-BE49-F238E27FC236}">
                      <a16:creationId xmlns:a16="http://schemas.microsoft.com/office/drawing/2014/main" id="{75AF8220-8A57-4FDB-B139-F9D621D94305}"/>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5" name="Rectangle 2564">
                  <a:extLst>
                    <a:ext uri="{FF2B5EF4-FFF2-40B4-BE49-F238E27FC236}">
                      <a16:creationId xmlns:a16="http://schemas.microsoft.com/office/drawing/2014/main" id="{4929924E-CEF7-4D8B-86DF-DF00A77B72EA}"/>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552" name="Group 2551">
              <a:extLst>
                <a:ext uri="{FF2B5EF4-FFF2-40B4-BE49-F238E27FC236}">
                  <a16:creationId xmlns:a16="http://schemas.microsoft.com/office/drawing/2014/main" id="{51D29E4F-03A2-4BAC-8059-D5DCBDD11A12}"/>
                </a:ext>
              </a:extLst>
            </p:cNvPr>
            <p:cNvGrpSpPr/>
            <p:nvPr/>
          </p:nvGrpSpPr>
          <p:grpSpPr>
            <a:xfrm>
              <a:off x="4527697" y="3616012"/>
              <a:ext cx="3535922" cy="312851"/>
              <a:chOff x="4538813" y="3457139"/>
              <a:chExt cx="3544948" cy="313650"/>
            </a:xfrm>
          </p:grpSpPr>
          <p:grpSp>
            <p:nvGrpSpPr>
              <p:cNvPr id="2553" name="Group 2552">
                <a:extLst>
                  <a:ext uri="{FF2B5EF4-FFF2-40B4-BE49-F238E27FC236}">
                    <a16:creationId xmlns:a16="http://schemas.microsoft.com/office/drawing/2014/main" id="{E6379E1F-991C-4636-B00D-F1EA2FB6A8A6}"/>
                  </a:ext>
                </a:extLst>
              </p:cNvPr>
              <p:cNvGrpSpPr/>
              <p:nvPr/>
            </p:nvGrpSpPr>
            <p:grpSpPr>
              <a:xfrm>
                <a:off x="4538813" y="3463012"/>
                <a:ext cx="3544948" cy="307777"/>
                <a:chOff x="4538813" y="3463012"/>
                <a:chExt cx="3544948" cy="307777"/>
              </a:xfrm>
            </p:grpSpPr>
            <p:sp>
              <p:nvSpPr>
                <p:cNvPr id="2555" name="Rectangle 2554">
                  <a:extLst>
                    <a:ext uri="{FF2B5EF4-FFF2-40B4-BE49-F238E27FC236}">
                      <a16:creationId xmlns:a16="http://schemas.microsoft.com/office/drawing/2014/main" id="{7750E31C-C095-4F8A-9D86-212FAC5C5A8D}"/>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6" name="Rectangle 2555">
                  <a:extLst>
                    <a:ext uri="{FF2B5EF4-FFF2-40B4-BE49-F238E27FC236}">
                      <a16:creationId xmlns:a16="http://schemas.microsoft.com/office/drawing/2014/main" id="{1F2EFAF6-495E-421C-9B59-459A62399704}"/>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7" name="Rectangle 2556">
                  <a:extLst>
                    <a:ext uri="{FF2B5EF4-FFF2-40B4-BE49-F238E27FC236}">
                      <a16:creationId xmlns:a16="http://schemas.microsoft.com/office/drawing/2014/main" id="{C6DF208E-6FED-42D9-975F-7FBD667FFE52}"/>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8" name="Rectangle 2557">
                  <a:extLst>
                    <a:ext uri="{FF2B5EF4-FFF2-40B4-BE49-F238E27FC236}">
                      <a16:creationId xmlns:a16="http://schemas.microsoft.com/office/drawing/2014/main" id="{5F78BF88-FDAC-42E0-A249-8550DAA3715B}"/>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59" name="Rectangle 2558">
                  <a:extLst>
                    <a:ext uri="{FF2B5EF4-FFF2-40B4-BE49-F238E27FC236}">
                      <a16:creationId xmlns:a16="http://schemas.microsoft.com/office/drawing/2014/main" id="{5C62A79A-F215-4467-88C4-C7C5AEB53BA9}"/>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0" name="Rectangle 2559">
                  <a:extLst>
                    <a:ext uri="{FF2B5EF4-FFF2-40B4-BE49-F238E27FC236}">
                      <a16:creationId xmlns:a16="http://schemas.microsoft.com/office/drawing/2014/main" id="{37B94D35-6F11-4577-80FF-BCFEF99FDF82}"/>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561" name="Rectangle 2560">
                  <a:extLst>
                    <a:ext uri="{FF2B5EF4-FFF2-40B4-BE49-F238E27FC236}">
                      <a16:creationId xmlns:a16="http://schemas.microsoft.com/office/drawing/2014/main" id="{221BF5B3-2BFB-4332-90AF-579C99572C34}"/>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554" name="Rectangle 2553">
                <a:extLst>
                  <a:ext uri="{FF2B5EF4-FFF2-40B4-BE49-F238E27FC236}">
                    <a16:creationId xmlns:a16="http://schemas.microsoft.com/office/drawing/2014/main" id="{A0ED15A4-6FBB-4630-817C-E5CA8C0D42EE}"/>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2652" name="Group 2651">
            <a:extLst>
              <a:ext uri="{FF2B5EF4-FFF2-40B4-BE49-F238E27FC236}">
                <a16:creationId xmlns:a16="http://schemas.microsoft.com/office/drawing/2014/main" id="{C21894EF-8D81-47AF-94A0-45D68D6932EE}"/>
              </a:ext>
            </a:extLst>
          </p:cNvPr>
          <p:cNvGrpSpPr/>
          <p:nvPr/>
        </p:nvGrpSpPr>
        <p:grpSpPr>
          <a:xfrm>
            <a:off x="1943243" y="1703763"/>
            <a:ext cx="1530261" cy="1365012"/>
            <a:chOff x="1943749" y="1841576"/>
            <a:chExt cx="1530660" cy="1365368"/>
          </a:xfrm>
        </p:grpSpPr>
        <p:grpSp>
          <p:nvGrpSpPr>
            <p:cNvPr id="2653" name="Group 2652">
              <a:extLst>
                <a:ext uri="{FF2B5EF4-FFF2-40B4-BE49-F238E27FC236}">
                  <a16:creationId xmlns:a16="http://schemas.microsoft.com/office/drawing/2014/main" id="{9D43AD93-F054-4F22-9C47-031FF358F2A0}"/>
                </a:ext>
              </a:extLst>
            </p:cNvPr>
            <p:cNvGrpSpPr/>
            <p:nvPr/>
          </p:nvGrpSpPr>
          <p:grpSpPr>
            <a:xfrm>
              <a:off x="1943749" y="2407609"/>
              <a:ext cx="1530660" cy="799335"/>
              <a:chOff x="1943749" y="2407609"/>
              <a:chExt cx="1530660" cy="799335"/>
            </a:xfrm>
          </p:grpSpPr>
          <p:cxnSp>
            <p:nvCxnSpPr>
              <p:cNvPr id="2655" name="Elbow Connector 558">
                <a:extLst>
                  <a:ext uri="{FF2B5EF4-FFF2-40B4-BE49-F238E27FC236}">
                    <a16:creationId xmlns:a16="http://schemas.microsoft.com/office/drawing/2014/main" id="{DEC905F3-34A7-4164-8DD6-65C69465FB24}"/>
                  </a:ext>
                </a:extLst>
              </p:cNvPr>
              <p:cNvCxnSpPr>
                <a:cxnSpLocks/>
                <a:endCxn id="2657"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656" name="Elbow Connector 558">
                <a:extLst>
                  <a:ext uri="{FF2B5EF4-FFF2-40B4-BE49-F238E27FC236}">
                    <a16:creationId xmlns:a16="http://schemas.microsoft.com/office/drawing/2014/main" id="{EF5ED769-8942-4EF3-A434-ED135F9CA3BD}"/>
                  </a:ext>
                </a:extLst>
              </p:cNvPr>
              <p:cNvCxnSpPr>
                <a:cxnSpLocks/>
                <a:stCxn id="2657" idx="3"/>
                <a:endCxn id="2790" idx="1"/>
              </p:cNvCxnSpPr>
              <p:nvPr/>
            </p:nvCxnSpPr>
            <p:spPr>
              <a:xfrm flipV="1">
                <a:off x="2543276" y="2407609"/>
                <a:ext cx="931133" cy="374066"/>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657" name="Picture 2656">
                <a:extLst>
                  <a:ext uri="{FF2B5EF4-FFF2-40B4-BE49-F238E27FC236}">
                    <a16:creationId xmlns:a16="http://schemas.microsoft.com/office/drawing/2014/main" id="{D5403F6B-3C67-477E-9311-B8DE5513186C}"/>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654" name="Picture 2653">
              <a:extLst>
                <a:ext uri="{FF2B5EF4-FFF2-40B4-BE49-F238E27FC236}">
                  <a16:creationId xmlns:a16="http://schemas.microsoft.com/office/drawing/2014/main" id="{63FFDBFE-9326-4209-A7C2-ABBAC504C2DC}"/>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2658" name="Group 2657">
            <a:extLst>
              <a:ext uri="{FF2B5EF4-FFF2-40B4-BE49-F238E27FC236}">
                <a16:creationId xmlns:a16="http://schemas.microsoft.com/office/drawing/2014/main" id="{D7FB6158-CC12-4760-BB82-DF90F7E182B9}"/>
              </a:ext>
            </a:extLst>
          </p:cNvPr>
          <p:cNvGrpSpPr/>
          <p:nvPr/>
        </p:nvGrpSpPr>
        <p:grpSpPr>
          <a:xfrm>
            <a:off x="2965498" y="1615862"/>
            <a:ext cx="6753931" cy="2719939"/>
            <a:chOff x="2966271" y="1753652"/>
            <a:chExt cx="6755690" cy="2720648"/>
          </a:xfrm>
        </p:grpSpPr>
        <p:grpSp>
          <p:nvGrpSpPr>
            <p:cNvPr id="2659" name="Group 2658">
              <a:extLst>
                <a:ext uri="{FF2B5EF4-FFF2-40B4-BE49-F238E27FC236}">
                  <a16:creationId xmlns:a16="http://schemas.microsoft.com/office/drawing/2014/main" id="{9D3D52D7-2776-44E8-9120-6174062C6346}"/>
                </a:ext>
              </a:extLst>
            </p:cNvPr>
            <p:cNvGrpSpPr/>
            <p:nvPr/>
          </p:nvGrpSpPr>
          <p:grpSpPr>
            <a:xfrm>
              <a:off x="2966271" y="3623425"/>
              <a:ext cx="5559816" cy="850875"/>
              <a:chOff x="2941193" y="3591455"/>
              <a:chExt cx="5574010" cy="853047"/>
            </a:xfrm>
          </p:grpSpPr>
          <p:grpSp>
            <p:nvGrpSpPr>
              <p:cNvPr id="2776" name="Group 2775">
                <a:extLst>
                  <a:ext uri="{FF2B5EF4-FFF2-40B4-BE49-F238E27FC236}">
                    <a16:creationId xmlns:a16="http://schemas.microsoft.com/office/drawing/2014/main" id="{00BA3D5E-4095-42F0-BD41-468FFB7C4EF9}"/>
                  </a:ext>
                </a:extLst>
              </p:cNvPr>
              <p:cNvGrpSpPr/>
              <p:nvPr/>
            </p:nvGrpSpPr>
            <p:grpSpPr>
              <a:xfrm>
                <a:off x="2941193" y="3710094"/>
                <a:ext cx="5483474" cy="734408"/>
                <a:chOff x="2941193" y="3710094"/>
                <a:chExt cx="5483474" cy="734408"/>
              </a:xfrm>
            </p:grpSpPr>
            <p:cxnSp>
              <p:nvCxnSpPr>
                <p:cNvPr id="2778" name="Elbow Connector 558">
                  <a:extLst>
                    <a:ext uri="{FF2B5EF4-FFF2-40B4-BE49-F238E27FC236}">
                      <a16:creationId xmlns:a16="http://schemas.microsoft.com/office/drawing/2014/main" id="{8B9029C7-DF2B-4965-B1E5-F32D76C0DE15}"/>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779" name="Rectangle 2778">
                  <a:extLst>
                    <a:ext uri="{FF2B5EF4-FFF2-40B4-BE49-F238E27FC236}">
                      <a16:creationId xmlns:a16="http://schemas.microsoft.com/office/drawing/2014/main" id="{C3FD32AE-1C38-473F-8AD8-C33FE8424978}"/>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777" name="Rectangle 2776">
                <a:extLst>
                  <a:ext uri="{FF2B5EF4-FFF2-40B4-BE49-F238E27FC236}">
                    <a16:creationId xmlns:a16="http://schemas.microsoft.com/office/drawing/2014/main" id="{37017EB8-7285-4A76-B7F5-C589DB18F416}"/>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2660" name="Group 2659">
              <a:extLst>
                <a:ext uri="{FF2B5EF4-FFF2-40B4-BE49-F238E27FC236}">
                  <a16:creationId xmlns:a16="http://schemas.microsoft.com/office/drawing/2014/main" id="{EBC6F251-C2B6-409D-9525-3993D71F99B9}"/>
                </a:ext>
              </a:extLst>
            </p:cNvPr>
            <p:cNvGrpSpPr/>
            <p:nvPr/>
          </p:nvGrpSpPr>
          <p:grpSpPr>
            <a:xfrm>
              <a:off x="6614264" y="1753652"/>
              <a:ext cx="3107697" cy="1310210"/>
              <a:chOff x="6614264" y="1753652"/>
              <a:chExt cx="3107697" cy="1310210"/>
            </a:xfrm>
          </p:grpSpPr>
          <p:sp>
            <p:nvSpPr>
              <p:cNvPr id="2661" name="Rectangle 2660">
                <a:extLst>
                  <a:ext uri="{FF2B5EF4-FFF2-40B4-BE49-F238E27FC236}">
                    <a16:creationId xmlns:a16="http://schemas.microsoft.com/office/drawing/2014/main" id="{58B19519-A64D-4A41-BFC7-F8F1687A412A}"/>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662" name="Group 2661">
                <a:extLst>
                  <a:ext uri="{FF2B5EF4-FFF2-40B4-BE49-F238E27FC236}">
                    <a16:creationId xmlns:a16="http://schemas.microsoft.com/office/drawing/2014/main" id="{AFA6B6C5-A4D0-4D13-B8DE-6F93B38DBBDC}"/>
                  </a:ext>
                </a:extLst>
              </p:cNvPr>
              <p:cNvGrpSpPr/>
              <p:nvPr/>
            </p:nvGrpSpPr>
            <p:grpSpPr>
              <a:xfrm>
                <a:off x="6970489" y="2381238"/>
                <a:ext cx="876005" cy="682624"/>
                <a:chOff x="8153924" y="1224949"/>
                <a:chExt cx="927652" cy="722869"/>
              </a:xfrm>
            </p:grpSpPr>
            <p:sp>
              <p:nvSpPr>
                <p:cNvPr id="2753" name="TextBox 2752">
                  <a:extLst>
                    <a:ext uri="{FF2B5EF4-FFF2-40B4-BE49-F238E27FC236}">
                      <a16:creationId xmlns:a16="http://schemas.microsoft.com/office/drawing/2014/main" id="{C7B62840-6B49-4D3C-B0B7-8DD09C4C9724}"/>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54" name="Group 2753">
                  <a:extLst>
                    <a:ext uri="{FF2B5EF4-FFF2-40B4-BE49-F238E27FC236}">
                      <a16:creationId xmlns:a16="http://schemas.microsoft.com/office/drawing/2014/main" id="{EBAC9032-D93E-4DF9-ACD6-5C6E695C1759}"/>
                    </a:ext>
                  </a:extLst>
                </p:cNvPr>
                <p:cNvGrpSpPr/>
                <p:nvPr/>
              </p:nvGrpSpPr>
              <p:grpSpPr>
                <a:xfrm>
                  <a:off x="8153924" y="1224949"/>
                  <a:ext cx="927652" cy="402840"/>
                  <a:chOff x="8153924" y="1224949"/>
                  <a:chExt cx="927652" cy="402840"/>
                </a:xfrm>
              </p:grpSpPr>
              <p:sp>
                <p:nvSpPr>
                  <p:cNvPr id="2755" name="Freeform 78">
                    <a:extLst>
                      <a:ext uri="{FF2B5EF4-FFF2-40B4-BE49-F238E27FC236}">
                        <a16:creationId xmlns:a16="http://schemas.microsoft.com/office/drawing/2014/main" id="{C95E63B4-AF85-45C6-A9BB-F7A877B6F491}"/>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80">
                    <a:extLst>
                      <a:ext uri="{FF2B5EF4-FFF2-40B4-BE49-F238E27FC236}">
                        <a16:creationId xmlns:a16="http://schemas.microsoft.com/office/drawing/2014/main" id="{37E56A3A-47CC-4041-BC53-ED875003051C}"/>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6">
                    <a:extLst>
                      <a:ext uri="{FF2B5EF4-FFF2-40B4-BE49-F238E27FC236}">
                        <a16:creationId xmlns:a16="http://schemas.microsoft.com/office/drawing/2014/main" id="{BF58212D-DAB0-4907-A2B2-605A1B054179}"/>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77">
                    <a:extLst>
                      <a:ext uri="{FF2B5EF4-FFF2-40B4-BE49-F238E27FC236}">
                        <a16:creationId xmlns:a16="http://schemas.microsoft.com/office/drawing/2014/main" id="{C1ED7B0C-DE80-402D-9DA8-E34757242AC5}"/>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78">
                    <a:extLst>
                      <a:ext uri="{FF2B5EF4-FFF2-40B4-BE49-F238E27FC236}">
                        <a16:creationId xmlns:a16="http://schemas.microsoft.com/office/drawing/2014/main" id="{FA0C0EBC-99E6-4A23-A533-F624D74AC910}"/>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79">
                    <a:extLst>
                      <a:ext uri="{FF2B5EF4-FFF2-40B4-BE49-F238E27FC236}">
                        <a16:creationId xmlns:a16="http://schemas.microsoft.com/office/drawing/2014/main" id="{1BA6C2CD-E217-41A1-9A03-C0DB70994B3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0">
                    <a:extLst>
                      <a:ext uri="{FF2B5EF4-FFF2-40B4-BE49-F238E27FC236}">
                        <a16:creationId xmlns:a16="http://schemas.microsoft.com/office/drawing/2014/main" id="{644BA3A1-EFF9-4C2F-B941-0C41E0C640E7}"/>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1">
                    <a:extLst>
                      <a:ext uri="{FF2B5EF4-FFF2-40B4-BE49-F238E27FC236}">
                        <a16:creationId xmlns:a16="http://schemas.microsoft.com/office/drawing/2014/main" id="{7AD40BE7-DD64-432C-8995-644E2ED5570F}"/>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2">
                    <a:extLst>
                      <a:ext uri="{FF2B5EF4-FFF2-40B4-BE49-F238E27FC236}">
                        <a16:creationId xmlns:a16="http://schemas.microsoft.com/office/drawing/2014/main" id="{A84BD5C3-DE9C-4B5C-8B28-08847EC28688}"/>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3">
                    <a:extLst>
                      <a:ext uri="{FF2B5EF4-FFF2-40B4-BE49-F238E27FC236}">
                        <a16:creationId xmlns:a16="http://schemas.microsoft.com/office/drawing/2014/main" id="{F3740F3E-6E6B-431E-AC8A-044920E38A4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4">
                    <a:extLst>
                      <a:ext uri="{FF2B5EF4-FFF2-40B4-BE49-F238E27FC236}">
                        <a16:creationId xmlns:a16="http://schemas.microsoft.com/office/drawing/2014/main" id="{3B0730A7-0E85-4092-8154-864C5E6AF9DB}"/>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5">
                    <a:extLst>
                      <a:ext uri="{FF2B5EF4-FFF2-40B4-BE49-F238E27FC236}">
                        <a16:creationId xmlns:a16="http://schemas.microsoft.com/office/drawing/2014/main" id="{9841AD02-BEBD-48C8-859D-6AAB2D8FAFD6}"/>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Freeform 1586">
                    <a:extLst>
                      <a:ext uri="{FF2B5EF4-FFF2-40B4-BE49-F238E27FC236}">
                        <a16:creationId xmlns:a16="http://schemas.microsoft.com/office/drawing/2014/main" id="{F22DD2CC-B909-41AD-9089-DAC533B5FCD0}"/>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8" name="Freeform 1587">
                    <a:extLst>
                      <a:ext uri="{FF2B5EF4-FFF2-40B4-BE49-F238E27FC236}">
                        <a16:creationId xmlns:a16="http://schemas.microsoft.com/office/drawing/2014/main" id="{B5E6EB29-C7FD-47A9-A155-9793CF7BADF5}"/>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88">
                    <a:extLst>
                      <a:ext uri="{FF2B5EF4-FFF2-40B4-BE49-F238E27FC236}">
                        <a16:creationId xmlns:a16="http://schemas.microsoft.com/office/drawing/2014/main" id="{B09F64A5-2CF0-4BCE-8915-568DBA810F99}"/>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70" name="Rectangle 1589">
                    <a:extLst>
                      <a:ext uri="{FF2B5EF4-FFF2-40B4-BE49-F238E27FC236}">
                        <a16:creationId xmlns:a16="http://schemas.microsoft.com/office/drawing/2014/main" id="{C587525C-9E28-4791-A95C-E4197AF35C94}"/>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Rectangle 1590">
                    <a:extLst>
                      <a:ext uri="{FF2B5EF4-FFF2-40B4-BE49-F238E27FC236}">
                        <a16:creationId xmlns:a16="http://schemas.microsoft.com/office/drawing/2014/main" id="{A8DC3B47-C25B-4C91-B65E-7653E20D7B19}"/>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1">
                    <a:extLst>
                      <a:ext uri="{FF2B5EF4-FFF2-40B4-BE49-F238E27FC236}">
                        <a16:creationId xmlns:a16="http://schemas.microsoft.com/office/drawing/2014/main" id="{58D1F62C-9D0E-4AF3-ABE5-CB540355F92E}"/>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2">
                    <a:extLst>
                      <a:ext uri="{FF2B5EF4-FFF2-40B4-BE49-F238E27FC236}">
                        <a16:creationId xmlns:a16="http://schemas.microsoft.com/office/drawing/2014/main" id="{B1704352-C657-42D7-A344-265CAB328E20}"/>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3">
                    <a:extLst>
                      <a:ext uri="{FF2B5EF4-FFF2-40B4-BE49-F238E27FC236}">
                        <a16:creationId xmlns:a16="http://schemas.microsoft.com/office/drawing/2014/main" id="{6744E02A-2C07-43E6-8F15-0C91B735199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596">
                    <a:extLst>
                      <a:ext uri="{FF2B5EF4-FFF2-40B4-BE49-F238E27FC236}">
                        <a16:creationId xmlns:a16="http://schemas.microsoft.com/office/drawing/2014/main" id="{06B55468-31C3-4A1B-AED6-04C9FD5DFD67}"/>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3" name="Group 2662">
                <a:extLst>
                  <a:ext uri="{FF2B5EF4-FFF2-40B4-BE49-F238E27FC236}">
                    <a16:creationId xmlns:a16="http://schemas.microsoft.com/office/drawing/2014/main" id="{779806AD-6C25-4083-8E5B-C4C1E9CEB9A3}"/>
                  </a:ext>
                </a:extLst>
              </p:cNvPr>
              <p:cNvGrpSpPr/>
              <p:nvPr/>
            </p:nvGrpSpPr>
            <p:grpSpPr>
              <a:xfrm>
                <a:off x="7508988" y="1995190"/>
                <a:ext cx="2049581" cy="1005869"/>
                <a:chOff x="8356478" y="3790294"/>
                <a:chExt cx="3013725" cy="1479041"/>
              </a:xfrm>
            </p:grpSpPr>
            <p:sp>
              <p:nvSpPr>
                <p:cNvPr id="2750" name="Rectangle 2749">
                  <a:extLst>
                    <a:ext uri="{FF2B5EF4-FFF2-40B4-BE49-F238E27FC236}">
                      <a16:creationId xmlns:a16="http://schemas.microsoft.com/office/drawing/2014/main" id="{19AAA109-BC3C-4168-96DB-23409C54A3BD}"/>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751" name="Rectangle 2750">
                  <a:extLst>
                    <a:ext uri="{FF2B5EF4-FFF2-40B4-BE49-F238E27FC236}">
                      <a16:creationId xmlns:a16="http://schemas.microsoft.com/office/drawing/2014/main" id="{2B12BF84-9D64-4E09-ABC0-4838CF5E0BFC}"/>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752" name="Straight Arrow Connector 2751">
                  <a:extLst>
                    <a:ext uri="{FF2B5EF4-FFF2-40B4-BE49-F238E27FC236}">
                      <a16:creationId xmlns:a16="http://schemas.microsoft.com/office/drawing/2014/main" id="{BE4AEDCD-7CEE-4BA3-B06E-521F2FC114F7}"/>
                    </a:ext>
                  </a:extLst>
                </p:cNvPr>
                <p:cNvCxnSpPr>
                  <a:cxnSpLocks/>
                  <a:stCxn id="2750"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664" name="Group 2663">
                <a:extLst>
                  <a:ext uri="{FF2B5EF4-FFF2-40B4-BE49-F238E27FC236}">
                    <a16:creationId xmlns:a16="http://schemas.microsoft.com/office/drawing/2014/main" id="{DC04D586-E1D8-4E5C-B99B-C6BBFFDFAB46}"/>
                  </a:ext>
                </a:extLst>
              </p:cNvPr>
              <p:cNvGrpSpPr/>
              <p:nvPr/>
            </p:nvGrpSpPr>
            <p:grpSpPr>
              <a:xfrm>
                <a:off x="8556157" y="1876097"/>
                <a:ext cx="1088511" cy="894403"/>
                <a:chOff x="10800033" y="2297897"/>
                <a:chExt cx="1600558" cy="1315140"/>
              </a:xfrm>
            </p:grpSpPr>
            <p:grpSp>
              <p:nvGrpSpPr>
                <p:cNvPr id="2668" name="Group 2667">
                  <a:extLst>
                    <a:ext uri="{FF2B5EF4-FFF2-40B4-BE49-F238E27FC236}">
                      <a16:creationId xmlns:a16="http://schemas.microsoft.com/office/drawing/2014/main" id="{A89E69C7-49A1-4000-9950-EBAC8CA1B09F}"/>
                    </a:ext>
                  </a:extLst>
                </p:cNvPr>
                <p:cNvGrpSpPr>
                  <a:grpSpLocks/>
                </p:cNvGrpSpPr>
                <p:nvPr/>
              </p:nvGrpSpPr>
              <p:grpSpPr>
                <a:xfrm>
                  <a:off x="10800033" y="2339037"/>
                  <a:ext cx="613092" cy="613092"/>
                  <a:chOff x="745985" y="4768134"/>
                  <a:chExt cx="368776" cy="368777"/>
                </a:xfrm>
              </p:grpSpPr>
              <p:grpSp>
                <p:nvGrpSpPr>
                  <p:cNvPr id="2732" name="Group 64">
                    <a:extLst>
                      <a:ext uri="{FF2B5EF4-FFF2-40B4-BE49-F238E27FC236}">
                        <a16:creationId xmlns:a16="http://schemas.microsoft.com/office/drawing/2014/main" id="{270653EB-1221-4E55-A872-07DA6A4D5469}"/>
                      </a:ext>
                    </a:extLst>
                  </p:cNvPr>
                  <p:cNvGrpSpPr>
                    <a:grpSpLocks noChangeAspect="1"/>
                  </p:cNvGrpSpPr>
                  <p:nvPr/>
                </p:nvGrpSpPr>
                <p:grpSpPr bwMode="auto">
                  <a:xfrm rot="8100000">
                    <a:off x="745985" y="4768134"/>
                    <a:ext cx="368776" cy="368777"/>
                    <a:chOff x="701" y="2170"/>
                    <a:chExt cx="587" cy="587"/>
                  </a:xfrm>
                </p:grpSpPr>
                <p:sp>
                  <p:nvSpPr>
                    <p:cNvPr id="2743" name="Oval 65">
                      <a:extLst>
                        <a:ext uri="{FF2B5EF4-FFF2-40B4-BE49-F238E27FC236}">
                          <a16:creationId xmlns:a16="http://schemas.microsoft.com/office/drawing/2014/main" id="{CAB198EC-B8A8-4765-909A-393BA373DEB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44" name="Line 66">
                      <a:extLst>
                        <a:ext uri="{FF2B5EF4-FFF2-40B4-BE49-F238E27FC236}">
                          <a16:creationId xmlns:a16="http://schemas.microsoft.com/office/drawing/2014/main" id="{B127D925-037B-47B9-9F5C-0A0B3BA42522}"/>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Line 67">
                      <a:extLst>
                        <a:ext uri="{FF2B5EF4-FFF2-40B4-BE49-F238E27FC236}">
                          <a16:creationId xmlns:a16="http://schemas.microsoft.com/office/drawing/2014/main" id="{D8E099BD-6EA4-4293-B259-5EC0543ED26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6" name="Line 69">
                      <a:extLst>
                        <a:ext uri="{FF2B5EF4-FFF2-40B4-BE49-F238E27FC236}">
                          <a16:creationId xmlns:a16="http://schemas.microsoft.com/office/drawing/2014/main" id="{E6195BBB-229C-47DF-931A-384F8FBD362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7" name="Line 74">
                      <a:extLst>
                        <a:ext uri="{FF2B5EF4-FFF2-40B4-BE49-F238E27FC236}">
                          <a16:creationId xmlns:a16="http://schemas.microsoft.com/office/drawing/2014/main" id="{00850C55-42A3-4B9F-A529-D1A195F627E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8" name="Freeform 78">
                      <a:extLst>
                        <a:ext uri="{FF2B5EF4-FFF2-40B4-BE49-F238E27FC236}">
                          <a16:creationId xmlns:a16="http://schemas.microsoft.com/office/drawing/2014/main" id="{559D4D9C-1C19-49C7-A407-957B1E078F3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Freeform 80">
                      <a:extLst>
                        <a:ext uri="{FF2B5EF4-FFF2-40B4-BE49-F238E27FC236}">
                          <a16:creationId xmlns:a16="http://schemas.microsoft.com/office/drawing/2014/main" id="{AD492F38-689B-4129-AD47-B76A2E16A59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733" name="Group 2732">
                    <a:extLst>
                      <a:ext uri="{FF2B5EF4-FFF2-40B4-BE49-F238E27FC236}">
                        <a16:creationId xmlns:a16="http://schemas.microsoft.com/office/drawing/2014/main" id="{C243F852-F7C4-4AF7-8C67-26676BA9EC55}"/>
                      </a:ext>
                    </a:extLst>
                  </p:cNvPr>
                  <p:cNvGrpSpPr/>
                  <p:nvPr/>
                </p:nvGrpSpPr>
                <p:grpSpPr>
                  <a:xfrm>
                    <a:off x="837312" y="4814434"/>
                    <a:ext cx="136805" cy="278689"/>
                    <a:chOff x="2806700" y="2803319"/>
                    <a:chExt cx="433387" cy="882861"/>
                  </a:xfrm>
                </p:grpSpPr>
                <p:grpSp>
                  <p:nvGrpSpPr>
                    <p:cNvPr id="2734" name="Group 2733">
                      <a:extLst>
                        <a:ext uri="{FF2B5EF4-FFF2-40B4-BE49-F238E27FC236}">
                          <a16:creationId xmlns:a16="http://schemas.microsoft.com/office/drawing/2014/main" id="{97A60284-DE98-44D1-B913-D3B198EF8409}"/>
                        </a:ext>
                      </a:extLst>
                    </p:cNvPr>
                    <p:cNvGrpSpPr>
                      <a:grpSpLocks noChangeAspect="1"/>
                    </p:cNvGrpSpPr>
                    <p:nvPr/>
                  </p:nvGrpSpPr>
                  <p:grpSpPr bwMode="auto">
                    <a:xfrm>
                      <a:off x="2806700" y="3043242"/>
                      <a:ext cx="433387" cy="642938"/>
                      <a:chOff x="1768" y="1917"/>
                      <a:chExt cx="273" cy="405"/>
                    </a:xfrm>
                  </p:grpSpPr>
                  <p:sp>
                    <p:nvSpPr>
                      <p:cNvPr id="2736" name="Freeform 52">
                        <a:extLst>
                          <a:ext uri="{FF2B5EF4-FFF2-40B4-BE49-F238E27FC236}">
                            <a16:creationId xmlns:a16="http://schemas.microsoft.com/office/drawing/2014/main" id="{1B98D386-940A-465C-9452-B8EF67E676E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37" name="Line 54">
                        <a:extLst>
                          <a:ext uri="{FF2B5EF4-FFF2-40B4-BE49-F238E27FC236}">
                            <a16:creationId xmlns:a16="http://schemas.microsoft.com/office/drawing/2014/main" id="{E3D69D3E-4F19-4DA7-B690-592610930F43}"/>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Line 55">
                        <a:extLst>
                          <a:ext uri="{FF2B5EF4-FFF2-40B4-BE49-F238E27FC236}">
                            <a16:creationId xmlns:a16="http://schemas.microsoft.com/office/drawing/2014/main" id="{C8A4F9CF-BD23-455E-9A0A-23C58F2983C3}"/>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56">
                        <a:extLst>
                          <a:ext uri="{FF2B5EF4-FFF2-40B4-BE49-F238E27FC236}">
                            <a16:creationId xmlns:a16="http://schemas.microsoft.com/office/drawing/2014/main" id="{3C0B9349-4AA0-41AC-AA01-880AA6AB9939}"/>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Line 57">
                        <a:extLst>
                          <a:ext uri="{FF2B5EF4-FFF2-40B4-BE49-F238E27FC236}">
                            <a16:creationId xmlns:a16="http://schemas.microsoft.com/office/drawing/2014/main" id="{2B63E123-4831-414D-B659-F0A1C934EEAD}"/>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58">
                        <a:extLst>
                          <a:ext uri="{FF2B5EF4-FFF2-40B4-BE49-F238E27FC236}">
                            <a16:creationId xmlns:a16="http://schemas.microsoft.com/office/drawing/2014/main" id="{6C9AE756-F450-4C48-A839-995B58C73C03}"/>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Rectangle 2741">
                        <a:extLst>
                          <a:ext uri="{FF2B5EF4-FFF2-40B4-BE49-F238E27FC236}">
                            <a16:creationId xmlns:a16="http://schemas.microsoft.com/office/drawing/2014/main" id="{37B58052-5F2B-4910-9CBD-A04CC5D6DBD1}"/>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735" name="Oval 2734">
                      <a:extLst>
                        <a:ext uri="{FF2B5EF4-FFF2-40B4-BE49-F238E27FC236}">
                          <a16:creationId xmlns:a16="http://schemas.microsoft.com/office/drawing/2014/main" id="{6C07589A-6596-4896-91A6-99A0EEA4C962}"/>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69" name="Group 2668">
                  <a:extLst>
                    <a:ext uri="{FF2B5EF4-FFF2-40B4-BE49-F238E27FC236}">
                      <a16:creationId xmlns:a16="http://schemas.microsoft.com/office/drawing/2014/main" id="{4C166DC8-CF4F-48D1-99DE-EEF1D7A3B2E4}"/>
                    </a:ext>
                  </a:extLst>
                </p:cNvPr>
                <p:cNvGrpSpPr>
                  <a:grpSpLocks/>
                </p:cNvGrpSpPr>
                <p:nvPr/>
              </p:nvGrpSpPr>
              <p:grpSpPr>
                <a:xfrm>
                  <a:off x="11166615" y="2825631"/>
                  <a:ext cx="787402" cy="787406"/>
                  <a:chOff x="1454941" y="4721722"/>
                  <a:chExt cx="473625" cy="473627"/>
                </a:xfrm>
              </p:grpSpPr>
              <p:grpSp>
                <p:nvGrpSpPr>
                  <p:cNvPr id="2693" name="Group 64">
                    <a:extLst>
                      <a:ext uri="{FF2B5EF4-FFF2-40B4-BE49-F238E27FC236}">
                        <a16:creationId xmlns:a16="http://schemas.microsoft.com/office/drawing/2014/main" id="{A0899A6F-C583-4A2A-BBBC-3CEF426A411B}"/>
                      </a:ext>
                    </a:extLst>
                  </p:cNvPr>
                  <p:cNvGrpSpPr>
                    <a:grpSpLocks noChangeAspect="1"/>
                  </p:cNvGrpSpPr>
                  <p:nvPr/>
                </p:nvGrpSpPr>
                <p:grpSpPr bwMode="auto">
                  <a:xfrm rot="8100000">
                    <a:off x="1454941" y="4721722"/>
                    <a:ext cx="473625" cy="473627"/>
                    <a:chOff x="701" y="2170"/>
                    <a:chExt cx="587" cy="587"/>
                  </a:xfrm>
                </p:grpSpPr>
                <p:sp>
                  <p:nvSpPr>
                    <p:cNvPr id="2725" name="Oval 65">
                      <a:extLst>
                        <a:ext uri="{FF2B5EF4-FFF2-40B4-BE49-F238E27FC236}">
                          <a16:creationId xmlns:a16="http://schemas.microsoft.com/office/drawing/2014/main" id="{0C4D9C3E-FA7C-4490-96D1-8C9EB28F294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26" name="Line 66">
                      <a:extLst>
                        <a:ext uri="{FF2B5EF4-FFF2-40B4-BE49-F238E27FC236}">
                          <a16:creationId xmlns:a16="http://schemas.microsoft.com/office/drawing/2014/main" id="{A94027A1-ADEC-41B0-9784-C69165FF810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Line 67">
                      <a:extLst>
                        <a:ext uri="{FF2B5EF4-FFF2-40B4-BE49-F238E27FC236}">
                          <a16:creationId xmlns:a16="http://schemas.microsoft.com/office/drawing/2014/main" id="{05DBFDE7-9748-4980-B84A-68CE00236D8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Line 69">
                      <a:extLst>
                        <a:ext uri="{FF2B5EF4-FFF2-40B4-BE49-F238E27FC236}">
                          <a16:creationId xmlns:a16="http://schemas.microsoft.com/office/drawing/2014/main" id="{3F801DD0-1DA2-4598-B051-669E2131075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Line 74">
                      <a:extLst>
                        <a:ext uri="{FF2B5EF4-FFF2-40B4-BE49-F238E27FC236}">
                          <a16:creationId xmlns:a16="http://schemas.microsoft.com/office/drawing/2014/main" id="{9B82CC21-21EA-40C3-A104-5151B9EF26F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78">
                      <a:extLst>
                        <a:ext uri="{FF2B5EF4-FFF2-40B4-BE49-F238E27FC236}">
                          <a16:creationId xmlns:a16="http://schemas.microsoft.com/office/drawing/2014/main" id="{3DEF3514-24CF-450E-A997-384A80B5D1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80">
                      <a:extLst>
                        <a:ext uri="{FF2B5EF4-FFF2-40B4-BE49-F238E27FC236}">
                          <a16:creationId xmlns:a16="http://schemas.microsoft.com/office/drawing/2014/main" id="{EF3B7C8B-B944-463D-B046-3309C6C6840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94" name="Group 2693">
                    <a:extLst>
                      <a:ext uri="{FF2B5EF4-FFF2-40B4-BE49-F238E27FC236}">
                        <a16:creationId xmlns:a16="http://schemas.microsoft.com/office/drawing/2014/main" id="{DB3B51E3-953D-426E-BB24-8D256B85FE6C}"/>
                      </a:ext>
                    </a:extLst>
                  </p:cNvPr>
                  <p:cNvGrpSpPr/>
                  <p:nvPr/>
                </p:nvGrpSpPr>
                <p:grpSpPr>
                  <a:xfrm>
                    <a:off x="1511214" y="4789508"/>
                    <a:ext cx="356509" cy="349884"/>
                    <a:chOff x="468738" y="2241878"/>
                    <a:chExt cx="1655483" cy="1624719"/>
                  </a:xfrm>
                </p:grpSpPr>
                <p:sp>
                  <p:nvSpPr>
                    <p:cNvPr id="2695" name="Freeform 5">
                      <a:extLst>
                        <a:ext uri="{FF2B5EF4-FFF2-40B4-BE49-F238E27FC236}">
                          <a16:creationId xmlns:a16="http://schemas.microsoft.com/office/drawing/2014/main" id="{26D54149-EAD3-468A-8ADD-3A39AA4083B7}"/>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6">
                      <a:extLst>
                        <a:ext uri="{FF2B5EF4-FFF2-40B4-BE49-F238E27FC236}">
                          <a16:creationId xmlns:a16="http://schemas.microsoft.com/office/drawing/2014/main" id="{F95F8C72-B379-4580-A29A-67836949C7F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Line 7">
                      <a:extLst>
                        <a:ext uri="{FF2B5EF4-FFF2-40B4-BE49-F238E27FC236}">
                          <a16:creationId xmlns:a16="http://schemas.microsoft.com/office/drawing/2014/main" id="{C281E25A-E071-46D3-B8BF-A513062C9C2F}"/>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8">
                      <a:extLst>
                        <a:ext uri="{FF2B5EF4-FFF2-40B4-BE49-F238E27FC236}">
                          <a16:creationId xmlns:a16="http://schemas.microsoft.com/office/drawing/2014/main" id="{C019DD5E-0271-4351-B6B0-95F10D82096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Line 9">
                      <a:extLst>
                        <a:ext uri="{FF2B5EF4-FFF2-40B4-BE49-F238E27FC236}">
                          <a16:creationId xmlns:a16="http://schemas.microsoft.com/office/drawing/2014/main" id="{27A87AA6-C2DA-40D4-B32F-3D9B62C7105A}"/>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00" name="Group 2699">
                      <a:extLst>
                        <a:ext uri="{FF2B5EF4-FFF2-40B4-BE49-F238E27FC236}">
                          <a16:creationId xmlns:a16="http://schemas.microsoft.com/office/drawing/2014/main" id="{4A47DD98-38B9-4658-AB5F-6BD7468FED1A}"/>
                        </a:ext>
                      </a:extLst>
                    </p:cNvPr>
                    <p:cNvGrpSpPr/>
                    <p:nvPr/>
                  </p:nvGrpSpPr>
                  <p:grpSpPr>
                    <a:xfrm>
                      <a:off x="1207113" y="2241878"/>
                      <a:ext cx="178734" cy="348678"/>
                      <a:chOff x="1207113" y="2241878"/>
                      <a:chExt cx="178734" cy="348678"/>
                    </a:xfrm>
                  </p:grpSpPr>
                  <p:sp>
                    <p:nvSpPr>
                      <p:cNvPr id="2723" name="Freeform 10">
                        <a:extLst>
                          <a:ext uri="{FF2B5EF4-FFF2-40B4-BE49-F238E27FC236}">
                            <a16:creationId xmlns:a16="http://schemas.microsoft.com/office/drawing/2014/main" id="{C2FFD16A-8AD7-4306-B2E1-EB9980FDFE1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Line 11">
                        <a:extLst>
                          <a:ext uri="{FF2B5EF4-FFF2-40B4-BE49-F238E27FC236}">
                            <a16:creationId xmlns:a16="http://schemas.microsoft.com/office/drawing/2014/main" id="{4EA6297A-04B1-4E0A-A44C-D2CFBD95B69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701" name="Freeform 12">
                      <a:extLst>
                        <a:ext uri="{FF2B5EF4-FFF2-40B4-BE49-F238E27FC236}">
                          <a16:creationId xmlns:a16="http://schemas.microsoft.com/office/drawing/2014/main" id="{8606DFE0-8434-4247-96D9-35C12098DC9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Line 13">
                      <a:extLst>
                        <a:ext uri="{FF2B5EF4-FFF2-40B4-BE49-F238E27FC236}">
                          <a16:creationId xmlns:a16="http://schemas.microsoft.com/office/drawing/2014/main" id="{8CCEDBE7-E5FD-4723-A16A-CBAB4E95A0CC}"/>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4">
                      <a:extLst>
                        <a:ext uri="{FF2B5EF4-FFF2-40B4-BE49-F238E27FC236}">
                          <a16:creationId xmlns:a16="http://schemas.microsoft.com/office/drawing/2014/main" id="{2DA813E2-AB61-4156-A224-730BCB9FD46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Line 15">
                      <a:extLst>
                        <a:ext uri="{FF2B5EF4-FFF2-40B4-BE49-F238E27FC236}">
                          <a16:creationId xmlns:a16="http://schemas.microsoft.com/office/drawing/2014/main" id="{C3570522-BF74-4C4E-A905-3A6E16C9675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6">
                      <a:extLst>
                        <a:ext uri="{FF2B5EF4-FFF2-40B4-BE49-F238E27FC236}">
                          <a16:creationId xmlns:a16="http://schemas.microsoft.com/office/drawing/2014/main" id="{C4D28821-97D6-4ABA-AAD6-CF209E974A87}"/>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Line 17">
                      <a:extLst>
                        <a:ext uri="{FF2B5EF4-FFF2-40B4-BE49-F238E27FC236}">
                          <a16:creationId xmlns:a16="http://schemas.microsoft.com/office/drawing/2014/main" id="{18250D4C-E681-438D-8A68-49D247DDC4FE}"/>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8">
                      <a:extLst>
                        <a:ext uri="{FF2B5EF4-FFF2-40B4-BE49-F238E27FC236}">
                          <a16:creationId xmlns:a16="http://schemas.microsoft.com/office/drawing/2014/main" id="{8750C3FE-4710-468E-8B83-93F999E0547D}"/>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8" name="Line 19">
                      <a:extLst>
                        <a:ext uri="{FF2B5EF4-FFF2-40B4-BE49-F238E27FC236}">
                          <a16:creationId xmlns:a16="http://schemas.microsoft.com/office/drawing/2014/main" id="{6122351E-C179-4241-9F3E-2DF74633980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35">
                      <a:extLst>
                        <a:ext uri="{FF2B5EF4-FFF2-40B4-BE49-F238E27FC236}">
                          <a16:creationId xmlns:a16="http://schemas.microsoft.com/office/drawing/2014/main" id="{A0692789-4188-465F-8127-4B965F060AD6}"/>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36">
                      <a:extLst>
                        <a:ext uri="{FF2B5EF4-FFF2-40B4-BE49-F238E27FC236}">
                          <a16:creationId xmlns:a16="http://schemas.microsoft.com/office/drawing/2014/main" id="{03C5B86D-7834-48FE-96B7-CCC8EAE56E8E}"/>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37">
                      <a:extLst>
                        <a:ext uri="{FF2B5EF4-FFF2-40B4-BE49-F238E27FC236}">
                          <a16:creationId xmlns:a16="http://schemas.microsoft.com/office/drawing/2014/main" id="{5DA196F7-2D0D-46A5-917A-7A3A0A5E4B2A}"/>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2" name="Freeform 38">
                      <a:extLst>
                        <a:ext uri="{FF2B5EF4-FFF2-40B4-BE49-F238E27FC236}">
                          <a16:creationId xmlns:a16="http://schemas.microsoft.com/office/drawing/2014/main" id="{78D325D3-7612-4F61-9A6E-63EB006CC01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3" name="Freeform 39">
                      <a:extLst>
                        <a:ext uri="{FF2B5EF4-FFF2-40B4-BE49-F238E27FC236}">
                          <a16:creationId xmlns:a16="http://schemas.microsoft.com/office/drawing/2014/main" id="{2176C790-2832-4E0A-94B7-9E957804E4F8}"/>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40">
                      <a:extLst>
                        <a:ext uri="{FF2B5EF4-FFF2-40B4-BE49-F238E27FC236}">
                          <a16:creationId xmlns:a16="http://schemas.microsoft.com/office/drawing/2014/main" id="{180C6540-390D-4DF4-B2F3-7146C16F4EA4}"/>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41">
                      <a:extLst>
                        <a:ext uri="{FF2B5EF4-FFF2-40B4-BE49-F238E27FC236}">
                          <a16:creationId xmlns:a16="http://schemas.microsoft.com/office/drawing/2014/main" id="{B7D4B3DE-4043-417F-A1DB-9458119F7C1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Line 42">
                      <a:extLst>
                        <a:ext uri="{FF2B5EF4-FFF2-40B4-BE49-F238E27FC236}">
                          <a16:creationId xmlns:a16="http://schemas.microsoft.com/office/drawing/2014/main" id="{1708E1E3-43CC-4AFE-A12E-DACDEB73763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43">
                      <a:extLst>
                        <a:ext uri="{FF2B5EF4-FFF2-40B4-BE49-F238E27FC236}">
                          <a16:creationId xmlns:a16="http://schemas.microsoft.com/office/drawing/2014/main" id="{F0D7792E-9EF6-4F3E-8FC7-5F7085B9E634}"/>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44">
                      <a:extLst>
                        <a:ext uri="{FF2B5EF4-FFF2-40B4-BE49-F238E27FC236}">
                          <a16:creationId xmlns:a16="http://schemas.microsoft.com/office/drawing/2014/main" id="{56D13C92-D06E-4B21-A2EB-5B125DEF7B34}"/>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45">
                      <a:extLst>
                        <a:ext uri="{FF2B5EF4-FFF2-40B4-BE49-F238E27FC236}">
                          <a16:creationId xmlns:a16="http://schemas.microsoft.com/office/drawing/2014/main" id="{F7C426F0-E547-403A-81D2-20C35D9BAE5A}"/>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720" name="Group 2719">
                      <a:extLst>
                        <a:ext uri="{FF2B5EF4-FFF2-40B4-BE49-F238E27FC236}">
                          <a16:creationId xmlns:a16="http://schemas.microsoft.com/office/drawing/2014/main" id="{686002ED-42B5-4055-8897-2A2963AE524F}"/>
                        </a:ext>
                      </a:extLst>
                    </p:cNvPr>
                    <p:cNvGrpSpPr/>
                    <p:nvPr/>
                  </p:nvGrpSpPr>
                  <p:grpSpPr>
                    <a:xfrm flipV="1">
                      <a:off x="1202047" y="3517919"/>
                      <a:ext cx="178734" cy="348678"/>
                      <a:chOff x="1207113" y="2241878"/>
                      <a:chExt cx="178734" cy="348678"/>
                    </a:xfrm>
                  </p:grpSpPr>
                  <p:sp>
                    <p:nvSpPr>
                      <p:cNvPr id="2721" name="Freeform 10">
                        <a:extLst>
                          <a:ext uri="{FF2B5EF4-FFF2-40B4-BE49-F238E27FC236}">
                            <a16:creationId xmlns:a16="http://schemas.microsoft.com/office/drawing/2014/main" id="{6F17A859-4066-4CDC-99D4-AE85681F6C1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Line 11">
                        <a:extLst>
                          <a:ext uri="{FF2B5EF4-FFF2-40B4-BE49-F238E27FC236}">
                            <a16:creationId xmlns:a16="http://schemas.microsoft.com/office/drawing/2014/main" id="{067A70BF-85F0-4410-94A2-3462279FE3E2}"/>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70" name="Group 2669">
                  <a:extLst>
                    <a:ext uri="{FF2B5EF4-FFF2-40B4-BE49-F238E27FC236}">
                      <a16:creationId xmlns:a16="http://schemas.microsoft.com/office/drawing/2014/main" id="{CC405CDE-AE18-4129-84B0-1F81FDC152BF}"/>
                    </a:ext>
                  </a:extLst>
                </p:cNvPr>
                <p:cNvGrpSpPr>
                  <a:grpSpLocks/>
                </p:cNvGrpSpPr>
                <p:nvPr/>
              </p:nvGrpSpPr>
              <p:grpSpPr>
                <a:xfrm>
                  <a:off x="11709639" y="2297897"/>
                  <a:ext cx="690952" cy="690956"/>
                  <a:chOff x="2268747" y="4723725"/>
                  <a:chExt cx="415610" cy="415612"/>
                </a:xfrm>
              </p:grpSpPr>
              <p:grpSp>
                <p:nvGrpSpPr>
                  <p:cNvPr id="2671" name="Group 64">
                    <a:extLst>
                      <a:ext uri="{FF2B5EF4-FFF2-40B4-BE49-F238E27FC236}">
                        <a16:creationId xmlns:a16="http://schemas.microsoft.com/office/drawing/2014/main" id="{4DC46FD6-01A0-4F0A-BD28-39DFE6D4FAFE}"/>
                      </a:ext>
                    </a:extLst>
                  </p:cNvPr>
                  <p:cNvGrpSpPr>
                    <a:grpSpLocks noChangeAspect="1"/>
                  </p:cNvGrpSpPr>
                  <p:nvPr/>
                </p:nvGrpSpPr>
                <p:grpSpPr bwMode="auto">
                  <a:xfrm rot="8100000">
                    <a:off x="2268747" y="4723725"/>
                    <a:ext cx="415610" cy="415612"/>
                    <a:chOff x="701" y="2170"/>
                    <a:chExt cx="587" cy="587"/>
                  </a:xfrm>
                </p:grpSpPr>
                <p:sp>
                  <p:nvSpPr>
                    <p:cNvPr id="2686" name="Oval 65">
                      <a:extLst>
                        <a:ext uri="{FF2B5EF4-FFF2-40B4-BE49-F238E27FC236}">
                          <a16:creationId xmlns:a16="http://schemas.microsoft.com/office/drawing/2014/main" id="{789F25FA-3859-4CA5-A2B6-F7B26F453D1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7" name="Line 66">
                      <a:extLst>
                        <a:ext uri="{FF2B5EF4-FFF2-40B4-BE49-F238E27FC236}">
                          <a16:creationId xmlns:a16="http://schemas.microsoft.com/office/drawing/2014/main" id="{C53C68C3-2252-482C-91AA-31479CF99EFF}"/>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Line 67">
                      <a:extLst>
                        <a:ext uri="{FF2B5EF4-FFF2-40B4-BE49-F238E27FC236}">
                          <a16:creationId xmlns:a16="http://schemas.microsoft.com/office/drawing/2014/main" id="{85115DD7-F1A0-4172-A025-86EA5E7B6E0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9" name="Line 69">
                      <a:extLst>
                        <a:ext uri="{FF2B5EF4-FFF2-40B4-BE49-F238E27FC236}">
                          <a16:creationId xmlns:a16="http://schemas.microsoft.com/office/drawing/2014/main" id="{01116238-EC97-4E07-BA0D-C80C2DEF05F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0" name="Line 74">
                      <a:extLst>
                        <a:ext uri="{FF2B5EF4-FFF2-40B4-BE49-F238E27FC236}">
                          <a16:creationId xmlns:a16="http://schemas.microsoft.com/office/drawing/2014/main" id="{49AC45DF-2BBC-4792-883D-4BA0D503AC1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1" name="Freeform 78">
                      <a:extLst>
                        <a:ext uri="{FF2B5EF4-FFF2-40B4-BE49-F238E27FC236}">
                          <a16:creationId xmlns:a16="http://schemas.microsoft.com/office/drawing/2014/main" id="{92036F62-5F28-492B-85E1-21D2E0C0B0F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2" name="Freeform 80">
                      <a:extLst>
                        <a:ext uri="{FF2B5EF4-FFF2-40B4-BE49-F238E27FC236}">
                          <a16:creationId xmlns:a16="http://schemas.microsoft.com/office/drawing/2014/main" id="{0829CAB6-E09F-42C5-96E7-55698FD97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72" name="Group 2671">
                    <a:extLst>
                      <a:ext uri="{FF2B5EF4-FFF2-40B4-BE49-F238E27FC236}">
                        <a16:creationId xmlns:a16="http://schemas.microsoft.com/office/drawing/2014/main" id="{3C31AEE5-D0F8-4841-AB60-B7E2DB6A4684}"/>
                      </a:ext>
                    </a:extLst>
                  </p:cNvPr>
                  <p:cNvGrpSpPr/>
                  <p:nvPr/>
                </p:nvGrpSpPr>
                <p:grpSpPr>
                  <a:xfrm>
                    <a:off x="2318076" y="4830163"/>
                    <a:ext cx="313949" cy="233075"/>
                    <a:chOff x="3707533" y="2731244"/>
                    <a:chExt cx="389644" cy="289271"/>
                  </a:xfrm>
                </p:grpSpPr>
                <p:sp>
                  <p:nvSpPr>
                    <p:cNvPr id="2673" name="Freeform 33">
                      <a:extLst>
                        <a:ext uri="{FF2B5EF4-FFF2-40B4-BE49-F238E27FC236}">
                          <a16:creationId xmlns:a16="http://schemas.microsoft.com/office/drawing/2014/main" id="{0151549A-AC14-49CF-B30B-A1C6F7DF787B}"/>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34">
                      <a:extLst>
                        <a:ext uri="{FF2B5EF4-FFF2-40B4-BE49-F238E27FC236}">
                          <a16:creationId xmlns:a16="http://schemas.microsoft.com/office/drawing/2014/main" id="{9B4A5EA3-76E0-45DB-9984-6950C3A0484B}"/>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37">
                      <a:extLst>
                        <a:ext uri="{FF2B5EF4-FFF2-40B4-BE49-F238E27FC236}">
                          <a16:creationId xmlns:a16="http://schemas.microsoft.com/office/drawing/2014/main" id="{E1F32185-EA33-472F-99A4-F414D55F7A80}"/>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38">
                      <a:extLst>
                        <a:ext uri="{FF2B5EF4-FFF2-40B4-BE49-F238E27FC236}">
                          <a16:creationId xmlns:a16="http://schemas.microsoft.com/office/drawing/2014/main" id="{42B7BDD0-915F-41F9-952C-09F5AC7537B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32">
                      <a:extLst>
                        <a:ext uri="{FF2B5EF4-FFF2-40B4-BE49-F238E27FC236}">
                          <a16:creationId xmlns:a16="http://schemas.microsoft.com/office/drawing/2014/main" id="{C286092A-C4B2-4E57-B177-4E244B8F93D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35">
                      <a:extLst>
                        <a:ext uri="{FF2B5EF4-FFF2-40B4-BE49-F238E27FC236}">
                          <a16:creationId xmlns:a16="http://schemas.microsoft.com/office/drawing/2014/main" id="{9EC95140-D671-465A-BA7E-D8AB7213C97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36">
                      <a:extLst>
                        <a:ext uri="{FF2B5EF4-FFF2-40B4-BE49-F238E27FC236}">
                          <a16:creationId xmlns:a16="http://schemas.microsoft.com/office/drawing/2014/main" id="{61EC24B0-FF87-4B89-888E-5D40763649B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25">
                      <a:extLst>
                        <a:ext uri="{FF2B5EF4-FFF2-40B4-BE49-F238E27FC236}">
                          <a16:creationId xmlns:a16="http://schemas.microsoft.com/office/drawing/2014/main" id="{4BDB588A-CF09-47C8-993A-044D1DA36267}"/>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39">
                      <a:extLst>
                        <a:ext uri="{FF2B5EF4-FFF2-40B4-BE49-F238E27FC236}">
                          <a16:creationId xmlns:a16="http://schemas.microsoft.com/office/drawing/2014/main" id="{C242D08F-5DAA-4DC1-926F-1377D1A2672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26">
                      <a:extLst>
                        <a:ext uri="{FF2B5EF4-FFF2-40B4-BE49-F238E27FC236}">
                          <a16:creationId xmlns:a16="http://schemas.microsoft.com/office/drawing/2014/main" id="{DD1059B5-A0E3-4E55-877A-DFBA6D3D1F83}"/>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3" name="Rectangle 27">
                      <a:extLst>
                        <a:ext uri="{FF2B5EF4-FFF2-40B4-BE49-F238E27FC236}">
                          <a16:creationId xmlns:a16="http://schemas.microsoft.com/office/drawing/2014/main" id="{E97D6992-06F8-4D99-BD00-F107B5E1E84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84" name="Line 29">
                      <a:extLst>
                        <a:ext uri="{FF2B5EF4-FFF2-40B4-BE49-F238E27FC236}">
                          <a16:creationId xmlns:a16="http://schemas.microsoft.com/office/drawing/2014/main" id="{D16958BA-626F-4B65-9D35-AF764FCCCD5D}"/>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Line 31">
                      <a:extLst>
                        <a:ext uri="{FF2B5EF4-FFF2-40B4-BE49-F238E27FC236}">
                          <a16:creationId xmlns:a16="http://schemas.microsoft.com/office/drawing/2014/main" id="{1C11765E-38F2-45EF-8CE2-6164E0B08D2C}"/>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65" name="Group 2664">
                <a:extLst>
                  <a:ext uri="{FF2B5EF4-FFF2-40B4-BE49-F238E27FC236}">
                    <a16:creationId xmlns:a16="http://schemas.microsoft.com/office/drawing/2014/main" id="{0E2A8DB1-D60C-402C-8581-5E633E172FC8}"/>
                  </a:ext>
                </a:extLst>
              </p:cNvPr>
              <p:cNvGrpSpPr/>
              <p:nvPr/>
            </p:nvGrpSpPr>
            <p:grpSpPr>
              <a:xfrm>
                <a:off x="6802541" y="1842565"/>
                <a:ext cx="314357" cy="580832"/>
                <a:chOff x="6355981" y="199813"/>
                <a:chExt cx="314357" cy="580832"/>
              </a:xfrm>
            </p:grpSpPr>
            <p:pic>
              <p:nvPicPr>
                <p:cNvPr id="2666" name="Picture 2665">
                  <a:extLst>
                    <a:ext uri="{FF2B5EF4-FFF2-40B4-BE49-F238E27FC236}">
                      <a16:creationId xmlns:a16="http://schemas.microsoft.com/office/drawing/2014/main" id="{9FF5EF69-95C2-458A-8AD8-183F54D4A4F2}"/>
                    </a:ext>
                  </a:extLst>
                </p:cNvPr>
                <p:cNvPicPr>
                  <a:picLocks noChangeAspect="1"/>
                </p:cNvPicPr>
                <p:nvPr/>
              </p:nvPicPr>
              <p:blipFill>
                <a:blip r:embed="rId7"/>
                <a:stretch>
                  <a:fillRect/>
                </a:stretch>
              </p:blipFill>
              <p:spPr>
                <a:xfrm>
                  <a:off x="6355981" y="199813"/>
                  <a:ext cx="302738" cy="580832"/>
                </a:xfrm>
                <a:prstGeom prst="rect">
                  <a:avLst/>
                </a:prstGeom>
              </p:spPr>
            </p:pic>
            <p:sp>
              <p:nvSpPr>
                <p:cNvPr id="2667" name="Freeform 152">
                  <a:extLst>
                    <a:ext uri="{FF2B5EF4-FFF2-40B4-BE49-F238E27FC236}">
                      <a16:creationId xmlns:a16="http://schemas.microsoft.com/office/drawing/2014/main" id="{3931DE09-985E-4FF0-AFC1-D29686EAFDB4}"/>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780" name="Picture 2779">
            <a:extLst>
              <a:ext uri="{FF2B5EF4-FFF2-40B4-BE49-F238E27FC236}">
                <a16:creationId xmlns:a16="http://schemas.microsoft.com/office/drawing/2014/main" id="{9CEEAEE1-4BC9-4112-A942-758CEE72D40E}"/>
              </a:ext>
            </a:extLst>
          </p:cNvPr>
          <p:cNvPicPr>
            <a:picLocks noChangeAspect="1"/>
          </p:cNvPicPr>
          <p:nvPr/>
        </p:nvPicPr>
        <p:blipFill>
          <a:blip r:embed="rId8"/>
          <a:stretch>
            <a:fillRect/>
          </a:stretch>
        </p:blipFill>
        <p:spPr>
          <a:xfrm rot="19800000">
            <a:off x="419512" y="4519337"/>
            <a:ext cx="884802" cy="447298"/>
          </a:xfrm>
          <a:prstGeom prst="rect">
            <a:avLst/>
          </a:prstGeom>
        </p:spPr>
      </p:pic>
      <p:graphicFrame>
        <p:nvGraphicFramePr>
          <p:cNvPr id="2781" name="Table 2780">
            <a:extLst>
              <a:ext uri="{FF2B5EF4-FFF2-40B4-BE49-F238E27FC236}">
                <a16:creationId xmlns:a16="http://schemas.microsoft.com/office/drawing/2014/main" id="{5C571614-AF10-414E-9652-6718E81A3D1C}"/>
              </a:ext>
            </a:extLst>
          </p:cNvPr>
          <p:cNvGraphicFramePr>
            <a:graphicFrameLocks noGrp="1"/>
          </p:cNvGraphicFramePr>
          <p:nvPr/>
        </p:nvGraphicFramePr>
        <p:xfrm>
          <a:off x="721500" y="3068775"/>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782" name="Group 2781">
            <a:extLst>
              <a:ext uri="{FF2B5EF4-FFF2-40B4-BE49-F238E27FC236}">
                <a16:creationId xmlns:a16="http://schemas.microsoft.com/office/drawing/2014/main" id="{116A6D74-4ACA-4656-AEB9-8A711DC99F72}"/>
              </a:ext>
            </a:extLst>
          </p:cNvPr>
          <p:cNvGrpSpPr/>
          <p:nvPr/>
        </p:nvGrpSpPr>
        <p:grpSpPr>
          <a:xfrm>
            <a:off x="765376" y="3345522"/>
            <a:ext cx="381241" cy="766727"/>
            <a:chOff x="765576" y="3316088"/>
            <a:chExt cx="381340" cy="766927"/>
          </a:xfrm>
        </p:grpSpPr>
        <p:pic>
          <p:nvPicPr>
            <p:cNvPr id="2783" name="Picture 2782">
              <a:extLst>
                <a:ext uri="{FF2B5EF4-FFF2-40B4-BE49-F238E27FC236}">
                  <a16:creationId xmlns:a16="http://schemas.microsoft.com/office/drawing/2014/main" id="{5691F5DD-8685-435D-8B5D-F4A200401A90}"/>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784" name="Picture 2783">
              <a:extLst>
                <a:ext uri="{FF2B5EF4-FFF2-40B4-BE49-F238E27FC236}">
                  <a16:creationId xmlns:a16="http://schemas.microsoft.com/office/drawing/2014/main" id="{2E4A6DE5-3FD2-4F01-8540-682344C24BAE}"/>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785" name="Picture 2784">
              <a:extLst>
                <a:ext uri="{FF2B5EF4-FFF2-40B4-BE49-F238E27FC236}">
                  <a16:creationId xmlns:a16="http://schemas.microsoft.com/office/drawing/2014/main" id="{8B5E5F2B-BCA0-4138-A8BC-2F2BD3330A0E}"/>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786" name="Rectangle 2785">
            <a:extLst>
              <a:ext uri="{FF2B5EF4-FFF2-40B4-BE49-F238E27FC236}">
                <a16:creationId xmlns:a16="http://schemas.microsoft.com/office/drawing/2014/main" id="{A8F3906E-0A31-46B5-92C3-7B7725A4F6B3}"/>
              </a:ext>
            </a:extLst>
          </p:cNvPr>
          <p:cNvSpPr>
            <a:spLocks/>
          </p:cNvSpPr>
          <p:nvPr/>
        </p:nvSpPr>
        <p:spPr bwMode="gray">
          <a:xfrm>
            <a:off x="390508" y="1551301"/>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787" name="Group 2786">
            <a:extLst>
              <a:ext uri="{FF2B5EF4-FFF2-40B4-BE49-F238E27FC236}">
                <a16:creationId xmlns:a16="http://schemas.microsoft.com/office/drawing/2014/main" id="{C3247AD9-BB7D-4D45-8B5F-C54C2E18481A}"/>
              </a:ext>
            </a:extLst>
          </p:cNvPr>
          <p:cNvGrpSpPr/>
          <p:nvPr/>
        </p:nvGrpSpPr>
        <p:grpSpPr>
          <a:xfrm>
            <a:off x="3473504" y="1615862"/>
            <a:ext cx="3106888" cy="2174645"/>
            <a:chOff x="3474409" y="1753652"/>
            <a:chExt cx="3107697" cy="2175211"/>
          </a:xfrm>
        </p:grpSpPr>
        <p:sp>
          <p:nvSpPr>
            <p:cNvPr id="2788" name="Rectangle 2787">
              <a:extLst>
                <a:ext uri="{FF2B5EF4-FFF2-40B4-BE49-F238E27FC236}">
                  <a16:creationId xmlns:a16="http://schemas.microsoft.com/office/drawing/2014/main" id="{DCFF4DE0-F488-4B10-A20D-D1329C8DC2B2}"/>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2789" name="Group 2788">
              <a:extLst>
                <a:ext uri="{FF2B5EF4-FFF2-40B4-BE49-F238E27FC236}">
                  <a16:creationId xmlns:a16="http://schemas.microsoft.com/office/drawing/2014/main" id="{7794E59D-51EB-4440-9472-AE8582FF997F}"/>
                </a:ext>
              </a:extLst>
            </p:cNvPr>
            <p:cNvGrpSpPr/>
            <p:nvPr/>
          </p:nvGrpSpPr>
          <p:grpSpPr>
            <a:xfrm>
              <a:off x="3474409" y="1753652"/>
              <a:ext cx="3107697" cy="1338890"/>
              <a:chOff x="3474409" y="1753652"/>
              <a:chExt cx="3107697" cy="1338890"/>
            </a:xfrm>
          </p:grpSpPr>
          <p:sp>
            <p:nvSpPr>
              <p:cNvPr id="2790" name="Rectangle 2789">
                <a:extLst>
                  <a:ext uri="{FF2B5EF4-FFF2-40B4-BE49-F238E27FC236}">
                    <a16:creationId xmlns:a16="http://schemas.microsoft.com/office/drawing/2014/main" id="{13AAB0FA-1723-4E34-92A6-CA9766E874EA}"/>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791" name="Group 2790">
                <a:extLst>
                  <a:ext uri="{FF2B5EF4-FFF2-40B4-BE49-F238E27FC236}">
                    <a16:creationId xmlns:a16="http://schemas.microsoft.com/office/drawing/2014/main" id="{1BD3BD95-5A80-4B1F-8F64-7E08DC34255D}"/>
                  </a:ext>
                </a:extLst>
              </p:cNvPr>
              <p:cNvGrpSpPr/>
              <p:nvPr/>
            </p:nvGrpSpPr>
            <p:grpSpPr>
              <a:xfrm>
                <a:off x="3504077" y="2398698"/>
                <a:ext cx="1559613" cy="693844"/>
                <a:chOff x="3512580" y="2236718"/>
                <a:chExt cx="1563594" cy="695615"/>
              </a:xfrm>
            </p:grpSpPr>
            <p:grpSp>
              <p:nvGrpSpPr>
                <p:cNvPr id="2825" name="Group 2824">
                  <a:extLst>
                    <a:ext uri="{FF2B5EF4-FFF2-40B4-BE49-F238E27FC236}">
                      <a16:creationId xmlns:a16="http://schemas.microsoft.com/office/drawing/2014/main" id="{124585FF-1191-415A-B6D0-9A74D582E15E}"/>
                    </a:ext>
                  </a:extLst>
                </p:cNvPr>
                <p:cNvGrpSpPr>
                  <a:grpSpLocks/>
                </p:cNvGrpSpPr>
                <p:nvPr/>
              </p:nvGrpSpPr>
              <p:grpSpPr>
                <a:xfrm>
                  <a:off x="3512580" y="2240647"/>
                  <a:ext cx="418017" cy="418017"/>
                  <a:chOff x="745985" y="4768134"/>
                  <a:chExt cx="368776" cy="368777"/>
                </a:xfrm>
              </p:grpSpPr>
              <p:grpSp>
                <p:nvGrpSpPr>
                  <p:cNvPr id="2889" name="Group 64">
                    <a:extLst>
                      <a:ext uri="{FF2B5EF4-FFF2-40B4-BE49-F238E27FC236}">
                        <a16:creationId xmlns:a16="http://schemas.microsoft.com/office/drawing/2014/main" id="{34F360FD-BD05-46B0-BC38-CD49FDFC1843}"/>
                      </a:ext>
                    </a:extLst>
                  </p:cNvPr>
                  <p:cNvGrpSpPr>
                    <a:grpSpLocks noChangeAspect="1"/>
                  </p:cNvGrpSpPr>
                  <p:nvPr/>
                </p:nvGrpSpPr>
                <p:grpSpPr bwMode="auto">
                  <a:xfrm rot="8100000">
                    <a:off x="745985" y="4768134"/>
                    <a:ext cx="368776" cy="368777"/>
                    <a:chOff x="701" y="2170"/>
                    <a:chExt cx="587" cy="587"/>
                  </a:xfrm>
                </p:grpSpPr>
                <p:sp>
                  <p:nvSpPr>
                    <p:cNvPr id="2900" name="Oval 65">
                      <a:extLst>
                        <a:ext uri="{FF2B5EF4-FFF2-40B4-BE49-F238E27FC236}">
                          <a16:creationId xmlns:a16="http://schemas.microsoft.com/office/drawing/2014/main" id="{BD8842C8-6ECD-421A-8B2A-6C1F160BF892}"/>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901" name="Line 66">
                      <a:extLst>
                        <a:ext uri="{FF2B5EF4-FFF2-40B4-BE49-F238E27FC236}">
                          <a16:creationId xmlns:a16="http://schemas.microsoft.com/office/drawing/2014/main" id="{89161B8B-D868-44C9-A6FE-D8F8B6247AC6}"/>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2" name="Line 67">
                      <a:extLst>
                        <a:ext uri="{FF2B5EF4-FFF2-40B4-BE49-F238E27FC236}">
                          <a16:creationId xmlns:a16="http://schemas.microsoft.com/office/drawing/2014/main" id="{92C51CB2-8361-4D59-BEE5-EBD60E915B5C}"/>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3" name="Line 69">
                      <a:extLst>
                        <a:ext uri="{FF2B5EF4-FFF2-40B4-BE49-F238E27FC236}">
                          <a16:creationId xmlns:a16="http://schemas.microsoft.com/office/drawing/2014/main" id="{D1438558-54A8-4161-B191-E07D4105851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4" name="Line 74">
                      <a:extLst>
                        <a:ext uri="{FF2B5EF4-FFF2-40B4-BE49-F238E27FC236}">
                          <a16:creationId xmlns:a16="http://schemas.microsoft.com/office/drawing/2014/main" id="{6B613237-D0B5-41EF-96D4-F215053AC37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5" name="Freeform 78">
                      <a:extLst>
                        <a:ext uri="{FF2B5EF4-FFF2-40B4-BE49-F238E27FC236}">
                          <a16:creationId xmlns:a16="http://schemas.microsoft.com/office/drawing/2014/main" id="{89D39A45-A7C3-4DCB-BC12-96C06349379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906" name="Freeform 80">
                      <a:extLst>
                        <a:ext uri="{FF2B5EF4-FFF2-40B4-BE49-F238E27FC236}">
                          <a16:creationId xmlns:a16="http://schemas.microsoft.com/office/drawing/2014/main" id="{4791BBDB-1F24-4187-AF6E-81B95B57D8C7}"/>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90" name="Group 2889">
                    <a:extLst>
                      <a:ext uri="{FF2B5EF4-FFF2-40B4-BE49-F238E27FC236}">
                        <a16:creationId xmlns:a16="http://schemas.microsoft.com/office/drawing/2014/main" id="{ABB58CB3-2D65-4685-871A-A42D6CB3D812}"/>
                      </a:ext>
                    </a:extLst>
                  </p:cNvPr>
                  <p:cNvGrpSpPr/>
                  <p:nvPr/>
                </p:nvGrpSpPr>
                <p:grpSpPr>
                  <a:xfrm>
                    <a:off x="837312" y="4814434"/>
                    <a:ext cx="136805" cy="278689"/>
                    <a:chOff x="2806700" y="2803319"/>
                    <a:chExt cx="433387" cy="882861"/>
                  </a:xfrm>
                </p:grpSpPr>
                <p:grpSp>
                  <p:nvGrpSpPr>
                    <p:cNvPr id="2891" name="Group 2890">
                      <a:extLst>
                        <a:ext uri="{FF2B5EF4-FFF2-40B4-BE49-F238E27FC236}">
                          <a16:creationId xmlns:a16="http://schemas.microsoft.com/office/drawing/2014/main" id="{2EFA0C82-8378-4315-A5B4-E6DD355AF079}"/>
                        </a:ext>
                      </a:extLst>
                    </p:cNvPr>
                    <p:cNvGrpSpPr>
                      <a:grpSpLocks noChangeAspect="1"/>
                    </p:cNvGrpSpPr>
                    <p:nvPr/>
                  </p:nvGrpSpPr>
                  <p:grpSpPr bwMode="auto">
                    <a:xfrm>
                      <a:off x="2806700" y="3043242"/>
                      <a:ext cx="433387" cy="642938"/>
                      <a:chOff x="1768" y="1917"/>
                      <a:chExt cx="273" cy="405"/>
                    </a:xfrm>
                  </p:grpSpPr>
                  <p:sp>
                    <p:nvSpPr>
                      <p:cNvPr id="2893" name="Freeform 52">
                        <a:extLst>
                          <a:ext uri="{FF2B5EF4-FFF2-40B4-BE49-F238E27FC236}">
                            <a16:creationId xmlns:a16="http://schemas.microsoft.com/office/drawing/2014/main" id="{7ADBEA46-9E55-4EEB-A89A-F7CE8B07E4C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94" name="Line 54">
                        <a:extLst>
                          <a:ext uri="{FF2B5EF4-FFF2-40B4-BE49-F238E27FC236}">
                            <a16:creationId xmlns:a16="http://schemas.microsoft.com/office/drawing/2014/main" id="{535539C8-595E-41B6-90C0-C93A35268421}"/>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5" name="Line 55">
                        <a:extLst>
                          <a:ext uri="{FF2B5EF4-FFF2-40B4-BE49-F238E27FC236}">
                            <a16:creationId xmlns:a16="http://schemas.microsoft.com/office/drawing/2014/main" id="{285B76A7-0480-49DD-A462-5F69C8E9189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6" name="Freeform 56">
                        <a:extLst>
                          <a:ext uri="{FF2B5EF4-FFF2-40B4-BE49-F238E27FC236}">
                            <a16:creationId xmlns:a16="http://schemas.microsoft.com/office/drawing/2014/main" id="{BF4E3EC5-F235-4B2C-A862-DF4101D54248}"/>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7" name="Line 57">
                        <a:extLst>
                          <a:ext uri="{FF2B5EF4-FFF2-40B4-BE49-F238E27FC236}">
                            <a16:creationId xmlns:a16="http://schemas.microsoft.com/office/drawing/2014/main" id="{36218258-E493-4306-8FF7-C5CFF59BEEAE}"/>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8" name="Freeform 58">
                        <a:extLst>
                          <a:ext uri="{FF2B5EF4-FFF2-40B4-BE49-F238E27FC236}">
                            <a16:creationId xmlns:a16="http://schemas.microsoft.com/office/drawing/2014/main" id="{FA084AE5-B2D3-4A26-8265-859050F16A1E}"/>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99" name="Rectangle 2898">
                        <a:extLst>
                          <a:ext uri="{FF2B5EF4-FFF2-40B4-BE49-F238E27FC236}">
                            <a16:creationId xmlns:a16="http://schemas.microsoft.com/office/drawing/2014/main" id="{739E3D4B-4E7A-465D-87BF-B7368F39D795}"/>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892" name="Oval 2891">
                      <a:extLst>
                        <a:ext uri="{FF2B5EF4-FFF2-40B4-BE49-F238E27FC236}">
                          <a16:creationId xmlns:a16="http://schemas.microsoft.com/office/drawing/2014/main" id="{D5C7C20F-C863-409F-A9B2-A24DCD709165}"/>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826" name="Group 2825">
                  <a:extLst>
                    <a:ext uri="{FF2B5EF4-FFF2-40B4-BE49-F238E27FC236}">
                      <a16:creationId xmlns:a16="http://schemas.microsoft.com/office/drawing/2014/main" id="{D5C6DCF7-09F1-43DA-A170-67E2E37DC81C}"/>
                    </a:ext>
                  </a:extLst>
                </p:cNvPr>
                <p:cNvGrpSpPr>
                  <a:grpSpLocks/>
                </p:cNvGrpSpPr>
                <p:nvPr/>
              </p:nvGrpSpPr>
              <p:grpSpPr>
                <a:xfrm>
                  <a:off x="3989965" y="2395465"/>
                  <a:ext cx="536865" cy="536868"/>
                  <a:chOff x="1454941" y="4721722"/>
                  <a:chExt cx="473625" cy="473627"/>
                </a:xfrm>
              </p:grpSpPr>
              <p:grpSp>
                <p:nvGrpSpPr>
                  <p:cNvPr id="2850" name="Group 64">
                    <a:extLst>
                      <a:ext uri="{FF2B5EF4-FFF2-40B4-BE49-F238E27FC236}">
                        <a16:creationId xmlns:a16="http://schemas.microsoft.com/office/drawing/2014/main" id="{1D0A8E86-86CC-4757-904A-7F9A4904C590}"/>
                      </a:ext>
                    </a:extLst>
                  </p:cNvPr>
                  <p:cNvGrpSpPr>
                    <a:grpSpLocks noChangeAspect="1"/>
                  </p:cNvGrpSpPr>
                  <p:nvPr/>
                </p:nvGrpSpPr>
                <p:grpSpPr bwMode="auto">
                  <a:xfrm rot="8100000">
                    <a:off x="1454941" y="4721722"/>
                    <a:ext cx="473625" cy="473627"/>
                    <a:chOff x="701" y="2170"/>
                    <a:chExt cx="587" cy="587"/>
                  </a:xfrm>
                </p:grpSpPr>
                <p:sp>
                  <p:nvSpPr>
                    <p:cNvPr id="2882" name="Oval 65">
                      <a:extLst>
                        <a:ext uri="{FF2B5EF4-FFF2-40B4-BE49-F238E27FC236}">
                          <a16:creationId xmlns:a16="http://schemas.microsoft.com/office/drawing/2014/main" id="{55F913C5-2E68-4D6E-BE4A-559981517C2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83" name="Line 66">
                      <a:extLst>
                        <a:ext uri="{FF2B5EF4-FFF2-40B4-BE49-F238E27FC236}">
                          <a16:creationId xmlns:a16="http://schemas.microsoft.com/office/drawing/2014/main" id="{BC784C99-EC83-4463-81D7-D0FBC9E65519}"/>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4" name="Line 67">
                      <a:extLst>
                        <a:ext uri="{FF2B5EF4-FFF2-40B4-BE49-F238E27FC236}">
                          <a16:creationId xmlns:a16="http://schemas.microsoft.com/office/drawing/2014/main" id="{B1C95774-80EA-4C57-9970-0CE92CFC932D}"/>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5" name="Line 69">
                      <a:extLst>
                        <a:ext uri="{FF2B5EF4-FFF2-40B4-BE49-F238E27FC236}">
                          <a16:creationId xmlns:a16="http://schemas.microsoft.com/office/drawing/2014/main" id="{660D7693-309E-4EE4-A996-D3ABCCBD6B47}"/>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6" name="Line 74">
                      <a:extLst>
                        <a:ext uri="{FF2B5EF4-FFF2-40B4-BE49-F238E27FC236}">
                          <a16:creationId xmlns:a16="http://schemas.microsoft.com/office/drawing/2014/main" id="{F07AB838-726C-4C27-86E6-983491355B5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7" name="Freeform 78">
                      <a:extLst>
                        <a:ext uri="{FF2B5EF4-FFF2-40B4-BE49-F238E27FC236}">
                          <a16:creationId xmlns:a16="http://schemas.microsoft.com/office/drawing/2014/main" id="{11A482CE-1ABC-4564-9D24-C76259F36D6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8" name="Freeform 80">
                      <a:extLst>
                        <a:ext uri="{FF2B5EF4-FFF2-40B4-BE49-F238E27FC236}">
                          <a16:creationId xmlns:a16="http://schemas.microsoft.com/office/drawing/2014/main" id="{BC5BDC75-52B7-431D-94A2-4AACBE5BC6E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51" name="Group 2850">
                    <a:extLst>
                      <a:ext uri="{FF2B5EF4-FFF2-40B4-BE49-F238E27FC236}">
                        <a16:creationId xmlns:a16="http://schemas.microsoft.com/office/drawing/2014/main" id="{88BEB8B0-12EF-4DA4-8A92-DAE8748EDCDF}"/>
                      </a:ext>
                    </a:extLst>
                  </p:cNvPr>
                  <p:cNvGrpSpPr/>
                  <p:nvPr/>
                </p:nvGrpSpPr>
                <p:grpSpPr>
                  <a:xfrm>
                    <a:off x="1511214" y="4789508"/>
                    <a:ext cx="356509" cy="349884"/>
                    <a:chOff x="468738" y="2241878"/>
                    <a:chExt cx="1655483" cy="1624719"/>
                  </a:xfrm>
                </p:grpSpPr>
                <p:sp>
                  <p:nvSpPr>
                    <p:cNvPr id="2852" name="Freeform 5">
                      <a:extLst>
                        <a:ext uri="{FF2B5EF4-FFF2-40B4-BE49-F238E27FC236}">
                          <a16:creationId xmlns:a16="http://schemas.microsoft.com/office/drawing/2014/main" id="{F95E5343-0075-489A-9126-5816D0B57C1F}"/>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53" name="Freeform 6">
                      <a:extLst>
                        <a:ext uri="{FF2B5EF4-FFF2-40B4-BE49-F238E27FC236}">
                          <a16:creationId xmlns:a16="http://schemas.microsoft.com/office/drawing/2014/main" id="{926C41C5-CE8B-4258-A384-357C3897D06E}"/>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4" name="Line 7">
                      <a:extLst>
                        <a:ext uri="{FF2B5EF4-FFF2-40B4-BE49-F238E27FC236}">
                          <a16:creationId xmlns:a16="http://schemas.microsoft.com/office/drawing/2014/main" id="{BC71F336-7C8F-48B5-8A9F-679ADD1ED152}"/>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5" name="Freeform 8">
                      <a:extLst>
                        <a:ext uri="{FF2B5EF4-FFF2-40B4-BE49-F238E27FC236}">
                          <a16:creationId xmlns:a16="http://schemas.microsoft.com/office/drawing/2014/main" id="{BCAA8535-697F-46B2-B757-A300795A3B42}"/>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6" name="Line 9">
                      <a:extLst>
                        <a:ext uri="{FF2B5EF4-FFF2-40B4-BE49-F238E27FC236}">
                          <a16:creationId xmlns:a16="http://schemas.microsoft.com/office/drawing/2014/main" id="{4AF3945B-2C65-4336-B1C4-34474A591B13}"/>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57" name="Group 2856">
                      <a:extLst>
                        <a:ext uri="{FF2B5EF4-FFF2-40B4-BE49-F238E27FC236}">
                          <a16:creationId xmlns:a16="http://schemas.microsoft.com/office/drawing/2014/main" id="{027CD6D7-7EDB-4CBF-9500-39C132148A55}"/>
                        </a:ext>
                      </a:extLst>
                    </p:cNvPr>
                    <p:cNvGrpSpPr/>
                    <p:nvPr/>
                  </p:nvGrpSpPr>
                  <p:grpSpPr>
                    <a:xfrm>
                      <a:off x="1207113" y="2241878"/>
                      <a:ext cx="178734" cy="348678"/>
                      <a:chOff x="1207113" y="2241878"/>
                      <a:chExt cx="178734" cy="348678"/>
                    </a:xfrm>
                  </p:grpSpPr>
                  <p:sp>
                    <p:nvSpPr>
                      <p:cNvPr id="2880" name="Freeform 10">
                        <a:extLst>
                          <a:ext uri="{FF2B5EF4-FFF2-40B4-BE49-F238E27FC236}">
                            <a16:creationId xmlns:a16="http://schemas.microsoft.com/office/drawing/2014/main" id="{AF625847-F6FB-42DC-904C-2578EA26467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81" name="Line 11">
                        <a:extLst>
                          <a:ext uri="{FF2B5EF4-FFF2-40B4-BE49-F238E27FC236}">
                            <a16:creationId xmlns:a16="http://schemas.microsoft.com/office/drawing/2014/main" id="{CF07C85E-C562-47E7-8EDC-BBA9272C21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858" name="Freeform 12">
                      <a:extLst>
                        <a:ext uri="{FF2B5EF4-FFF2-40B4-BE49-F238E27FC236}">
                          <a16:creationId xmlns:a16="http://schemas.microsoft.com/office/drawing/2014/main" id="{2F6B15E8-91C5-4F7D-92B5-EE6E5B0D52BF}"/>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59" name="Line 13">
                      <a:extLst>
                        <a:ext uri="{FF2B5EF4-FFF2-40B4-BE49-F238E27FC236}">
                          <a16:creationId xmlns:a16="http://schemas.microsoft.com/office/drawing/2014/main" id="{C25C8303-B4B6-4545-A9EE-2218CCE1A9C8}"/>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0" name="Freeform 14">
                      <a:extLst>
                        <a:ext uri="{FF2B5EF4-FFF2-40B4-BE49-F238E27FC236}">
                          <a16:creationId xmlns:a16="http://schemas.microsoft.com/office/drawing/2014/main" id="{5F86F525-DB26-43EB-A88F-AA8234709CA9}"/>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1" name="Line 15">
                      <a:extLst>
                        <a:ext uri="{FF2B5EF4-FFF2-40B4-BE49-F238E27FC236}">
                          <a16:creationId xmlns:a16="http://schemas.microsoft.com/office/drawing/2014/main" id="{4D07ED8B-6CF9-498D-9793-8DCE67F5301C}"/>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2" name="Freeform 16">
                      <a:extLst>
                        <a:ext uri="{FF2B5EF4-FFF2-40B4-BE49-F238E27FC236}">
                          <a16:creationId xmlns:a16="http://schemas.microsoft.com/office/drawing/2014/main" id="{C3C868A0-8B1A-4C52-AAD5-E812F5F5513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3" name="Line 17">
                      <a:extLst>
                        <a:ext uri="{FF2B5EF4-FFF2-40B4-BE49-F238E27FC236}">
                          <a16:creationId xmlns:a16="http://schemas.microsoft.com/office/drawing/2014/main" id="{DA743EE4-7352-49C1-830C-F6283FD29B8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4" name="Freeform 18">
                      <a:extLst>
                        <a:ext uri="{FF2B5EF4-FFF2-40B4-BE49-F238E27FC236}">
                          <a16:creationId xmlns:a16="http://schemas.microsoft.com/office/drawing/2014/main" id="{F1D213F7-7ACE-479F-BC32-F54952E2AAAF}"/>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5" name="Line 19">
                      <a:extLst>
                        <a:ext uri="{FF2B5EF4-FFF2-40B4-BE49-F238E27FC236}">
                          <a16:creationId xmlns:a16="http://schemas.microsoft.com/office/drawing/2014/main" id="{084B1E32-7A8E-4A29-9391-EC2E2A99C7C8}"/>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6" name="Freeform 35">
                      <a:extLst>
                        <a:ext uri="{FF2B5EF4-FFF2-40B4-BE49-F238E27FC236}">
                          <a16:creationId xmlns:a16="http://schemas.microsoft.com/office/drawing/2014/main" id="{07831DDB-8511-4F02-9E5F-E054CCC6B183}"/>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67" name="Freeform 36">
                      <a:extLst>
                        <a:ext uri="{FF2B5EF4-FFF2-40B4-BE49-F238E27FC236}">
                          <a16:creationId xmlns:a16="http://schemas.microsoft.com/office/drawing/2014/main" id="{45EE5BE8-4EFB-4032-B939-0F0FCD937CC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8" name="Freeform 37">
                      <a:extLst>
                        <a:ext uri="{FF2B5EF4-FFF2-40B4-BE49-F238E27FC236}">
                          <a16:creationId xmlns:a16="http://schemas.microsoft.com/office/drawing/2014/main" id="{2CA16CE2-1E63-4009-B177-A60EDF712216}"/>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69" name="Freeform 38">
                      <a:extLst>
                        <a:ext uri="{FF2B5EF4-FFF2-40B4-BE49-F238E27FC236}">
                          <a16:creationId xmlns:a16="http://schemas.microsoft.com/office/drawing/2014/main" id="{53506708-F567-4C2D-B262-6B8E6C35649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0" name="Freeform 39">
                      <a:extLst>
                        <a:ext uri="{FF2B5EF4-FFF2-40B4-BE49-F238E27FC236}">
                          <a16:creationId xmlns:a16="http://schemas.microsoft.com/office/drawing/2014/main" id="{8489A8A6-C296-45CC-8457-D0BB6CD103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1" name="Freeform 40">
                      <a:extLst>
                        <a:ext uri="{FF2B5EF4-FFF2-40B4-BE49-F238E27FC236}">
                          <a16:creationId xmlns:a16="http://schemas.microsoft.com/office/drawing/2014/main" id="{0FA0DAD5-3C5F-46B1-A1F5-9A3242A1EF58}"/>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2" name="Freeform 41">
                      <a:extLst>
                        <a:ext uri="{FF2B5EF4-FFF2-40B4-BE49-F238E27FC236}">
                          <a16:creationId xmlns:a16="http://schemas.microsoft.com/office/drawing/2014/main" id="{037D707B-D71A-4707-9BE4-FBA6D5B41FCA}"/>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3" name="Line 42">
                      <a:extLst>
                        <a:ext uri="{FF2B5EF4-FFF2-40B4-BE49-F238E27FC236}">
                          <a16:creationId xmlns:a16="http://schemas.microsoft.com/office/drawing/2014/main" id="{D05756EB-1D2F-446F-805E-C41A1546D615}"/>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4" name="Freeform 43">
                      <a:extLst>
                        <a:ext uri="{FF2B5EF4-FFF2-40B4-BE49-F238E27FC236}">
                          <a16:creationId xmlns:a16="http://schemas.microsoft.com/office/drawing/2014/main" id="{815E68C6-649A-49A2-8E90-F112CC17E46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5" name="Freeform 44">
                      <a:extLst>
                        <a:ext uri="{FF2B5EF4-FFF2-40B4-BE49-F238E27FC236}">
                          <a16:creationId xmlns:a16="http://schemas.microsoft.com/office/drawing/2014/main" id="{0CC4FD28-502F-4CF2-A652-4F1E72561366}"/>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76" name="Freeform 45">
                      <a:extLst>
                        <a:ext uri="{FF2B5EF4-FFF2-40B4-BE49-F238E27FC236}">
                          <a16:creationId xmlns:a16="http://schemas.microsoft.com/office/drawing/2014/main" id="{1A876F80-ADA2-4F0F-8485-7971CAFB081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877" name="Group 2876">
                      <a:extLst>
                        <a:ext uri="{FF2B5EF4-FFF2-40B4-BE49-F238E27FC236}">
                          <a16:creationId xmlns:a16="http://schemas.microsoft.com/office/drawing/2014/main" id="{08394D4F-641E-4D1E-85B7-186B78A49A0F}"/>
                        </a:ext>
                      </a:extLst>
                    </p:cNvPr>
                    <p:cNvGrpSpPr/>
                    <p:nvPr/>
                  </p:nvGrpSpPr>
                  <p:grpSpPr>
                    <a:xfrm flipV="1">
                      <a:off x="1202047" y="3517919"/>
                      <a:ext cx="178734" cy="348678"/>
                      <a:chOff x="1207113" y="2241878"/>
                      <a:chExt cx="178734" cy="348678"/>
                    </a:xfrm>
                  </p:grpSpPr>
                  <p:sp>
                    <p:nvSpPr>
                      <p:cNvPr id="2878" name="Freeform 10">
                        <a:extLst>
                          <a:ext uri="{FF2B5EF4-FFF2-40B4-BE49-F238E27FC236}">
                            <a16:creationId xmlns:a16="http://schemas.microsoft.com/office/drawing/2014/main" id="{D86E445A-22D5-45CB-9184-DA4CE11E836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79" name="Line 11">
                        <a:extLst>
                          <a:ext uri="{FF2B5EF4-FFF2-40B4-BE49-F238E27FC236}">
                            <a16:creationId xmlns:a16="http://schemas.microsoft.com/office/drawing/2014/main" id="{3A8F6D2A-4C65-4FFD-9565-7F677D51A5A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7" name="Group 2826">
                  <a:extLst>
                    <a:ext uri="{FF2B5EF4-FFF2-40B4-BE49-F238E27FC236}">
                      <a16:creationId xmlns:a16="http://schemas.microsoft.com/office/drawing/2014/main" id="{20B66575-AEC5-44A6-8963-CCD13E5E7614}"/>
                    </a:ext>
                  </a:extLst>
                </p:cNvPr>
                <p:cNvGrpSpPr>
                  <a:grpSpLocks/>
                </p:cNvGrpSpPr>
                <p:nvPr/>
              </p:nvGrpSpPr>
              <p:grpSpPr>
                <a:xfrm>
                  <a:off x="4605070" y="2236718"/>
                  <a:ext cx="471104" cy="471107"/>
                  <a:chOff x="2268747" y="4723725"/>
                  <a:chExt cx="415610" cy="415612"/>
                </a:xfrm>
              </p:grpSpPr>
              <p:grpSp>
                <p:nvGrpSpPr>
                  <p:cNvPr id="2828" name="Group 64">
                    <a:extLst>
                      <a:ext uri="{FF2B5EF4-FFF2-40B4-BE49-F238E27FC236}">
                        <a16:creationId xmlns:a16="http://schemas.microsoft.com/office/drawing/2014/main" id="{0B78C658-552D-415D-9BE6-F47813A66A6B}"/>
                      </a:ext>
                    </a:extLst>
                  </p:cNvPr>
                  <p:cNvGrpSpPr>
                    <a:grpSpLocks noChangeAspect="1"/>
                  </p:cNvGrpSpPr>
                  <p:nvPr/>
                </p:nvGrpSpPr>
                <p:grpSpPr bwMode="auto">
                  <a:xfrm rot="8100000">
                    <a:off x="2268747" y="4723725"/>
                    <a:ext cx="415610" cy="415612"/>
                    <a:chOff x="701" y="2170"/>
                    <a:chExt cx="587" cy="587"/>
                  </a:xfrm>
                </p:grpSpPr>
                <p:sp>
                  <p:nvSpPr>
                    <p:cNvPr id="2843" name="Oval 65">
                      <a:extLst>
                        <a:ext uri="{FF2B5EF4-FFF2-40B4-BE49-F238E27FC236}">
                          <a16:creationId xmlns:a16="http://schemas.microsoft.com/office/drawing/2014/main" id="{FEB63568-0FAD-45BD-8B72-840BAEAA8A7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4" name="Line 66">
                      <a:extLst>
                        <a:ext uri="{FF2B5EF4-FFF2-40B4-BE49-F238E27FC236}">
                          <a16:creationId xmlns:a16="http://schemas.microsoft.com/office/drawing/2014/main" id="{D3E4DDD4-CF49-4143-8302-649229FB1EF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5" name="Line 67">
                      <a:extLst>
                        <a:ext uri="{FF2B5EF4-FFF2-40B4-BE49-F238E27FC236}">
                          <a16:creationId xmlns:a16="http://schemas.microsoft.com/office/drawing/2014/main" id="{14A79A59-660D-41A6-AD8E-9493FCB7E13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6" name="Line 69">
                      <a:extLst>
                        <a:ext uri="{FF2B5EF4-FFF2-40B4-BE49-F238E27FC236}">
                          <a16:creationId xmlns:a16="http://schemas.microsoft.com/office/drawing/2014/main" id="{2CAE62EE-6361-4862-A174-EE039A66D1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7" name="Line 74">
                      <a:extLst>
                        <a:ext uri="{FF2B5EF4-FFF2-40B4-BE49-F238E27FC236}">
                          <a16:creationId xmlns:a16="http://schemas.microsoft.com/office/drawing/2014/main" id="{02F0128E-8BB1-4DAF-917A-2A2C2D8CE42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8" name="Freeform 78">
                      <a:extLst>
                        <a:ext uri="{FF2B5EF4-FFF2-40B4-BE49-F238E27FC236}">
                          <a16:creationId xmlns:a16="http://schemas.microsoft.com/office/drawing/2014/main" id="{9FB9136D-C0CB-47FE-B315-E28DB827A1E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9" name="Freeform 80">
                      <a:extLst>
                        <a:ext uri="{FF2B5EF4-FFF2-40B4-BE49-F238E27FC236}">
                          <a16:creationId xmlns:a16="http://schemas.microsoft.com/office/drawing/2014/main" id="{E71D0A86-D961-4E75-BDE5-89C21EAC722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829" name="Group 2828">
                    <a:extLst>
                      <a:ext uri="{FF2B5EF4-FFF2-40B4-BE49-F238E27FC236}">
                        <a16:creationId xmlns:a16="http://schemas.microsoft.com/office/drawing/2014/main" id="{2BCBE843-5A8C-49F5-B254-BFC2341FF2E6}"/>
                      </a:ext>
                    </a:extLst>
                  </p:cNvPr>
                  <p:cNvGrpSpPr/>
                  <p:nvPr/>
                </p:nvGrpSpPr>
                <p:grpSpPr>
                  <a:xfrm>
                    <a:off x="2318076" y="4830163"/>
                    <a:ext cx="313949" cy="233075"/>
                    <a:chOff x="3707533" y="2731244"/>
                    <a:chExt cx="389644" cy="289271"/>
                  </a:xfrm>
                </p:grpSpPr>
                <p:sp>
                  <p:nvSpPr>
                    <p:cNvPr id="2830" name="Freeform 33">
                      <a:extLst>
                        <a:ext uri="{FF2B5EF4-FFF2-40B4-BE49-F238E27FC236}">
                          <a16:creationId xmlns:a16="http://schemas.microsoft.com/office/drawing/2014/main" id="{29152E43-7908-4D39-89B6-041B0E1B412E}"/>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1" name="Freeform 34">
                      <a:extLst>
                        <a:ext uri="{FF2B5EF4-FFF2-40B4-BE49-F238E27FC236}">
                          <a16:creationId xmlns:a16="http://schemas.microsoft.com/office/drawing/2014/main" id="{BF0A0776-1555-4302-9FBF-A869A0AE2362}"/>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2" name="Freeform 37">
                      <a:extLst>
                        <a:ext uri="{FF2B5EF4-FFF2-40B4-BE49-F238E27FC236}">
                          <a16:creationId xmlns:a16="http://schemas.microsoft.com/office/drawing/2014/main" id="{4F650D9E-F1A1-4C1F-9C61-651319FBE12C}"/>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3" name="Freeform 38">
                      <a:extLst>
                        <a:ext uri="{FF2B5EF4-FFF2-40B4-BE49-F238E27FC236}">
                          <a16:creationId xmlns:a16="http://schemas.microsoft.com/office/drawing/2014/main" id="{47E2741C-C085-4C85-AC60-65C9BEEEAD73}"/>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4" name="Freeform 32">
                      <a:extLst>
                        <a:ext uri="{FF2B5EF4-FFF2-40B4-BE49-F238E27FC236}">
                          <a16:creationId xmlns:a16="http://schemas.microsoft.com/office/drawing/2014/main" id="{4E3BFA5F-0405-4EB9-8A82-EC3D5EE58A11}"/>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5" name="Freeform 35">
                      <a:extLst>
                        <a:ext uri="{FF2B5EF4-FFF2-40B4-BE49-F238E27FC236}">
                          <a16:creationId xmlns:a16="http://schemas.microsoft.com/office/drawing/2014/main" id="{64E6FFBE-3262-4471-A8E8-CFA65DE68772}"/>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6" name="Freeform 36">
                      <a:extLst>
                        <a:ext uri="{FF2B5EF4-FFF2-40B4-BE49-F238E27FC236}">
                          <a16:creationId xmlns:a16="http://schemas.microsoft.com/office/drawing/2014/main" id="{68E017D6-DE86-4DC3-879C-25F447894245}"/>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7" name="Freeform 25">
                      <a:extLst>
                        <a:ext uri="{FF2B5EF4-FFF2-40B4-BE49-F238E27FC236}">
                          <a16:creationId xmlns:a16="http://schemas.microsoft.com/office/drawing/2014/main" id="{16AEEF82-6561-4FF7-86DA-1A994F08BB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8" name="Freeform 39">
                      <a:extLst>
                        <a:ext uri="{FF2B5EF4-FFF2-40B4-BE49-F238E27FC236}">
                          <a16:creationId xmlns:a16="http://schemas.microsoft.com/office/drawing/2014/main" id="{16AFA8D7-A657-46E0-8C95-1795E246F25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39" name="Freeform 26">
                      <a:extLst>
                        <a:ext uri="{FF2B5EF4-FFF2-40B4-BE49-F238E27FC236}">
                          <a16:creationId xmlns:a16="http://schemas.microsoft.com/office/drawing/2014/main" id="{B5CA1FD5-5DC8-4504-8756-18BA60FF056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0" name="Rectangle 27">
                      <a:extLst>
                        <a:ext uri="{FF2B5EF4-FFF2-40B4-BE49-F238E27FC236}">
                          <a16:creationId xmlns:a16="http://schemas.microsoft.com/office/drawing/2014/main" id="{D3F64414-0401-4981-91B3-580162745303}"/>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841" name="Line 29">
                      <a:extLst>
                        <a:ext uri="{FF2B5EF4-FFF2-40B4-BE49-F238E27FC236}">
                          <a16:creationId xmlns:a16="http://schemas.microsoft.com/office/drawing/2014/main" id="{2774969A-FF8D-4AC1-9C49-433CA8EC5908}"/>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842" name="Line 31">
                      <a:extLst>
                        <a:ext uri="{FF2B5EF4-FFF2-40B4-BE49-F238E27FC236}">
                          <a16:creationId xmlns:a16="http://schemas.microsoft.com/office/drawing/2014/main" id="{0211C476-CFD9-49F7-9384-137C7C5B378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792" name="Group 2791">
                <a:extLst>
                  <a:ext uri="{FF2B5EF4-FFF2-40B4-BE49-F238E27FC236}">
                    <a16:creationId xmlns:a16="http://schemas.microsoft.com/office/drawing/2014/main" id="{8D466FB1-F8F3-4685-AF3B-7826EA3DF614}"/>
                  </a:ext>
                </a:extLst>
              </p:cNvPr>
              <p:cNvGrpSpPr/>
              <p:nvPr/>
            </p:nvGrpSpPr>
            <p:grpSpPr>
              <a:xfrm>
                <a:off x="5261891" y="1974470"/>
                <a:ext cx="1115908" cy="967814"/>
                <a:chOff x="7338624" y="178556"/>
                <a:chExt cx="1115908" cy="967814"/>
              </a:xfrm>
            </p:grpSpPr>
            <p:grpSp>
              <p:nvGrpSpPr>
                <p:cNvPr id="2796" name="Group 2795">
                  <a:extLst>
                    <a:ext uri="{FF2B5EF4-FFF2-40B4-BE49-F238E27FC236}">
                      <a16:creationId xmlns:a16="http://schemas.microsoft.com/office/drawing/2014/main" id="{06209C85-5216-409F-AFBD-5348CB451E37}"/>
                    </a:ext>
                  </a:extLst>
                </p:cNvPr>
                <p:cNvGrpSpPr/>
                <p:nvPr/>
              </p:nvGrpSpPr>
              <p:grpSpPr>
                <a:xfrm flipH="1">
                  <a:off x="7603032" y="178556"/>
                  <a:ext cx="524442" cy="697246"/>
                  <a:chOff x="8607957" y="605299"/>
                  <a:chExt cx="2806962" cy="3731864"/>
                </a:xfrm>
              </p:grpSpPr>
              <p:sp>
                <p:nvSpPr>
                  <p:cNvPr id="2798" name="iBar:31/138">
                    <a:extLst>
                      <a:ext uri="{FF2B5EF4-FFF2-40B4-BE49-F238E27FC236}">
                        <a16:creationId xmlns:a16="http://schemas.microsoft.com/office/drawing/2014/main" id="{0C089B0A-E6FA-431E-9503-756545FE9A52}"/>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99" name="Rectangle 2798">
                    <a:extLst>
                      <a:ext uri="{FF2B5EF4-FFF2-40B4-BE49-F238E27FC236}">
                        <a16:creationId xmlns:a16="http://schemas.microsoft.com/office/drawing/2014/main" id="{B63C5322-A7FC-4515-A98C-E8F7A50AF9C5}"/>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00" name="Group 2799">
                    <a:extLst>
                      <a:ext uri="{FF2B5EF4-FFF2-40B4-BE49-F238E27FC236}">
                        <a16:creationId xmlns:a16="http://schemas.microsoft.com/office/drawing/2014/main" id="{CAE771CE-47CD-41D9-9477-8C2B3F1DC5AE}"/>
                      </a:ext>
                    </a:extLst>
                  </p:cNvPr>
                  <p:cNvGrpSpPr/>
                  <p:nvPr/>
                </p:nvGrpSpPr>
                <p:grpSpPr>
                  <a:xfrm>
                    <a:off x="8776645" y="2392984"/>
                    <a:ext cx="2463737" cy="1844316"/>
                    <a:chOff x="8566719" y="2617154"/>
                    <a:chExt cx="2463737" cy="1844316"/>
                  </a:xfrm>
                </p:grpSpPr>
                <p:sp>
                  <p:nvSpPr>
                    <p:cNvPr id="2814" name="Rectangle 2813">
                      <a:extLst>
                        <a:ext uri="{FF2B5EF4-FFF2-40B4-BE49-F238E27FC236}">
                          <a16:creationId xmlns:a16="http://schemas.microsoft.com/office/drawing/2014/main" id="{6EEB185A-FA68-46BA-B5F7-FF8E542218E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5" name="Group 2814">
                      <a:extLst>
                        <a:ext uri="{FF2B5EF4-FFF2-40B4-BE49-F238E27FC236}">
                          <a16:creationId xmlns:a16="http://schemas.microsoft.com/office/drawing/2014/main" id="{6B577423-DEE6-4B13-8BAE-A5F1C12366E0}"/>
                        </a:ext>
                      </a:extLst>
                    </p:cNvPr>
                    <p:cNvGrpSpPr/>
                    <p:nvPr/>
                  </p:nvGrpSpPr>
                  <p:grpSpPr>
                    <a:xfrm>
                      <a:off x="8720849" y="2791577"/>
                      <a:ext cx="2190282" cy="1669893"/>
                      <a:chOff x="5195358" y="4591383"/>
                      <a:chExt cx="1906459" cy="1380076"/>
                    </a:xfrm>
                  </p:grpSpPr>
                  <p:grpSp>
                    <p:nvGrpSpPr>
                      <p:cNvPr id="2816" name="Group 2815">
                        <a:extLst>
                          <a:ext uri="{FF2B5EF4-FFF2-40B4-BE49-F238E27FC236}">
                            <a16:creationId xmlns:a16="http://schemas.microsoft.com/office/drawing/2014/main" id="{02DC404D-9158-4789-A6EF-E8E33AFC3F38}"/>
                          </a:ext>
                        </a:extLst>
                      </p:cNvPr>
                      <p:cNvGrpSpPr/>
                      <p:nvPr/>
                    </p:nvGrpSpPr>
                    <p:grpSpPr>
                      <a:xfrm>
                        <a:off x="5195358" y="4591383"/>
                        <a:ext cx="1020183" cy="1224086"/>
                        <a:chOff x="10650533" y="3663550"/>
                        <a:chExt cx="575867" cy="836067"/>
                      </a:xfrm>
                    </p:grpSpPr>
                    <p:grpSp>
                      <p:nvGrpSpPr>
                        <p:cNvPr id="2818" name="Group 2817">
                          <a:extLst>
                            <a:ext uri="{FF2B5EF4-FFF2-40B4-BE49-F238E27FC236}">
                              <a16:creationId xmlns:a16="http://schemas.microsoft.com/office/drawing/2014/main" id="{56967A2B-DCDF-4691-AB19-E65A647F688C}"/>
                            </a:ext>
                          </a:extLst>
                        </p:cNvPr>
                        <p:cNvGrpSpPr/>
                        <p:nvPr/>
                      </p:nvGrpSpPr>
                      <p:grpSpPr>
                        <a:xfrm>
                          <a:off x="10650533" y="3663550"/>
                          <a:ext cx="575867" cy="728623"/>
                          <a:chOff x="5717961" y="2827338"/>
                          <a:chExt cx="282576" cy="387350"/>
                        </a:xfrm>
                      </p:grpSpPr>
                      <p:sp>
                        <p:nvSpPr>
                          <p:cNvPr id="2820" name="Freeform 1754">
                            <a:extLst>
                              <a:ext uri="{FF2B5EF4-FFF2-40B4-BE49-F238E27FC236}">
                                <a16:creationId xmlns:a16="http://schemas.microsoft.com/office/drawing/2014/main" id="{48D81758-0BD3-4BC2-8A9C-672770B23946}"/>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1" name="Freeform 1755">
                            <a:extLst>
                              <a:ext uri="{FF2B5EF4-FFF2-40B4-BE49-F238E27FC236}">
                                <a16:creationId xmlns:a16="http://schemas.microsoft.com/office/drawing/2014/main" id="{21E665D1-8057-4407-B125-616CC884D074}"/>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22" name="Freeform 1756">
                            <a:extLst>
                              <a:ext uri="{FF2B5EF4-FFF2-40B4-BE49-F238E27FC236}">
                                <a16:creationId xmlns:a16="http://schemas.microsoft.com/office/drawing/2014/main" id="{E53CAFE7-10F1-4E63-B613-C33ABB664E78}"/>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3" name="Freeform 1757">
                            <a:extLst>
                              <a:ext uri="{FF2B5EF4-FFF2-40B4-BE49-F238E27FC236}">
                                <a16:creationId xmlns:a16="http://schemas.microsoft.com/office/drawing/2014/main" id="{AD5074DC-6F0C-4B6F-BB1A-51C7BD1C5652}"/>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24" name="Freeform 1758">
                            <a:extLst>
                              <a:ext uri="{FF2B5EF4-FFF2-40B4-BE49-F238E27FC236}">
                                <a16:creationId xmlns:a16="http://schemas.microsoft.com/office/drawing/2014/main" id="{18B663CB-B41F-4E7C-8176-7375F0B25B14}"/>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19" name="TextBox 2818">
                          <a:extLst>
                            <a:ext uri="{FF2B5EF4-FFF2-40B4-BE49-F238E27FC236}">
                              <a16:creationId xmlns:a16="http://schemas.microsoft.com/office/drawing/2014/main" id="{D8E75A9D-28C1-4973-8E18-E5E890C26965}"/>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17" name="TextBox 2816">
                        <a:extLst>
                          <a:ext uri="{FF2B5EF4-FFF2-40B4-BE49-F238E27FC236}">
                            <a16:creationId xmlns:a16="http://schemas.microsoft.com/office/drawing/2014/main" id="{853CDE77-7803-4C51-A3D4-145B5B1F464C}"/>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01" name="Group 2800">
                    <a:extLst>
                      <a:ext uri="{FF2B5EF4-FFF2-40B4-BE49-F238E27FC236}">
                        <a16:creationId xmlns:a16="http://schemas.microsoft.com/office/drawing/2014/main" id="{11E23F22-1711-4BFA-BEE6-5A6CA4B0CE68}"/>
                      </a:ext>
                    </a:extLst>
                  </p:cNvPr>
                  <p:cNvGrpSpPr/>
                  <p:nvPr/>
                </p:nvGrpSpPr>
                <p:grpSpPr>
                  <a:xfrm>
                    <a:off x="9538998" y="605299"/>
                    <a:ext cx="944881" cy="858986"/>
                    <a:chOff x="3369813" y="4950013"/>
                    <a:chExt cx="440826" cy="400751"/>
                  </a:xfrm>
                </p:grpSpPr>
                <p:sp>
                  <p:nvSpPr>
                    <p:cNvPr id="2810" name="Oval 2809">
                      <a:extLst>
                        <a:ext uri="{FF2B5EF4-FFF2-40B4-BE49-F238E27FC236}">
                          <a16:creationId xmlns:a16="http://schemas.microsoft.com/office/drawing/2014/main" id="{BF0157EA-688E-4939-B9F1-868555B7187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11" name="Group 226">
                      <a:extLst>
                        <a:ext uri="{FF2B5EF4-FFF2-40B4-BE49-F238E27FC236}">
                          <a16:creationId xmlns:a16="http://schemas.microsoft.com/office/drawing/2014/main" id="{71D96959-B519-469F-AA76-FF0FE732BE12}"/>
                        </a:ext>
                      </a:extLst>
                    </p:cNvPr>
                    <p:cNvGrpSpPr>
                      <a:grpSpLocks noChangeAspect="1"/>
                    </p:cNvGrpSpPr>
                    <p:nvPr/>
                  </p:nvGrpSpPr>
                  <p:grpSpPr bwMode="auto">
                    <a:xfrm>
                      <a:off x="3437467" y="4997630"/>
                      <a:ext cx="305517" cy="305517"/>
                      <a:chOff x="5048" y="783"/>
                      <a:chExt cx="340" cy="340"/>
                    </a:xfrm>
                    <a:solidFill>
                      <a:schemeClr val="bg1"/>
                    </a:solidFill>
                  </p:grpSpPr>
                  <p:sp>
                    <p:nvSpPr>
                      <p:cNvPr id="2812" name="Freeform 227">
                        <a:extLst>
                          <a:ext uri="{FF2B5EF4-FFF2-40B4-BE49-F238E27FC236}">
                            <a16:creationId xmlns:a16="http://schemas.microsoft.com/office/drawing/2014/main" id="{B207C4B4-1621-4B73-A71C-00BD29C4E45E}"/>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13" name="Freeform 228">
                        <a:extLst>
                          <a:ext uri="{FF2B5EF4-FFF2-40B4-BE49-F238E27FC236}">
                            <a16:creationId xmlns:a16="http://schemas.microsoft.com/office/drawing/2014/main" id="{5BDE4F2D-73C9-43C8-801D-3450C262B166}"/>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02" name="Straight Connector 2801">
                    <a:extLst>
                      <a:ext uri="{FF2B5EF4-FFF2-40B4-BE49-F238E27FC236}">
                        <a16:creationId xmlns:a16="http://schemas.microsoft.com/office/drawing/2014/main" id="{AD571AF0-1EAB-4A78-B5B4-212370F55BC6}"/>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3" name="Straight Connector 2802">
                    <a:extLst>
                      <a:ext uri="{FF2B5EF4-FFF2-40B4-BE49-F238E27FC236}">
                        <a16:creationId xmlns:a16="http://schemas.microsoft.com/office/drawing/2014/main" id="{60F301C5-6142-400D-9BD8-5DF731614AE6}"/>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4" name="Straight Connector 2803">
                    <a:extLst>
                      <a:ext uri="{FF2B5EF4-FFF2-40B4-BE49-F238E27FC236}">
                        <a16:creationId xmlns:a16="http://schemas.microsoft.com/office/drawing/2014/main" id="{7DF853C1-A4C9-48AE-8F20-C00D3BF008DB}"/>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5" name="Straight Connector 2804">
                    <a:extLst>
                      <a:ext uri="{FF2B5EF4-FFF2-40B4-BE49-F238E27FC236}">
                        <a16:creationId xmlns:a16="http://schemas.microsoft.com/office/drawing/2014/main" id="{97C7D714-8264-4AAE-9157-A346586CF590}"/>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06" name="Straight Connector 2805">
                    <a:extLst>
                      <a:ext uri="{FF2B5EF4-FFF2-40B4-BE49-F238E27FC236}">
                        <a16:creationId xmlns:a16="http://schemas.microsoft.com/office/drawing/2014/main" id="{470586D9-B704-4186-878A-287485B89909}"/>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7" name="Straight Connector 2806">
                    <a:extLst>
                      <a:ext uri="{FF2B5EF4-FFF2-40B4-BE49-F238E27FC236}">
                        <a16:creationId xmlns:a16="http://schemas.microsoft.com/office/drawing/2014/main" id="{278CEEF0-E2F7-46A6-9CE0-3D56FCDDBD26}"/>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8" name="Straight Connector 2807">
                    <a:extLst>
                      <a:ext uri="{FF2B5EF4-FFF2-40B4-BE49-F238E27FC236}">
                        <a16:creationId xmlns:a16="http://schemas.microsoft.com/office/drawing/2014/main" id="{53F27D4B-A913-40CD-8C2C-5F8A38843994}"/>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9" name="Straight Connector 2808">
                    <a:extLst>
                      <a:ext uri="{FF2B5EF4-FFF2-40B4-BE49-F238E27FC236}">
                        <a16:creationId xmlns:a16="http://schemas.microsoft.com/office/drawing/2014/main" id="{22B5377F-1190-47D2-805A-89FCADB34C70}"/>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97" name="Rectangle 2796">
                  <a:extLst>
                    <a:ext uri="{FF2B5EF4-FFF2-40B4-BE49-F238E27FC236}">
                      <a16:creationId xmlns:a16="http://schemas.microsoft.com/office/drawing/2014/main" id="{C1D6A21D-CB89-4ABE-9507-B2CE584DA4FB}"/>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793" name="Group 2792">
                <a:extLst>
                  <a:ext uri="{FF2B5EF4-FFF2-40B4-BE49-F238E27FC236}">
                    <a16:creationId xmlns:a16="http://schemas.microsoft.com/office/drawing/2014/main" id="{6CC34D40-BE95-4D15-AB7A-B17A019C47AB}"/>
                  </a:ext>
                </a:extLst>
              </p:cNvPr>
              <p:cNvGrpSpPr/>
              <p:nvPr/>
            </p:nvGrpSpPr>
            <p:grpSpPr>
              <a:xfrm>
                <a:off x="6189282" y="2207036"/>
                <a:ext cx="309777" cy="570271"/>
                <a:chOff x="6298183" y="258138"/>
                <a:chExt cx="309777" cy="570271"/>
              </a:xfrm>
            </p:grpSpPr>
            <p:pic>
              <p:nvPicPr>
                <p:cNvPr id="2794" name="Picture 2793">
                  <a:extLst>
                    <a:ext uri="{FF2B5EF4-FFF2-40B4-BE49-F238E27FC236}">
                      <a16:creationId xmlns:a16="http://schemas.microsoft.com/office/drawing/2014/main" id="{0E7A6E2B-4605-4DA6-AE02-CB8D45B49117}"/>
                    </a:ext>
                  </a:extLst>
                </p:cNvPr>
                <p:cNvPicPr>
                  <a:picLocks noChangeAspect="1"/>
                </p:cNvPicPr>
                <p:nvPr/>
              </p:nvPicPr>
              <p:blipFill>
                <a:blip r:embed="rId6"/>
                <a:stretch>
                  <a:fillRect/>
                </a:stretch>
              </p:blipFill>
              <p:spPr>
                <a:xfrm>
                  <a:off x="6298183" y="258138"/>
                  <a:ext cx="309777" cy="570271"/>
                </a:xfrm>
                <a:prstGeom prst="rect">
                  <a:avLst/>
                </a:prstGeom>
              </p:spPr>
            </p:pic>
            <p:sp>
              <p:nvSpPr>
                <p:cNvPr id="2795" name="Freeform 152">
                  <a:extLst>
                    <a:ext uri="{FF2B5EF4-FFF2-40B4-BE49-F238E27FC236}">
                      <a16:creationId xmlns:a16="http://schemas.microsoft.com/office/drawing/2014/main" id="{11143CDA-A172-4D6A-AC5A-B3D89FA26C6E}"/>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907" name="Rectangle 2906">
            <a:extLst>
              <a:ext uri="{FF2B5EF4-FFF2-40B4-BE49-F238E27FC236}">
                <a16:creationId xmlns:a16="http://schemas.microsoft.com/office/drawing/2014/main" id="{F5435F74-2F30-4298-A9F7-EFE16CA2F23A}"/>
              </a:ext>
            </a:extLst>
          </p:cNvPr>
          <p:cNvSpPr>
            <a:spLocks/>
          </p:cNvSpPr>
          <p:nvPr/>
        </p:nvSpPr>
        <p:spPr bwMode="gray">
          <a:xfrm>
            <a:off x="3376490" y="1551301"/>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908" name="Group 2907">
            <a:extLst>
              <a:ext uri="{FF2B5EF4-FFF2-40B4-BE49-F238E27FC236}">
                <a16:creationId xmlns:a16="http://schemas.microsoft.com/office/drawing/2014/main" id="{A381721A-89DD-4A37-B6EC-BB2ABBD5DCAE}"/>
              </a:ext>
            </a:extLst>
          </p:cNvPr>
          <p:cNvGrpSpPr/>
          <p:nvPr/>
        </p:nvGrpSpPr>
        <p:grpSpPr>
          <a:xfrm>
            <a:off x="411159" y="1081204"/>
            <a:ext cx="11430427" cy="561479"/>
            <a:chOff x="347472" y="1051180"/>
            <a:chExt cx="11667743" cy="561625"/>
          </a:xfrm>
        </p:grpSpPr>
        <p:grpSp>
          <p:nvGrpSpPr>
            <p:cNvPr id="2909" name="Group 2908">
              <a:extLst>
                <a:ext uri="{FF2B5EF4-FFF2-40B4-BE49-F238E27FC236}">
                  <a16:creationId xmlns:a16="http://schemas.microsoft.com/office/drawing/2014/main" id="{F9E1C4B6-7EEF-4FFD-8D22-69CF6A19DAC8}"/>
                </a:ext>
              </a:extLst>
            </p:cNvPr>
            <p:cNvGrpSpPr/>
            <p:nvPr/>
          </p:nvGrpSpPr>
          <p:grpSpPr>
            <a:xfrm>
              <a:off x="347472" y="1051180"/>
              <a:ext cx="11667743" cy="561625"/>
              <a:chOff x="347472" y="1051180"/>
              <a:chExt cx="11667743" cy="561625"/>
            </a:xfrm>
          </p:grpSpPr>
          <p:grpSp>
            <p:nvGrpSpPr>
              <p:cNvPr id="2911" name="Group 2910">
                <a:extLst>
                  <a:ext uri="{FF2B5EF4-FFF2-40B4-BE49-F238E27FC236}">
                    <a16:creationId xmlns:a16="http://schemas.microsoft.com/office/drawing/2014/main" id="{1A506020-E823-42A8-AB9E-2D77FAD65373}"/>
                  </a:ext>
                </a:extLst>
              </p:cNvPr>
              <p:cNvGrpSpPr/>
              <p:nvPr/>
            </p:nvGrpSpPr>
            <p:grpSpPr>
              <a:xfrm>
                <a:off x="347472" y="1154250"/>
                <a:ext cx="11667743" cy="458555"/>
                <a:chOff x="390609" y="1132914"/>
                <a:chExt cx="11511569" cy="458555"/>
              </a:xfrm>
            </p:grpSpPr>
            <p:sp>
              <p:nvSpPr>
                <p:cNvPr id="2913" name="Rectangle: Rounded Corners 2912">
                  <a:extLst>
                    <a:ext uri="{FF2B5EF4-FFF2-40B4-BE49-F238E27FC236}">
                      <a16:creationId xmlns:a16="http://schemas.microsoft.com/office/drawing/2014/main" id="{7533A0EC-94C7-4C0A-AB7B-96557292AE0E}"/>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4" name="Rectangle 2913">
                  <a:extLst>
                    <a:ext uri="{FF2B5EF4-FFF2-40B4-BE49-F238E27FC236}">
                      <a16:creationId xmlns:a16="http://schemas.microsoft.com/office/drawing/2014/main" id="{74C3D7AA-2D5C-4CAD-BEB8-67A05CF0EF0C}"/>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915" name="Rectangle 2914">
                  <a:extLst>
                    <a:ext uri="{FF2B5EF4-FFF2-40B4-BE49-F238E27FC236}">
                      <a16:creationId xmlns:a16="http://schemas.microsoft.com/office/drawing/2014/main" id="{A65652F9-7063-42FE-8C01-DBEB6CC95DDE}"/>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916" name="Rectangle 2915">
                  <a:extLst>
                    <a:ext uri="{FF2B5EF4-FFF2-40B4-BE49-F238E27FC236}">
                      <a16:creationId xmlns:a16="http://schemas.microsoft.com/office/drawing/2014/main" id="{D7015FFC-DFE6-44BC-A034-802412C8EE25}"/>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917" name="Isosceles Triangle 2916">
                  <a:extLst>
                    <a:ext uri="{FF2B5EF4-FFF2-40B4-BE49-F238E27FC236}">
                      <a16:creationId xmlns:a16="http://schemas.microsoft.com/office/drawing/2014/main" id="{7DC5BAC1-1F0C-4FC6-BBCF-040EE39EF20C}"/>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918" name="Isosceles Triangle 2917">
                  <a:extLst>
                    <a:ext uri="{FF2B5EF4-FFF2-40B4-BE49-F238E27FC236}">
                      <a16:creationId xmlns:a16="http://schemas.microsoft.com/office/drawing/2014/main" id="{EEC60567-2B0C-49F3-80D9-993F27EDDF61}"/>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2" name="Isosceles Triangle 2911">
                <a:extLst>
                  <a:ext uri="{FF2B5EF4-FFF2-40B4-BE49-F238E27FC236}">
                    <a16:creationId xmlns:a16="http://schemas.microsoft.com/office/drawing/2014/main" id="{93D26FAC-3BB2-43AA-8D35-B49A0E7C708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0" name="Isosceles Triangle 2909">
              <a:extLst>
                <a:ext uri="{FF2B5EF4-FFF2-40B4-BE49-F238E27FC236}">
                  <a16:creationId xmlns:a16="http://schemas.microsoft.com/office/drawing/2014/main" id="{A0C9D15C-3562-4E93-B022-1364C948360C}"/>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919" name="Rectangle 2918">
            <a:extLst>
              <a:ext uri="{FF2B5EF4-FFF2-40B4-BE49-F238E27FC236}">
                <a16:creationId xmlns:a16="http://schemas.microsoft.com/office/drawing/2014/main" id="{0C92D794-A7B8-4D83-B2A0-9769CE853102}"/>
              </a:ext>
            </a:extLst>
          </p:cNvPr>
          <p:cNvSpPr>
            <a:spLocks/>
          </p:cNvSpPr>
          <p:nvPr/>
        </p:nvSpPr>
        <p:spPr bwMode="gray">
          <a:xfrm>
            <a:off x="3357900" y="1086969"/>
            <a:ext cx="8571637" cy="5349935"/>
          </a:xfrm>
          <a:prstGeom prst="rect">
            <a:avLst/>
          </a:prstGeom>
          <a:solidFill>
            <a:schemeClr val="bg1">
              <a:alpha val="89804"/>
            </a:schemeClr>
          </a:solidFill>
          <a:ln w="38100" algn="ctr">
            <a:noFill/>
            <a:miter lim="800000"/>
            <a:headEnd/>
            <a:tailEnd/>
          </a:ln>
          <a:effectLst/>
        </p:spPr>
        <p:txBody>
          <a:bodyPr wrap="square" lIns="28409" tIns="28409" rIns="28409" bIns="28409" rtlCol="0" anchor="t"/>
          <a:lstStyle/>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a:p>
            <a:pPr defTabSz="623398">
              <a:lnSpc>
                <a:spcPct val="106000"/>
              </a:lnSpc>
            </a:pPr>
            <a:endParaRPr lang="en-US" sz="511" dirty="0">
              <a:solidFill>
                <a:srgbClr val="86BC25"/>
              </a:solidFill>
              <a:latin typeface="Verdana"/>
            </a:endParaRPr>
          </a:p>
        </p:txBody>
      </p:sp>
      <p:sp>
        <p:nvSpPr>
          <p:cNvPr id="2920" name="Rectangle 2919">
            <a:extLst>
              <a:ext uri="{FF2B5EF4-FFF2-40B4-BE49-F238E27FC236}">
                <a16:creationId xmlns:a16="http://schemas.microsoft.com/office/drawing/2014/main" id="{2526F9D0-B22B-45D4-A652-60AB87C17C90}"/>
              </a:ext>
            </a:extLst>
          </p:cNvPr>
          <p:cNvSpPr/>
          <p:nvPr/>
        </p:nvSpPr>
        <p:spPr bwMode="gray">
          <a:xfrm>
            <a:off x="3487250" y="1330353"/>
            <a:ext cx="8230517" cy="4981832"/>
          </a:xfrm>
          <a:prstGeom prst="rect">
            <a:avLst/>
          </a:prstGeom>
          <a:solidFill>
            <a:srgbClr val="A0DCFF"/>
          </a:solidFill>
          <a:ln w="28575" algn="ctr">
            <a:noFill/>
            <a:prstDash val="dash"/>
            <a:miter lim="800000"/>
            <a:headEnd/>
            <a:tailEnd/>
          </a:ln>
        </p:spPr>
        <p:txBody>
          <a:bodyPr wrap="square" lIns="46872" tIns="28482" rIns="28482" bIns="28482" rtlCol="0" anchor="t"/>
          <a:lstStyle/>
          <a:p>
            <a:pPr algn="ctr" defTabSz="624960">
              <a:lnSpc>
                <a:spcPct val="106000"/>
              </a:lnSpc>
              <a:defRPr/>
            </a:pPr>
            <a:endParaRPr lang="en-US" sz="1053" b="1" dirty="0">
              <a:solidFill>
                <a:prstClr val="black"/>
              </a:solidFill>
              <a:latin typeface="Verdana"/>
            </a:endParaRPr>
          </a:p>
        </p:txBody>
      </p:sp>
      <p:cxnSp>
        <p:nvCxnSpPr>
          <p:cNvPr id="843" name="Straight Connector 198">
            <a:extLst>
              <a:ext uri="{FF2B5EF4-FFF2-40B4-BE49-F238E27FC236}">
                <a16:creationId xmlns:a16="http://schemas.microsoft.com/office/drawing/2014/main" id="{67BB0B4E-B232-4976-B614-1514232CFE20}"/>
              </a:ext>
            </a:extLst>
          </p:cNvPr>
          <p:cNvCxnSpPr>
            <a:cxnSpLocks/>
            <a:stCxn id="844" idx="1"/>
          </p:cNvCxnSpPr>
          <p:nvPr/>
        </p:nvCxnSpPr>
        <p:spPr>
          <a:xfrm rot="10800000" flipV="1">
            <a:off x="5547614" y="2678808"/>
            <a:ext cx="924910" cy="924646"/>
          </a:xfrm>
          <a:prstGeom prst="bentConnector3">
            <a:avLst>
              <a:gd name="adj1" fmla="val 50000"/>
            </a:avLst>
          </a:prstGeom>
          <a:ln w="28575">
            <a:solidFill>
              <a:srgbClr val="00ABAB"/>
            </a:solidFill>
            <a:prstDash val="dash"/>
          </a:ln>
        </p:spPr>
        <p:style>
          <a:lnRef idx="1">
            <a:schemeClr val="accent1"/>
          </a:lnRef>
          <a:fillRef idx="0">
            <a:schemeClr val="accent1"/>
          </a:fillRef>
          <a:effectRef idx="0">
            <a:schemeClr val="accent1"/>
          </a:effectRef>
          <a:fontRef idx="minor">
            <a:schemeClr val="tx1"/>
          </a:fontRef>
        </p:style>
      </p:cxnSp>
      <p:sp>
        <p:nvSpPr>
          <p:cNvPr id="844" name="Rectangle 843">
            <a:extLst>
              <a:ext uri="{FF2B5EF4-FFF2-40B4-BE49-F238E27FC236}">
                <a16:creationId xmlns:a16="http://schemas.microsoft.com/office/drawing/2014/main" id="{BF5910D7-E837-4D29-8AD9-140D98A3E886}"/>
              </a:ext>
            </a:extLst>
          </p:cNvPr>
          <p:cNvSpPr/>
          <p:nvPr/>
        </p:nvSpPr>
        <p:spPr bwMode="gray">
          <a:xfrm>
            <a:off x="6472524" y="2296179"/>
            <a:ext cx="4179297" cy="765258"/>
          </a:xfrm>
          <a:prstGeom prst="rect">
            <a:avLst/>
          </a:prstGeom>
          <a:solidFill>
            <a:schemeClr val="bg1"/>
          </a:solidFill>
          <a:ln w="28575" algn="ctr">
            <a:solidFill>
              <a:srgbClr val="00ABAB"/>
            </a:solidFill>
            <a:prstDash val="sysDash"/>
            <a:miter lim="800000"/>
            <a:headEnd/>
            <a:tailEnd/>
          </a:ln>
        </p:spPr>
        <p:txBody>
          <a:bodyPr wrap="square" lIns="68746" tIns="68746" rIns="68746" bIns="68746" rtlCol="0" anchor="ctr">
            <a:noAutofit/>
          </a:bodyPr>
          <a:lstStyle/>
          <a:p>
            <a:pPr>
              <a:lnSpc>
                <a:spcPct val="106000"/>
              </a:lnSpc>
            </a:pPr>
            <a:r>
              <a:rPr lang="en-US" sz="1400" dirty="0"/>
              <a:t>Forecasts planned releases, indicating when functionality will be available to end users</a:t>
            </a:r>
            <a:endParaRPr lang="en-US" sz="1400" b="1" dirty="0">
              <a:ea typeface="Open Sans" panose="020B0606030504020204" pitchFamily="34" charset="0"/>
              <a:cs typeface="Open Sans" panose="020B0606030504020204" pitchFamily="34" charset="0"/>
            </a:endParaRPr>
          </a:p>
        </p:txBody>
      </p:sp>
      <p:sp>
        <p:nvSpPr>
          <p:cNvPr id="845" name="Rectangle 844">
            <a:extLst>
              <a:ext uri="{FF2B5EF4-FFF2-40B4-BE49-F238E27FC236}">
                <a16:creationId xmlns:a16="http://schemas.microsoft.com/office/drawing/2014/main" id="{0CC82999-90B5-46F0-A3FC-381F98856619}"/>
              </a:ext>
            </a:extLst>
          </p:cNvPr>
          <p:cNvSpPr/>
          <p:nvPr/>
        </p:nvSpPr>
        <p:spPr bwMode="gray">
          <a:xfrm>
            <a:off x="6472524" y="3306206"/>
            <a:ext cx="4179298" cy="638389"/>
          </a:xfrm>
          <a:prstGeom prst="rect">
            <a:avLst/>
          </a:prstGeom>
          <a:solidFill>
            <a:schemeClr val="bg1"/>
          </a:solidFill>
          <a:ln w="28575" algn="ctr">
            <a:solidFill>
              <a:srgbClr val="00ABAB"/>
            </a:solidFill>
            <a:prstDash val="sysDash"/>
            <a:miter lim="800000"/>
            <a:headEnd/>
            <a:tailEnd/>
          </a:ln>
        </p:spPr>
        <p:txBody>
          <a:bodyPr wrap="square" lIns="68746" tIns="68746" rIns="68746" bIns="68746" rtlCol="0" anchor="ctr">
            <a:noAutofit/>
          </a:bodyPr>
          <a:lstStyle/>
          <a:p>
            <a:r>
              <a:rPr lang="en-US" sz="1400" dirty="0"/>
              <a:t>Medium to long-term planning </a:t>
            </a:r>
            <a:endParaRPr lang="en-US" sz="1400" dirty="0">
              <a:solidFill>
                <a:srgbClr val="000000"/>
              </a:solidFill>
              <a:ea typeface="Verdana" panose="020B0604030504040204" pitchFamily="34" charset="0"/>
              <a:cs typeface="Verdana" panose="020B0604030504040204" pitchFamily="34" charset="0"/>
            </a:endParaRPr>
          </a:p>
        </p:txBody>
      </p:sp>
      <p:sp>
        <p:nvSpPr>
          <p:cNvPr id="846" name="Rectangle 845">
            <a:extLst>
              <a:ext uri="{FF2B5EF4-FFF2-40B4-BE49-F238E27FC236}">
                <a16:creationId xmlns:a16="http://schemas.microsoft.com/office/drawing/2014/main" id="{D208CDE0-5905-451C-8F3C-0D2E666C6F9E}"/>
              </a:ext>
            </a:extLst>
          </p:cNvPr>
          <p:cNvSpPr/>
          <p:nvPr/>
        </p:nvSpPr>
        <p:spPr bwMode="gray">
          <a:xfrm>
            <a:off x="6472524" y="4345614"/>
            <a:ext cx="4179298" cy="638389"/>
          </a:xfrm>
          <a:prstGeom prst="rect">
            <a:avLst/>
          </a:prstGeom>
          <a:solidFill>
            <a:schemeClr val="bg1"/>
          </a:solidFill>
          <a:ln w="28575" algn="ctr">
            <a:solidFill>
              <a:srgbClr val="00ABAB"/>
            </a:solidFill>
            <a:prstDash val="sysDash"/>
            <a:miter lim="800000"/>
            <a:headEnd/>
            <a:tailEnd/>
          </a:ln>
        </p:spPr>
        <p:txBody>
          <a:bodyPr wrap="square" lIns="68746" tIns="68746" rIns="68746" bIns="68746" rtlCol="0" anchor="ctr">
            <a:noAutofit/>
          </a:bodyPr>
          <a:lstStyle/>
          <a:p>
            <a:r>
              <a:rPr lang="en-US" sz="1400" dirty="0">
                <a:ea typeface="Verdana" panose="020B0604030504040204" pitchFamily="34" charset="0"/>
                <a:cs typeface="Verdana" panose="020B0604030504040204" pitchFamily="34" charset="0"/>
              </a:rPr>
              <a:t>Adjusted as priorities change</a:t>
            </a:r>
            <a:endParaRPr lang="en-US" sz="1400" dirty="0">
              <a:solidFill>
                <a:srgbClr val="000000"/>
              </a:solidFill>
              <a:ea typeface="Verdana" panose="020B0604030504040204" pitchFamily="34" charset="0"/>
              <a:cs typeface="Verdana" panose="020B0604030504040204" pitchFamily="34" charset="0"/>
            </a:endParaRPr>
          </a:p>
        </p:txBody>
      </p:sp>
      <p:cxnSp>
        <p:nvCxnSpPr>
          <p:cNvPr id="847" name="Connector: Elbow 1206">
            <a:extLst>
              <a:ext uri="{FF2B5EF4-FFF2-40B4-BE49-F238E27FC236}">
                <a16:creationId xmlns:a16="http://schemas.microsoft.com/office/drawing/2014/main" id="{D8F9D833-80FB-45A2-95F7-1694E6297D5A}"/>
              </a:ext>
            </a:extLst>
          </p:cNvPr>
          <p:cNvCxnSpPr>
            <a:cxnSpLocks/>
            <a:stCxn id="841" idx="3"/>
            <a:endCxn id="845" idx="1"/>
          </p:cNvCxnSpPr>
          <p:nvPr/>
        </p:nvCxnSpPr>
        <p:spPr>
          <a:xfrm>
            <a:off x="5603503" y="3600868"/>
            <a:ext cx="869021" cy="24533"/>
          </a:xfrm>
          <a:prstGeom prst="straightConnector1">
            <a:avLst/>
          </a:prstGeom>
          <a:ln w="28575">
            <a:solidFill>
              <a:srgbClr val="00ABAB"/>
            </a:solidFill>
            <a:prstDash val="dash"/>
          </a:ln>
        </p:spPr>
        <p:style>
          <a:lnRef idx="1">
            <a:schemeClr val="accent1"/>
          </a:lnRef>
          <a:fillRef idx="0">
            <a:schemeClr val="accent1"/>
          </a:fillRef>
          <a:effectRef idx="0">
            <a:schemeClr val="accent1"/>
          </a:effectRef>
          <a:fontRef idx="minor">
            <a:schemeClr val="tx1"/>
          </a:fontRef>
        </p:style>
      </p:cxnSp>
      <p:cxnSp>
        <p:nvCxnSpPr>
          <p:cNvPr id="848" name="Straight Connector 198">
            <a:extLst>
              <a:ext uri="{FF2B5EF4-FFF2-40B4-BE49-F238E27FC236}">
                <a16:creationId xmlns:a16="http://schemas.microsoft.com/office/drawing/2014/main" id="{059A6C3B-6252-41B3-9EEE-5C690CB91CB7}"/>
              </a:ext>
            </a:extLst>
          </p:cNvPr>
          <p:cNvCxnSpPr>
            <a:cxnSpLocks/>
            <a:stCxn id="846" idx="1"/>
            <a:endCxn id="841" idx="3"/>
          </p:cNvCxnSpPr>
          <p:nvPr/>
        </p:nvCxnSpPr>
        <p:spPr>
          <a:xfrm rot="10800000">
            <a:off x="5603504" y="3600869"/>
            <a:ext cx="869021" cy="1063941"/>
          </a:xfrm>
          <a:prstGeom prst="bentConnector3">
            <a:avLst>
              <a:gd name="adj1" fmla="val 50000"/>
            </a:avLst>
          </a:prstGeom>
          <a:ln w="28575">
            <a:solidFill>
              <a:srgbClr val="00ABAB"/>
            </a:solidFill>
            <a:prstDash val="dash"/>
          </a:ln>
        </p:spPr>
        <p:style>
          <a:lnRef idx="1">
            <a:schemeClr val="accent1"/>
          </a:lnRef>
          <a:fillRef idx="0">
            <a:schemeClr val="accent1"/>
          </a:fillRef>
          <a:effectRef idx="0">
            <a:schemeClr val="accent1"/>
          </a:effectRef>
          <a:fontRef idx="minor">
            <a:schemeClr val="tx1"/>
          </a:fontRef>
        </p:style>
      </p:cxnSp>
      <p:grpSp>
        <p:nvGrpSpPr>
          <p:cNvPr id="840" name="Group 839">
            <a:extLst>
              <a:ext uri="{FF2B5EF4-FFF2-40B4-BE49-F238E27FC236}">
                <a16:creationId xmlns:a16="http://schemas.microsoft.com/office/drawing/2014/main" id="{1CB05BF2-ECA9-42B5-A500-561E85EFC401}"/>
              </a:ext>
            </a:extLst>
          </p:cNvPr>
          <p:cNvGrpSpPr/>
          <p:nvPr/>
        </p:nvGrpSpPr>
        <p:grpSpPr>
          <a:xfrm>
            <a:off x="4148194" y="2907929"/>
            <a:ext cx="1523828" cy="1385877"/>
            <a:chOff x="3436764" y="2727184"/>
            <a:chExt cx="2026861" cy="1843371"/>
          </a:xfrm>
        </p:grpSpPr>
        <p:sp>
          <p:nvSpPr>
            <p:cNvPr id="841" name="Rectangle 840">
              <a:extLst>
                <a:ext uri="{FF2B5EF4-FFF2-40B4-BE49-F238E27FC236}">
                  <a16:creationId xmlns:a16="http://schemas.microsoft.com/office/drawing/2014/main" id="{D0D362EC-1145-441F-BBC4-7359DB733A6D}"/>
                </a:ext>
              </a:extLst>
            </p:cNvPr>
            <p:cNvSpPr/>
            <p:nvPr/>
          </p:nvSpPr>
          <p:spPr bwMode="gray">
            <a:xfrm>
              <a:off x="3490119" y="2727184"/>
              <a:ext cx="1882368" cy="1843371"/>
            </a:xfrm>
            <a:prstGeom prst="rect">
              <a:avLst/>
            </a:prstGeom>
            <a:solidFill>
              <a:schemeClr val="bg1"/>
            </a:solidFill>
            <a:ln w="28575" algn="ctr">
              <a:solidFill>
                <a:srgbClr val="00ABAB"/>
              </a:solidFill>
              <a:prstDash val="sysDash"/>
              <a:miter lim="800000"/>
              <a:headEnd/>
              <a:tailEnd/>
            </a:ln>
          </p:spPr>
          <p:txBody>
            <a:bodyPr wrap="square" lIns="68746" tIns="68746" rIns="68746" bIns="68746" rtlCol="0" anchor="t">
              <a:noAutofit/>
            </a:bodyPr>
            <a:lstStyle/>
            <a:p>
              <a:pPr algn="ctr">
                <a:lnSpc>
                  <a:spcPct val="106000"/>
                </a:lnSpc>
                <a:buFont typeface="Wingdings 2" pitchFamily="18" charset="2"/>
                <a:buNone/>
              </a:pPr>
              <a:r>
                <a:rPr lang="en-US" sz="1354" b="1" dirty="0">
                  <a:latin typeface="Open Sans" panose="020B0606030504020204" pitchFamily="34" charset="0"/>
                  <a:ea typeface="Open Sans" panose="020B0606030504020204" pitchFamily="34" charset="0"/>
                  <a:cs typeface="Open Sans" panose="020B0606030504020204" pitchFamily="34" charset="0"/>
                </a:rPr>
                <a:t>Roadmap</a:t>
              </a:r>
            </a:p>
          </p:txBody>
        </p:sp>
        <p:pic>
          <p:nvPicPr>
            <p:cNvPr id="842" name="Picture 841">
              <a:extLst>
                <a:ext uri="{FF2B5EF4-FFF2-40B4-BE49-F238E27FC236}">
                  <a16:creationId xmlns:a16="http://schemas.microsoft.com/office/drawing/2014/main" id="{B901A11B-1F3C-4E8C-9DB8-5B2249A01198}"/>
                </a:ext>
              </a:extLst>
            </p:cNvPr>
            <p:cNvPicPr>
              <a:picLocks noChangeAspect="1"/>
            </p:cNvPicPr>
            <p:nvPr/>
          </p:nvPicPr>
          <p:blipFill rotWithShape="1">
            <a:blip r:embed="rId10"/>
            <a:srcRect b="35370"/>
            <a:stretch/>
          </p:blipFill>
          <p:spPr>
            <a:xfrm>
              <a:off x="3436764" y="3170968"/>
              <a:ext cx="2026861" cy="1315208"/>
            </a:xfrm>
            <a:prstGeom prst="rect">
              <a:avLst/>
            </a:prstGeom>
          </p:spPr>
        </p:pic>
      </p:grpSp>
    </p:spTree>
    <p:custDataLst>
      <p:tags r:id="rId1"/>
    </p:custDataLst>
    <p:extLst>
      <p:ext uri="{BB962C8B-B14F-4D97-AF65-F5344CB8AC3E}">
        <p14:creationId xmlns:p14="http://schemas.microsoft.com/office/powerpoint/2010/main" val="251799097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6" name="Group 505">
            <a:extLst>
              <a:ext uri="{FF2B5EF4-FFF2-40B4-BE49-F238E27FC236}">
                <a16:creationId xmlns:a16="http://schemas.microsoft.com/office/drawing/2014/main" id="{A05680F3-0A90-483F-B6C3-D1D63444AA8D}"/>
              </a:ext>
            </a:extLst>
          </p:cNvPr>
          <p:cNvGrpSpPr/>
          <p:nvPr/>
        </p:nvGrpSpPr>
        <p:grpSpPr>
          <a:xfrm>
            <a:off x="9095365" y="4392049"/>
            <a:ext cx="838958" cy="902003"/>
            <a:chOff x="9108098" y="2636382"/>
            <a:chExt cx="1115908" cy="1199765"/>
          </a:xfrm>
        </p:grpSpPr>
        <p:grpSp>
          <p:nvGrpSpPr>
            <p:cNvPr id="507" name="Group 506">
              <a:extLst>
                <a:ext uri="{FF2B5EF4-FFF2-40B4-BE49-F238E27FC236}">
                  <a16:creationId xmlns:a16="http://schemas.microsoft.com/office/drawing/2014/main" id="{E1ACF0A1-8180-44F5-B49F-22B0D68A1E67}"/>
                </a:ext>
              </a:extLst>
            </p:cNvPr>
            <p:cNvGrpSpPr/>
            <p:nvPr/>
          </p:nvGrpSpPr>
          <p:grpSpPr>
            <a:xfrm>
              <a:off x="9206157" y="2636382"/>
              <a:ext cx="789526" cy="732810"/>
              <a:chOff x="4946745" y="2220309"/>
              <a:chExt cx="1627798" cy="1510866"/>
            </a:xfrm>
          </p:grpSpPr>
          <p:grpSp>
            <p:nvGrpSpPr>
              <p:cNvPr id="509" name="Group 508">
                <a:extLst>
                  <a:ext uri="{FF2B5EF4-FFF2-40B4-BE49-F238E27FC236}">
                    <a16:creationId xmlns:a16="http://schemas.microsoft.com/office/drawing/2014/main" id="{391F86CE-2F19-4EAA-81D5-31E19083C048}"/>
                  </a:ext>
                </a:extLst>
              </p:cNvPr>
              <p:cNvGrpSpPr/>
              <p:nvPr/>
            </p:nvGrpSpPr>
            <p:grpSpPr>
              <a:xfrm>
                <a:off x="4946745" y="2220309"/>
                <a:ext cx="1221490" cy="1047560"/>
                <a:chOff x="5252501" y="2482528"/>
                <a:chExt cx="609978" cy="523122"/>
              </a:xfrm>
            </p:grpSpPr>
            <p:sp>
              <p:nvSpPr>
                <p:cNvPr id="562" name="Line 66">
                  <a:extLst>
                    <a:ext uri="{FF2B5EF4-FFF2-40B4-BE49-F238E27FC236}">
                      <a16:creationId xmlns:a16="http://schemas.microsoft.com/office/drawing/2014/main" id="{7D487945-23DF-4C37-9789-98865BECAD21}"/>
                    </a:ext>
                  </a:extLst>
                </p:cNvPr>
                <p:cNvSpPr>
                  <a:spLocks noChangeShapeType="1"/>
                </p:cNvSpPr>
                <p:nvPr/>
              </p:nvSpPr>
              <p:spPr bwMode="auto">
                <a:xfrm rot="8100000">
                  <a:off x="5559844" y="248252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63" name="Line 67">
                  <a:extLst>
                    <a:ext uri="{FF2B5EF4-FFF2-40B4-BE49-F238E27FC236}">
                      <a16:creationId xmlns:a16="http://schemas.microsoft.com/office/drawing/2014/main" id="{8C9B22DE-0AE1-4136-ADDF-56716DA1B2C9}"/>
                    </a:ext>
                  </a:extLst>
                </p:cNvPr>
                <p:cNvSpPr>
                  <a:spLocks noChangeShapeType="1"/>
                </p:cNvSpPr>
                <p:nvPr/>
              </p:nvSpPr>
              <p:spPr bwMode="auto">
                <a:xfrm rot="8100000">
                  <a:off x="5269164" y="2793573"/>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64" name="Line 74">
                  <a:extLst>
                    <a:ext uri="{FF2B5EF4-FFF2-40B4-BE49-F238E27FC236}">
                      <a16:creationId xmlns:a16="http://schemas.microsoft.com/office/drawing/2014/main" id="{9CD1B009-1E97-4451-B02F-0360CD8EB24D}"/>
                    </a:ext>
                  </a:extLst>
                </p:cNvPr>
                <p:cNvSpPr>
                  <a:spLocks noChangeShapeType="1"/>
                </p:cNvSpPr>
                <p:nvPr/>
              </p:nvSpPr>
              <p:spPr bwMode="auto">
                <a:xfrm rot="8100000">
                  <a:off x="5252501" y="281023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65" name="Freeform 1575">
                  <a:extLst>
                    <a:ext uri="{FF2B5EF4-FFF2-40B4-BE49-F238E27FC236}">
                      <a16:creationId xmlns:a16="http://schemas.microsoft.com/office/drawing/2014/main" id="{C5585A4C-C236-4570-81FE-BA105B4FF5AB}"/>
                    </a:ext>
                  </a:extLst>
                </p:cNvPr>
                <p:cNvSpPr>
                  <a:spLocks/>
                </p:cNvSpPr>
                <p:nvPr/>
              </p:nvSpPr>
              <p:spPr bwMode="auto">
                <a:xfrm>
                  <a:off x="5387554" y="2869396"/>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66" name="Freeform 1576">
                  <a:extLst>
                    <a:ext uri="{FF2B5EF4-FFF2-40B4-BE49-F238E27FC236}">
                      <a16:creationId xmlns:a16="http://schemas.microsoft.com/office/drawing/2014/main" id="{74B4FFA0-A5C8-4E70-BA91-8518ED7AAEB7}"/>
                    </a:ext>
                  </a:extLst>
                </p:cNvPr>
                <p:cNvSpPr>
                  <a:spLocks/>
                </p:cNvSpPr>
                <p:nvPr/>
              </p:nvSpPr>
              <p:spPr bwMode="auto">
                <a:xfrm>
                  <a:off x="5387554" y="2722777"/>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67" name="Freeform 1577">
                  <a:extLst>
                    <a:ext uri="{FF2B5EF4-FFF2-40B4-BE49-F238E27FC236}">
                      <a16:creationId xmlns:a16="http://schemas.microsoft.com/office/drawing/2014/main" id="{D612D714-B841-4929-8455-9B42CECC0BBE}"/>
                    </a:ext>
                  </a:extLst>
                </p:cNvPr>
                <p:cNvSpPr>
                  <a:spLocks/>
                </p:cNvSpPr>
                <p:nvPr/>
              </p:nvSpPr>
              <p:spPr bwMode="auto">
                <a:xfrm>
                  <a:off x="5589515" y="2722777"/>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68" name="Freeform 1578">
                  <a:extLst>
                    <a:ext uri="{FF2B5EF4-FFF2-40B4-BE49-F238E27FC236}">
                      <a16:creationId xmlns:a16="http://schemas.microsoft.com/office/drawing/2014/main" id="{0954FEA5-BB14-429F-9B80-6190E964FFCD}"/>
                    </a:ext>
                  </a:extLst>
                </p:cNvPr>
                <p:cNvSpPr>
                  <a:spLocks noEditPoints="1"/>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69" name="Freeform 1579">
                  <a:extLst>
                    <a:ext uri="{FF2B5EF4-FFF2-40B4-BE49-F238E27FC236}">
                      <a16:creationId xmlns:a16="http://schemas.microsoft.com/office/drawing/2014/main" id="{BFE7E43D-8A36-4079-A1FC-FD2AE1162BB8}"/>
                    </a:ext>
                  </a:extLst>
                </p:cNvPr>
                <p:cNvSpPr>
                  <a:spLocks/>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70" name="Freeform 1580">
                  <a:extLst>
                    <a:ext uri="{FF2B5EF4-FFF2-40B4-BE49-F238E27FC236}">
                      <a16:creationId xmlns:a16="http://schemas.microsoft.com/office/drawing/2014/main" id="{0E4C441D-BB5A-420A-954A-EEE793F7241C}"/>
                    </a:ext>
                  </a:extLst>
                </p:cNvPr>
                <p:cNvSpPr>
                  <a:spLocks/>
                </p:cNvSpPr>
                <p:nvPr/>
              </p:nvSpPr>
              <p:spPr bwMode="auto">
                <a:xfrm>
                  <a:off x="5595826" y="2728701"/>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71" name="Freeform 1581">
                  <a:extLst>
                    <a:ext uri="{FF2B5EF4-FFF2-40B4-BE49-F238E27FC236}">
                      <a16:creationId xmlns:a16="http://schemas.microsoft.com/office/drawing/2014/main" id="{518687D0-5187-485C-B655-85CA4B04D2D6}"/>
                    </a:ext>
                  </a:extLst>
                </p:cNvPr>
                <p:cNvSpPr>
                  <a:spLocks noEditPoints="1"/>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72" name="Freeform 1582">
                  <a:extLst>
                    <a:ext uri="{FF2B5EF4-FFF2-40B4-BE49-F238E27FC236}">
                      <a16:creationId xmlns:a16="http://schemas.microsoft.com/office/drawing/2014/main" id="{E710F1C5-4DCA-4FEE-9AD4-D8D28BAD295D}"/>
                    </a:ext>
                  </a:extLst>
                </p:cNvPr>
                <p:cNvSpPr>
                  <a:spLocks/>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73" name="Freeform 1583">
                  <a:extLst>
                    <a:ext uri="{FF2B5EF4-FFF2-40B4-BE49-F238E27FC236}">
                      <a16:creationId xmlns:a16="http://schemas.microsoft.com/office/drawing/2014/main" id="{3944950D-E810-4156-93C0-5480690F69CB}"/>
                    </a:ext>
                  </a:extLst>
                </p:cNvPr>
                <p:cNvSpPr>
                  <a:spLocks/>
                </p:cNvSpPr>
                <p:nvPr/>
              </p:nvSpPr>
              <p:spPr bwMode="auto">
                <a:xfrm>
                  <a:off x="5330752" y="2728701"/>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74" name="Freeform 1584">
                  <a:extLst>
                    <a:ext uri="{FF2B5EF4-FFF2-40B4-BE49-F238E27FC236}">
                      <a16:creationId xmlns:a16="http://schemas.microsoft.com/office/drawing/2014/main" id="{5E0C36FB-681B-408D-A4A9-C955F8DD6BA4}"/>
                    </a:ext>
                  </a:extLst>
                </p:cNvPr>
                <p:cNvSpPr>
                  <a:spLocks/>
                </p:cNvSpPr>
                <p:nvPr/>
              </p:nvSpPr>
              <p:spPr bwMode="auto">
                <a:xfrm>
                  <a:off x="5589515" y="260577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75" name="Freeform 1585">
                  <a:extLst>
                    <a:ext uri="{FF2B5EF4-FFF2-40B4-BE49-F238E27FC236}">
                      <a16:creationId xmlns:a16="http://schemas.microsoft.com/office/drawing/2014/main" id="{0181D8A9-757B-4664-B364-F7A73AB0A526}"/>
                    </a:ext>
                  </a:extLst>
                </p:cNvPr>
                <p:cNvSpPr>
                  <a:spLocks/>
                </p:cNvSpPr>
                <p:nvPr/>
              </p:nvSpPr>
              <p:spPr bwMode="auto">
                <a:xfrm>
                  <a:off x="5340219" y="2605776"/>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76" name="Freeform 1586">
                  <a:extLst>
                    <a:ext uri="{FF2B5EF4-FFF2-40B4-BE49-F238E27FC236}">
                      <a16:creationId xmlns:a16="http://schemas.microsoft.com/office/drawing/2014/main" id="{0B9CA221-EECD-4216-9550-D464F65C3195}"/>
                    </a:ext>
                  </a:extLst>
                </p:cNvPr>
                <p:cNvSpPr>
                  <a:spLocks/>
                </p:cNvSpPr>
                <p:nvPr/>
              </p:nvSpPr>
              <p:spPr bwMode="auto">
                <a:xfrm>
                  <a:off x="5580048" y="2602814"/>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77" name="Freeform 1587">
                  <a:extLst>
                    <a:ext uri="{FF2B5EF4-FFF2-40B4-BE49-F238E27FC236}">
                      <a16:creationId xmlns:a16="http://schemas.microsoft.com/office/drawing/2014/main" id="{6069F0FC-7E35-4478-8A8B-9BB18B838B05}"/>
                    </a:ext>
                  </a:extLst>
                </p:cNvPr>
                <p:cNvSpPr>
                  <a:spLocks/>
                </p:cNvSpPr>
                <p:nvPr/>
              </p:nvSpPr>
              <p:spPr bwMode="auto">
                <a:xfrm>
                  <a:off x="5338642" y="2602814"/>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78" name="Freeform 1588">
                  <a:extLst>
                    <a:ext uri="{FF2B5EF4-FFF2-40B4-BE49-F238E27FC236}">
                      <a16:creationId xmlns:a16="http://schemas.microsoft.com/office/drawing/2014/main" id="{FD462B7D-72D5-40CD-A59C-DF9B026CE530}"/>
                    </a:ext>
                  </a:extLst>
                </p:cNvPr>
                <p:cNvSpPr>
                  <a:spLocks/>
                </p:cNvSpPr>
                <p:nvPr/>
              </p:nvSpPr>
              <p:spPr bwMode="auto">
                <a:xfrm>
                  <a:off x="5381243" y="2722777"/>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79" name="Rectangle 1589">
                  <a:extLst>
                    <a:ext uri="{FF2B5EF4-FFF2-40B4-BE49-F238E27FC236}">
                      <a16:creationId xmlns:a16="http://schemas.microsoft.com/office/drawing/2014/main" id="{D31CBEA4-7945-4922-AF03-D038789750CE}"/>
                    </a:ext>
                  </a:extLst>
                </p:cNvPr>
                <p:cNvSpPr>
                  <a:spLocks noChangeArrowheads="1"/>
                </p:cNvSpPr>
                <p:nvPr/>
              </p:nvSpPr>
              <p:spPr bwMode="auto">
                <a:xfrm>
                  <a:off x="5583204" y="2789422"/>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0" name="Rectangle 1590">
                  <a:extLst>
                    <a:ext uri="{FF2B5EF4-FFF2-40B4-BE49-F238E27FC236}">
                      <a16:creationId xmlns:a16="http://schemas.microsoft.com/office/drawing/2014/main" id="{7690088B-B6A2-4DE6-B09D-D4AC05BB3A30}"/>
                    </a:ext>
                  </a:extLst>
                </p:cNvPr>
                <p:cNvSpPr>
                  <a:spLocks noChangeArrowheads="1"/>
                </p:cNvSpPr>
                <p:nvPr/>
              </p:nvSpPr>
              <p:spPr bwMode="auto">
                <a:xfrm>
                  <a:off x="5583204" y="2656131"/>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1" name="Freeform 1591">
                  <a:extLst>
                    <a:ext uri="{FF2B5EF4-FFF2-40B4-BE49-F238E27FC236}">
                      <a16:creationId xmlns:a16="http://schemas.microsoft.com/office/drawing/2014/main" id="{4203EFE0-9DA4-4E5C-AE87-E143E5F4C416}"/>
                    </a:ext>
                  </a:extLst>
                </p:cNvPr>
                <p:cNvSpPr>
                  <a:spLocks/>
                </p:cNvSpPr>
                <p:nvPr/>
              </p:nvSpPr>
              <p:spPr bwMode="auto">
                <a:xfrm>
                  <a:off x="5611605" y="2953814"/>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2" name="Freeform 1592">
                  <a:extLst>
                    <a:ext uri="{FF2B5EF4-FFF2-40B4-BE49-F238E27FC236}">
                      <a16:creationId xmlns:a16="http://schemas.microsoft.com/office/drawing/2014/main" id="{D19C59AF-09D2-4059-9F35-955936B973C6}"/>
                    </a:ext>
                  </a:extLst>
                </p:cNvPr>
                <p:cNvSpPr>
                  <a:spLocks/>
                </p:cNvSpPr>
                <p:nvPr/>
              </p:nvSpPr>
              <p:spPr bwMode="auto">
                <a:xfrm>
                  <a:off x="5611605" y="2946409"/>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3" name="Freeform 1593">
                  <a:extLst>
                    <a:ext uri="{FF2B5EF4-FFF2-40B4-BE49-F238E27FC236}">
                      <a16:creationId xmlns:a16="http://schemas.microsoft.com/office/drawing/2014/main" id="{4BED5F09-B7A5-418A-B23B-392579D27739}"/>
                    </a:ext>
                  </a:extLst>
                </p:cNvPr>
                <p:cNvSpPr>
                  <a:spLocks noEditPoints="1"/>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4" name="Freeform 1594">
                  <a:extLst>
                    <a:ext uri="{FF2B5EF4-FFF2-40B4-BE49-F238E27FC236}">
                      <a16:creationId xmlns:a16="http://schemas.microsoft.com/office/drawing/2014/main" id="{81FA64E1-B6E0-4869-A0B7-0D67C318D0C3}"/>
                    </a:ext>
                  </a:extLst>
                </p:cNvPr>
                <p:cNvSpPr>
                  <a:spLocks/>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5" name="Freeform 1595">
                  <a:extLst>
                    <a:ext uri="{FF2B5EF4-FFF2-40B4-BE49-F238E27FC236}">
                      <a16:creationId xmlns:a16="http://schemas.microsoft.com/office/drawing/2014/main" id="{83FCA34D-B166-4191-9B89-8D138C645484}"/>
                    </a:ext>
                  </a:extLst>
                </p:cNvPr>
                <p:cNvSpPr>
                  <a:spLocks/>
                </p:cNvSpPr>
                <p:nvPr/>
              </p:nvSpPr>
              <p:spPr bwMode="auto">
                <a:xfrm>
                  <a:off x="5414377" y="2907902"/>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6" name="Freeform 1596">
                  <a:extLst>
                    <a:ext uri="{FF2B5EF4-FFF2-40B4-BE49-F238E27FC236}">
                      <a16:creationId xmlns:a16="http://schemas.microsoft.com/office/drawing/2014/main" id="{728A96E8-CFD6-4B97-892F-3461828F0A7E}"/>
                    </a:ext>
                  </a:extLst>
                </p:cNvPr>
                <p:cNvSpPr>
                  <a:spLocks/>
                </p:cNvSpPr>
                <p:nvPr/>
              </p:nvSpPr>
              <p:spPr bwMode="auto">
                <a:xfrm>
                  <a:off x="5409643" y="2881244"/>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7" name="Freeform 1672">
                  <a:extLst>
                    <a:ext uri="{FF2B5EF4-FFF2-40B4-BE49-F238E27FC236}">
                      <a16:creationId xmlns:a16="http://schemas.microsoft.com/office/drawing/2014/main" id="{2B98A118-724D-4184-9B81-F413479E2132}"/>
                    </a:ext>
                  </a:extLst>
                </p:cNvPr>
                <p:cNvSpPr>
                  <a:spLocks/>
                </p:cNvSpPr>
                <p:nvPr/>
              </p:nvSpPr>
              <p:spPr bwMode="auto">
                <a:xfrm>
                  <a:off x="5687340" y="2614663"/>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8" name="Freeform 1673">
                  <a:extLst>
                    <a:ext uri="{FF2B5EF4-FFF2-40B4-BE49-F238E27FC236}">
                      <a16:creationId xmlns:a16="http://schemas.microsoft.com/office/drawing/2014/main" id="{64ECA61A-2DF5-4A10-A63F-FC69E4DE02D8}"/>
                    </a:ext>
                  </a:extLst>
                </p:cNvPr>
                <p:cNvSpPr>
                  <a:spLocks/>
                </p:cNvSpPr>
                <p:nvPr/>
              </p:nvSpPr>
              <p:spPr bwMode="auto">
                <a:xfrm>
                  <a:off x="5772543" y="2583562"/>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89" name="Freeform 1674">
                  <a:extLst>
                    <a:ext uri="{FF2B5EF4-FFF2-40B4-BE49-F238E27FC236}">
                      <a16:creationId xmlns:a16="http://schemas.microsoft.com/office/drawing/2014/main" id="{68E5BF03-A1CB-4C00-97A4-962DABA06EC9}"/>
                    </a:ext>
                  </a:extLst>
                </p:cNvPr>
                <p:cNvSpPr>
                  <a:spLocks/>
                </p:cNvSpPr>
                <p:nvPr/>
              </p:nvSpPr>
              <p:spPr bwMode="auto">
                <a:xfrm>
                  <a:off x="5636850" y="2682789"/>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0" name="Freeform 1675">
                  <a:extLst>
                    <a:ext uri="{FF2B5EF4-FFF2-40B4-BE49-F238E27FC236}">
                      <a16:creationId xmlns:a16="http://schemas.microsoft.com/office/drawing/2014/main" id="{C522E174-8719-4BD0-BEFD-F4C80263A0B3}"/>
                    </a:ext>
                  </a:extLst>
                </p:cNvPr>
                <p:cNvSpPr>
                  <a:spLocks/>
                </p:cNvSpPr>
                <p:nvPr/>
              </p:nvSpPr>
              <p:spPr bwMode="auto">
                <a:xfrm>
                  <a:off x="5644739" y="2666498"/>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1" name="Freeform 1676">
                  <a:extLst>
                    <a:ext uri="{FF2B5EF4-FFF2-40B4-BE49-F238E27FC236}">
                      <a16:creationId xmlns:a16="http://schemas.microsoft.com/office/drawing/2014/main" id="{AA608739-D47D-41B2-A890-77C3B3566BD6}"/>
                    </a:ext>
                  </a:extLst>
                </p:cNvPr>
                <p:cNvSpPr>
                  <a:spLocks/>
                </p:cNvSpPr>
                <p:nvPr/>
              </p:nvSpPr>
              <p:spPr bwMode="auto">
                <a:xfrm>
                  <a:off x="5632117" y="2700561"/>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2" name="Freeform 1677">
                  <a:extLst>
                    <a:ext uri="{FF2B5EF4-FFF2-40B4-BE49-F238E27FC236}">
                      <a16:creationId xmlns:a16="http://schemas.microsoft.com/office/drawing/2014/main" id="{D370111B-5166-455C-BE45-2962831302ED}"/>
                    </a:ext>
                  </a:extLst>
                </p:cNvPr>
                <p:cNvSpPr>
                  <a:spLocks/>
                </p:cNvSpPr>
                <p:nvPr/>
              </p:nvSpPr>
              <p:spPr bwMode="auto">
                <a:xfrm>
                  <a:off x="5630538" y="2716853"/>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3" name="Freeform 1678">
                  <a:extLst>
                    <a:ext uri="{FF2B5EF4-FFF2-40B4-BE49-F238E27FC236}">
                      <a16:creationId xmlns:a16="http://schemas.microsoft.com/office/drawing/2014/main" id="{F154D44B-322F-4C70-9997-D27A24A43786}"/>
                    </a:ext>
                  </a:extLst>
                </p:cNvPr>
                <p:cNvSpPr>
                  <a:spLocks/>
                </p:cNvSpPr>
                <p:nvPr/>
              </p:nvSpPr>
              <p:spPr bwMode="auto">
                <a:xfrm>
                  <a:off x="5628961" y="2734625"/>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4" name="Freeform 1679">
                  <a:extLst>
                    <a:ext uri="{FF2B5EF4-FFF2-40B4-BE49-F238E27FC236}">
                      <a16:creationId xmlns:a16="http://schemas.microsoft.com/office/drawing/2014/main" id="{0E587296-D6C1-45BD-8142-AFEF91C59448}"/>
                    </a:ext>
                  </a:extLst>
                </p:cNvPr>
                <p:cNvSpPr>
                  <a:spLocks/>
                </p:cNvSpPr>
                <p:nvPr/>
              </p:nvSpPr>
              <p:spPr bwMode="auto">
                <a:xfrm>
                  <a:off x="5701541" y="2604296"/>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5" name="Freeform 1680">
                  <a:extLst>
                    <a:ext uri="{FF2B5EF4-FFF2-40B4-BE49-F238E27FC236}">
                      <a16:creationId xmlns:a16="http://schemas.microsoft.com/office/drawing/2014/main" id="{06E2D8B5-98F9-414B-B0BC-4667B5ABB310}"/>
                    </a:ext>
                  </a:extLst>
                </p:cNvPr>
                <p:cNvSpPr>
                  <a:spLocks/>
                </p:cNvSpPr>
                <p:nvPr/>
              </p:nvSpPr>
              <p:spPr bwMode="auto">
                <a:xfrm>
                  <a:off x="5720475" y="2598372"/>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6" name="Freeform 1681">
                  <a:extLst>
                    <a:ext uri="{FF2B5EF4-FFF2-40B4-BE49-F238E27FC236}">
                      <a16:creationId xmlns:a16="http://schemas.microsoft.com/office/drawing/2014/main" id="{E03EAF2E-76CE-4D6A-B0E2-8D22B8C416A5}"/>
                    </a:ext>
                  </a:extLst>
                </p:cNvPr>
                <p:cNvSpPr>
                  <a:spLocks/>
                </p:cNvSpPr>
                <p:nvPr/>
              </p:nvSpPr>
              <p:spPr bwMode="auto">
                <a:xfrm>
                  <a:off x="5652628" y="2651688"/>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7" name="Freeform 1682">
                  <a:extLst>
                    <a:ext uri="{FF2B5EF4-FFF2-40B4-BE49-F238E27FC236}">
                      <a16:creationId xmlns:a16="http://schemas.microsoft.com/office/drawing/2014/main" id="{D14C00E5-974D-4B84-A94B-E87463C9EEC0}"/>
                    </a:ext>
                  </a:extLst>
                </p:cNvPr>
                <p:cNvSpPr>
                  <a:spLocks/>
                </p:cNvSpPr>
                <p:nvPr/>
              </p:nvSpPr>
              <p:spPr bwMode="auto">
                <a:xfrm>
                  <a:off x="5663673" y="2638359"/>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8" name="Freeform 1683">
                  <a:extLst>
                    <a:ext uri="{FF2B5EF4-FFF2-40B4-BE49-F238E27FC236}">
                      <a16:creationId xmlns:a16="http://schemas.microsoft.com/office/drawing/2014/main" id="{2390B942-A4A8-4ED7-BB55-2BAF815B7FD4}"/>
                    </a:ext>
                  </a:extLst>
                </p:cNvPr>
                <p:cNvSpPr>
                  <a:spLocks/>
                </p:cNvSpPr>
                <p:nvPr/>
              </p:nvSpPr>
              <p:spPr bwMode="auto">
                <a:xfrm>
                  <a:off x="5674717" y="2626510"/>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99" name="Freeform 1684">
                  <a:extLst>
                    <a:ext uri="{FF2B5EF4-FFF2-40B4-BE49-F238E27FC236}">
                      <a16:creationId xmlns:a16="http://schemas.microsoft.com/office/drawing/2014/main" id="{8E5C8460-A741-4989-B6C2-D5236AE8D5BD}"/>
                    </a:ext>
                  </a:extLst>
                </p:cNvPr>
                <p:cNvSpPr>
                  <a:spLocks/>
                </p:cNvSpPr>
                <p:nvPr/>
              </p:nvSpPr>
              <p:spPr bwMode="auto">
                <a:xfrm>
                  <a:off x="5736253" y="2590966"/>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0" name="Freeform 1685">
                  <a:extLst>
                    <a:ext uri="{FF2B5EF4-FFF2-40B4-BE49-F238E27FC236}">
                      <a16:creationId xmlns:a16="http://schemas.microsoft.com/office/drawing/2014/main" id="{16B2C4EC-AD24-4C93-942A-89DC64F84B14}"/>
                    </a:ext>
                  </a:extLst>
                </p:cNvPr>
                <p:cNvSpPr>
                  <a:spLocks/>
                </p:cNvSpPr>
                <p:nvPr/>
              </p:nvSpPr>
              <p:spPr bwMode="auto">
                <a:xfrm>
                  <a:off x="5819877" y="2627992"/>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1" name="Freeform 1686">
                  <a:extLst>
                    <a:ext uri="{FF2B5EF4-FFF2-40B4-BE49-F238E27FC236}">
                      <a16:creationId xmlns:a16="http://schemas.microsoft.com/office/drawing/2014/main" id="{313797B1-4022-404B-892E-BAEEBAB32D9A}"/>
                    </a:ext>
                  </a:extLst>
                </p:cNvPr>
                <p:cNvSpPr>
                  <a:spLocks/>
                </p:cNvSpPr>
                <p:nvPr/>
              </p:nvSpPr>
              <p:spPr bwMode="auto">
                <a:xfrm>
                  <a:off x="5800943" y="2622068"/>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2" name="Freeform 1687">
                  <a:extLst>
                    <a:ext uri="{FF2B5EF4-FFF2-40B4-BE49-F238E27FC236}">
                      <a16:creationId xmlns:a16="http://schemas.microsoft.com/office/drawing/2014/main" id="{4E4E8BB6-CFA0-4A7F-B378-F8B3CCB33531}"/>
                    </a:ext>
                  </a:extLst>
                </p:cNvPr>
                <p:cNvSpPr>
                  <a:spLocks/>
                </p:cNvSpPr>
                <p:nvPr/>
              </p:nvSpPr>
              <p:spPr bwMode="auto">
                <a:xfrm>
                  <a:off x="5834078" y="2619106"/>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3" name="Freeform 1688">
                  <a:extLst>
                    <a:ext uri="{FF2B5EF4-FFF2-40B4-BE49-F238E27FC236}">
                      <a16:creationId xmlns:a16="http://schemas.microsoft.com/office/drawing/2014/main" id="{02E32270-9CF8-422E-A251-657FCEF4C1E8}"/>
                    </a:ext>
                  </a:extLst>
                </p:cNvPr>
                <p:cNvSpPr>
                  <a:spLocks/>
                </p:cNvSpPr>
                <p:nvPr/>
              </p:nvSpPr>
              <p:spPr bwMode="auto">
                <a:xfrm>
                  <a:off x="5835655" y="2602814"/>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4" name="Freeform 1689">
                  <a:extLst>
                    <a:ext uri="{FF2B5EF4-FFF2-40B4-BE49-F238E27FC236}">
                      <a16:creationId xmlns:a16="http://schemas.microsoft.com/office/drawing/2014/main" id="{A4B5048B-6A8D-4B91-8549-58741856DAD6}"/>
                    </a:ext>
                  </a:extLst>
                </p:cNvPr>
                <p:cNvSpPr>
                  <a:spLocks/>
                </p:cNvSpPr>
                <p:nvPr/>
              </p:nvSpPr>
              <p:spPr bwMode="auto">
                <a:xfrm>
                  <a:off x="5775698" y="2599852"/>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5" name="Freeform 1690">
                  <a:extLst>
                    <a:ext uri="{FF2B5EF4-FFF2-40B4-BE49-F238E27FC236}">
                      <a16:creationId xmlns:a16="http://schemas.microsoft.com/office/drawing/2014/main" id="{0C3E9A88-86ED-4D24-8F1E-6458FCC7970B}"/>
                    </a:ext>
                  </a:extLst>
                </p:cNvPr>
                <p:cNvSpPr>
                  <a:spLocks/>
                </p:cNvSpPr>
                <p:nvPr/>
              </p:nvSpPr>
              <p:spPr bwMode="auto">
                <a:xfrm>
                  <a:off x="5786743" y="2613182"/>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6" name="Freeform 1691">
                  <a:extLst>
                    <a:ext uri="{FF2B5EF4-FFF2-40B4-BE49-F238E27FC236}">
                      <a16:creationId xmlns:a16="http://schemas.microsoft.com/office/drawing/2014/main" id="{C8723BAE-82B6-4B1D-83C2-E20E4975EC35}"/>
                    </a:ext>
                  </a:extLst>
                </p:cNvPr>
                <p:cNvSpPr>
                  <a:spLocks/>
                </p:cNvSpPr>
                <p:nvPr/>
              </p:nvSpPr>
              <p:spPr bwMode="auto">
                <a:xfrm>
                  <a:off x="5791476" y="2583562"/>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7" name="Freeform 1692">
                  <a:extLst>
                    <a:ext uri="{FF2B5EF4-FFF2-40B4-BE49-F238E27FC236}">
                      <a16:creationId xmlns:a16="http://schemas.microsoft.com/office/drawing/2014/main" id="{237818CF-D2D4-43DC-8C37-B75E5FA457D5}"/>
                    </a:ext>
                  </a:extLst>
                </p:cNvPr>
                <p:cNvSpPr>
                  <a:spLocks/>
                </p:cNvSpPr>
                <p:nvPr/>
              </p:nvSpPr>
              <p:spPr bwMode="auto">
                <a:xfrm>
                  <a:off x="5772543" y="2567270"/>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8" name="Freeform 1693">
                  <a:extLst>
                    <a:ext uri="{FF2B5EF4-FFF2-40B4-BE49-F238E27FC236}">
                      <a16:creationId xmlns:a16="http://schemas.microsoft.com/office/drawing/2014/main" id="{A29F9B92-1222-4CE0-B580-97C370686C7A}"/>
                    </a:ext>
                  </a:extLst>
                </p:cNvPr>
                <p:cNvSpPr>
                  <a:spLocks/>
                </p:cNvSpPr>
                <p:nvPr/>
              </p:nvSpPr>
              <p:spPr bwMode="auto">
                <a:xfrm>
                  <a:off x="5753609" y="2586524"/>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09" name="Freeform 1694">
                  <a:extLst>
                    <a:ext uri="{FF2B5EF4-FFF2-40B4-BE49-F238E27FC236}">
                      <a16:creationId xmlns:a16="http://schemas.microsoft.com/office/drawing/2014/main" id="{CB1D9E30-9ADB-4B71-84E2-CC820751735D}"/>
                    </a:ext>
                  </a:extLst>
                </p:cNvPr>
                <p:cNvSpPr>
                  <a:spLocks/>
                </p:cNvSpPr>
                <p:nvPr/>
              </p:nvSpPr>
              <p:spPr bwMode="auto">
                <a:xfrm>
                  <a:off x="5783588" y="2534688"/>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10" name="Freeform 1695">
                  <a:extLst>
                    <a:ext uri="{FF2B5EF4-FFF2-40B4-BE49-F238E27FC236}">
                      <a16:creationId xmlns:a16="http://schemas.microsoft.com/office/drawing/2014/main" id="{C69B2B88-1142-4F03-B3AE-E07FCBA99863}"/>
                    </a:ext>
                  </a:extLst>
                </p:cNvPr>
                <p:cNvSpPr>
                  <a:spLocks/>
                </p:cNvSpPr>
                <p:nvPr/>
              </p:nvSpPr>
              <p:spPr bwMode="auto">
                <a:xfrm>
                  <a:off x="5774121" y="2549498"/>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11" name="Freeform 1696">
                  <a:extLst>
                    <a:ext uri="{FF2B5EF4-FFF2-40B4-BE49-F238E27FC236}">
                      <a16:creationId xmlns:a16="http://schemas.microsoft.com/office/drawing/2014/main" id="{2A83AD56-6E65-42BE-9D78-AFDDF42EB11F}"/>
                    </a:ext>
                  </a:extLst>
                </p:cNvPr>
                <p:cNvSpPr>
                  <a:spLocks/>
                </p:cNvSpPr>
                <p:nvPr/>
              </p:nvSpPr>
              <p:spPr bwMode="auto">
                <a:xfrm>
                  <a:off x="5808833" y="2585042"/>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12" name="Freeform 1697">
                  <a:extLst>
                    <a:ext uri="{FF2B5EF4-FFF2-40B4-BE49-F238E27FC236}">
                      <a16:creationId xmlns:a16="http://schemas.microsoft.com/office/drawing/2014/main" id="{B4D84FBC-7D5E-46C7-8F28-C76DFBE0D4A5}"/>
                    </a:ext>
                  </a:extLst>
                </p:cNvPr>
                <p:cNvSpPr>
                  <a:spLocks/>
                </p:cNvSpPr>
                <p:nvPr/>
              </p:nvSpPr>
              <p:spPr bwMode="auto">
                <a:xfrm>
                  <a:off x="5824611" y="2590966"/>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grpSp>
          <p:grpSp>
            <p:nvGrpSpPr>
              <p:cNvPr id="510" name="Group 509">
                <a:extLst>
                  <a:ext uri="{FF2B5EF4-FFF2-40B4-BE49-F238E27FC236}">
                    <a16:creationId xmlns:a16="http://schemas.microsoft.com/office/drawing/2014/main" id="{715A373B-88C5-4A40-B9ED-28A670873C64}"/>
                  </a:ext>
                </a:extLst>
              </p:cNvPr>
              <p:cNvGrpSpPr/>
              <p:nvPr/>
            </p:nvGrpSpPr>
            <p:grpSpPr>
              <a:xfrm>
                <a:off x="5353053" y="2683615"/>
                <a:ext cx="1221490" cy="1047560"/>
                <a:chOff x="5252501" y="2482528"/>
                <a:chExt cx="609978" cy="523122"/>
              </a:xfrm>
            </p:grpSpPr>
            <p:sp>
              <p:nvSpPr>
                <p:cNvPr id="511" name="Line 66">
                  <a:extLst>
                    <a:ext uri="{FF2B5EF4-FFF2-40B4-BE49-F238E27FC236}">
                      <a16:creationId xmlns:a16="http://schemas.microsoft.com/office/drawing/2014/main" id="{31BC9652-DA43-422C-9C8A-74C01EE1358E}"/>
                    </a:ext>
                  </a:extLst>
                </p:cNvPr>
                <p:cNvSpPr>
                  <a:spLocks noChangeShapeType="1"/>
                </p:cNvSpPr>
                <p:nvPr/>
              </p:nvSpPr>
              <p:spPr bwMode="auto">
                <a:xfrm rot="8100000">
                  <a:off x="5559844" y="248252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12" name="Line 67">
                  <a:extLst>
                    <a:ext uri="{FF2B5EF4-FFF2-40B4-BE49-F238E27FC236}">
                      <a16:creationId xmlns:a16="http://schemas.microsoft.com/office/drawing/2014/main" id="{9BF30AA9-AB58-412B-BB9B-F61AC1362051}"/>
                    </a:ext>
                  </a:extLst>
                </p:cNvPr>
                <p:cNvSpPr>
                  <a:spLocks noChangeShapeType="1"/>
                </p:cNvSpPr>
                <p:nvPr/>
              </p:nvSpPr>
              <p:spPr bwMode="auto">
                <a:xfrm rot="8100000">
                  <a:off x="5269164" y="2793573"/>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13" name="Line 74">
                  <a:extLst>
                    <a:ext uri="{FF2B5EF4-FFF2-40B4-BE49-F238E27FC236}">
                      <a16:creationId xmlns:a16="http://schemas.microsoft.com/office/drawing/2014/main" id="{B8E58DD2-7D1E-4C37-A435-6206A6AB6D4F}"/>
                    </a:ext>
                  </a:extLst>
                </p:cNvPr>
                <p:cNvSpPr>
                  <a:spLocks noChangeShapeType="1"/>
                </p:cNvSpPr>
                <p:nvPr/>
              </p:nvSpPr>
              <p:spPr bwMode="auto">
                <a:xfrm rot="8100000">
                  <a:off x="5252501" y="281023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14" name="Freeform 1575">
                  <a:extLst>
                    <a:ext uri="{FF2B5EF4-FFF2-40B4-BE49-F238E27FC236}">
                      <a16:creationId xmlns:a16="http://schemas.microsoft.com/office/drawing/2014/main" id="{BDEF4D24-2FCB-40BE-AF41-640EDCE1781C}"/>
                    </a:ext>
                  </a:extLst>
                </p:cNvPr>
                <p:cNvSpPr>
                  <a:spLocks/>
                </p:cNvSpPr>
                <p:nvPr/>
              </p:nvSpPr>
              <p:spPr bwMode="auto">
                <a:xfrm>
                  <a:off x="5387554" y="2869396"/>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15" name="Freeform 1576">
                  <a:extLst>
                    <a:ext uri="{FF2B5EF4-FFF2-40B4-BE49-F238E27FC236}">
                      <a16:creationId xmlns:a16="http://schemas.microsoft.com/office/drawing/2014/main" id="{A2552EC7-FF2E-4BC0-B62C-DE4B3BA3FFDC}"/>
                    </a:ext>
                  </a:extLst>
                </p:cNvPr>
                <p:cNvSpPr>
                  <a:spLocks/>
                </p:cNvSpPr>
                <p:nvPr/>
              </p:nvSpPr>
              <p:spPr bwMode="auto">
                <a:xfrm>
                  <a:off x="5387554" y="2722777"/>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16" name="Freeform 1577">
                  <a:extLst>
                    <a:ext uri="{FF2B5EF4-FFF2-40B4-BE49-F238E27FC236}">
                      <a16:creationId xmlns:a16="http://schemas.microsoft.com/office/drawing/2014/main" id="{67B7EDA0-C422-41FB-8C20-29290CE3F025}"/>
                    </a:ext>
                  </a:extLst>
                </p:cNvPr>
                <p:cNvSpPr>
                  <a:spLocks/>
                </p:cNvSpPr>
                <p:nvPr/>
              </p:nvSpPr>
              <p:spPr bwMode="auto">
                <a:xfrm>
                  <a:off x="5589515" y="2722777"/>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17" name="Freeform 1578">
                  <a:extLst>
                    <a:ext uri="{FF2B5EF4-FFF2-40B4-BE49-F238E27FC236}">
                      <a16:creationId xmlns:a16="http://schemas.microsoft.com/office/drawing/2014/main" id="{88B487F6-9CF0-4CFF-B5D9-7B9F90DA9945}"/>
                    </a:ext>
                  </a:extLst>
                </p:cNvPr>
                <p:cNvSpPr>
                  <a:spLocks noEditPoints="1"/>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18" name="Freeform 1579">
                  <a:extLst>
                    <a:ext uri="{FF2B5EF4-FFF2-40B4-BE49-F238E27FC236}">
                      <a16:creationId xmlns:a16="http://schemas.microsoft.com/office/drawing/2014/main" id="{6932A7FC-1D9F-4676-8E31-E7DA1654D5EF}"/>
                    </a:ext>
                  </a:extLst>
                </p:cNvPr>
                <p:cNvSpPr>
                  <a:spLocks/>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19" name="Freeform 1580">
                  <a:extLst>
                    <a:ext uri="{FF2B5EF4-FFF2-40B4-BE49-F238E27FC236}">
                      <a16:creationId xmlns:a16="http://schemas.microsoft.com/office/drawing/2014/main" id="{905DE03F-EA56-4ACA-8A48-5AB968B157CA}"/>
                    </a:ext>
                  </a:extLst>
                </p:cNvPr>
                <p:cNvSpPr>
                  <a:spLocks/>
                </p:cNvSpPr>
                <p:nvPr/>
              </p:nvSpPr>
              <p:spPr bwMode="auto">
                <a:xfrm>
                  <a:off x="5595826" y="2728701"/>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20" name="Freeform 1581">
                  <a:extLst>
                    <a:ext uri="{FF2B5EF4-FFF2-40B4-BE49-F238E27FC236}">
                      <a16:creationId xmlns:a16="http://schemas.microsoft.com/office/drawing/2014/main" id="{540F0FFD-7B2A-4183-B5AF-9A2EBB001AD0}"/>
                    </a:ext>
                  </a:extLst>
                </p:cNvPr>
                <p:cNvSpPr>
                  <a:spLocks noEditPoints="1"/>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21" name="Freeform 1582">
                  <a:extLst>
                    <a:ext uri="{FF2B5EF4-FFF2-40B4-BE49-F238E27FC236}">
                      <a16:creationId xmlns:a16="http://schemas.microsoft.com/office/drawing/2014/main" id="{E8C91561-FF04-4ED5-A9FC-D58384B390CC}"/>
                    </a:ext>
                  </a:extLst>
                </p:cNvPr>
                <p:cNvSpPr>
                  <a:spLocks/>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22" name="Freeform 1583">
                  <a:extLst>
                    <a:ext uri="{FF2B5EF4-FFF2-40B4-BE49-F238E27FC236}">
                      <a16:creationId xmlns:a16="http://schemas.microsoft.com/office/drawing/2014/main" id="{425C1037-FD0F-44CB-81D2-DA3FE6EF0E50}"/>
                    </a:ext>
                  </a:extLst>
                </p:cNvPr>
                <p:cNvSpPr>
                  <a:spLocks/>
                </p:cNvSpPr>
                <p:nvPr/>
              </p:nvSpPr>
              <p:spPr bwMode="auto">
                <a:xfrm>
                  <a:off x="5330752" y="2728701"/>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23" name="Freeform 1584">
                  <a:extLst>
                    <a:ext uri="{FF2B5EF4-FFF2-40B4-BE49-F238E27FC236}">
                      <a16:creationId xmlns:a16="http://schemas.microsoft.com/office/drawing/2014/main" id="{51385A14-7252-49CD-B03E-DAFF87A27592}"/>
                    </a:ext>
                  </a:extLst>
                </p:cNvPr>
                <p:cNvSpPr>
                  <a:spLocks/>
                </p:cNvSpPr>
                <p:nvPr/>
              </p:nvSpPr>
              <p:spPr bwMode="auto">
                <a:xfrm>
                  <a:off x="5589515" y="260577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24" name="Freeform 1585">
                  <a:extLst>
                    <a:ext uri="{FF2B5EF4-FFF2-40B4-BE49-F238E27FC236}">
                      <a16:creationId xmlns:a16="http://schemas.microsoft.com/office/drawing/2014/main" id="{99179F71-16D2-4A9F-AC62-CFB98F7A334F}"/>
                    </a:ext>
                  </a:extLst>
                </p:cNvPr>
                <p:cNvSpPr>
                  <a:spLocks/>
                </p:cNvSpPr>
                <p:nvPr/>
              </p:nvSpPr>
              <p:spPr bwMode="auto">
                <a:xfrm>
                  <a:off x="5340219" y="2605776"/>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25" name="Freeform 1586">
                  <a:extLst>
                    <a:ext uri="{FF2B5EF4-FFF2-40B4-BE49-F238E27FC236}">
                      <a16:creationId xmlns:a16="http://schemas.microsoft.com/office/drawing/2014/main" id="{42574F5F-1D3C-425C-8A6B-6C196B507371}"/>
                    </a:ext>
                  </a:extLst>
                </p:cNvPr>
                <p:cNvSpPr>
                  <a:spLocks/>
                </p:cNvSpPr>
                <p:nvPr/>
              </p:nvSpPr>
              <p:spPr bwMode="auto">
                <a:xfrm>
                  <a:off x="5580048" y="2602814"/>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26" name="Freeform 1587">
                  <a:extLst>
                    <a:ext uri="{FF2B5EF4-FFF2-40B4-BE49-F238E27FC236}">
                      <a16:creationId xmlns:a16="http://schemas.microsoft.com/office/drawing/2014/main" id="{6FFE5987-94B1-4F7C-9BC4-54E2C6286B9E}"/>
                    </a:ext>
                  </a:extLst>
                </p:cNvPr>
                <p:cNvSpPr>
                  <a:spLocks/>
                </p:cNvSpPr>
                <p:nvPr/>
              </p:nvSpPr>
              <p:spPr bwMode="auto">
                <a:xfrm>
                  <a:off x="5338642" y="2602814"/>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27" name="Freeform 1588">
                  <a:extLst>
                    <a:ext uri="{FF2B5EF4-FFF2-40B4-BE49-F238E27FC236}">
                      <a16:creationId xmlns:a16="http://schemas.microsoft.com/office/drawing/2014/main" id="{65DF86CC-6D8C-43EB-A557-1F8D9AE14EFF}"/>
                    </a:ext>
                  </a:extLst>
                </p:cNvPr>
                <p:cNvSpPr>
                  <a:spLocks/>
                </p:cNvSpPr>
                <p:nvPr/>
              </p:nvSpPr>
              <p:spPr bwMode="auto">
                <a:xfrm>
                  <a:off x="5381243" y="2722777"/>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528" name="Rectangle 1589">
                  <a:extLst>
                    <a:ext uri="{FF2B5EF4-FFF2-40B4-BE49-F238E27FC236}">
                      <a16:creationId xmlns:a16="http://schemas.microsoft.com/office/drawing/2014/main" id="{247DAE5E-92D8-4A1A-A4D5-284DA62B31DF}"/>
                    </a:ext>
                  </a:extLst>
                </p:cNvPr>
                <p:cNvSpPr>
                  <a:spLocks noChangeArrowheads="1"/>
                </p:cNvSpPr>
                <p:nvPr/>
              </p:nvSpPr>
              <p:spPr bwMode="auto">
                <a:xfrm>
                  <a:off x="5583204" y="2789422"/>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29" name="Rectangle 1590">
                  <a:extLst>
                    <a:ext uri="{FF2B5EF4-FFF2-40B4-BE49-F238E27FC236}">
                      <a16:creationId xmlns:a16="http://schemas.microsoft.com/office/drawing/2014/main" id="{B0E04CDF-7B63-4F10-9345-97A265FA0A8C}"/>
                    </a:ext>
                  </a:extLst>
                </p:cNvPr>
                <p:cNvSpPr>
                  <a:spLocks noChangeArrowheads="1"/>
                </p:cNvSpPr>
                <p:nvPr/>
              </p:nvSpPr>
              <p:spPr bwMode="auto">
                <a:xfrm>
                  <a:off x="5583204" y="2656131"/>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0" name="Freeform 1591">
                  <a:extLst>
                    <a:ext uri="{FF2B5EF4-FFF2-40B4-BE49-F238E27FC236}">
                      <a16:creationId xmlns:a16="http://schemas.microsoft.com/office/drawing/2014/main" id="{3FCB8162-6A79-4D04-B864-0E1BA21DE0FB}"/>
                    </a:ext>
                  </a:extLst>
                </p:cNvPr>
                <p:cNvSpPr>
                  <a:spLocks/>
                </p:cNvSpPr>
                <p:nvPr/>
              </p:nvSpPr>
              <p:spPr bwMode="auto">
                <a:xfrm>
                  <a:off x="5611605" y="2953814"/>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1" name="Freeform 1592">
                  <a:extLst>
                    <a:ext uri="{FF2B5EF4-FFF2-40B4-BE49-F238E27FC236}">
                      <a16:creationId xmlns:a16="http://schemas.microsoft.com/office/drawing/2014/main" id="{ED7E1048-C762-4235-AB62-9253C2FA2BD5}"/>
                    </a:ext>
                  </a:extLst>
                </p:cNvPr>
                <p:cNvSpPr>
                  <a:spLocks/>
                </p:cNvSpPr>
                <p:nvPr/>
              </p:nvSpPr>
              <p:spPr bwMode="auto">
                <a:xfrm>
                  <a:off x="5611605" y="2946409"/>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2" name="Freeform 1593">
                  <a:extLst>
                    <a:ext uri="{FF2B5EF4-FFF2-40B4-BE49-F238E27FC236}">
                      <a16:creationId xmlns:a16="http://schemas.microsoft.com/office/drawing/2014/main" id="{DF44D917-6E7C-4DF9-843D-C1536AC4C707}"/>
                    </a:ext>
                  </a:extLst>
                </p:cNvPr>
                <p:cNvSpPr>
                  <a:spLocks noEditPoints="1"/>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3" name="Freeform 1594">
                  <a:extLst>
                    <a:ext uri="{FF2B5EF4-FFF2-40B4-BE49-F238E27FC236}">
                      <a16:creationId xmlns:a16="http://schemas.microsoft.com/office/drawing/2014/main" id="{A71E9D26-F98E-4AE9-89E5-FDC876507954}"/>
                    </a:ext>
                  </a:extLst>
                </p:cNvPr>
                <p:cNvSpPr>
                  <a:spLocks/>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4" name="Freeform 1595">
                  <a:extLst>
                    <a:ext uri="{FF2B5EF4-FFF2-40B4-BE49-F238E27FC236}">
                      <a16:creationId xmlns:a16="http://schemas.microsoft.com/office/drawing/2014/main" id="{3957C900-75FB-4360-890B-7A36B4EAAB9C}"/>
                    </a:ext>
                  </a:extLst>
                </p:cNvPr>
                <p:cNvSpPr>
                  <a:spLocks/>
                </p:cNvSpPr>
                <p:nvPr/>
              </p:nvSpPr>
              <p:spPr bwMode="auto">
                <a:xfrm>
                  <a:off x="5414377" y="2907902"/>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5" name="Freeform 1596">
                  <a:extLst>
                    <a:ext uri="{FF2B5EF4-FFF2-40B4-BE49-F238E27FC236}">
                      <a16:creationId xmlns:a16="http://schemas.microsoft.com/office/drawing/2014/main" id="{8190518D-74C0-403E-AA22-C7A5969DEC91}"/>
                    </a:ext>
                  </a:extLst>
                </p:cNvPr>
                <p:cNvSpPr>
                  <a:spLocks/>
                </p:cNvSpPr>
                <p:nvPr/>
              </p:nvSpPr>
              <p:spPr bwMode="auto">
                <a:xfrm>
                  <a:off x="5409643" y="2881244"/>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6" name="Freeform 1672">
                  <a:extLst>
                    <a:ext uri="{FF2B5EF4-FFF2-40B4-BE49-F238E27FC236}">
                      <a16:creationId xmlns:a16="http://schemas.microsoft.com/office/drawing/2014/main" id="{874C3942-0255-466F-848C-D87CFEC657F1}"/>
                    </a:ext>
                  </a:extLst>
                </p:cNvPr>
                <p:cNvSpPr>
                  <a:spLocks/>
                </p:cNvSpPr>
                <p:nvPr/>
              </p:nvSpPr>
              <p:spPr bwMode="auto">
                <a:xfrm>
                  <a:off x="5687340" y="2614663"/>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7" name="Freeform 1673">
                  <a:extLst>
                    <a:ext uri="{FF2B5EF4-FFF2-40B4-BE49-F238E27FC236}">
                      <a16:creationId xmlns:a16="http://schemas.microsoft.com/office/drawing/2014/main" id="{3B81EF1B-7CD6-4539-AFB3-19C52C6B6FAC}"/>
                    </a:ext>
                  </a:extLst>
                </p:cNvPr>
                <p:cNvSpPr>
                  <a:spLocks/>
                </p:cNvSpPr>
                <p:nvPr/>
              </p:nvSpPr>
              <p:spPr bwMode="auto">
                <a:xfrm>
                  <a:off x="5772543" y="2583562"/>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8" name="Freeform 1674">
                  <a:extLst>
                    <a:ext uri="{FF2B5EF4-FFF2-40B4-BE49-F238E27FC236}">
                      <a16:creationId xmlns:a16="http://schemas.microsoft.com/office/drawing/2014/main" id="{126C4BCA-62C2-445F-809D-315F6CB5B911}"/>
                    </a:ext>
                  </a:extLst>
                </p:cNvPr>
                <p:cNvSpPr>
                  <a:spLocks/>
                </p:cNvSpPr>
                <p:nvPr/>
              </p:nvSpPr>
              <p:spPr bwMode="auto">
                <a:xfrm>
                  <a:off x="5636850" y="2682789"/>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39" name="Freeform 1675">
                  <a:extLst>
                    <a:ext uri="{FF2B5EF4-FFF2-40B4-BE49-F238E27FC236}">
                      <a16:creationId xmlns:a16="http://schemas.microsoft.com/office/drawing/2014/main" id="{C64A194C-2637-4E59-89CF-2756630B55C7}"/>
                    </a:ext>
                  </a:extLst>
                </p:cNvPr>
                <p:cNvSpPr>
                  <a:spLocks/>
                </p:cNvSpPr>
                <p:nvPr/>
              </p:nvSpPr>
              <p:spPr bwMode="auto">
                <a:xfrm>
                  <a:off x="5644739" y="2666498"/>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0" name="Freeform 1676">
                  <a:extLst>
                    <a:ext uri="{FF2B5EF4-FFF2-40B4-BE49-F238E27FC236}">
                      <a16:creationId xmlns:a16="http://schemas.microsoft.com/office/drawing/2014/main" id="{2533CCA6-7189-4B56-8163-94C167CBB4C6}"/>
                    </a:ext>
                  </a:extLst>
                </p:cNvPr>
                <p:cNvSpPr>
                  <a:spLocks/>
                </p:cNvSpPr>
                <p:nvPr/>
              </p:nvSpPr>
              <p:spPr bwMode="auto">
                <a:xfrm>
                  <a:off x="5632117" y="2700561"/>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1" name="Freeform 1677">
                  <a:extLst>
                    <a:ext uri="{FF2B5EF4-FFF2-40B4-BE49-F238E27FC236}">
                      <a16:creationId xmlns:a16="http://schemas.microsoft.com/office/drawing/2014/main" id="{6E73C8C3-7B78-4949-9BC2-E5C2E8DE2B11}"/>
                    </a:ext>
                  </a:extLst>
                </p:cNvPr>
                <p:cNvSpPr>
                  <a:spLocks/>
                </p:cNvSpPr>
                <p:nvPr/>
              </p:nvSpPr>
              <p:spPr bwMode="auto">
                <a:xfrm>
                  <a:off x="5630538" y="2716853"/>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2" name="Freeform 1678">
                  <a:extLst>
                    <a:ext uri="{FF2B5EF4-FFF2-40B4-BE49-F238E27FC236}">
                      <a16:creationId xmlns:a16="http://schemas.microsoft.com/office/drawing/2014/main" id="{2782701F-6BFF-45C9-B378-15146CEE75E5}"/>
                    </a:ext>
                  </a:extLst>
                </p:cNvPr>
                <p:cNvSpPr>
                  <a:spLocks/>
                </p:cNvSpPr>
                <p:nvPr/>
              </p:nvSpPr>
              <p:spPr bwMode="auto">
                <a:xfrm>
                  <a:off x="5628961" y="2734625"/>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3" name="Freeform 1679">
                  <a:extLst>
                    <a:ext uri="{FF2B5EF4-FFF2-40B4-BE49-F238E27FC236}">
                      <a16:creationId xmlns:a16="http://schemas.microsoft.com/office/drawing/2014/main" id="{EB4BD9C2-49ED-42A1-AF28-8F3CE5DA0B1D}"/>
                    </a:ext>
                  </a:extLst>
                </p:cNvPr>
                <p:cNvSpPr>
                  <a:spLocks/>
                </p:cNvSpPr>
                <p:nvPr/>
              </p:nvSpPr>
              <p:spPr bwMode="auto">
                <a:xfrm>
                  <a:off x="5701541" y="2604296"/>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4" name="Freeform 1680">
                  <a:extLst>
                    <a:ext uri="{FF2B5EF4-FFF2-40B4-BE49-F238E27FC236}">
                      <a16:creationId xmlns:a16="http://schemas.microsoft.com/office/drawing/2014/main" id="{A199EC7D-DB9B-48C5-97DD-E2CCCB78A1C3}"/>
                    </a:ext>
                  </a:extLst>
                </p:cNvPr>
                <p:cNvSpPr>
                  <a:spLocks/>
                </p:cNvSpPr>
                <p:nvPr/>
              </p:nvSpPr>
              <p:spPr bwMode="auto">
                <a:xfrm>
                  <a:off x="5720475" y="2598372"/>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5" name="Freeform 1681">
                  <a:extLst>
                    <a:ext uri="{FF2B5EF4-FFF2-40B4-BE49-F238E27FC236}">
                      <a16:creationId xmlns:a16="http://schemas.microsoft.com/office/drawing/2014/main" id="{D28641A3-479B-48C4-B93A-BBAEA545D0AC}"/>
                    </a:ext>
                  </a:extLst>
                </p:cNvPr>
                <p:cNvSpPr>
                  <a:spLocks/>
                </p:cNvSpPr>
                <p:nvPr/>
              </p:nvSpPr>
              <p:spPr bwMode="auto">
                <a:xfrm>
                  <a:off x="5652628" y="2651688"/>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6" name="Freeform 1682">
                  <a:extLst>
                    <a:ext uri="{FF2B5EF4-FFF2-40B4-BE49-F238E27FC236}">
                      <a16:creationId xmlns:a16="http://schemas.microsoft.com/office/drawing/2014/main" id="{B98E986A-7867-4DAD-AAB3-9227E3637065}"/>
                    </a:ext>
                  </a:extLst>
                </p:cNvPr>
                <p:cNvSpPr>
                  <a:spLocks/>
                </p:cNvSpPr>
                <p:nvPr/>
              </p:nvSpPr>
              <p:spPr bwMode="auto">
                <a:xfrm>
                  <a:off x="5663673" y="2638359"/>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7" name="Freeform 1683">
                  <a:extLst>
                    <a:ext uri="{FF2B5EF4-FFF2-40B4-BE49-F238E27FC236}">
                      <a16:creationId xmlns:a16="http://schemas.microsoft.com/office/drawing/2014/main" id="{59DDD406-C61E-4BD1-9C81-ED3B6D90D53B}"/>
                    </a:ext>
                  </a:extLst>
                </p:cNvPr>
                <p:cNvSpPr>
                  <a:spLocks/>
                </p:cNvSpPr>
                <p:nvPr/>
              </p:nvSpPr>
              <p:spPr bwMode="auto">
                <a:xfrm>
                  <a:off x="5674717" y="2626510"/>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8" name="Freeform 1684">
                  <a:extLst>
                    <a:ext uri="{FF2B5EF4-FFF2-40B4-BE49-F238E27FC236}">
                      <a16:creationId xmlns:a16="http://schemas.microsoft.com/office/drawing/2014/main" id="{D9FE5148-8866-485B-82AB-0B96AC01770E}"/>
                    </a:ext>
                  </a:extLst>
                </p:cNvPr>
                <p:cNvSpPr>
                  <a:spLocks/>
                </p:cNvSpPr>
                <p:nvPr/>
              </p:nvSpPr>
              <p:spPr bwMode="auto">
                <a:xfrm>
                  <a:off x="5736253" y="2590966"/>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49" name="Freeform 1685">
                  <a:extLst>
                    <a:ext uri="{FF2B5EF4-FFF2-40B4-BE49-F238E27FC236}">
                      <a16:creationId xmlns:a16="http://schemas.microsoft.com/office/drawing/2014/main" id="{D7C89D39-F660-4632-9DA9-D618ECDA6ED7}"/>
                    </a:ext>
                  </a:extLst>
                </p:cNvPr>
                <p:cNvSpPr>
                  <a:spLocks/>
                </p:cNvSpPr>
                <p:nvPr/>
              </p:nvSpPr>
              <p:spPr bwMode="auto">
                <a:xfrm>
                  <a:off x="5819877" y="2627992"/>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0" name="Freeform 1686">
                  <a:extLst>
                    <a:ext uri="{FF2B5EF4-FFF2-40B4-BE49-F238E27FC236}">
                      <a16:creationId xmlns:a16="http://schemas.microsoft.com/office/drawing/2014/main" id="{3B6199BA-0C38-450F-88E5-39AF5DAAC5FA}"/>
                    </a:ext>
                  </a:extLst>
                </p:cNvPr>
                <p:cNvSpPr>
                  <a:spLocks/>
                </p:cNvSpPr>
                <p:nvPr/>
              </p:nvSpPr>
              <p:spPr bwMode="auto">
                <a:xfrm>
                  <a:off x="5800943" y="2622068"/>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1" name="Freeform 1687">
                  <a:extLst>
                    <a:ext uri="{FF2B5EF4-FFF2-40B4-BE49-F238E27FC236}">
                      <a16:creationId xmlns:a16="http://schemas.microsoft.com/office/drawing/2014/main" id="{0BCDB621-411A-499D-94DA-7DE63E1D6F2C}"/>
                    </a:ext>
                  </a:extLst>
                </p:cNvPr>
                <p:cNvSpPr>
                  <a:spLocks/>
                </p:cNvSpPr>
                <p:nvPr/>
              </p:nvSpPr>
              <p:spPr bwMode="auto">
                <a:xfrm>
                  <a:off x="5834078" y="2619106"/>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2" name="Freeform 1688">
                  <a:extLst>
                    <a:ext uri="{FF2B5EF4-FFF2-40B4-BE49-F238E27FC236}">
                      <a16:creationId xmlns:a16="http://schemas.microsoft.com/office/drawing/2014/main" id="{1745EEB4-392F-408C-8593-4FF1947580FE}"/>
                    </a:ext>
                  </a:extLst>
                </p:cNvPr>
                <p:cNvSpPr>
                  <a:spLocks/>
                </p:cNvSpPr>
                <p:nvPr/>
              </p:nvSpPr>
              <p:spPr bwMode="auto">
                <a:xfrm>
                  <a:off x="5835655" y="2602814"/>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3" name="Freeform 1689">
                  <a:extLst>
                    <a:ext uri="{FF2B5EF4-FFF2-40B4-BE49-F238E27FC236}">
                      <a16:creationId xmlns:a16="http://schemas.microsoft.com/office/drawing/2014/main" id="{4C99001E-78A4-48A0-AF04-B58B34F69529}"/>
                    </a:ext>
                  </a:extLst>
                </p:cNvPr>
                <p:cNvSpPr>
                  <a:spLocks/>
                </p:cNvSpPr>
                <p:nvPr/>
              </p:nvSpPr>
              <p:spPr bwMode="auto">
                <a:xfrm>
                  <a:off x="5775698" y="2599852"/>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4" name="Freeform 1690">
                  <a:extLst>
                    <a:ext uri="{FF2B5EF4-FFF2-40B4-BE49-F238E27FC236}">
                      <a16:creationId xmlns:a16="http://schemas.microsoft.com/office/drawing/2014/main" id="{6D549DD0-4259-43EB-B7B1-B8DE138A0EEC}"/>
                    </a:ext>
                  </a:extLst>
                </p:cNvPr>
                <p:cNvSpPr>
                  <a:spLocks/>
                </p:cNvSpPr>
                <p:nvPr/>
              </p:nvSpPr>
              <p:spPr bwMode="auto">
                <a:xfrm>
                  <a:off x="5786743" y="2613182"/>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5" name="Freeform 1691">
                  <a:extLst>
                    <a:ext uri="{FF2B5EF4-FFF2-40B4-BE49-F238E27FC236}">
                      <a16:creationId xmlns:a16="http://schemas.microsoft.com/office/drawing/2014/main" id="{E597B2E2-0883-4F4B-BDCD-6600506489C1}"/>
                    </a:ext>
                  </a:extLst>
                </p:cNvPr>
                <p:cNvSpPr>
                  <a:spLocks/>
                </p:cNvSpPr>
                <p:nvPr/>
              </p:nvSpPr>
              <p:spPr bwMode="auto">
                <a:xfrm>
                  <a:off x="5791476" y="2583562"/>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6" name="Freeform 1692">
                  <a:extLst>
                    <a:ext uri="{FF2B5EF4-FFF2-40B4-BE49-F238E27FC236}">
                      <a16:creationId xmlns:a16="http://schemas.microsoft.com/office/drawing/2014/main" id="{392645F3-8D4C-44FC-85E3-FE75A720B9FB}"/>
                    </a:ext>
                  </a:extLst>
                </p:cNvPr>
                <p:cNvSpPr>
                  <a:spLocks/>
                </p:cNvSpPr>
                <p:nvPr/>
              </p:nvSpPr>
              <p:spPr bwMode="auto">
                <a:xfrm>
                  <a:off x="5772543" y="2567270"/>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7" name="Freeform 1693">
                  <a:extLst>
                    <a:ext uri="{FF2B5EF4-FFF2-40B4-BE49-F238E27FC236}">
                      <a16:creationId xmlns:a16="http://schemas.microsoft.com/office/drawing/2014/main" id="{54F62BE9-772C-4D77-90B4-7BC33804B4B8}"/>
                    </a:ext>
                  </a:extLst>
                </p:cNvPr>
                <p:cNvSpPr>
                  <a:spLocks/>
                </p:cNvSpPr>
                <p:nvPr/>
              </p:nvSpPr>
              <p:spPr bwMode="auto">
                <a:xfrm>
                  <a:off x="5753609" y="2586524"/>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8" name="Freeform 1694">
                  <a:extLst>
                    <a:ext uri="{FF2B5EF4-FFF2-40B4-BE49-F238E27FC236}">
                      <a16:creationId xmlns:a16="http://schemas.microsoft.com/office/drawing/2014/main" id="{755CB0AA-D36F-4B23-A564-CB7C4BCD2F05}"/>
                    </a:ext>
                  </a:extLst>
                </p:cNvPr>
                <p:cNvSpPr>
                  <a:spLocks/>
                </p:cNvSpPr>
                <p:nvPr/>
              </p:nvSpPr>
              <p:spPr bwMode="auto">
                <a:xfrm>
                  <a:off x="5783588" y="2534688"/>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59" name="Freeform 1695">
                  <a:extLst>
                    <a:ext uri="{FF2B5EF4-FFF2-40B4-BE49-F238E27FC236}">
                      <a16:creationId xmlns:a16="http://schemas.microsoft.com/office/drawing/2014/main" id="{0C5C0BCB-8D19-4200-9100-A63D590F6F6D}"/>
                    </a:ext>
                  </a:extLst>
                </p:cNvPr>
                <p:cNvSpPr>
                  <a:spLocks/>
                </p:cNvSpPr>
                <p:nvPr/>
              </p:nvSpPr>
              <p:spPr bwMode="auto">
                <a:xfrm>
                  <a:off x="5774121" y="2549498"/>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60" name="Freeform 1696">
                  <a:extLst>
                    <a:ext uri="{FF2B5EF4-FFF2-40B4-BE49-F238E27FC236}">
                      <a16:creationId xmlns:a16="http://schemas.microsoft.com/office/drawing/2014/main" id="{19F29FDF-7C93-4BFE-9D25-118854D906B5}"/>
                    </a:ext>
                  </a:extLst>
                </p:cNvPr>
                <p:cNvSpPr>
                  <a:spLocks/>
                </p:cNvSpPr>
                <p:nvPr/>
              </p:nvSpPr>
              <p:spPr bwMode="auto">
                <a:xfrm>
                  <a:off x="5808833" y="2585042"/>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561" name="Freeform 1697">
                  <a:extLst>
                    <a:ext uri="{FF2B5EF4-FFF2-40B4-BE49-F238E27FC236}">
                      <a16:creationId xmlns:a16="http://schemas.microsoft.com/office/drawing/2014/main" id="{2AE1F1F3-A6BA-4018-A275-71C2AA2EE382}"/>
                    </a:ext>
                  </a:extLst>
                </p:cNvPr>
                <p:cNvSpPr>
                  <a:spLocks/>
                </p:cNvSpPr>
                <p:nvPr/>
              </p:nvSpPr>
              <p:spPr bwMode="auto">
                <a:xfrm>
                  <a:off x="5824611" y="2590966"/>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grpSp>
        </p:grpSp>
        <p:sp>
          <p:nvSpPr>
            <p:cNvPr id="508" name="Rectangle 507">
              <a:extLst>
                <a:ext uri="{FF2B5EF4-FFF2-40B4-BE49-F238E27FC236}">
                  <a16:creationId xmlns:a16="http://schemas.microsoft.com/office/drawing/2014/main" id="{407EA188-5CB1-40D6-A3AC-A15B9B6D25E3}"/>
                </a:ext>
              </a:extLst>
            </p:cNvPr>
            <p:cNvSpPr/>
            <p:nvPr/>
          </p:nvSpPr>
          <p:spPr>
            <a:xfrm>
              <a:off x="9108098" y="3405204"/>
              <a:ext cx="1115908" cy="43094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Product Increment</a:t>
              </a:r>
            </a:p>
          </p:txBody>
        </p:sp>
      </p:grpSp>
      <p:grpSp>
        <p:nvGrpSpPr>
          <p:cNvPr id="331" name="Group 330">
            <a:extLst>
              <a:ext uri="{FF2B5EF4-FFF2-40B4-BE49-F238E27FC236}">
                <a16:creationId xmlns:a16="http://schemas.microsoft.com/office/drawing/2014/main" id="{63F31D16-961A-4C4F-851A-CC2623095531}"/>
              </a:ext>
            </a:extLst>
          </p:cNvPr>
          <p:cNvGrpSpPr/>
          <p:nvPr/>
        </p:nvGrpSpPr>
        <p:grpSpPr>
          <a:xfrm>
            <a:off x="8579778" y="3433026"/>
            <a:ext cx="838959" cy="702085"/>
            <a:chOff x="8604456" y="3596820"/>
            <a:chExt cx="1115908" cy="933852"/>
          </a:xfrm>
        </p:grpSpPr>
        <p:grpSp>
          <p:nvGrpSpPr>
            <p:cNvPr id="332" name="Group 331">
              <a:extLst>
                <a:ext uri="{FF2B5EF4-FFF2-40B4-BE49-F238E27FC236}">
                  <a16:creationId xmlns:a16="http://schemas.microsoft.com/office/drawing/2014/main" id="{E5593B91-ACEE-4CB4-9F4B-BEC1ABC34AED}"/>
                </a:ext>
              </a:extLst>
            </p:cNvPr>
            <p:cNvGrpSpPr/>
            <p:nvPr/>
          </p:nvGrpSpPr>
          <p:grpSpPr>
            <a:xfrm flipH="1">
              <a:off x="8929483" y="3596820"/>
              <a:ext cx="403204" cy="585887"/>
              <a:chOff x="8607957" y="605299"/>
              <a:chExt cx="2806962" cy="4078718"/>
            </a:xfrm>
          </p:grpSpPr>
          <p:sp>
            <p:nvSpPr>
              <p:cNvPr id="334" name="iBar:31/138">
                <a:extLst>
                  <a:ext uri="{FF2B5EF4-FFF2-40B4-BE49-F238E27FC236}">
                    <a16:creationId xmlns:a16="http://schemas.microsoft.com/office/drawing/2014/main" id="{45CAEF11-7FC0-40D6-9CC4-0FE4E14ADEB1}"/>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451"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5" name="Rectangle 334">
                <a:extLst>
                  <a:ext uri="{FF2B5EF4-FFF2-40B4-BE49-F238E27FC236}">
                    <a16:creationId xmlns:a16="http://schemas.microsoft.com/office/drawing/2014/main" id="{F0F684D9-5666-4488-8BFF-62166FAE4560}"/>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7492">
                  <a:defRPr/>
                </a:pPr>
                <a:endParaRPr lang="en-US" sz="1354"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36" name="Group 335">
                <a:extLst>
                  <a:ext uri="{FF2B5EF4-FFF2-40B4-BE49-F238E27FC236}">
                    <a16:creationId xmlns:a16="http://schemas.microsoft.com/office/drawing/2014/main" id="{37A0638E-46E8-4FF6-8ADB-1D0B11C378BE}"/>
                  </a:ext>
                </a:extLst>
              </p:cNvPr>
              <p:cNvGrpSpPr/>
              <p:nvPr/>
            </p:nvGrpSpPr>
            <p:grpSpPr>
              <a:xfrm>
                <a:off x="8776645" y="2392984"/>
                <a:ext cx="2463737" cy="2291033"/>
                <a:chOff x="8566719" y="2617154"/>
                <a:chExt cx="2463737" cy="2291033"/>
              </a:xfrm>
            </p:grpSpPr>
            <p:sp>
              <p:nvSpPr>
                <p:cNvPr id="350" name="Rectangle 349">
                  <a:extLst>
                    <a:ext uri="{FF2B5EF4-FFF2-40B4-BE49-F238E27FC236}">
                      <a16:creationId xmlns:a16="http://schemas.microsoft.com/office/drawing/2014/main" id="{79DAE5EA-F110-480B-BA76-1484A3368498}"/>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nvGrpSpPr>
                <p:cNvPr id="351" name="Group 350">
                  <a:extLst>
                    <a:ext uri="{FF2B5EF4-FFF2-40B4-BE49-F238E27FC236}">
                      <a16:creationId xmlns:a16="http://schemas.microsoft.com/office/drawing/2014/main" id="{174EC181-9553-42A0-9259-42163B7B56C9}"/>
                    </a:ext>
                  </a:extLst>
                </p:cNvPr>
                <p:cNvGrpSpPr/>
                <p:nvPr/>
              </p:nvGrpSpPr>
              <p:grpSpPr>
                <a:xfrm>
                  <a:off x="8720849" y="2791572"/>
                  <a:ext cx="2190282" cy="2116615"/>
                  <a:chOff x="5195358" y="4591380"/>
                  <a:chExt cx="1906459" cy="1749268"/>
                </a:xfrm>
              </p:grpSpPr>
              <p:grpSp>
                <p:nvGrpSpPr>
                  <p:cNvPr id="352" name="Group 351">
                    <a:extLst>
                      <a:ext uri="{FF2B5EF4-FFF2-40B4-BE49-F238E27FC236}">
                        <a16:creationId xmlns:a16="http://schemas.microsoft.com/office/drawing/2014/main" id="{E0F9419F-CC2D-4F0D-B1DE-0103FD7421F2}"/>
                      </a:ext>
                    </a:extLst>
                  </p:cNvPr>
                  <p:cNvGrpSpPr/>
                  <p:nvPr/>
                </p:nvGrpSpPr>
                <p:grpSpPr>
                  <a:xfrm>
                    <a:off x="5195358" y="4591380"/>
                    <a:ext cx="1020183" cy="1551754"/>
                    <a:chOff x="10650533" y="3663550"/>
                    <a:chExt cx="575867" cy="1059869"/>
                  </a:xfrm>
                </p:grpSpPr>
                <p:grpSp>
                  <p:nvGrpSpPr>
                    <p:cNvPr id="354" name="Group 353">
                      <a:extLst>
                        <a:ext uri="{FF2B5EF4-FFF2-40B4-BE49-F238E27FC236}">
                          <a16:creationId xmlns:a16="http://schemas.microsoft.com/office/drawing/2014/main" id="{DE5C26D2-846B-471A-AA1F-121326D505BA}"/>
                        </a:ext>
                      </a:extLst>
                    </p:cNvPr>
                    <p:cNvGrpSpPr/>
                    <p:nvPr/>
                  </p:nvGrpSpPr>
                  <p:grpSpPr>
                    <a:xfrm>
                      <a:off x="10650533" y="3663550"/>
                      <a:ext cx="575867" cy="728623"/>
                      <a:chOff x="5717961" y="2827338"/>
                      <a:chExt cx="282576" cy="387350"/>
                    </a:xfrm>
                  </p:grpSpPr>
                  <p:sp>
                    <p:nvSpPr>
                      <p:cNvPr id="356" name="Freeform 1754">
                        <a:extLst>
                          <a:ext uri="{FF2B5EF4-FFF2-40B4-BE49-F238E27FC236}">
                            <a16:creationId xmlns:a16="http://schemas.microsoft.com/office/drawing/2014/main" id="{E6B574B9-8A75-459C-8148-B6CBC9285D9E}"/>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357" name="Freeform 1755">
                        <a:extLst>
                          <a:ext uri="{FF2B5EF4-FFF2-40B4-BE49-F238E27FC236}">
                            <a16:creationId xmlns:a16="http://schemas.microsoft.com/office/drawing/2014/main" id="{80A3A72B-BE92-4FA4-8415-4826D78F2989}"/>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358" name="Freeform 1756">
                        <a:extLst>
                          <a:ext uri="{FF2B5EF4-FFF2-40B4-BE49-F238E27FC236}">
                            <a16:creationId xmlns:a16="http://schemas.microsoft.com/office/drawing/2014/main" id="{D22232A3-7C77-437B-8C38-512B8AA3DAF8}"/>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359" name="Freeform 1757">
                        <a:extLst>
                          <a:ext uri="{FF2B5EF4-FFF2-40B4-BE49-F238E27FC236}">
                            <a16:creationId xmlns:a16="http://schemas.microsoft.com/office/drawing/2014/main" id="{7E554F9E-A745-4C4C-B2DD-46C23EC3BDBD}"/>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360" name="Freeform 1758">
                        <a:extLst>
                          <a:ext uri="{FF2B5EF4-FFF2-40B4-BE49-F238E27FC236}">
                            <a16:creationId xmlns:a16="http://schemas.microsoft.com/office/drawing/2014/main" id="{C81BF819-37C2-486B-B6D2-526B480FD956}"/>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355" name="TextBox 354">
                      <a:extLst>
                        <a:ext uri="{FF2B5EF4-FFF2-40B4-BE49-F238E27FC236}">
                          <a16:creationId xmlns:a16="http://schemas.microsoft.com/office/drawing/2014/main" id="{D1DD6A99-D7C0-40CE-B47F-313FA4B53301}"/>
                        </a:ext>
                      </a:extLst>
                    </p:cNvPr>
                    <p:cNvSpPr txBox="1"/>
                    <p:nvPr/>
                  </p:nvSpPr>
                  <p:spPr>
                    <a:xfrm>
                      <a:off x="10688952" y="3755726"/>
                      <a:ext cx="499029" cy="967693"/>
                    </a:xfrm>
                    <a:prstGeom prst="rect">
                      <a:avLst/>
                    </a:prstGeom>
                    <a:noFill/>
                  </p:spPr>
                  <p:txBody>
                    <a:bodyPr wrap="square" lIns="0" tIns="0" rIns="0" bIns="0" rtlCol="0">
                      <a:spAutoFit/>
                    </a:bodyPr>
                    <a:lstStyle/>
                    <a:p>
                      <a:pPr algn="ctr">
                        <a:buSzPct val="25000"/>
                      </a:pPr>
                      <a:endParaRPr lang="en-US" sz="1203"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53" name="TextBox 352">
                    <a:extLst>
                      <a:ext uri="{FF2B5EF4-FFF2-40B4-BE49-F238E27FC236}">
                        <a16:creationId xmlns:a16="http://schemas.microsoft.com/office/drawing/2014/main" id="{49AA8C93-6E05-4791-8EA7-BF1BD70F119E}"/>
                      </a:ext>
                    </a:extLst>
                  </p:cNvPr>
                  <p:cNvSpPr txBox="1"/>
                  <p:nvPr/>
                </p:nvSpPr>
                <p:spPr>
                  <a:xfrm>
                    <a:off x="6328158" y="4746750"/>
                    <a:ext cx="773659" cy="1593898"/>
                  </a:xfrm>
                  <a:prstGeom prst="rect">
                    <a:avLst/>
                  </a:prstGeom>
                  <a:noFill/>
                </p:spPr>
                <p:txBody>
                  <a:bodyPr wrap="square" lIns="0" tIns="0" rIns="0" bIns="0" rtlCol="0">
                    <a:spAutoFit/>
                  </a:bodyPr>
                  <a:lstStyle/>
                  <a:p>
                    <a:pPr>
                      <a:buSzPct val="25000"/>
                    </a:pPr>
                    <a:endParaRPr lang="nb-NO" sz="1354">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37" name="Group 336">
                <a:extLst>
                  <a:ext uri="{FF2B5EF4-FFF2-40B4-BE49-F238E27FC236}">
                    <a16:creationId xmlns:a16="http://schemas.microsoft.com/office/drawing/2014/main" id="{BFE3D12A-37CC-4ADD-B1FD-7D370E9C925F}"/>
                  </a:ext>
                </a:extLst>
              </p:cNvPr>
              <p:cNvGrpSpPr/>
              <p:nvPr/>
            </p:nvGrpSpPr>
            <p:grpSpPr>
              <a:xfrm>
                <a:off x="9538998" y="605299"/>
                <a:ext cx="944881" cy="858986"/>
                <a:chOff x="3369813" y="4950013"/>
                <a:chExt cx="440826" cy="400751"/>
              </a:xfrm>
            </p:grpSpPr>
            <p:sp>
              <p:nvSpPr>
                <p:cNvPr id="346" name="Oval 345">
                  <a:extLst>
                    <a:ext uri="{FF2B5EF4-FFF2-40B4-BE49-F238E27FC236}">
                      <a16:creationId xmlns:a16="http://schemas.microsoft.com/office/drawing/2014/main" id="{067BB565-5F95-4283-808D-07C69D099884}"/>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nvGrpSpPr>
                <p:cNvPr id="347" name="Group 226">
                  <a:extLst>
                    <a:ext uri="{FF2B5EF4-FFF2-40B4-BE49-F238E27FC236}">
                      <a16:creationId xmlns:a16="http://schemas.microsoft.com/office/drawing/2014/main" id="{0196796A-E117-4335-AD32-BC8B7B44370A}"/>
                    </a:ext>
                  </a:extLst>
                </p:cNvPr>
                <p:cNvGrpSpPr>
                  <a:grpSpLocks noChangeAspect="1"/>
                </p:cNvGrpSpPr>
                <p:nvPr/>
              </p:nvGrpSpPr>
              <p:grpSpPr bwMode="auto">
                <a:xfrm>
                  <a:off x="3437467" y="4997632"/>
                  <a:ext cx="305517" cy="305518"/>
                  <a:chOff x="5048" y="783"/>
                  <a:chExt cx="340" cy="340"/>
                </a:xfrm>
                <a:solidFill>
                  <a:schemeClr val="bg1"/>
                </a:solidFill>
              </p:grpSpPr>
              <p:sp>
                <p:nvSpPr>
                  <p:cNvPr id="348" name="Freeform 227">
                    <a:extLst>
                      <a:ext uri="{FF2B5EF4-FFF2-40B4-BE49-F238E27FC236}">
                        <a16:creationId xmlns:a16="http://schemas.microsoft.com/office/drawing/2014/main" id="{50F10B53-D44B-402F-87B5-BBC7E162AFE5}"/>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GB" sz="1354" dirty="0"/>
                  </a:p>
                </p:txBody>
              </p:sp>
              <p:sp>
                <p:nvSpPr>
                  <p:cNvPr id="349" name="Freeform 228">
                    <a:extLst>
                      <a:ext uri="{FF2B5EF4-FFF2-40B4-BE49-F238E27FC236}">
                        <a16:creationId xmlns:a16="http://schemas.microsoft.com/office/drawing/2014/main" id="{3960D77F-6139-4B1A-AADB-A85E2F01713C}"/>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GB" sz="1354" dirty="0"/>
                  </a:p>
                </p:txBody>
              </p:sp>
            </p:grpSp>
          </p:grpSp>
          <p:cxnSp>
            <p:nvCxnSpPr>
              <p:cNvPr id="338" name="Straight Connector 337">
                <a:extLst>
                  <a:ext uri="{FF2B5EF4-FFF2-40B4-BE49-F238E27FC236}">
                    <a16:creationId xmlns:a16="http://schemas.microsoft.com/office/drawing/2014/main" id="{B28F518A-4CAD-4F6A-A0D2-21F3759D99D2}"/>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4DB9569C-7485-468A-981C-75B8646033A2}"/>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95BD4F36-1D25-40C7-87ED-FA2DA89FC1F8}"/>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E6D6A594-9260-41AD-9B2D-2A1310509FC3}"/>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D31A9B53-E67E-4D25-89BA-6D7CD996A28C}"/>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BD0D8F90-CD8E-4681-8DB7-EA2D809C1042}"/>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8A1DEDC0-FFAE-44AE-AC18-261FA76D743B}"/>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85B33A9E-1355-48FA-801D-8B04A5A263AE}"/>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33" name="Rectangle 332">
              <a:extLst>
                <a:ext uri="{FF2B5EF4-FFF2-40B4-BE49-F238E27FC236}">
                  <a16:creationId xmlns:a16="http://schemas.microsoft.com/office/drawing/2014/main" id="{3C2BFB03-9328-494C-AE10-9D2406C38782}"/>
                </a:ext>
              </a:extLst>
            </p:cNvPr>
            <p:cNvSpPr/>
            <p:nvPr/>
          </p:nvSpPr>
          <p:spPr>
            <a:xfrm>
              <a:off x="8604456" y="4253209"/>
              <a:ext cx="1115908" cy="277463"/>
            </a:xfrm>
            <a:prstGeom prst="rect">
              <a:avLst/>
            </a:prstGeom>
          </p:spPr>
          <p:txBody>
            <a:bodyPr wrap="square">
              <a:spAutoFit/>
            </a:bodyPr>
            <a:lstStyle/>
            <a:p>
              <a:pPr algn="ctr"/>
              <a:r>
                <a:rPr lang="en-US" sz="752" b="1" dirty="0"/>
                <a:t>Sprint Backlog</a:t>
              </a:r>
            </a:p>
          </p:txBody>
        </p:sp>
      </p:grpSp>
      <p:grpSp>
        <p:nvGrpSpPr>
          <p:cNvPr id="361" name="Group 360">
            <a:extLst>
              <a:ext uri="{FF2B5EF4-FFF2-40B4-BE49-F238E27FC236}">
                <a16:creationId xmlns:a16="http://schemas.microsoft.com/office/drawing/2014/main" id="{A556DE3E-3C26-4822-B400-8F86BE0CF89A}"/>
              </a:ext>
            </a:extLst>
          </p:cNvPr>
          <p:cNvGrpSpPr/>
          <p:nvPr/>
        </p:nvGrpSpPr>
        <p:grpSpPr>
          <a:xfrm>
            <a:off x="9380965" y="3460408"/>
            <a:ext cx="916734" cy="688775"/>
            <a:chOff x="9451861" y="3487467"/>
            <a:chExt cx="1219359" cy="916147"/>
          </a:xfrm>
        </p:grpSpPr>
        <p:pic>
          <p:nvPicPr>
            <p:cNvPr id="362" name="Picture 361">
              <a:extLst>
                <a:ext uri="{FF2B5EF4-FFF2-40B4-BE49-F238E27FC236}">
                  <a16:creationId xmlns:a16="http://schemas.microsoft.com/office/drawing/2014/main" id="{2ABA32CC-C711-4866-AA93-661493D199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98681" y="3487467"/>
              <a:ext cx="507708" cy="622662"/>
            </a:xfrm>
            <a:prstGeom prst="rect">
              <a:avLst/>
            </a:prstGeom>
          </p:spPr>
        </p:pic>
        <p:sp>
          <p:nvSpPr>
            <p:cNvPr id="363" name="Rectangle 362">
              <a:extLst>
                <a:ext uri="{FF2B5EF4-FFF2-40B4-BE49-F238E27FC236}">
                  <a16:creationId xmlns:a16="http://schemas.microsoft.com/office/drawing/2014/main" id="{EA665370-389F-430E-B28C-D1CF251A2A1B}"/>
                </a:ext>
              </a:extLst>
            </p:cNvPr>
            <p:cNvSpPr/>
            <p:nvPr/>
          </p:nvSpPr>
          <p:spPr>
            <a:xfrm>
              <a:off x="9451861" y="4126151"/>
              <a:ext cx="1219359"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Impediment List</a:t>
              </a:r>
            </a:p>
          </p:txBody>
        </p:sp>
      </p:grpSp>
      <p:grpSp>
        <p:nvGrpSpPr>
          <p:cNvPr id="364" name="Group 363">
            <a:extLst>
              <a:ext uri="{FF2B5EF4-FFF2-40B4-BE49-F238E27FC236}">
                <a16:creationId xmlns:a16="http://schemas.microsoft.com/office/drawing/2014/main" id="{5E04AC5C-0F88-4A75-8642-E188A3369ACF}"/>
              </a:ext>
            </a:extLst>
          </p:cNvPr>
          <p:cNvGrpSpPr/>
          <p:nvPr/>
        </p:nvGrpSpPr>
        <p:grpSpPr>
          <a:xfrm>
            <a:off x="8141921" y="4470596"/>
            <a:ext cx="838958" cy="629454"/>
            <a:chOff x="10587376" y="3810233"/>
            <a:chExt cx="1115908" cy="837244"/>
          </a:xfrm>
        </p:grpSpPr>
        <p:grpSp>
          <p:nvGrpSpPr>
            <p:cNvPr id="365" name="Group 364">
              <a:extLst>
                <a:ext uri="{FF2B5EF4-FFF2-40B4-BE49-F238E27FC236}">
                  <a16:creationId xmlns:a16="http://schemas.microsoft.com/office/drawing/2014/main" id="{674C695C-92D8-47E7-A716-B988D61854D7}"/>
                </a:ext>
              </a:extLst>
            </p:cNvPr>
            <p:cNvGrpSpPr/>
            <p:nvPr/>
          </p:nvGrpSpPr>
          <p:grpSpPr>
            <a:xfrm>
              <a:off x="10876726" y="3810233"/>
              <a:ext cx="525213" cy="410894"/>
              <a:chOff x="4480719" y="1094841"/>
              <a:chExt cx="2277304" cy="1781624"/>
            </a:xfrm>
          </p:grpSpPr>
          <p:grpSp>
            <p:nvGrpSpPr>
              <p:cNvPr id="367" name="Group 366">
                <a:extLst>
                  <a:ext uri="{FF2B5EF4-FFF2-40B4-BE49-F238E27FC236}">
                    <a16:creationId xmlns:a16="http://schemas.microsoft.com/office/drawing/2014/main" id="{4E2A0CC2-97A9-4AB8-9349-0A01BD9DE68B}"/>
                  </a:ext>
                </a:extLst>
              </p:cNvPr>
              <p:cNvGrpSpPr/>
              <p:nvPr/>
            </p:nvGrpSpPr>
            <p:grpSpPr>
              <a:xfrm>
                <a:off x="4480719" y="1094841"/>
                <a:ext cx="2277304" cy="1781624"/>
                <a:chOff x="4920717" y="1439069"/>
                <a:chExt cx="1837306" cy="1437396"/>
              </a:xfrm>
            </p:grpSpPr>
            <p:grpSp>
              <p:nvGrpSpPr>
                <p:cNvPr id="383" name="Group 382">
                  <a:extLst>
                    <a:ext uri="{FF2B5EF4-FFF2-40B4-BE49-F238E27FC236}">
                      <a16:creationId xmlns:a16="http://schemas.microsoft.com/office/drawing/2014/main" id="{2A4D8B08-BC60-4126-BEA7-F15D164B1EDB}"/>
                    </a:ext>
                  </a:extLst>
                </p:cNvPr>
                <p:cNvGrpSpPr/>
                <p:nvPr/>
              </p:nvGrpSpPr>
              <p:grpSpPr>
                <a:xfrm>
                  <a:off x="4920717" y="1662738"/>
                  <a:ext cx="1837306" cy="1213727"/>
                  <a:chOff x="1364343" y="2171201"/>
                  <a:chExt cx="5924088" cy="3913464"/>
                </a:xfrm>
              </p:grpSpPr>
              <p:sp>
                <p:nvSpPr>
                  <p:cNvPr id="393" name="Rounded Rectangle 28">
                    <a:extLst>
                      <a:ext uri="{FF2B5EF4-FFF2-40B4-BE49-F238E27FC236}">
                        <a16:creationId xmlns:a16="http://schemas.microsoft.com/office/drawing/2014/main" id="{12F13264-88C0-4CE0-A9DF-1ADACFD001AF}"/>
                      </a:ext>
                    </a:extLst>
                  </p:cNvPr>
                  <p:cNvSpPr/>
                  <p:nvPr/>
                </p:nvSpPr>
                <p:spPr bwMode="gray">
                  <a:xfrm>
                    <a:off x="1364343" y="2171201"/>
                    <a:ext cx="5796613" cy="3804969"/>
                  </a:xfrm>
                  <a:prstGeom prst="roundRect">
                    <a:avLst>
                      <a:gd name="adj" fmla="val 1948"/>
                    </a:avLst>
                  </a:prstGeom>
                  <a:solidFill>
                    <a:schemeClr val="bg1"/>
                  </a:solidFill>
                  <a:ln w="12700" algn="ctr">
                    <a:solidFill>
                      <a:srgbClr val="86BC25"/>
                    </a:solid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sp>
                <p:nvSpPr>
                  <p:cNvPr id="394" name="Rectangle 393">
                    <a:extLst>
                      <a:ext uri="{FF2B5EF4-FFF2-40B4-BE49-F238E27FC236}">
                        <a16:creationId xmlns:a16="http://schemas.microsoft.com/office/drawing/2014/main" id="{222DCCC4-7029-44B3-BFA1-F9BD002D7F40}"/>
                      </a:ext>
                    </a:extLst>
                  </p:cNvPr>
                  <p:cNvSpPr/>
                  <p:nvPr/>
                </p:nvSpPr>
                <p:spPr bwMode="gray">
                  <a:xfrm>
                    <a:off x="1527569" y="2323062"/>
                    <a:ext cx="5470161" cy="3501247"/>
                  </a:xfrm>
                  <a:prstGeom prst="rect">
                    <a:avLst/>
                  </a:prstGeom>
                  <a:noFill/>
                  <a:ln w="12700" algn="ctr">
                    <a:solidFill>
                      <a:srgbClr val="00ABAB"/>
                    </a:solidFill>
                    <a:prstDash val="sysDot"/>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nvGrpSpPr>
                  <p:cNvPr id="395" name="Group 394">
                    <a:extLst>
                      <a:ext uri="{FF2B5EF4-FFF2-40B4-BE49-F238E27FC236}">
                        <a16:creationId xmlns:a16="http://schemas.microsoft.com/office/drawing/2014/main" id="{BF694BBB-E4BE-4373-8741-5D8C350014AD}"/>
                      </a:ext>
                    </a:extLst>
                  </p:cNvPr>
                  <p:cNvGrpSpPr/>
                  <p:nvPr/>
                </p:nvGrpSpPr>
                <p:grpSpPr>
                  <a:xfrm>
                    <a:off x="5868157" y="5040386"/>
                    <a:ext cx="1420274" cy="1044279"/>
                    <a:chOff x="7590809" y="5020516"/>
                    <a:chExt cx="1420274" cy="1044279"/>
                  </a:xfrm>
                </p:grpSpPr>
                <p:grpSp>
                  <p:nvGrpSpPr>
                    <p:cNvPr id="396" name="Group 395">
                      <a:extLst>
                        <a:ext uri="{FF2B5EF4-FFF2-40B4-BE49-F238E27FC236}">
                          <a16:creationId xmlns:a16="http://schemas.microsoft.com/office/drawing/2014/main" id="{7634807D-1B03-450F-9726-D5C83FC7EFEF}"/>
                        </a:ext>
                      </a:extLst>
                    </p:cNvPr>
                    <p:cNvGrpSpPr/>
                    <p:nvPr/>
                  </p:nvGrpSpPr>
                  <p:grpSpPr>
                    <a:xfrm rot="2700000">
                      <a:off x="8912807" y="5102582"/>
                      <a:ext cx="97666" cy="98886"/>
                      <a:chOff x="9987239" y="5621210"/>
                      <a:chExt cx="110620" cy="112002"/>
                    </a:xfrm>
                  </p:grpSpPr>
                  <p:sp>
                    <p:nvSpPr>
                      <p:cNvPr id="407" name="Line 20">
                        <a:extLst>
                          <a:ext uri="{FF2B5EF4-FFF2-40B4-BE49-F238E27FC236}">
                            <a16:creationId xmlns:a16="http://schemas.microsoft.com/office/drawing/2014/main" id="{99B0FB40-F14C-4674-894F-B1E21D6E504B}"/>
                          </a:ext>
                        </a:extLst>
                      </p:cNvPr>
                      <p:cNvSpPr>
                        <a:spLocks noChangeShapeType="1"/>
                      </p:cNvSpPr>
                      <p:nvPr/>
                    </p:nvSpPr>
                    <p:spPr bwMode="auto">
                      <a:xfrm>
                        <a:off x="10042549" y="5621210"/>
                        <a:ext cx="0" cy="31804"/>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408" name="Line 21">
                        <a:extLst>
                          <a:ext uri="{FF2B5EF4-FFF2-40B4-BE49-F238E27FC236}">
                            <a16:creationId xmlns:a16="http://schemas.microsoft.com/office/drawing/2014/main" id="{42139931-7CE5-4718-AF2D-843E5D0D626B}"/>
                          </a:ext>
                        </a:extLst>
                      </p:cNvPr>
                      <p:cNvSpPr>
                        <a:spLocks noChangeShapeType="1"/>
                      </p:cNvSpPr>
                      <p:nvPr/>
                    </p:nvSpPr>
                    <p:spPr bwMode="auto">
                      <a:xfrm>
                        <a:off x="10042549" y="5700026"/>
                        <a:ext cx="0" cy="33186"/>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409" name="Line 22">
                        <a:extLst>
                          <a:ext uri="{FF2B5EF4-FFF2-40B4-BE49-F238E27FC236}">
                            <a16:creationId xmlns:a16="http://schemas.microsoft.com/office/drawing/2014/main" id="{8763937A-A46E-4D2D-9E1B-8F108C15AAB1}"/>
                          </a:ext>
                        </a:extLst>
                      </p:cNvPr>
                      <p:cNvSpPr>
                        <a:spLocks noChangeShapeType="1"/>
                      </p:cNvSpPr>
                      <p:nvPr/>
                    </p:nvSpPr>
                    <p:spPr bwMode="auto">
                      <a:xfrm flipH="1">
                        <a:off x="10064673"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410" name="Line 23">
                        <a:extLst>
                          <a:ext uri="{FF2B5EF4-FFF2-40B4-BE49-F238E27FC236}">
                            <a16:creationId xmlns:a16="http://schemas.microsoft.com/office/drawing/2014/main" id="{33CAA60C-C8CD-4ACD-9331-73DB3BAAE3CB}"/>
                          </a:ext>
                        </a:extLst>
                      </p:cNvPr>
                      <p:cNvSpPr>
                        <a:spLocks noChangeShapeType="1"/>
                      </p:cNvSpPr>
                      <p:nvPr/>
                    </p:nvSpPr>
                    <p:spPr bwMode="auto">
                      <a:xfrm flipH="1">
                        <a:off x="9987239"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grpSp>
                  <p:nvGrpSpPr>
                    <p:cNvPr id="397" name="Group 396">
                      <a:extLst>
                        <a:ext uri="{FF2B5EF4-FFF2-40B4-BE49-F238E27FC236}">
                          <a16:creationId xmlns:a16="http://schemas.microsoft.com/office/drawing/2014/main" id="{A796313B-711E-47CC-B610-0974A86CC928}"/>
                        </a:ext>
                      </a:extLst>
                    </p:cNvPr>
                    <p:cNvGrpSpPr/>
                    <p:nvPr/>
                  </p:nvGrpSpPr>
                  <p:grpSpPr>
                    <a:xfrm>
                      <a:off x="7590809" y="5209427"/>
                      <a:ext cx="1374405" cy="855368"/>
                      <a:chOff x="7590809" y="5209427"/>
                      <a:chExt cx="1374405" cy="855368"/>
                    </a:xfrm>
                  </p:grpSpPr>
                  <p:sp>
                    <p:nvSpPr>
                      <p:cNvPr id="401" name="Rounded Rectangle 90">
                        <a:extLst>
                          <a:ext uri="{FF2B5EF4-FFF2-40B4-BE49-F238E27FC236}">
                            <a16:creationId xmlns:a16="http://schemas.microsoft.com/office/drawing/2014/main" id="{69E25F07-4AE2-48A8-B3DC-34597CF81A8A}"/>
                          </a:ext>
                        </a:extLst>
                      </p:cNvPr>
                      <p:cNvSpPr/>
                      <p:nvPr/>
                    </p:nvSpPr>
                    <p:spPr bwMode="gray">
                      <a:xfrm flipH="1" flipV="1">
                        <a:off x="8075037" y="5209427"/>
                        <a:ext cx="890177" cy="823566"/>
                      </a:xfrm>
                      <a:custGeom>
                        <a:avLst/>
                        <a:gdLst>
                          <a:gd name="connsiteX0" fmla="*/ 0 w 6095195"/>
                          <a:gd name="connsiteY0" fmla="*/ 124917 h 3804969"/>
                          <a:gd name="connsiteX1" fmla="*/ 124917 w 6095195"/>
                          <a:gd name="connsiteY1" fmla="*/ 0 h 3804969"/>
                          <a:gd name="connsiteX2" fmla="*/ 5970278 w 6095195"/>
                          <a:gd name="connsiteY2" fmla="*/ 0 h 3804969"/>
                          <a:gd name="connsiteX3" fmla="*/ 6095195 w 6095195"/>
                          <a:gd name="connsiteY3" fmla="*/ 124917 h 3804969"/>
                          <a:gd name="connsiteX4" fmla="*/ 6095195 w 6095195"/>
                          <a:gd name="connsiteY4" fmla="*/ 3680052 h 3804969"/>
                          <a:gd name="connsiteX5" fmla="*/ 5970278 w 6095195"/>
                          <a:gd name="connsiteY5" fmla="*/ 3804969 h 3804969"/>
                          <a:gd name="connsiteX6" fmla="*/ 124917 w 6095195"/>
                          <a:gd name="connsiteY6" fmla="*/ 3804969 h 3804969"/>
                          <a:gd name="connsiteX7" fmla="*/ 0 w 6095195"/>
                          <a:gd name="connsiteY7" fmla="*/ 3680052 h 3804969"/>
                          <a:gd name="connsiteX8" fmla="*/ 0 w 6095195"/>
                          <a:gd name="connsiteY8" fmla="*/ 124917 h 3804969"/>
                          <a:gd name="connsiteX0" fmla="*/ 6095195 w 6186635"/>
                          <a:gd name="connsiteY0" fmla="*/ 124917 h 3804969"/>
                          <a:gd name="connsiteX1" fmla="*/ 6095195 w 6186635"/>
                          <a:gd name="connsiteY1" fmla="*/ 3680052 h 3804969"/>
                          <a:gd name="connsiteX2" fmla="*/ 5970278 w 6186635"/>
                          <a:gd name="connsiteY2" fmla="*/ 3804969 h 3804969"/>
                          <a:gd name="connsiteX3" fmla="*/ 124917 w 6186635"/>
                          <a:gd name="connsiteY3" fmla="*/ 3804969 h 3804969"/>
                          <a:gd name="connsiteX4" fmla="*/ 0 w 6186635"/>
                          <a:gd name="connsiteY4" fmla="*/ 3680052 h 3804969"/>
                          <a:gd name="connsiteX5" fmla="*/ 0 w 6186635"/>
                          <a:gd name="connsiteY5" fmla="*/ 124917 h 3804969"/>
                          <a:gd name="connsiteX6" fmla="*/ 124917 w 6186635"/>
                          <a:gd name="connsiteY6" fmla="*/ 0 h 3804969"/>
                          <a:gd name="connsiteX7" fmla="*/ 5970278 w 6186635"/>
                          <a:gd name="connsiteY7" fmla="*/ 0 h 3804969"/>
                          <a:gd name="connsiteX8" fmla="*/ 6186635 w 6186635"/>
                          <a:gd name="connsiteY8" fmla="*/ 216357 h 3804969"/>
                          <a:gd name="connsiteX0" fmla="*/ 6095195 w 6095195"/>
                          <a:gd name="connsiteY0" fmla="*/ 124917 h 3804969"/>
                          <a:gd name="connsiteX1" fmla="*/ 6095195 w 6095195"/>
                          <a:gd name="connsiteY1" fmla="*/ 3680052 h 3804969"/>
                          <a:gd name="connsiteX2" fmla="*/ 5970278 w 6095195"/>
                          <a:gd name="connsiteY2" fmla="*/ 3804969 h 3804969"/>
                          <a:gd name="connsiteX3" fmla="*/ 124917 w 6095195"/>
                          <a:gd name="connsiteY3" fmla="*/ 3804969 h 3804969"/>
                          <a:gd name="connsiteX4" fmla="*/ 0 w 6095195"/>
                          <a:gd name="connsiteY4" fmla="*/ 3680052 h 3804969"/>
                          <a:gd name="connsiteX5" fmla="*/ 0 w 6095195"/>
                          <a:gd name="connsiteY5" fmla="*/ 124917 h 3804969"/>
                          <a:gd name="connsiteX6" fmla="*/ 124917 w 6095195"/>
                          <a:gd name="connsiteY6" fmla="*/ 0 h 3804969"/>
                          <a:gd name="connsiteX7" fmla="*/ 5970278 w 6095195"/>
                          <a:gd name="connsiteY7" fmla="*/ 0 h 3804969"/>
                          <a:gd name="connsiteX0" fmla="*/ 6095195 w 6095195"/>
                          <a:gd name="connsiteY0" fmla="*/ 3680052 h 3804969"/>
                          <a:gd name="connsiteX1" fmla="*/ 5970278 w 6095195"/>
                          <a:gd name="connsiteY1" fmla="*/ 3804969 h 3804969"/>
                          <a:gd name="connsiteX2" fmla="*/ 124917 w 6095195"/>
                          <a:gd name="connsiteY2" fmla="*/ 3804969 h 3804969"/>
                          <a:gd name="connsiteX3" fmla="*/ 0 w 6095195"/>
                          <a:gd name="connsiteY3" fmla="*/ 3680052 h 3804969"/>
                          <a:gd name="connsiteX4" fmla="*/ 0 w 6095195"/>
                          <a:gd name="connsiteY4" fmla="*/ 124917 h 3804969"/>
                          <a:gd name="connsiteX5" fmla="*/ 124917 w 6095195"/>
                          <a:gd name="connsiteY5" fmla="*/ 0 h 3804969"/>
                          <a:gd name="connsiteX6" fmla="*/ 5970278 w 6095195"/>
                          <a:gd name="connsiteY6" fmla="*/ 0 h 3804969"/>
                          <a:gd name="connsiteX0" fmla="*/ 6095195 w 6095195"/>
                          <a:gd name="connsiteY0" fmla="*/ 3680052 h 3804969"/>
                          <a:gd name="connsiteX1" fmla="*/ 5970278 w 6095195"/>
                          <a:gd name="connsiteY1" fmla="*/ 3804969 h 3804969"/>
                          <a:gd name="connsiteX2" fmla="*/ 124917 w 6095195"/>
                          <a:gd name="connsiteY2" fmla="*/ 3804969 h 3804969"/>
                          <a:gd name="connsiteX3" fmla="*/ 0 w 6095195"/>
                          <a:gd name="connsiteY3" fmla="*/ 3680052 h 3804969"/>
                          <a:gd name="connsiteX4" fmla="*/ 0 w 6095195"/>
                          <a:gd name="connsiteY4" fmla="*/ 124917 h 3804969"/>
                          <a:gd name="connsiteX5" fmla="*/ 124917 w 6095195"/>
                          <a:gd name="connsiteY5" fmla="*/ 0 h 3804969"/>
                          <a:gd name="connsiteX6" fmla="*/ 5970278 w 6095195"/>
                          <a:gd name="connsiteY6" fmla="*/ 0 h 3804969"/>
                          <a:gd name="connsiteX0" fmla="*/ 5970278 w 5970278"/>
                          <a:gd name="connsiteY0" fmla="*/ 3804969 h 3804969"/>
                          <a:gd name="connsiteX1" fmla="*/ 124917 w 5970278"/>
                          <a:gd name="connsiteY1" fmla="*/ 3804969 h 3804969"/>
                          <a:gd name="connsiteX2" fmla="*/ 0 w 5970278"/>
                          <a:gd name="connsiteY2" fmla="*/ 3680052 h 3804969"/>
                          <a:gd name="connsiteX3" fmla="*/ 0 w 5970278"/>
                          <a:gd name="connsiteY3" fmla="*/ 124917 h 3804969"/>
                          <a:gd name="connsiteX4" fmla="*/ 124917 w 5970278"/>
                          <a:gd name="connsiteY4" fmla="*/ 0 h 3804969"/>
                          <a:gd name="connsiteX5" fmla="*/ 5970278 w 5970278"/>
                          <a:gd name="connsiteY5" fmla="*/ 0 h 3804969"/>
                          <a:gd name="connsiteX0" fmla="*/ 5970278 w 5970278"/>
                          <a:gd name="connsiteY0" fmla="*/ 3804969 h 3804969"/>
                          <a:gd name="connsiteX1" fmla="*/ 0 w 5970278"/>
                          <a:gd name="connsiteY1" fmla="*/ 3680052 h 3804969"/>
                          <a:gd name="connsiteX2" fmla="*/ 0 w 5970278"/>
                          <a:gd name="connsiteY2" fmla="*/ 124917 h 3804969"/>
                          <a:gd name="connsiteX3" fmla="*/ 124917 w 5970278"/>
                          <a:gd name="connsiteY3" fmla="*/ 0 h 3804969"/>
                          <a:gd name="connsiteX4" fmla="*/ 5970278 w 5970278"/>
                          <a:gd name="connsiteY4" fmla="*/ 0 h 3804969"/>
                          <a:gd name="connsiteX0" fmla="*/ 0 w 5970278"/>
                          <a:gd name="connsiteY0" fmla="*/ 3680052 h 3680052"/>
                          <a:gd name="connsiteX1" fmla="*/ 0 w 5970278"/>
                          <a:gd name="connsiteY1" fmla="*/ 124917 h 3680052"/>
                          <a:gd name="connsiteX2" fmla="*/ 124917 w 5970278"/>
                          <a:gd name="connsiteY2" fmla="*/ 0 h 3680052"/>
                          <a:gd name="connsiteX3" fmla="*/ 5970278 w 5970278"/>
                          <a:gd name="connsiteY3" fmla="*/ 0 h 3680052"/>
                          <a:gd name="connsiteX0" fmla="*/ 0 w 5970278"/>
                          <a:gd name="connsiteY0" fmla="*/ 3680198 h 3680198"/>
                          <a:gd name="connsiteX1" fmla="*/ 0 w 5970278"/>
                          <a:gd name="connsiteY1" fmla="*/ 125063 h 3680198"/>
                          <a:gd name="connsiteX2" fmla="*/ 124917 w 5970278"/>
                          <a:gd name="connsiteY2" fmla="*/ 146 h 3680198"/>
                          <a:gd name="connsiteX3" fmla="*/ 884488 w 5970278"/>
                          <a:gd name="connsiteY3" fmla="*/ 0 h 3680198"/>
                          <a:gd name="connsiteX4" fmla="*/ 5970278 w 5970278"/>
                          <a:gd name="connsiteY4" fmla="*/ 146 h 3680198"/>
                          <a:gd name="connsiteX0" fmla="*/ 0 w 884488"/>
                          <a:gd name="connsiteY0" fmla="*/ 3680198 h 3680198"/>
                          <a:gd name="connsiteX1" fmla="*/ 0 w 884488"/>
                          <a:gd name="connsiteY1" fmla="*/ 125063 h 3680198"/>
                          <a:gd name="connsiteX2" fmla="*/ 124917 w 884488"/>
                          <a:gd name="connsiteY2" fmla="*/ 146 h 3680198"/>
                          <a:gd name="connsiteX3" fmla="*/ 884488 w 884488"/>
                          <a:gd name="connsiteY3" fmla="*/ 0 h 3680198"/>
                          <a:gd name="connsiteX0" fmla="*/ 5689 w 890177"/>
                          <a:gd name="connsiteY0" fmla="*/ 3680198 h 3680198"/>
                          <a:gd name="connsiteX1" fmla="*/ 0 w 890177"/>
                          <a:gd name="connsiteY1" fmla="*/ 823566 h 3680198"/>
                          <a:gd name="connsiteX2" fmla="*/ 5689 w 890177"/>
                          <a:gd name="connsiteY2" fmla="*/ 125063 h 3680198"/>
                          <a:gd name="connsiteX3" fmla="*/ 130606 w 890177"/>
                          <a:gd name="connsiteY3" fmla="*/ 146 h 3680198"/>
                          <a:gd name="connsiteX4" fmla="*/ 890177 w 890177"/>
                          <a:gd name="connsiteY4" fmla="*/ 0 h 3680198"/>
                          <a:gd name="connsiteX0" fmla="*/ 0 w 890177"/>
                          <a:gd name="connsiteY0" fmla="*/ 823566 h 823566"/>
                          <a:gd name="connsiteX1" fmla="*/ 5689 w 890177"/>
                          <a:gd name="connsiteY1" fmla="*/ 125063 h 823566"/>
                          <a:gd name="connsiteX2" fmla="*/ 130606 w 890177"/>
                          <a:gd name="connsiteY2" fmla="*/ 146 h 823566"/>
                          <a:gd name="connsiteX3" fmla="*/ 890177 w 890177"/>
                          <a:gd name="connsiteY3" fmla="*/ 0 h 823566"/>
                        </a:gdLst>
                        <a:ahLst/>
                        <a:cxnLst>
                          <a:cxn ang="0">
                            <a:pos x="connsiteX0" y="connsiteY0"/>
                          </a:cxn>
                          <a:cxn ang="0">
                            <a:pos x="connsiteX1" y="connsiteY1"/>
                          </a:cxn>
                          <a:cxn ang="0">
                            <a:pos x="connsiteX2" y="connsiteY2"/>
                          </a:cxn>
                          <a:cxn ang="0">
                            <a:pos x="connsiteX3" y="connsiteY3"/>
                          </a:cxn>
                        </a:cxnLst>
                        <a:rect l="l" t="t" r="r" b="b"/>
                        <a:pathLst>
                          <a:path w="890177" h="823566">
                            <a:moveTo>
                              <a:pt x="0" y="823566"/>
                            </a:moveTo>
                            <a:cubicBezTo>
                              <a:pt x="1896" y="590732"/>
                              <a:pt x="3793" y="357897"/>
                              <a:pt x="5689" y="125063"/>
                            </a:cubicBezTo>
                            <a:cubicBezTo>
                              <a:pt x="5689" y="56073"/>
                              <a:pt x="61616" y="146"/>
                              <a:pt x="130606" y="146"/>
                            </a:cubicBezTo>
                            <a:lnTo>
                              <a:pt x="890177" y="0"/>
                            </a:lnTo>
                          </a:path>
                        </a:pathLst>
                      </a:custGeom>
                      <a:noFill/>
                      <a:ln w="19050" algn="ctr">
                        <a:solidFill>
                          <a:srgbClr val="00ABAB"/>
                        </a:solidFill>
                        <a:prstDash val="sysDot"/>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sp>
                    <p:nvSpPr>
                      <p:cNvPr id="402" name="Freeform 8">
                        <a:extLst>
                          <a:ext uri="{FF2B5EF4-FFF2-40B4-BE49-F238E27FC236}">
                            <a16:creationId xmlns:a16="http://schemas.microsoft.com/office/drawing/2014/main" id="{F7F00F22-5D74-435F-82E4-76B80C102BA8}"/>
                          </a:ext>
                        </a:extLst>
                      </p:cNvPr>
                      <p:cNvSpPr>
                        <a:spLocks/>
                      </p:cNvSpPr>
                      <p:nvPr/>
                    </p:nvSpPr>
                    <p:spPr bwMode="auto">
                      <a:xfrm>
                        <a:off x="7590809" y="6001189"/>
                        <a:ext cx="63606" cy="63606"/>
                      </a:xfrm>
                      <a:custGeom>
                        <a:avLst/>
                        <a:gdLst>
                          <a:gd name="T0" fmla="*/ 46 w 46"/>
                          <a:gd name="T1" fmla="*/ 15 h 46"/>
                          <a:gd name="T2" fmla="*/ 31 w 46"/>
                          <a:gd name="T3" fmla="*/ 46 h 46"/>
                          <a:gd name="T4" fmla="*/ 0 w 46"/>
                          <a:gd name="T5" fmla="*/ 31 h 46"/>
                          <a:gd name="T6" fmla="*/ 15 w 46"/>
                          <a:gd name="T7" fmla="*/ 0 h 46"/>
                          <a:gd name="T8" fmla="*/ 46 w 46"/>
                          <a:gd name="T9" fmla="*/ 15 h 46"/>
                        </a:gdLst>
                        <a:ahLst/>
                        <a:cxnLst>
                          <a:cxn ang="0">
                            <a:pos x="T0" y="T1"/>
                          </a:cxn>
                          <a:cxn ang="0">
                            <a:pos x="T2" y="T3"/>
                          </a:cxn>
                          <a:cxn ang="0">
                            <a:pos x="T4" y="T5"/>
                          </a:cxn>
                          <a:cxn ang="0">
                            <a:pos x="T6" y="T7"/>
                          </a:cxn>
                          <a:cxn ang="0">
                            <a:pos x="T8" y="T9"/>
                          </a:cxn>
                        </a:cxnLst>
                        <a:rect l="0" t="0" r="r" b="b"/>
                        <a:pathLst>
                          <a:path w="46" h="46">
                            <a:moveTo>
                              <a:pt x="46" y="15"/>
                            </a:moveTo>
                            <a:lnTo>
                              <a:pt x="31" y="46"/>
                            </a:lnTo>
                            <a:lnTo>
                              <a:pt x="0" y="31"/>
                            </a:lnTo>
                            <a:lnTo>
                              <a:pt x="15" y="0"/>
                            </a:lnTo>
                            <a:lnTo>
                              <a:pt x="46" y="15"/>
                            </a:lnTo>
                            <a:close/>
                          </a:path>
                        </a:pathLst>
                      </a:custGeom>
                      <a:solidFill>
                        <a:srgbClr val="000000"/>
                      </a:solidFill>
                      <a:ln w="9525">
                        <a:solidFill>
                          <a:srgbClr val="FFFFFF"/>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grpSp>
                    <p:nvGrpSpPr>
                      <p:cNvPr id="403" name="Group 402">
                        <a:extLst>
                          <a:ext uri="{FF2B5EF4-FFF2-40B4-BE49-F238E27FC236}">
                            <a16:creationId xmlns:a16="http://schemas.microsoft.com/office/drawing/2014/main" id="{C8017E3C-CD6C-4E6B-A1ED-41E09C44737C}"/>
                          </a:ext>
                        </a:extLst>
                      </p:cNvPr>
                      <p:cNvGrpSpPr/>
                      <p:nvPr/>
                    </p:nvGrpSpPr>
                    <p:grpSpPr>
                      <a:xfrm>
                        <a:off x="7730615" y="6017525"/>
                        <a:ext cx="268222" cy="45719"/>
                        <a:chOff x="13267244" y="1468053"/>
                        <a:chExt cx="353456" cy="60248"/>
                      </a:xfrm>
                      <a:solidFill>
                        <a:srgbClr val="000000"/>
                      </a:solidFill>
                    </p:grpSpPr>
                    <p:sp>
                      <p:nvSpPr>
                        <p:cNvPr id="404" name="Freeform 24">
                          <a:extLst>
                            <a:ext uri="{FF2B5EF4-FFF2-40B4-BE49-F238E27FC236}">
                              <a16:creationId xmlns:a16="http://schemas.microsoft.com/office/drawing/2014/main" id="{5241CE7D-3E37-44EE-9584-E833B41ECA7D}"/>
                            </a:ext>
                          </a:extLst>
                        </p:cNvPr>
                        <p:cNvSpPr>
                          <a:spLocks/>
                        </p:cNvSpPr>
                        <p:nvPr/>
                      </p:nvSpPr>
                      <p:spPr bwMode="auto">
                        <a:xfrm>
                          <a:off x="13560452"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405" name="Freeform 25">
                          <a:extLst>
                            <a:ext uri="{FF2B5EF4-FFF2-40B4-BE49-F238E27FC236}">
                              <a16:creationId xmlns:a16="http://schemas.microsoft.com/office/drawing/2014/main" id="{25DFFD75-F361-4B30-A151-FF61A87BFC71}"/>
                            </a:ext>
                          </a:extLst>
                        </p:cNvPr>
                        <p:cNvSpPr>
                          <a:spLocks/>
                        </p:cNvSpPr>
                        <p:nvPr/>
                      </p:nvSpPr>
                      <p:spPr bwMode="auto">
                        <a:xfrm>
                          <a:off x="13413847"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406" name="Freeform 26">
                          <a:extLst>
                            <a:ext uri="{FF2B5EF4-FFF2-40B4-BE49-F238E27FC236}">
                              <a16:creationId xmlns:a16="http://schemas.microsoft.com/office/drawing/2014/main" id="{789BFAB6-49C3-4BF0-B59A-829DF1EA51BC}"/>
                            </a:ext>
                          </a:extLst>
                        </p:cNvPr>
                        <p:cNvSpPr>
                          <a:spLocks/>
                        </p:cNvSpPr>
                        <p:nvPr/>
                      </p:nvSpPr>
                      <p:spPr bwMode="auto">
                        <a:xfrm>
                          <a:off x="13267244"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746" tIns="34374" rIns="68746" bIns="34374" numCol="1" anchor="t" anchorCtr="0" compatLnSpc="1">
                          <a:prstTxWarp prst="textNoShape">
                            <a:avLst/>
                          </a:prstTxWarp>
                        </a:bodyPr>
                        <a:lstStyle/>
                        <a:p>
                          <a:endParaRPr lang="en-US" sz="1354" dirty="0"/>
                        </a:p>
                      </p:txBody>
                    </p:sp>
                  </p:grpSp>
                </p:grpSp>
                <p:grpSp>
                  <p:nvGrpSpPr>
                    <p:cNvPr id="398" name="Group 397">
                      <a:extLst>
                        <a:ext uri="{FF2B5EF4-FFF2-40B4-BE49-F238E27FC236}">
                          <a16:creationId xmlns:a16="http://schemas.microsoft.com/office/drawing/2014/main" id="{AAC2D71C-0819-496B-AC88-99D351BA20D2}"/>
                        </a:ext>
                      </a:extLst>
                    </p:cNvPr>
                    <p:cNvGrpSpPr/>
                    <p:nvPr/>
                  </p:nvGrpSpPr>
                  <p:grpSpPr>
                    <a:xfrm>
                      <a:off x="8923091" y="5020516"/>
                      <a:ext cx="61047" cy="61792"/>
                      <a:chOff x="11477325" y="5164988"/>
                      <a:chExt cx="164679" cy="166688"/>
                    </a:xfrm>
                    <a:noFill/>
                  </p:grpSpPr>
                  <p:sp>
                    <p:nvSpPr>
                      <p:cNvPr id="399" name="Freeform 874">
                        <a:extLst>
                          <a:ext uri="{FF2B5EF4-FFF2-40B4-BE49-F238E27FC236}">
                            <a16:creationId xmlns:a16="http://schemas.microsoft.com/office/drawing/2014/main" id="{9839DEF9-2085-4EF3-A1E0-D4B3DD134199}"/>
                          </a:ext>
                        </a:extLst>
                      </p:cNvPr>
                      <p:cNvSpPr>
                        <a:spLocks/>
                      </p:cNvSpPr>
                      <p:nvPr/>
                    </p:nvSpPr>
                    <p:spPr bwMode="auto">
                      <a:xfrm>
                        <a:off x="11477325" y="5164988"/>
                        <a:ext cx="164679" cy="166688"/>
                      </a:xfrm>
                      <a:custGeom>
                        <a:avLst/>
                        <a:gdLst>
                          <a:gd name="T0" fmla="*/ 0 w 66"/>
                          <a:gd name="T1" fmla="*/ 33 h 66"/>
                          <a:gd name="T2" fmla="*/ 33 w 66"/>
                          <a:gd name="T3" fmla="*/ 0 h 66"/>
                          <a:gd name="T4" fmla="*/ 66 w 66"/>
                          <a:gd name="T5" fmla="*/ 33 h 66"/>
                          <a:gd name="T6" fmla="*/ 33 w 66"/>
                          <a:gd name="T7" fmla="*/ 66 h 66"/>
                          <a:gd name="T8" fmla="*/ 0 w 66"/>
                          <a:gd name="T9" fmla="*/ 33 h 66"/>
                        </a:gdLst>
                        <a:ahLst/>
                        <a:cxnLst>
                          <a:cxn ang="0">
                            <a:pos x="T0" y="T1"/>
                          </a:cxn>
                          <a:cxn ang="0">
                            <a:pos x="T2" y="T3"/>
                          </a:cxn>
                          <a:cxn ang="0">
                            <a:pos x="T4" y="T5"/>
                          </a:cxn>
                          <a:cxn ang="0">
                            <a:pos x="T6" y="T7"/>
                          </a:cxn>
                          <a:cxn ang="0">
                            <a:pos x="T8" y="T9"/>
                          </a:cxn>
                        </a:cxnLst>
                        <a:rect l="0" t="0" r="r" b="b"/>
                        <a:pathLst>
                          <a:path w="66" h="66">
                            <a:moveTo>
                              <a:pt x="0" y="33"/>
                            </a:moveTo>
                            <a:cubicBezTo>
                              <a:pt x="16" y="24"/>
                              <a:pt x="26" y="15"/>
                              <a:pt x="33" y="0"/>
                            </a:cubicBezTo>
                            <a:cubicBezTo>
                              <a:pt x="40" y="15"/>
                              <a:pt x="50" y="24"/>
                              <a:pt x="66" y="33"/>
                            </a:cubicBezTo>
                            <a:cubicBezTo>
                              <a:pt x="50" y="42"/>
                              <a:pt x="40" y="51"/>
                              <a:pt x="33" y="66"/>
                            </a:cubicBezTo>
                            <a:cubicBezTo>
                              <a:pt x="26" y="51"/>
                              <a:pt x="16" y="42"/>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400" name="Freeform 875">
                        <a:extLst>
                          <a:ext uri="{FF2B5EF4-FFF2-40B4-BE49-F238E27FC236}">
                            <a16:creationId xmlns:a16="http://schemas.microsoft.com/office/drawing/2014/main" id="{04D15F38-3AE7-4D78-8ADD-42C63F60EA5F}"/>
                          </a:ext>
                        </a:extLst>
                      </p:cNvPr>
                      <p:cNvSpPr>
                        <a:spLocks/>
                      </p:cNvSpPr>
                      <p:nvPr/>
                    </p:nvSpPr>
                    <p:spPr bwMode="auto">
                      <a:xfrm>
                        <a:off x="11477325" y="5164988"/>
                        <a:ext cx="164679" cy="166688"/>
                      </a:xfrm>
                      <a:custGeom>
                        <a:avLst/>
                        <a:gdLst>
                          <a:gd name="T0" fmla="*/ 0 w 66"/>
                          <a:gd name="T1" fmla="*/ 33 h 66"/>
                          <a:gd name="T2" fmla="*/ 33 w 66"/>
                          <a:gd name="T3" fmla="*/ 0 h 66"/>
                          <a:gd name="T4" fmla="*/ 66 w 66"/>
                          <a:gd name="T5" fmla="*/ 33 h 66"/>
                          <a:gd name="T6" fmla="*/ 33 w 66"/>
                          <a:gd name="T7" fmla="*/ 66 h 66"/>
                          <a:gd name="T8" fmla="*/ 0 w 66"/>
                          <a:gd name="T9" fmla="*/ 33 h 66"/>
                        </a:gdLst>
                        <a:ahLst/>
                        <a:cxnLst>
                          <a:cxn ang="0">
                            <a:pos x="T0" y="T1"/>
                          </a:cxn>
                          <a:cxn ang="0">
                            <a:pos x="T2" y="T3"/>
                          </a:cxn>
                          <a:cxn ang="0">
                            <a:pos x="T4" y="T5"/>
                          </a:cxn>
                          <a:cxn ang="0">
                            <a:pos x="T6" y="T7"/>
                          </a:cxn>
                          <a:cxn ang="0">
                            <a:pos x="T8" y="T9"/>
                          </a:cxn>
                        </a:cxnLst>
                        <a:rect l="0" t="0" r="r" b="b"/>
                        <a:pathLst>
                          <a:path w="66" h="66">
                            <a:moveTo>
                              <a:pt x="0" y="33"/>
                            </a:moveTo>
                            <a:cubicBezTo>
                              <a:pt x="16" y="24"/>
                              <a:pt x="26" y="15"/>
                              <a:pt x="33" y="0"/>
                            </a:cubicBezTo>
                            <a:cubicBezTo>
                              <a:pt x="40" y="15"/>
                              <a:pt x="50" y="24"/>
                              <a:pt x="66" y="33"/>
                            </a:cubicBezTo>
                            <a:cubicBezTo>
                              <a:pt x="50" y="42"/>
                              <a:pt x="40" y="51"/>
                              <a:pt x="33" y="66"/>
                            </a:cubicBezTo>
                            <a:cubicBezTo>
                              <a:pt x="26" y="51"/>
                              <a:pt x="16" y="42"/>
                              <a:pt x="0" y="33"/>
                            </a:cubicBezTo>
                            <a:close/>
                          </a:path>
                        </a:pathLst>
                      </a:custGeom>
                      <a:grpFill/>
                      <a:ln w="15875" cap="flat">
                        <a:solidFill>
                          <a:srgbClr val="44566B"/>
                        </a:solidFill>
                        <a:prstDash val="solid"/>
                        <a:miter lim="800000"/>
                        <a:headEnd/>
                        <a:tailEnd/>
                      </a:ln>
                    </p:spPr>
                    <p:txBody>
                      <a:bodyPr vert="horz" wrap="square" lIns="68746" tIns="34374" rIns="68746" bIns="34374" numCol="1" anchor="t" anchorCtr="0" compatLnSpc="1">
                        <a:prstTxWarp prst="textNoShape">
                          <a:avLst/>
                        </a:prstTxWarp>
                      </a:bodyPr>
                      <a:lstStyle/>
                      <a:p>
                        <a:endParaRPr lang="en-US" sz="1354" dirty="0"/>
                      </a:p>
                    </p:txBody>
                  </p:sp>
                </p:grpSp>
              </p:grpSp>
            </p:grpSp>
            <p:grpSp>
              <p:nvGrpSpPr>
                <p:cNvPr id="384" name="Group 383">
                  <a:extLst>
                    <a:ext uri="{FF2B5EF4-FFF2-40B4-BE49-F238E27FC236}">
                      <a16:creationId xmlns:a16="http://schemas.microsoft.com/office/drawing/2014/main" id="{180F13B7-A9A3-47F3-8A7F-58C9A934E9BC}"/>
                    </a:ext>
                  </a:extLst>
                </p:cNvPr>
                <p:cNvGrpSpPr/>
                <p:nvPr/>
              </p:nvGrpSpPr>
              <p:grpSpPr>
                <a:xfrm>
                  <a:off x="5009328" y="1439069"/>
                  <a:ext cx="1604306" cy="110141"/>
                  <a:chOff x="798768" y="2308608"/>
                  <a:chExt cx="5172818" cy="355131"/>
                </a:xfrm>
              </p:grpSpPr>
              <p:sp>
                <p:nvSpPr>
                  <p:cNvPr id="386" name="Rounded Rectangle 569">
                    <a:extLst>
                      <a:ext uri="{FF2B5EF4-FFF2-40B4-BE49-F238E27FC236}">
                        <a16:creationId xmlns:a16="http://schemas.microsoft.com/office/drawing/2014/main" id="{D2386FB2-E614-4964-BEA7-A1237F0C9935}"/>
                      </a:ext>
                    </a:extLst>
                  </p:cNvPr>
                  <p:cNvSpPr/>
                  <p:nvPr/>
                </p:nvSpPr>
                <p:spPr bwMode="gray">
                  <a:xfrm>
                    <a:off x="798768" y="2308608"/>
                    <a:ext cx="5172818" cy="355131"/>
                  </a:xfrm>
                  <a:prstGeom prst="roundRect">
                    <a:avLst>
                      <a:gd name="adj" fmla="val 10551"/>
                    </a:avLst>
                  </a:prstGeom>
                  <a:noFill/>
                  <a:ln w="9525" algn="ctr">
                    <a:solidFill>
                      <a:srgbClr val="00A1DE"/>
                    </a:solidFill>
                    <a:prstDash val="sysDot"/>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nvGrpSpPr>
                  <p:cNvPr id="387" name="Group 386">
                    <a:extLst>
                      <a:ext uri="{FF2B5EF4-FFF2-40B4-BE49-F238E27FC236}">
                        <a16:creationId xmlns:a16="http://schemas.microsoft.com/office/drawing/2014/main" id="{2B61ABB4-1639-4BD8-B2A0-F42EE54471EE}"/>
                      </a:ext>
                    </a:extLst>
                  </p:cNvPr>
                  <p:cNvGrpSpPr/>
                  <p:nvPr/>
                </p:nvGrpSpPr>
                <p:grpSpPr>
                  <a:xfrm rot="2700000" flipH="1" flipV="1">
                    <a:off x="5832079" y="2533365"/>
                    <a:ext cx="89632" cy="90751"/>
                    <a:chOff x="9987239" y="5621210"/>
                    <a:chExt cx="110620" cy="112002"/>
                  </a:xfrm>
                </p:grpSpPr>
                <p:sp>
                  <p:nvSpPr>
                    <p:cNvPr id="389" name="Line 20">
                      <a:extLst>
                        <a:ext uri="{FF2B5EF4-FFF2-40B4-BE49-F238E27FC236}">
                          <a16:creationId xmlns:a16="http://schemas.microsoft.com/office/drawing/2014/main" id="{184ACA55-5C1C-4EE1-B73F-E899C30F9E37}"/>
                        </a:ext>
                      </a:extLst>
                    </p:cNvPr>
                    <p:cNvSpPr>
                      <a:spLocks noChangeShapeType="1"/>
                    </p:cNvSpPr>
                    <p:nvPr/>
                  </p:nvSpPr>
                  <p:spPr bwMode="auto">
                    <a:xfrm>
                      <a:off x="10042549" y="5621210"/>
                      <a:ext cx="0" cy="31804"/>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390" name="Line 21">
                      <a:extLst>
                        <a:ext uri="{FF2B5EF4-FFF2-40B4-BE49-F238E27FC236}">
                          <a16:creationId xmlns:a16="http://schemas.microsoft.com/office/drawing/2014/main" id="{D2768562-5C21-4F0E-BD62-B4C9808139E8}"/>
                        </a:ext>
                      </a:extLst>
                    </p:cNvPr>
                    <p:cNvSpPr>
                      <a:spLocks noChangeShapeType="1"/>
                    </p:cNvSpPr>
                    <p:nvPr/>
                  </p:nvSpPr>
                  <p:spPr bwMode="auto">
                    <a:xfrm>
                      <a:off x="10042549" y="5700026"/>
                      <a:ext cx="0" cy="33186"/>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391" name="Line 22">
                      <a:extLst>
                        <a:ext uri="{FF2B5EF4-FFF2-40B4-BE49-F238E27FC236}">
                          <a16:creationId xmlns:a16="http://schemas.microsoft.com/office/drawing/2014/main" id="{765E24C8-E5A6-483C-821E-313CE463462A}"/>
                        </a:ext>
                      </a:extLst>
                    </p:cNvPr>
                    <p:cNvSpPr>
                      <a:spLocks noChangeShapeType="1"/>
                    </p:cNvSpPr>
                    <p:nvPr/>
                  </p:nvSpPr>
                  <p:spPr bwMode="auto">
                    <a:xfrm flipH="1">
                      <a:off x="10064673"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392" name="Line 23">
                      <a:extLst>
                        <a:ext uri="{FF2B5EF4-FFF2-40B4-BE49-F238E27FC236}">
                          <a16:creationId xmlns:a16="http://schemas.microsoft.com/office/drawing/2014/main" id="{AE4FC340-0FC3-4D11-AAAC-B7D8B50AF44E}"/>
                        </a:ext>
                      </a:extLst>
                    </p:cNvPr>
                    <p:cNvSpPr>
                      <a:spLocks noChangeShapeType="1"/>
                    </p:cNvSpPr>
                    <p:nvPr/>
                  </p:nvSpPr>
                  <p:spPr bwMode="auto">
                    <a:xfrm flipH="1">
                      <a:off x="9987239"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388" name="Freeform 8">
                    <a:extLst>
                      <a:ext uri="{FF2B5EF4-FFF2-40B4-BE49-F238E27FC236}">
                        <a16:creationId xmlns:a16="http://schemas.microsoft.com/office/drawing/2014/main" id="{52FE2148-28EA-443B-ADD1-03A68389FBE4}"/>
                      </a:ext>
                    </a:extLst>
                  </p:cNvPr>
                  <p:cNvSpPr>
                    <a:spLocks/>
                  </p:cNvSpPr>
                  <p:nvPr/>
                </p:nvSpPr>
                <p:spPr bwMode="auto">
                  <a:xfrm flipH="1" flipV="1">
                    <a:off x="868600" y="2349295"/>
                    <a:ext cx="58373" cy="58374"/>
                  </a:xfrm>
                  <a:custGeom>
                    <a:avLst/>
                    <a:gdLst>
                      <a:gd name="T0" fmla="*/ 46 w 46"/>
                      <a:gd name="T1" fmla="*/ 15 h 46"/>
                      <a:gd name="T2" fmla="*/ 31 w 46"/>
                      <a:gd name="T3" fmla="*/ 46 h 46"/>
                      <a:gd name="T4" fmla="*/ 0 w 46"/>
                      <a:gd name="T5" fmla="*/ 31 h 46"/>
                      <a:gd name="T6" fmla="*/ 15 w 46"/>
                      <a:gd name="T7" fmla="*/ 0 h 46"/>
                      <a:gd name="T8" fmla="*/ 46 w 46"/>
                      <a:gd name="T9" fmla="*/ 15 h 46"/>
                    </a:gdLst>
                    <a:ahLst/>
                    <a:cxnLst>
                      <a:cxn ang="0">
                        <a:pos x="T0" y="T1"/>
                      </a:cxn>
                      <a:cxn ang="0">
                        <a:pos x="T2" y="T3"/>
                      </a:cxn>
                      <a:cxn ang="0">
                        <a:pos x="T4" y="T5"/>
                      </a:cxn>
                      <a:cxn ang="0">
                        <a:pos x="T6" y="T7"/>
                      </a:cxn>
                      <a:cxn ang="0">
                        <a:pos x="T8" y="T9"/>
                      </a:cxn>
                    </a:cxnLst>
                    <a:rect l="0" t="0" r="r" b="b"/>
                    <a:pathLst>
                      <a:path w="46" h="46">
                        <a:moveTo>
                          <a:pt x="46" y="15"/>
                        </a:moveTo>
                        <a:lnTo>
                          <a:pt x="31" y="46"/>
                        </a:lnTo>
                        <a:lnTo>
                          <a:pt x="0" y="31"/>
                        </a:lnTo>
                        <a:lnTo>
                          <a:pt x="15" y="0"/>
                        </a:lnTo>
                        <a:lnTo>
                          <a:pt x="46" y="15"/>
                        </a:lnTo>
                        <a:close/>
                      </a:path>
                    </a:pathLst>
                  </a:custGeom>
                  <a:solidFill>
                    <a:srgbClr val="000000"/>
                  </a:solidFill>
                  <a:ln w="9525">
                    <a:solidFill>
                      <a:srgbClr val="FFFFFF"/>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grpSp>
            <p:cxnSp>
              <p:nvCxnSpPr>
                <p:cNvPr id="385" name="Straight Connector 384">
                  <a:extLst>
                    <a:ext uri="{FF2B5EF4-FFF2-40B4-BE49-F238E27FC236}">
                      <a16:creationId xmlns:a16="http://schemas.microsoft.com/office/drawing/2014/main" id="{9B0BBAF9-1F2D-472F-84E4-C30600A9B5A5}"/>
                    </a:ext>
                  </a:extLst>
                </p:cNvPr>
                <p:cNvCxnSpPr/>
                <p:nvPr/>
              </p:nvCxnSpPr>
              <p:spPr>
                <a:xfrm>
                  <a:off x="5090319" y="1490472"/>
                  <a:ext cx="1377397" cy="0"/>
                </a:xfrm>
                <a:prstGeom prst="line">
                  <a:avLst/>
                </a:prstGeom>
                <a:ln w="9525">
                  <a:solidFill>
                    <a:srgbClr val="00A3E0"/>
                  </a:solidFill>
                </a:ln>
              </p:spPr>
              <p:style>
                <a:lnRef idx="1">
                  <a:schemeClr val="accent1"/>
                </a:lnRef>
                <a:fillRef idx="0">
                  <a:schemeClr val="accent1"/>
                </a:fillRef>
                <a:effectRef idx="0">
                  <a:schemeClr val="accent1"/>
                </a:effectRef>
                <a:fontRef idx="minor">
                  <a:schemeClr val="tx1"/>
                </a:fontRef>
              </p:style>
            </p:cxnSp>
          </p:grpSp>
          <p:grpSp>
            <p:nvGrpSpPr>
              <p:cNvPr id="368" name="Group 367">
                <a:extLst>
                  <a:ext uri="{FF2B5EF4-FFF2-40B4-BE49-F238E27FC236}">
                    <a16:creationId xmlns:a16="http://schemas.microsoft.com/office/drawing/2014/main" id="{8E0D4F26-083E-41FA-A6AD-7DF83611E862}"/>
                  </a:ext>
                </a:extLst>
              </p:cNvPr>
              <p:cNvGrpSpPr/>
              <p:nvPr/>
            </p:nvGrpSpPr>
            <p:grpSpPr>
              <a:xfrm>
                <a:off x="4836112" y="1705964"/>
                <a:ext cx="1524000" cy="841685"/>
                <a:chOff x="7071519" y="3039269"/>
                <a:chExt cx="1524000" cy="841685"/>
              </a:xfrm>
            </p:grpSpPr>
            <p:sp>
              <p:nvSpPr>
                <p:cNvPr id="369" name="Freeform 844">
                  <a:extLst>
                    <a:ext uri="{FF2B5EF4-FFF2-40B4-BE49-F238E27FC236}">
                      <a16:creationId xmlns:a16="http://schemas.microsoft.com/office/drawing/2014/main" id="{3331C0DD-24A5-4366-BB2D-34E1ED4FE529}"/>
                    </a:ext>
                  </a:extLst>
                </p:cNvPr>
                <p:cNvSpPr/>
                <p:nvPr/>
              </p:nvSpPr>
              <p:spPr bwMode="gray">
                <a:xfrm>
                  <a:off x="7223919" y="3039269"/>
                  <a:ext cx="1193800" cy="628650"/>
                </a:xfrm>
                <a:custGeom>
                  <a:avLst/>
                  <a:gdLst>
                    <a:gd name="connsiteX0" fmla="*/ 0 w 1193800"/>
                    <a:gd name="connsiteY0" fmla="*/ 0 h 628650"/>
                    <a:gd name="connsiteX1" fmla="*/ 101600 w 1193800"/>
                    <a:gd name="connsiteY1" fmla="*/ 12700 h 628650"/>
                    <a:gd name="connsiteX2" fmla="*/ 146050 w 1193800"/>
                    <a:gd name="connsiteY2" fmla="*/ 25400 h 628650"/>
                    <a:gd name="connsiteX3" fmla="*/ 393700 w 1193800"/>
                    <a:gd name="connsiteY3" fmla="*/ 31750 h 628650"/>
                    <a:gd name="connsiteX4" fmla="*/ 419100 w 1193800"/>
                    <a:gd name="connsiteY4" fmla="*/ 76200 h 628650"/>
                    <a:gd name="connsiteX5" fmla="*/ 438150 w 1193800"/>
                    <a:gd name="connsiteY5" fmla="*/ 101600 h 628650"/>
                    <a:gd name="connsiteX6" fmla="*/ 450850 w 1193800"/>
                    <a:gd name="connsiteY6" fmla="*/ 127000 h 628650"/>
                    <a:gd name="connsiteX7" fmla="*/ 476250 w 1193800"/>
                    <a:gd name="connsiteY7" fmla="*/ 165100 h 628650"/>
                    <a:gd name="connsiteX8" fmla="*/ 488950 w 1193800"/>
                    <a:gd name="connsiteY8" fmla="*/ 184150 h 628650"/>
                    <a:gd name="connsiteX9" fmla="*/ 501650 w 1193800"/>
                    <a:gd name="connsiteY9" fmla="*/ 209550 h 628650"/>
                    <a:gd name="connsiteX10" fmla="*/ 527050 w 1193800"/>
                    <a:gd name="connsiteY10" fmla="*/ 234950 h 628650"/>
                    <a:gd name="connsiteX11" fmla="*/ 546100 w 1193800"/>
                    <a:gd name="connsiteY11" fmla="*/ 266700 h 628650"/>
                    <a:gd name="connsiteX12" fmla="*/ 565150 w 1193800"/>
                    <a:gd name="connsiteY12" fmla="*/ 285750 h 628650"/>
                    <a:gd name="connsiteX13" fmla="*/ 596900 w 1193800"/>
                    <a:gd name="connsiteY13" fmla="*/ 330200 h 628650"/>
                    <a:gd name="connsiteX14" fmla="*/ 622300 w 1193800"/>
                    <a:gd name="connsiteY14" fmla="*/ 349250 h 628650"/>
                    <a:gd name="connsiteX15" fmla="*/ 647700 w 1193800"/>
                    <a:gd name="connsiteY15" fmla="*/ 374650 h 628650"/>
                    <a:gd name="connsiteX16" fmla="*/ 692150 w 1193800"/>
                    <a:gd name="connsiteY16" fmla="*/ 406400 h 628650"/>
                    <a:gd name="connsiteX17" fmla="*/ 736600 w 1193800"/>
                    <a:gd name="connsiteY17" fmla="*/ 425450 h 628650"/>
                    <a:gd name="connsiteX18" fmla="*/ 774700 w 1193800"/>
                    <a:gd name="connsiteY18" fmla="*/ 431800 h 628650"/>
                    <a:gd name="connsiteX19" fmla="*/ 800100 w 1193800"/>
                    <a:gd name="connsiteY19" fmla="*/ 438150 h 628650"/>
                    <a:gd name="connsiteX20" fmla="*/ 819150 w 1193800"/>
                    <a:gd name="connsiteY20" fmla="*/ 444500 h 628650"/>
                    <a:gd name="connsiteX21" fmla="*/ 908050 w 1193800"/>
                    <a:gd name="connsiteY21" fmla="*/ 457200 h 628650"/>
                    <a:gd name="connsiteX22" fmla="*/ 933450 w 1193800"/>
                    <a:gd name="connsiteY22" fmla="*/ 476250 h 628650"/>
                    <a:gd name="connsiteX23" fmla="*/ 946150 w 1193800"/>
                    <a:gd name="connsiteY23" fmla="*/ 495300 h 628650"/>
                    <a:gd name="connsiteX24" fmla="*/ 996950 w 1193800"/>
                    <a:gd name="connsiteY24" fmla="*/ 520700 h 628650"/>
                    <a:gd name="connsiteX25" fmla="*/ 1047750 w 1193800"/>
                    <a:gd name="connsiteY25" fmla="*/ 558800 h 628650"/>
                    <a:gd name="connsiteX26" fmla="*/ 1085850 w 1193800"/>
                    <a:gd name="connsiteY26" fmla="*/ 584200 h 628650"/>
                    <a:gd name="connsiteX27" fmla="*/ 1136650 w 1193800"/>
                    <a:gd name="connsiteY27" fmla="*/ 603250 h 628650"/>
                    <a:gd name="connsiteX28" fmla="*/ 1174750 w 1193800"/>
                    <a:gd name="connsiteY28" fmla="*/ 615950 h 628650"/>
                    <a:gd name="connsiteX29" fmla="*/ 1193800 w 1193800"/>
                    <a:gd name="connsiteY29" fmla="*/ 628650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93800" h="628650">
                      <a:moveTo>
                        <a:pt x="0" y="0"/>
                      </a:moveTo>
                      <a:cubicBezTo>
                        <a:pt x="28460" y="2846"/>
                        <a:pt x="71479" y="5749"/>
                        <a:pt x="101600" y="12700"/>
                      </a:cubicBezTo>
                      <a:cubicBezTo>
                        <a:pt x="116615" y="16165"/>
                        <a:pt x="130673" y="24397"/>
                        <a:pt x="146050" y="25400"/>
                      </a:cubicBezTo>
                      <a:cubicBezTo>
                        <a:pt x="228452" y="30774"/>
                        <a:pt x="311150" y="29633"/>
                        <a:pt x="393700" y="31750"/>
                      </a:cubicBezTo>
                      <a:cubicBezTo>
                        <a:pt x="406102" y="56554"/>
                        <a:pt x="404141" y="55257"/>
                        <a:pt x="419100" y="76200"/>
                      </a:cubicBezTo>
                      <a:cubicBezTo>
                        <a:pt x="425251" y="84812"/>
                        <a:pt x="432541" y="92625"/>
                        <a:pt x="438150" y="101600"/>
                      </a:cubicBezTo>
                      <a:cubicBezTo>
                        <a:pt x="443167" y="109627"/>
                        <a:pt x="445980" y="118883"/>
                        <a:pt x="450850" y="127000"/>
                      </a:cubicBezTo>
                      <a:cubicBezTo>
                        <a:pt x="458703" y="140088"/>
                        <a:pt x="467783" y="152400"/>
                        <a:pt x="476250" y="165100"/>
                      </a:cubicBezTo>
                      <a:cubicBezTo>
                        <a:pt x="480483" y="171450"/>
                        <a:pt x="485537" y="177324"/>
                        <a:pt x="488950" y="184150"/>
                      </a:cubicBezTo>
                      <a:cubicBezTo>
                        <a:pt x="493183" y="192617"/>
                        <a:pt x="495970" y="201977"/>
                        <a:pt x="501650" y="209550"/>
                      </a:cubicBezTo>
                      <a:cubicBezTo>
                        <a:pt x="508834" y="219129"/>
                        <a:pt x="519699" y="225499"/>
                        <a:pt x="527050" y="234950"/>
                      </a:cubicBezTo>
                      <a:cubicBezTo>
                        <a:pt x="534627" y="244692"/>
                        <a:pt x="538695" y="256826"/>
                        <a:pt x="546100" y="266700"/>
                      </a:cubicBezTo>
                      <a:cubicBezTo>
                        <a:pt x="551488" y="273884"/>
                        <a:pt x="559401" y="278851"/>
                        <a:pt x="565150" y="285750"/>
                      </a:cubicBezTo>
                      <a:cubicBezTo>
                        <a:pt x="583178" y="307383"/>
                        <a:pt x="574024" y="307324"/>
                        <a:pt x="596900" y="330200"/>
                      </a:cubicBezTo>
                      <a:cubicBezTo>
                        <a:pt x="604384" y="337684"/>
                        <a:pt x="614335" y="342281"/>
                        <a:pt x="622300" y="349250"/>
                      </a:cubicBezTo>
                      <a:cubicBezTo>
                        <a:pt x="631311" y="357135"/>
                        <a:pt x="638689" y="366765"/>
                        <a:pt x="647700" y="374650"/>
                      </a:cubicBezTo>
                      <a:cubicBezTo>
                        <a:pt x="654114" y="380262"/>
                        <a:pt x="682388" y="400822"/>
                        <a:pt x="692150" y="406400"/>
                      </a:cubicBezTo>
                      <a:cubicBezTo>
                        <a:pt x="704504" y="413459"/>
                        <a:pt x="722028" y="422212"/>
                        <a:pt x="736600" y="425450"/>
                      </a:cubicBezTo>
                      <a:cubicBezTo>
                        <a:pt x="749169" y="428243"/>
                        <a:pt x="762075" y="429275"/>
                        <a:pt x="774700" y="431800"/>
                      </a:cubicBezTo>
                      <a:cubicBezTo>
                        <a:pt x="783258" y="433512"/>
                        <a:pt x="791709" y="435752"/>
                        <a:pt x="800100" y="438150"/>
                      </a:cubicBezTo>
                      <a:cubicBezTo>
                        <a:pt x="806536" y="439989"/>
                        <a:pt x="812558" y="443337"/>
                        <a:pt x="819150" y="444500"/>
                      </a:cubicBezTo>
                      <a:cubicBezTo>
                        <a:pt x="848629" y="449702"/>
                        <a:pt x="878417" y="452967"/>
                        <a:pt x="908050" y="457200"/>
                      </a:cubicBezTo>
                      <a:cubicBezTo>
                        <a:pt x="916517" y="463550"/>
                        <a:pt x="925966" y="468766"/>
                        <a:pt x="933450" y="476250"/>
                      </a:cubicBezTo>
                      <a:cubicBezTo>
                        <a:pt x="938846" y="481646"/>
                        <a:pt x="939898" y="490923"/>
                        <a:pt x="946150" y="495300"/>
                      </a:cubicBezTo>
                      <a:cubicBezTo>
                        <a:pt x="961660" y="506157"/>
                        <a:pt x="996950" y="520700"/>
                        <a:pt x="996950" y="520700"/>
                      </a:cubicBezTo>
                      <a:cubicBezTo>
                        <a:pt x="1029966" y="564721"/>
                        <a:pt x="998498" y="531935"/>
                        <a:pt x="1047750" y="558800"/>
                      </a:cubicBezTo>
                      <a:cubicBezTo>
                        <a:pt x="1061150" y="566109"/>
                        <a:pt x="1071370" y="579373"/>
                        <a:pt x="1085850" y="584200"/>
                      </a:cubicBezTo>
                      <a:cubicBezTo>
                        <a:pt x="1142466" y="603072"/>
                        <a:pt x="1053128" y="572878"/>
                        <a:pt x="1136650" y="603250"/>
                      </a:cubicBezTo>
                      <a:cubicBezTo>
                        <a:pt x="1149231" y="607825"/>
                        <a:pt x="1163611" y="608524"/>
                        <a:pt x="1174750" y="615950"/>
                      </a:cubicBezTo>
                      <a:lnTo>
                        <a:pt x="1193800" y="628650"/>
                      </a:lnTo>
                    </a:path>
                  </a:pathLst>
                </a:custGeom>
                <a:noFill/>
                <a:ln w="19050" algn="ctr">
                  <a:solidFill>
                    <a:srgbClr val="86BC25"/>
                  </a:solidFill>
                  <a:miter lim="800000"/>
                  <a:headEnd/>
                  <a:tailEnd/>
                </a:ln>
              </p:spPr>
              <p:txBody>
                <a:bodyPr rtlCol="0" anchor="ctr"/>
                <a:lstStyle/>
                <a:p>
                  <a:pPr algn="ctr"/>
                  <a:endParaRPr lang="en-US" sz="1354" dirty="0"/>
                </a:p>
              </p:txBody>
            </p:sp>
            <p:cxnSp>
              <p:nvCxnSpPr>
                <p:cNvPr id="370" name="Straight Connector 369">
                  <a:extLst>
                    <a:ext uri="{FF2B5EF4-FFF2-40B4-BE49-F238E27FC236}">
                      <a16:creationId xmlns:a16="http://schemas.microsoft.com/office/drawing/2014/main" id="{BE2D919E-58F8-4BCE-9BDD-92F518CA7603}"/>
                    </a:ext>
                  </a:extLst>
                </p:cNvPr>
                <p:cNvCxnSpPr>
                  <a:stCxn id="369" idx="0"/>
                  <a:endCxn id="369" idx="27"/>
                </p:cNvCxnSpPr>
                <p:nvPr/>
              </p:nvCxnSpPr>
              <p:spPr>
                <a:xfrm>
                  <a:off x="7223919" y="3039269"/>
                  <a:ext cx="1136650" cy="60325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32918AED-8F9F-4032-A229-00E8F56813E4}"/>
                    </a:ext>
                  </a:extLst>
                </p:cNvPr>
                <p:cNvCxnSpPr/>
                <p:nvPr/>
              </p:nvCxnSpPr>
              <p:spPr>
                <a:xfrm flipH="1">
                  <a:off x="7071519" y="3667919"/>
                  <a:ext cx="152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2147215B-B93F-46A0-81D7-0964A52AA727}"/>
                    </a:ext>
                  </a:extLst>
                </p:cNvPr>
                <p:cNvCxnSpPr/>
                <p:nvPr/>
              </p:nvCxnSpPr>
              <p:spPr>
                <a:xfrm>
                  <a:off x="70715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07BD9C54-564E-4889-AE3B-5BD14B57DF17}"/>
                    </a:ext>
                  </a:extLst>
                </p:cNvPr>
                <p:cNvCxnSpPr/>
                <p:nvPr/>
              </p:nvCxnSpPr>
              <p:spPr>
                <a:xfrm>
                  <a:off x="7223919" y="3668713"/>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B1FCC3EE-459A-4856-827B-703B17B80FDF}"/>
                    </a:ext>
                  </a:extLst>
                </p:cNvPr>
                <p:cNvCxnSpPr/>
                <p:nvPr/>
              </p:nvCxnSpPr>
              <p:spPr>
                <a:xfrm>
                  <a:off x="73763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CA1E70DA-8FC2-4CAF-9E82-E9B0E2110957}"/>
                    </a:ext>
                  </a:extLst>
                </p:cNvPr>
                <p:cNvCxnSpPr/>
                <p:nvPr/>
              </p:nvCxnSpPr>
              <p:spPr>
                <a:xfrm>
                  <a:off x="7528719" y="3671404"/>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D0B85ADB-1A01-4900-98EC-0CAD423C92AC}"/>
                    </a:ext>
                  </a:extLst>
                </p:cNvPr>
                <p:cNvCxnSpPr/>
                <p:nvPr/>
              </p:nvCxnSpPr>
              <p:spPr>
                <a:xfrm>
                  <a:off x="76811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789CEE18-ACB9-461C-BF7B-FDFF69DDF315}"/>
                    </a:ext>
                  </a:extLst>
                </p:cNvPr>
                <p:cNvCxnSpPr/>
                <p:nvPr/>
              </p:nvCxnSpPr>
              <p:spPr>
                <a:xfrm>
                  <a:off x="78335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641C96E9-26C2-4319-88E5-01B7D68800AC}"/>
                    </a:ext>
                  </a:extLst>
                </p:cNvPr>
                <p:cNvCxnSpPr/>
                <p:nvPr/>
              </p:nvCxnSpPr>
              <p:spPr>
                <a:xfrm>
                  <a:off x="79859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A3FFEA02-E287-4C74-96DE-6A70A766CB3A}"/>
                    </a:ext>
                  </a:extLst>
                </p:cNvPr>
                <p:cNvCxnSpPr/>
                <p:nvPr/>
              </p:nvCxnSpPr>
              <p:spPr>
                <a:xfrm>
                  <a:off x="81383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98DCDAC0-8CFD-4726-9FCB-4D9C51C4E8FE}"/>
                    </a:ext>
                  </a:extLst>
                </p:cNvPr>
                <p:cNvCxnSpPr/>
                <p:nvPr/>
              </p:nvCxnSpPr>
              <p:spPr>
                <a:xfrm>
                  <a:off x="82907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546D0836-1960-426D-9EE3-38DD1EEF155B}"/>
                    </a:ext>
                  </a:extLst>
                </p:cNvPr>
                <p:cNvCxnSpPr/>
                <p:nvPr/>
              </p:nvCxnSpPr>
              <p:spPr>
                <a:xfrm>
                  <a:off x="8421688"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4A6077D2-35A8-4521-ABF6-C7C077D8CD50}"/>
                    </a:ext>
                  </a:extLst>
                </p:cNvPr>
                <p:cNvCxnSpPr/>
                <p:nvPr/>
              </p:nvCxnSpPr>
              <p:spPr>
                <a:xfrm>
                  <a:off x="8578057"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366" name="Rectangle 365">
              <a:extLst>
                <a:ext uri="{FF2B5EF4-FFF2-40B4-BE49-F238E27FC236}">
                  <a16:creationId xmlns:a16="http://schemas.microsoft.com/office/drawing/2014/main" id="{B05C2306-D3D1-4F17-A9FE-F1175253D519}"/>
                </a:ext>
              </a:extLst>
            </p:cNvPr>
            <p:cNvSpPr/>
            <p:nvPr/>
          </p:nvSpPr>
          <p:spPr>
            <a:xfrm>
              <a:off x="10587376" y="4370014"/>
              <a:ext cx="1115908" cy="277463"/>
            </a:xfrm>
            <a:prstGeom prst="rect">
              <a:avLst/>
            </a:prstGeom>
          </p:spPr>
          <p:txBody>
            <a:bodyPr wrap="square">
              <a:spAutoFit/>
            </a:bodyPr>
            <a:lstStyle/>
            <a:p>
              <a:pPr algn="ctr"/>
              <a:r>
                <a:rPr lang="en-US" sz="752" b="1" dirty="0"/>
                <a:t>Burndown Chart</a:t>
              </a:r>
            </a:p>
          </p:txBody>
        </p:sp>
      </p:grpSp>
      <p:sp>
        <p:nvSpPr>
          <p:cNvPr id="823" name="Rectangle 822">
            <a:extLst>
              <a:ext uri="{FF2B5EF4-FFF2-40B4-BE49-F238E27FC236}">
                <a16:creationId xmlns:a16="http://schemas.microsoft.com/office/drawing/2014/main" id="{5CD6A2C2-B8A8-45F3-9A0D-5A2DC8F8A8DD}"/>
              </a:ext>
            </a:extLst>
          </p:cNvPr>
          <p:cNvSpPr/>
          <p:nvPr/>
        </p:nvSpPr>
        <p:spPr bwMode="gray">
          <a:xfrm>
            <a:off x="7626326" y="2089938"/>
            <a:ext cx="2769009" cy="3229580"/>
          </a:xfrm>
          <a:prstGeom prst="rect">
            <a:avLst/>
          </a:prstGeom>
          <a:solidFill>
            <a:schemeClr val="bg1">
              <a:alpha val="80000"/>
            </a:schemeClr>
          </a:solidFill>
          <a:ln w="38100" algn="ctr">
            <a:solidFill>
              <a:srgbClr val="97999B"/>
            </a:solidFill>
            <a:miter lim="800000"/>
            <a:headEnd/>
            <a:tailEnd/>
          </a:ln>
          <a:effectLst/>
        </p:spPr>
        <p:txBody>
          <a:bodyPr wrap="square" lIns="28409" tIns="28409" rIns="28409" bIns="28409" rtlCol="0" anchor="t"/>
          <a:lstStyle/>
          <a:p>
            <a:pPr algn="ctr" defTabSz="623398">
              <a:lnSpc>
                <a:spcPct val="106000"/>
              </a:lnSpc>
            </a:pPr>
            <a:r>
              <a:rPr lang="en-US" sz="1053" b="1" dirty="0">
                <a:latin typeface="Verdana"/>
              </a:rPr>
              <a:t>8 Artifacts</a:t>
            </a:r>
          </a:p>
        </p:txBody>
      </p:sp>
      <p:grpSp>
        <p:nvGrpSpPr>
          <p:cNvPr id="411" name="Group 410">
            <a:extLst>
              <a:ext uri="{FF2B5EF4-FFF2-40B4-BE49-F238E27FC236}">
                <a16:creationId xmlns:a16="http://schemas.microsoft.com/office/drawing/2014/main" id="{C6EB7CBD-A96D-4FDC-99CB-7DB73FF7B5B0}"/>
              </a:ext>
            </a:extLst>
          </p:cNvPr>
          <p:cNvGrpSpPr/>
          <p:nvPr/>
        </p:nvGrpSpPr>
        <p:grpSpPr>
          <a:xfrm>
            <a:off x="1883715" y="2340521"/>
            <a:ext cx="838958" cy="962222"/>
            <a:chOff x="478109" y="2089088"/>
            <a:chExt cx="1115908" cy="1279863"/>
          </a:xfrm>
        </p:grpSpPr>
        <p:grpSp>
          <p:nvGrpSpPr>
            <p:cNvPr id="412" name="Group 411">
              <a:extLst>
                <a:ext uri="{FF2B5EF4-FFF2-40B4-BE49-F238E27FC236}">
                  <a16:creationId xmlns:a16="http://schemas.microsoft.com/office/drawing/2014/main" id="{37E21D0A-1296-4FC7-B13F-1B8EE85E3EEC}"/>
                </a:ext>
              </a:extLst>
            </p:cNvPr>
            <p:cNvGrpSpPr/>
            <p:nvPr/>
          </p:nvGrpSpPr>
          <p:grpSpPr>
            <a:xfrm>
              <a:off x="586693" y="2089088"/>
              <a:ext cx="803662" cy="1200210"/>
              <a:chOff x="4404171" y="1891503"/>
              <a:chExt cx="567661" cy="847759"/>
            </a:xfrm>
          </p:grpSpPr>
          <p:sp>
            <p:nvSpPr>
              <p:cNvPr id="414" name="Line 66">
                <a:extLst>
                  <a:ext uri="{FF2B5EF4-FFF2-40B4-BE49-F238E27FC236}">
                    <a16:creationId xmlns:a16="http://schemas.microsoft.com/office/drawing/2014/main" id="{A3CF66FF-088F-44D8-BD65-9D7AA80458F7}"/>
                  </a:ext>
                </a:extLst>
              </p:cNvPr>
              <p:cNvSpPr>
                <a:spLocks noChangeShapeType="1"/>
              </p:cNvSpPr>
              <p:nvPr/>
            </p:nvSpPr>
            <p:spPr bwMode="auto">
              <a:xfrm rot="8100000">
                <a:off x="4711514" y="1891503"/>
                <a:ext cx="0" cy="0"/>
              </a:xfrm>
              <a:prstGeom prst="line">
                <a:avLst/>
              </a:prstGeom>
              <a:noFill/>
              <a:ln w="1905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415" name="Line 67">
                <a:extLst>
                  <a:ext uri="{FF2B5EF4-FFF2-40B4-BE49-F238E27FC236}">
                    <a16:creationId xmlns:a16="http://schemas.microsoft.com/office/drawing/2014/main" id="{6422691C-89D9-45A2-A930-5A5BED153F50}"/>
                  </a:ext>
                </a:extLst>
              </p:cNvPr>
              <p:cNvSpPr>
                <a:spLocks noChangeShapeType="1"/>
              </p:cNvSpPr>
              <p:nvPr/>
            </p:nvSpPr>
            <p:spPr bwMode="auto">
              <a:xfrm rot="8100000">
                <a:off x="4420834" y="220254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416" name="Line 69">
                <a:extLst>
                  <a:ext uri="{FF2B5EF4-FFF2-40B4-BE49-F238E27FC236}">
                    <a16:creationId xmlns:a16="http://schemas.microsoft.com/office/drawing/2014/main" id="{34A19FCA-C39F-48D0-BCF4-A96853477DF3}"/>
                  </a:ext>
                </a:extLst>
              </p:cNvPr>
              <p:cNvSpPr>
                <a:spLocks noChangeShapeType="1"/>
              </p:cNvSpPr>
              <p:nvPr/>
            </p:nvSpPr>
            <p:spPr bwMode="auto">
              <a:xfrm rot="8100000">
                <a:off x="4732806" y="252748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19" name="Line 74">
                <a:extLst>
                  <a:ext uri="{FF2B5EF4-FFF2-40B4-BE49-F238E27FC236}">
                    <a16:creationId xmlns:a16="http://schemas.microsoft.com/office/drawing/2014/main" id="{65351880-6FA0-44B2-A9A9-34EB3E80000E}"/>
                  </a:ext>
                </a:extLst>
              </p:cNvPr>
              <p:cNvSpPr>
                <a:spLocks noChangeShapeType="1"/>
              </p:cNvSpPr>
              <p:nvPr/>
            </p:nvSpPr>
            <p:spPr bwMode="auto">
              <a:xfrm rot="8100000">
                <a:off x="4404171" y="221921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0" name="Line 66">
                <a:extLst>
                  <a:ext uri="{FF2B5EF4-FFF2-40B4-BE49-F238E27FC236}">
                    <a16:creationId xmlns:a16="http://schemas.microsoft.com/office/drawing/2014/main" id="{9A7F80C2-7B68-412A-8BC6-80704D0A90C8}"/>
                  </a:ext>
                </a:extLst>
              </p:cNvPr>
              <p:cNvSpPr>
                <a:spLocks noChangeShapeType="1"/>
              </p:cNvSpPr>
              <p:nvPr/>
            </p:nvSpPr>
            <p:spPr bwMode="auto">
              <a:xfrm rot="8100000">
                <a:off x="4711514" y="273926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1" name="Freeform 1186">
                <a:extLst>
                  <a:ext uri="{FF2B5EF4-FFF2-40B4-BE49-F238E27FC236}">
                    <a16:creationId xmlns:a16="http://schemas.microsoft.com/office/drawing/2014/main" id="{551F2642-3051-47E1-BD8D-D4972E8A281B}"/>
                  </a:ext>
                </a:extLst>
              </p:cNvPr>
              <p:cNvSpPr>
                <a:spLocks/>
              </p:cNvSpPr>
              <p:nvPr/>
            </p:nvSpPr>
            <p:spPr bwMode="auto">
              <a:xfrm>
                <a:off x="4497396" y="2007469"/>
                <a:ext cx="23834" cy="14151"/>
              </a:xfrm>
              <a:custGeom>
                <a:avLst/>
                <a:gdLst>
                  <a:gd name="T0" fmla="*/ 64 w 64"/>
                  <a:gd name="T1" fmla="*/ 39 h 39"/>
                  <a:gd name="T2" fmla="*/ 64 w 64"/>
                  <a:gd name="T3" fmla="*/ 7 h 39"/>
                  <a:gd name="T4" fmla="*/ 64 w 64"/>
                  <a:gd name="T5" fmla="*/ 7 h 39"/>
                  <a:gd name="T6" fmla="*/ 62 w 64"/>
                  <a:gd name="T7" fmla="*/ 4 h 39"/>
                  <a:gd name="T8" fmla="*/ 60 w 64"/>
                  <a:gd name="T9" fmla="*/ 2 h 39"/>
                  <a:gd name="T10" fmla="*/ 60 w 64"/>
                  <a:gd name="T11" fmla="*/ 2 h 39"/>
                  <a:gd name="T12" fmla="*/ 57 w 64"/>
                  <a:gd name="T13" fmla="*/ 0 h 39"/>
                  <a:gd name="T14" fmla="*/ 7 w 64"/>
                  <a:gd name="T15" fmla="*/ 0 h 39"/>
                  <a:gd name="T16" fmla="*/ 7 w 64"/>
                  <a:gd name="T17" fmla="*/ 0 h 39"/>
                  <a:gd name="T18" fmla="*/ 3 w 64"/>
                  <a:gd name="T19" fmla="*/ 0 h 39"/>
                  <a:gd name="T20" fmla="*/ 1 w 64"/>
                  <a:gd name="T21" fmla="*/ 2 h 39"/>
                  <a:gd name="T22" fmla="*/ 0 w 64"/>
                  <a:gd name="T23" fmla="*/ 4 h 39"/>
                  <a:gd name="T24" fmla="*/ 0 w 64"/>
                  <a:gd name="T25" fmla="*/ 7 h 39"/>
                  <a:gd name="T26" fmla="*/ 0 w 64"/>
                  <a:gd name="T2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9">
                    <a:moveTo>
                      <a:pt x="64" y="39"/>
                    </a:moveTo>
                    <a:lnTo>
                      <a:pt x="64" y="7"/>
                    </a:lnTo>
                    <a:lnTo>
                      <a:pt x="64" y="7"/>
                    </a:lnTo>
                    <a:lnTo>
                      <a:pt x="62" y="4"/>
                    </a:lnTo>
                    <a:lnTo>
                      <a:pt x="60" y="2"/>
                    </a:lnTo>
                    <a:lnTo>
                      <a:pt x="60" y="2"/>
                    </a:lnTo>
                    <a:lnTo>
                      <a:pt x="57" y="0"/>
                    </a:lnTo>
                    <a:lnTo>
                      <a:pt x="7" y="0"/>
                    </a:lnTo>
                    <a:lnTo>
                      <a:pt x="7" y="0"/>
                    </a:lnTo>
                    <a:lnTo>
                      <a:pt x="3" y="0"/>
                    </a:lnTo>
                    <a:lnTo>
                      <a:pt x="1" y="2"/>
                    </a:lnTo>
                    <a:lnTo>
                      <a:pt x="0" y="4"/>
                    </a:lnTo>
                    <a:lnTo>
                      <a:pt x="0" y="7"/>
                    </a:lnTo>
                    <a:lnTo>
                      <a:pt x="0" y="39"/>
                    </a:lnTo>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2" name="Freeform 1187">
                <a:extLst>
                  <a:ext uri="{FF2B5EF4-FFF2-40B4-BE49-F238E27FC236}">
                    <a16:creationId xmlns:a16="http://schemas.microsoft.com/office/drawing/2014/main" id="{15F17595-DA82-490D-858F-E5D007CEA945}"/>
                  </a:ext>
                </a:extLst>
              </p:cNvPr>
              <p:cNvSpPr>
                <a:spLocks/>
              </p:cNvSpPr>
              <p:nvPr/>
            </p:nvSpPr>
            <p:spPr bwMode="auto">
              <a:xfrm>
                <a:off x="4497396" y="2186220"/>
                <a:ext cx="23834" cy="30537"/>
              </a:xfrm>
              <a:custGeom>
                <a:avLst/>
                <a:gdLst>
                  <a:gd name="T0" fmla="*/ 64 w 64"/>
                  <a:gd name="T1" fmla="*/ 0 h 83"/>
                  <a:gd name="T2" fmla="*/ 64 w 64"/>
                  <a:gd name="T3" fmla="*/ 13 h 83"/>
                  <a:gd name="T4" fmla="*/ 31 w 64"/>
                  <a:gd name="T5" fmla="*/ 83 h 83"/>
                  <a:gd name="T6" fmla="*/ 0 w 64"/>
                  <a:gd name="T7" fmla="*/ 13 h 83"/>
                  <a:gd name="T8" fmla="*/ 0 w 64"/>
                  <a:gd name="T9" fmla="*/ 0 h 83"/>
                </a:gdLst>
                <a:ahLst/>
                <a:cxnLst>
                  <a:cxn ang="0">
                    <a:pos x="T0" y="T1"/>
                  </a:cxn>
                  <a:cxn ang="0">
                    <a:pos x="T2" y="T3"/>
                  </a:cxn>
                  <a:cxn ang="0">
                    <a:pos x="T4" y="T5"/>
                  </a:cxn>
                  <a:cxn ang="0">
                    <a:pos x="T6" y="T7"/>
                  </a:cxn>
                  <a:cxn ang="0">
                    <a:pos x="T8" y="T9"/>
                  </a:cxn>
                </a:cxnLst>
                <a:rect l="0" t="0" r="r" b="b"/>
                <a:pathLst>
                  <a:path w="64" h="83">
                    <a:moveTo>
                      <a:pt x="64" y="0"/>
                    </a:moveTo>
                    <a:lnTo>
                      <a:pt x="64" y="13"/>
                    </a:lnTo>
                    <a:lnTo>
                      <a:pt x="31" y="83"/>
                    </a:lnTo>
                    <a:lnTo>
                      <a:pt x="0" y="13"/>
                    </a:lnTo>
                    <a:lnTo>
                      <a:pt x="0" y="0"/>
                    </a:lnTo>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3" name="Rectangle 1188">
                <a:extLst>
                  <a:ext uri="{FF2B5EF4-FFF2-40B4-BE49-F238E27FC236}">
                    <a16:creationId xmlns:a16="http://schemas.microsoft.com/office/drawing/2014/main" id="{73EF825F-DFCB-4586-B7BA-94BFDCD10463}"/>
                  </a:ext>
                </a:extLst>
              </p:cNvPr>
              <p:cNvSpPr>
                <a:spLocks noChangeArrowheads="1"/>
              </p:cNvSpPr>
              <p:nvPr/>
            </p:nvSpPr>
            <p:spPr bwMode="auto">
              <a:xfrm>
                <a:off x="4497396" y="2033536"/>
                <a:ext cx="23834" cy="151939"/>
              </a:xfrm>
              <a:prstGeom prst="rect">
                <a:avLst/>
              </a:prstGeom>
              <a:noFill/>
              <a:ln w="6350">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4" name="Freeform 1189">
                <a:extLst>
                  <a:ext uri="{FF2B5EF4-FFF2-40B4-BE49-F238E27FC236}">
                    <a16:creationId xmlns:a16="http://schemas.microsoft.com/office/drawing/2014/main" id="{A2DABC2D-B7D1-4640-AD5D-230C47CDFE84}"/>
                  </a:ext>
                </a:extLst>
              </p:cNvPr>
              <p:cNvSpPr>
                <a:spLocks/>
              </p:cNvSpPr>
              <p:nvPr/>
            </p:nvSpPr>
            <p:spPr bwMode="auto">
              <a:xfrm>
                <a:off x="4828831" y="2065563"/>
                <a:ext cx="143001" cy="143001"/>
              </a:xfrm>
              <a:custGeom>
                <a:avLst/>
                <a:gdLst>
                  <a:gd name="T0" fmla="*/ 384 w 384"/>
                  <a:gd name="T1" fmla="*/ 194 h 385"/>
                  <a:gd name="T2" fmla="*/ 381 w 384"/>
                  <a:gd name="T3" fmla="*/ 232 h 385"/>
                  <a:gd name="T4" fmla="*/ 371 w 384"/>
                  <a:gd name="T5" fmla="*/ 267 h 385"/>
                  <a:gd name="T6" fmla="*/ 353 w 384"/>
                  <a:gd name="T7" fmla="*/ 300 h 385"/>
                  <a:gd name="T8" fmla="*/ 329 w 384"/>
                  <a:gd name="T9" fmla="*/ 330 h 385"/>
                  <a:gd name="T10" fmla="*/ 314 w 384"/>
                  <a:gd name="T11" fmla="*/ 343 h 385"/>
                  <a:gd name="T12" fmla="*/ 283 w 384"/>
                  <a:gd name="T13" fmla="*/ 363 h 385"/>
                  <a:gd name="T14" fmla="*/ 250 w 384"/>
                  <a:gd name="T15" fmla="*/ 378 h 385"/>
                  <a:gd name="T16" fmla="*/ 211 w 384"/>
                  <a:gd name="T17" fmla="*/ 385 h 385"/>
                  <a:gd name="T18" fmla="*/ 193 w 384"/>
                  <a:gd name="T19" fmla="*/ 385 h 385"/>
                  <a:gd name="T20" fmla="*/ 154 w 384"/>
                  <a:gd name="T21" fmla="*/ 381 h 385"/>
                  <a:gd name="T22" fmla="*/ 119 w 384"/>
                  <a:gd name="T23" fmla="*/ 372 h 385"/>
                  <a:gd name="T24" fmla="*/ 86 w 384"/>
                  <a:gd name="T25" fmla="*/ 354 h 385"/>
                  <a:gd name="T26" fmla="*/ 57 w 384"/>
                  <a:gd name="T27" fmla="*/ 330 h 385"/>
                  <a:gd name="T28" fmla="*/ 42 w 384"/>
                  <a:gd name="T29" fmla="*/ 315 h 385"/>
                  <a:gd name="T30" fmla="*/ 22 w 384"/>
                  <a:gd name="T31" fmla="*/ 284 h 385"/>
                  <a:gd name="T32" fmla="*/ 7 w 384"/>
                  <a:gd name="T33" fmla="*/ 249 h 385"/>
                  <a:gd name="T34" fmla="*/ 0 w 384"/>
                  <a:gd name="T35" fmla="*/ 212 h 385"/>
                  <a:gd name="T36" fmla="*/ 0 w 384"/>
                  <a:gd name="T37" fmla="*/ 194 h 385"/>
                  <a:gd name="T38" fmla="*/ 3 w 384"/>
                  <a:gd name="T39" fmla="*/ 155 h 385"/>
                  <a:gd name="T40" fmla="*/ 15 w 384"/>
                  <a:gd name="T41" fmla="*/ 118 h 385"/>
                  <a:gd name="T42" fmla="*/ 31 w 384"/>
                  <a:gd name="T43" fmla="*/ 87 h 385"/>
                  <a:gd name="T44" fmla="*/ 57 w 384"/>
                  <a:gd name="T45" fmla="*/ 57 h 385"/>
                  <a:gd name="T46" fmla="*/ 70 w 384"/>
                  <a:gd name="T47" fmla="*/ 43 h 385"/>
                  <a:gd name="T48" fmla="*/ 101 w 384"/>
                  <a:gd name="T49" fmla="*/ 23 h 385"/>
                  <a:gd name="T50" fmla="*/ 136 w 384"/>
                  <a:gd name="T51" fmla="*/ 8 h 385"/>
                  <a:gd name="T52" fmla="*/ 173 w 384"/>
                  <a:gd name="T53" fmla="*/ 0 h 385"/>
                  <a:gd name="T54" fmla="*/ 193 w 384"/>
                  <a:gd name="T55" fmla="*/ 0 h 385"/>
                  <a:gd name="T56" fmla="*/ 232 w 384"/>
                  <a:gd name="T57" fmla="*/ 4 h 385"/>
                  <a:gd name="T58" fmla="*/ 267 w 384"/>
                  <a:gd name="T59" fmla="*/ 13 h 385"/>
                  <a:gd name="T60" fmla="*/ 300 w 384"/>
                  <a:gd name="T61" fmla="*/ 32 h 385"/>
                  <a:gd name="T62" fmla="*/ 329 w 384"/>
                  <a:gd name="T63" fmla="*/ 57 h 385"/>
                  <a:gd name="T64" fmla="*/ 342 w 384"/>
                  <a:gd name="T65" fmla="*/ 70 h 385"/>
                  <a:gd name="T66" fmla="*/ 362 w 384"/>
                  <a:gd name="T67" fmla="*/ 102 h 385"/>
                  <a:gd name="T68" fmla="*/ 377 w 384"/>
                  <a:gd name="T69" fmla="*/ 137 h 385"/>
                  <a:gd name="T70" fmla="*/ 384 w 384"/>
                  <a:gd name="T71" fmla="*/ 173 h 385"/>
                  <a:gd name="T72" fmla="*/ 384 w 384"/>
                  <a:gd name="T73" fmla="*/ 19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85">
                    <a:moveTo>
                      <a:pt x="384" y="194"/>
                    </a:moveTo>
                    <a:lnTo>
                      <a:pt x="384" y="194"/>
                    </a:lnTo>
                    <a:lnTo>
                      <a:pt x="384" y="212"/>
                    </a:lnTo>
                    <a:lnTo>
                      <a:pt x="381" y="232"/>
                    </a:lnTo>
                    <a:lnTo>
                      <a:pt x="377" y="249"/>
                    </a:lnTo>
                    <a:lnTo>
                      <a:pt x="371" y="267"/>
                    </a:lnTo>
                    <a:lnTo>
                      <a:pt x="362" y="284"/>
                    </a:lnTo>
                    <a:lnTo>
                      <a:pt x="353" y="300"/>
                    </a:lnTo>
                    <a:lnTo>
                      <a:pt x="342" y="315"/>
                    </a:lnTo>
                    <a:lnTo>
                      <a:pt x="329" y="330"/>
                    </a:lnTo>
                    <a:lnTo>
                      <a:pt x="329" y="330"/>
                    </a:lnTo>
                    <a:lnTo>
                      <a:pt x="314" y="343"/>
                    </a:lnTo>
                    <a:lnTo>
                      <a:pt x="300" y="354"/>
                    </a:lnTo>
                    <a:lnTo>
                      <a:pt x="283" y="363"/>
                    </a:lnTo>
                    <a:lnTo>
                      <a:pt x="267" y="372"/>
                    </a:lnTo>
                    <a:lnTo>
                      <a:pt x="250" y="378"/>
                    </a:lnTo>
                    <a:lnTo>
                      <a:pt x="232" y="381"/>
                    </a:lnTo>
                    <a:lnTo>
                      <a:pt x="211" y="385"/>
                    </a:lnTo>
                    <a:lnTo>
                      <a:pt x="193" y="385"/>
                    </a:lnTo>
                    <a:lnTo>
                      <a:pt x="193" y="385"/>
                    </a:lnTo>
                    <a:lnTo>
                      <a:pt x="173" y="385"/>
                    </a:lnTo>
                    <a:lnTo>
                      <a:pt x="154" y="381"/>
                    </a:lnTo>
                    <a:lnTo>
                      <a:pt x="136" y="378"/>
                    </a:lnTo>
                    <a:lnTo>
                      <a:pt x="119" y="372"/>
                    </a:lnTo>
                    <a:lnTo>
                      <a:pt x="101" y="363"/>
                    </a:lnTo>
                    <a:lnTo>
                      <a:pt x="86" y="354"/>
                    </a:lnTo>
                    <a:lnTo>
                      <a:pt x="70" y="343"/>
                    </a:lnTo>
                    <a:lnTo>
                      <a:pt x="57" y="330"/>
                    </a:lnTo>
                    <a:lnTo>
                      <a:pt x="57" y="330"/>
                    </a:lnTo>
                    <a:lnTo>
                      <a:pt x="42" y="315"/>
                    </a:lnTo>
                    <a:lnTo>
                      <a:pt x="31" y="300"/>
                    </a:lnTo>
                    <a:lnTo>
                      <a:pt x="22" y="284"/>
                    </a:lnTo>
                    <a:lnTo>
                      <a:pt x="15" y="267"/>
                    </a:lnTo>
                    <a:lnTo>
                      <a:pt x="7" y="249"/>
                    </a:lnTo>
                    <a:lnTo>
                      <a:pt x="3" y="232"/>
                    </a:lnTo>
                    <a:lnTo>
                      <a:pt x="0" y="212"/>
                    </a:lnTo>
                    <a:lnTo>
                      <a:pt x="0" y="194"/>
                    </a:lnTo>
                    <a:lnTo>
                      <a:pt x="0" y="194"/>
                    </a:lnTo>
                    <a:lnTo>
                      <a:pt x="0" y="173"/>
                    </a:lnTo>
                    <a:lnTo>
                      <a:pt x="3" y="155"/>
                    </a:lnTo>
                    <a:lnTo>
                      <a:pt x="7" y="137"/>
                    </a:lnTo>
                    <a:lnTo>
                      <a:pt x="15" y="118"/>
                    </a:lnTo>
                    <a:lnTo>
                      <a:pt x="22" y="102"/>
                    </a:lnTo>
                    <a:lnTo>
                      <a:pt x="31" y="87"/>
                    </a:lnTo>
                    <a:lnTo>
                      <a:pt x="42" y="70"/>
                    </a:lnTo>
                    <a:lnTo>
                      <a:pt x="57" y="57"/>
                    </a:lnTo>
                    <a:lnTo>
                      <a:pt x="57" y="57"/>
                    </a:lnTo>
                    <a:lnTo>
                      <a:pt x="70" y="43"/>
                    </a:lnTo>
                    <a:lnTo>
                      <a:pt x="86" y="32"/>
                    </a:lnTo>
                    <a:lnTo>
                      <a:pt x="101" y="23"/>
                    </a:lnTo>
                    <a:lnTo>
                      <a:pt x="119" y="13"/>
                    </a:lnTo>
                    <a:lnTo>
                      <a:pt x="136" y="8"/>
                    </a:lnTo>
                    <a:lnTo>
                      <a:pt x="154" y="4"/>
                    </a:lnTo>
                    <a:lnTo>
                      <a:pt x="173" y="0"/>
                    </a:lnTo>
                    <a:lnTo>
                      <a:pt x="193" y="0"/>
                    </a:lnTo>
                    <a:lnTo>
                      <a:pt x="193" y="0"/>
                    </a:lnTo>
                    <a:lnTo>
                      <a:pt x="211" y="0"/>
                    </a:lnTo>
                    <a:lnTo>
                      <a:pt x="232" y="4"/>
                    </a:lnTo>
                    <a:lnTo>
                      <a:pt x="250" y="8"/>
                    </a:lnTo>
                    <a:lnTo>
                      <a:pt x="267" y="13"/>
                    </a:lnTo>
                    <a:lnTo>
                      <a:pt x="283" y="23"/>
                    </a:lnTo>
                    <a:lnTo>
                      <a:pt x="300" y="32"/>
                    </a:lnTo>
                    <a:lnTo>
                      <a:pt x="314" y="43"/>
                    </a:lnTo>
                    <a:lnTo>
                      <a:pt x="329" y="57"/>
                    </a:lnTo>
                    <a:lnTo>
                      <a:pt x="329" y="57"/>
                    </a:lnTo>
                    <a:lnTo>
                      <a:pt x="342" y="70"/>
                    </a:lnTo>
                    <a:lnTo>
                      <a:pt x="353" y="87"/>
                    </a:lnTo>
                    <a:lnTo>
                      <a:pt x="362" y="102"/>
                    </a:lnTo>
                    <a:lnTo>
                      <a:pt x="371" y="118"/>
                    </a:lnTo>
                    <a:lnTo>
                      <a:pt x="377" y="137"/>
                    </a:lnTo>
                    <a:lnTo>
                      <a:pt x="381" y="155"/>
                    </a:lnTo>
                    <a:lnTo>
                      <a:pt x="384" y="173"/>
                    </a:lnTo>
                    <a:lnTo>
                      <a:pt x="384" y="194"/>
                    </a:lnTo>
                    <a:lnTo>
                      <a:pt x="384" y="194"/>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5" name="Freeform 1190">
                <a:extLst>
                  <a:ext uri="{FF2B5EF4-FFF2-40B4-BE49-F238E27FC236}">
                    <a16:creationId xmlns:a16="http://schemas.microsoft.com/office/drawing/2014/main" id="{FFB855D1-A298-4CF0-812E-448BB27D0336}"/>
                  </a:ext>
                </a:extLst>
              </p:cNvPr>
              <p:cNvSpPr>
                <a:spLocks/>
              </p:cNvSpPr>
              <p:nvPr/>
            </p:nvSpPr>
            <p:spPr bwMode="auto">
              <a:xfrm>
                <a:off x="4858623" y="2065563"/>
                <a:ext cx="83417" cy="143001"/>
              </a:xfrm>
              <a:custGeom>
                <a:avLst/>
                <a:gdLst>
                  <a:gd name="T0" fmla="*/ 222 w 222"/>
                  <a:gd name="T1" fmla="*/ 194 h 385"/>
                  <a:gd name="T2" fmla="*/ 219 w 222"/>
                  <a:gd name="T3" fmla="*/ 249 h 385"/>
                  <a:gd name="T4" fmla="*/ 209 w 222"/>
                  <a:gd name="T5" fmla="*/ 284 h 385"/>
                  <a:gd name="T6" fmla="*/ 198 w 222"/>
                  <a:gd name="T7" fmla="*/ 315 h 385"/>
                  <a:gd name="T8" fmla="*/ 191 w 222"/>
                  <a:gd name="T9" fmla="*/ 330 h 385"/>
                  <a:gd name="T10" fmla="*/ 173 w 222"/>
                  <a:gd name="T11" fmla="*/ 354 h 385"/>
                  <a:gd name="T12" fmla="*/ 154 w 222"/>
                  <a:gd name="T13" fmla="*/ 372 h 385"/>
                  <a:gd name="T14" fmla="*/ 134 w 222"/>
                  <a:gd name="T15" fmla="*/ 381 h 385"/>
                  <a:gd name="T16" fmla="*/ 112 w 222"/>
                  <a:gd name="T17" fmla="*/ 385 h 385"/>
                  <a:gd name="T18" fmla="*/ 101 w 222"/>
                  <a:gd name="T19" fmla="*/ 385 h 385"/>
                  <a:gd name="T20" fmla="*/ 79 w 222"/>
                  <a:gd name="T21" fmla="*/ 378 h 385"/>
                  <a:gd name="T22" fmla="*/ 59 w 222"/>
                  <a:gd name="T23" fmla="*/ 363 h 385"/>
                  <a:gd name="T24" fmla="*/ 42 w 222"/>
                  <a:gd name="T25" fmla="*/ 343 h 385"/>
                  <a:gd name="T26" fmla="*/ 33 w 222"/>
                  <a:gd name="T27" fmla="*/ 330 h 385"/>
                  <a:gd name="T28" fmla="*/ 18 w 222"/>
                  <a:gd name="T29" fmla="*/ 300 h 385"/>
                  <a:gd name="T30" fmla="*/ 9 w 222"/>
                  <a:gd name="T31" fmla="*/ 267 h 385"/>
                  <a:gd name="T32" fmla="*/ 2 w 222"/>
                  <a:gd name="T33" fmla="*/ 232 h 385"/>
                  <a:gd name="T34" fmla="*/ 0 w 222"/>
                  <a:gd name="T35" fmla="*/ 194 h 385"/>
                  <a:gd name="T36" fmla="*/ 5 w 222"/>
                  <a:gd name="T37" fmla="*/ 137 h 385"/>
                  <a:gd name="T38" fmla="*/ 13 w 222"/>
                  <a:gd name="T39" fmla="*/ 102 h 385"/>
                  <a:gd name="T40" fmla="*/ 25 w 222"/>
                  <a:gd name="T41" fmla="*/ 70 h 385"/>
                  <a:gd name="T42" fmla="*/ 33 w 222"/>
                  <a:gd name="T43" fmla="*/ 57 h 385"/>
                  <a:gd name="T44" fmla="*/ 49 w 222"/>
                  <a:gd name="T45" fmla="*/ 32 h 385"/>
                  <a:gd name="T46" fmla="*/ 68 w 222"/>
                  <a:gd name="T47" fmla="*/ 13 h 385"/>
                  <a:gd name="T48" fmla="*/ 90 w 222"/>
                  <a:gd name="T49" fmla="*/ 4 h 385"/>
                  <a:gd name="T50" fmla="*/ 112 w 222"/>
                  <a:gd name="T51" fmla="*/ 0 h 385"/>
                  <a:gd name="T52" fmla="*/ 123 w 222"/>
                  <a:gd name="T53" fmla="*/ 0 h 385"/>
                  <a:gd name="T54" fmla="*/ 145 w 222"/>
                  <a:gd name="T55" fmla="*/ 8 h 385"/>
                  <a:gd name="T56" fmla="*/ 163 w 222"/>
                  <a:gd name="T57" fmla="*/ 23 h 385"/>
                  <a:gd name="T58" fmla="*/ 182 w 222"/>
                  <a:gd name="T59" fmla="*/ 43 h 385"/>
                  <a:gd name="T60" fmla="*/ 191 w 222"/>
                  <a:gd name="T61" fmla="*/ 57 h 385"/>
                  <a:gd name="T62" fmla="*/ 204 w 222"/>
                  <a:gd name="T63" fmla="*/ 87 h 385"/>
                  <a:gd name="T64" fmla="*/ 215 w 222"/>
                  <a:gd name="T65" fmla="*/ 118 h 385"/>
                  <a:gd name="T66" fmla="*/ 220 w 222"/>
                  <a:gd name="T67" fmla="*/ 155 h 385"/>
                  <a:gd name="T68" fmla="*/ 222 w 222"/>
                  <a:gd name="T69" fmla="*/ 19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385">
                    <a:moveTo>
                      <a:pt x="222" y="194"/>
                    </a:moveTo>
                    <a:lnTo>
                      <a:pt x="222" y="194"/>
                    </a:lnTo>
                    <a:lnTo>
                      <a:pt x="220" y="232"/>
                    </a:lnTo>
                    <a:lnTo>
                      <a:pt x="219" y="249"/>
                    </a:lnTo>
                    <a:lnTo>
                      <a:pt x="215" y="267"/>
                    </a:lnTo>
                    <a:lnTo>
                      <a:pt x="209" y="284"/>
                    </a:lnTo>
                    <a:lnTo>
                      <a:pt x="204" y="300"/>
                    </a:lnTo>
                    <a:lnTo>
                      <a:pt x="198" y="315"/>
                    </a:lnTo>
                    <a:lnTo>
                      <a:pt x="191" y="330"/>
                    </a:lnTo>
                    <a:lnTo>
                      <a:pt x="191" y="330"/>
                    </a:lnTo>
                    <a:lnTo>
                      <a:pt x="182" y="343"/>
                    </a:lnTo>
                    <a:lnTo>
                      <a:pt x="173" y="354"/>
                    </a:lnTo>
                    <a:lnTo>
                      <a:pt x="163" y="363"/>
                    </a:lnTo>
                    <a:lnTo>
                      <a:pt x="154" y="372"/>
                    </a:lnTo>
                    <a:lnTo>
                      <a:pt x="145" y="378"/>
                    </a:lnTo>
                    <a:lnTo>
                      <a:pt x="134" y="381"/>
                    </a:lnTo>
                    <a:lnTo>
                      <a:pt x="123" y="385"/>
                    </a:lnTo>
                    <a:lnTo>
                      <a:pt x="112" y="385"/>
                    </a:lnTo>
                    <a:lnTo>
                      <a:pt x="112" y="385"/>
                    </a:lnTo>
                    <a:lnTo>
                      <a:pt x="101" y="385"/>
                    </a:lnTo>
                    <a:lnTo>
                      <a:pt x="90" y="381"/>
                    </a:lnTo>
                    <a:lnTo>
                      <a:pt x="79" y="378"/>
                    </a:lnTo>
                    <a:lnTo>
                      <a:pt x="68" y="372"/>
                    </a:lnTo>
                    <a:lnTo>
                      <a:pt x="59" y="363"/>
                    </a:lnTo>
                    <a:lnTo>
                      <a:pt x="49" y="354"/>
                    </a:lnTo>
                    <a:lnTo>
                      <a:pt x="42" y="343"/>
                    </a:lnTo>
                    <a:lnTo>
                      <a:pt x="33" y="330"/>
                    </a:lnTo>
                    <a:lnTo>
                      <a:pt x="33" y="330"/>
                    </a:lnTo>
                    <a:lnTo>
                      <a:pt x="25" y="315"/>
                    </a:lnTo>
                    <a:lnTo>
                      <a:pt x="18" y="300"/>
                    </a:lnTo>
                    <a:lnTo>
                      <a:pt x="13" y="284"/>
                    </a:lnTo>
                    <a:lnTo>
                      <a:pt x="9" y="267"/>
                    </a:lnTo>
                    <a:lnTo>
                      <a:pt x="5" y="249"/>
                    </a:lnTo>
                    <a:lnTo>
                      <a:pt x="2" y="232"/>
                    </a:lnTo>
                    <a:lnTo>
                      <a:pt x="0" y="194"/>
                    </a:lnTo>
                    <a:lnTo>
                      <a:pt x="0" y="194"/>
                    </a:lnTo>
                    <a:lnTo>
                      <a:pt x="2" y="155"/>
                    </a:lnTo>
                    <a:lnTo>
                      <a:pt x="5" y="137"/>
                    </a:lnTo>
                    <a:lnTo>
                      <a:pt x="9" y="118"/>
                    </a:lnTo>
                    <a:lnTo>
                      <a:pt x="13" y="102"/>
                    </a:lnTo>
                    <a:lnTo>
                      <a:pt x="18" y="87"/>
                    </a:lnTo>
                    <a:lnTo>
                      <a:pt x="25" y="70"/>
                    </a:lnTo>
                    <a:lnTo>
                      <a:pt x="33" y="57"/>
                    </a:lnTo>
                    <a:lnTo>
                      <a:pt x="33" y="57"/>
                    </a:lnTo>
                    <a:lnTo>
                      <a:pt x="42" y="43"/>
                    </a:lnTo>
                    <a:lnTo>
                      <a:pt x="49" y="32"/>
                    </a:lnTo>
                    <a:lnTo>
                      <a:pt x="59" y="23"/>
                    </a:lnTo>
                    <a:lnTo>
                      <a:pt x="68" y="13"/>
                    </a:lnTo>
                    <a:lnTo>
                      <a:pt x="79" y="8"/>
                    </a:lnTo>
                    <a:lnTo>
                      <a:pt x="90" y="4"/>
                    </a:lnTo>
                    <a:lnTo>
                      <a:pt x="101" y="0"/>
                    </a:lnTo>
                    <a:lnTo>
                      <a:pt x="112" y="0"/>
                    </a:lnTo>
                    <a:lnTo>
                      <a:pt x="112" y="0"/>
                    </a:lnTo>
                    <a:lnTo>
                      <a:pt x="123" y="0"/>
                    </a:lnTo>
                    <a:lnTo>
                      <a:pt x="134" y="4"/>
                    </a:lnTo>
                    <a:lnTo>
                      <a:pt x="145" y="8"/>
                    </a:lnTo>
                    <a:lnTo>
                      <a:pt x="154" y="13"/>
                    </a:lnTo>
                    <a:lnTo>
                      <a:pt x="163" y="23"/>
                    </a:lnTo>
                    <a:lnTo>
                      <a:pt x="173" y="32"/>
                    </a:lnTo>
                    <a:lnTo>
                      <a:pt x="182" y="43"/>
                    </a:lnTo>
                    <a:lnTo>
                      <a:pt x="191" y="57"/>
                    </a:lnTo>
                    <a:lnTo>
                      <a:pt x="191" y="57"/>
                    </a:lnTo>
                    <a:lnTo>
                      <a:pt x="198" y="70"/>
                    </a:lnTo>
                    <a:lnTo>
                      <a:pt x="204" y="87"/>
                    </a:lnTo>
                    <a:lnTo>
                      <a:pt x="209" y="102"/>
                    </a:lnTo>
                    <a:lnTo>
                      <a:pt x="215" y="118"/>
                    </a:lnTo>
                    <a:lnTo>
                      <a:pt x="219" y="137"/>
                    </a:lnTo>
                    <a:lnTo>
                      <a:pt x="220" y="155"/>
                    </a:lnTo>
                    <a:lnTo>
                      <a:pt x="222" y="194"/>
                    </a:lnTo>
                    <a:lnTo>
                      <a:pt x="222" y="194"/>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6" name="Freeform 1191">
                <a:extLst>
                  <a:ext uri="{FF2B5EF4-FFF2-40B4-BE49-F238E27FC236}">
                    <a16:creationId xmlns:a16="http://schemas.microsoft.com/office/drawing/2014/main" id="{C00E81F4-4DB8-43BC-8753-780F4FEDC4E8}"/>
                  </a:ext>
                </a:extLst>
              </p:cNvPr>
              <p:cNvSpPr>
                <a:spLocks/>
              </p:cNvSpPr>
              <p:nvPr/>
            </p:nvSpPr>
            <p:spPr bwMode="auto">
              <a:xfrm>
                <a:off x="4900331" y="2065563"/>
                <a:ext cx="71501" cy="143001"/>
              </a:xfrm>
              <a:custGeom>
                <a:avLst/>
                <a:gdLst>
                  <a:gd name="T0" fmla="*/ 0 w 191"/>
                  <a:gd name="T1" fmla="*/ 385 h 385"/>
                  <a:gd name="T2" fmla="*/ 0 w 191"/>
                  <a:gd name="T3" fmla="*/ 385 h 385"/>
                  <a:gd name="T4" fmla="*/ 18 w 191"/>
                  <a:gd name="T5" fmla="*/ 385 h 385"/>
                  <a:gd name="T6" fmla="*/ 39 w 191"/>
                  <a:gd name="T7" fmla="*/ 381 h 385"/>
                  <a:gd name="T8" fmla="*/ 57 w 191"/>
                  <a:gd name="T9" fmla="*/ 378 h 385"/>
                  <a:gd name="T10" fmla="*/ 74 w 191"/>
                  <a:gd name="T11" fmla="*/ 372 h 385"/>
                  <a:gd name="T12" fmla="*/ 90 w 191"/>
                  <a:gd name="T13" fmla="*/ 363 h 385"/>
                  <a:gd name="T14" fmla="*/ 107 w 191"/>
                  <a:gd name="T15" fmla="*/ 354 h 385"/>
                  <a:gd name="T16" fmla="*/ 121 w 191"/>
                  <a:gd name="T17" fmla="*/ 343 h 385"/>
                  <a:gd name="T18" fmla="*/ 136 w 191"/>
                  <a:gd name="T19" fmla="*/ 330 h 385"/>
                  <a:gd name="T20" fmla="*/ 136 w 191"/>
                  <a:gd name="T21" fmla="*/ 330 h 385"/>
                  <a:gd name="T22" fmla="*/ 149 w 191"/>
                  <a:gd name="T23" fmla="*/ 315 h 385"/>
                  <a:gd name="T24" fmla="*/ 160 w 191"/>
                  <a:gd name="T25" fmla="*/ 300 h 385"/>
                  <a:gd name="T26" fmla="*/ 169 w 191"/>
                  <a:gd name="T27" fmla="*/ 284 h 385"/>
                  <a:gd name="T28" fmla="*/ 178 w 191"/>
                  <a:gd name="T29" fmla="*/ 267 h 385"/>
                  <a:gd name="T30" fmla="*/ 184 w 191"/>
                  <a:gd name="T31" fmla="*/ 249 h 385"/>
                  <a:gd name="T32" fmla="*/ 188 w 191"/>
                  <a:gd name="T33" fmla="*/ 232 h 385"/>
                  <a:gd name="T34" fmla="*/ 191 w 191"/>
                  <a:gd name="T35" fmla="*/ 212 h 385"/>
                  <a:gd name="T36" fmla="*/ 191 w 191"/>
                  <a:gd name="T37" fmla="*/ 194 h 385"/>
                  <a:gd name="T38" fmla="*/ 191 w 191"/>
                  <a:gd name="T39" fmla="*/ 194 h 385"/>
                  <a:gd name="T40" fmla="*/ 191 w 191"/>
                  <a:gd name="T41" fmla="*/ 173 h 385"/>
                  <a:gd name="T42" fmla="*/ 188 w 191"/>
                  <a:gd name="T43" fmla="*/ 155 h 385"/>
                  <a:gd name="T44" fmla="*/ 184 w 191"/>
                  <a:gd name="T45" fmla="*/ 137 h 385"/>
                  <a:gd name="T46" fmla="*/ 178 w 191"/>
                  <a:gd name="T47" fmla="*/ 118 h 385"/>
                  <a:gd name="T48" fmla="*/ 169 w 191"/>
                  <a:gd name="T49" fmla="*/ 102 h 385"/>
                  <a:gd name="T50" fmla="*/ 160 w 191"/>
                  <a:gd name="T51" fmla="*/ 87 h 385"/>
                  <a:gd name="T52" fmla="*/ 149 w 191"/>
                  <a:gd name="T53" fmla="*/ 70 h 385"/>
                  <a:gd name="T54" fmla="*/ 136 w 191"/>
                  <a:gd name="T55" fmla="*/ 57 h 385"/>
                  <a:gd name="T56" fmla="*/ 136 w 191"/>
                  <a:gd name="T57" fmla="*/ 57 h 385"/>
                  <a:gd name="T58" fmla="*/ 121 w 191"/>
                  <a:gd name="T59" fmla="*/ 43 h 385"/>
                  <a:gd name="T60" fmla="*/ 107 w 191"/>
                  <a:gd name="T61" fmla="*/ 32 h 385"/>
                  <a:gd name="T62" fmla="*/ 90 w 191"/>
                  <a:gd name="T63" fmla="*/ 23 h 385"/>
                  <a:gd name="T64" fmla="*/ 74 w 191"/>
                  <a:gd name="T65" fmla="*/ 13 h 385"/>
                  <a:gd name="T66" fmla="*/ 57 w 191"/>
                  <a:gd name="T67" fmla="*/ 8 h 385"/>
                  <a:gd name="T68" fmla="*/ 39 w 191"/>
                  <a:gd name="T69" fmla="*/ 4 h 385"/>
                  <a:gd name="T70" fmla="*/ 18 w 191"/>
                  <a:gd name="T71" fmla="*/ 0 h 385"/>
                  <a:gd name="T72" fmla="*/ 0 w 191"/>
                  <a:gd name="T73" fmla="*/ 0 h 385"/>
                  <a:gd name="T74" fmla="*/ 0 w 191"/>
                  <a:gd name="T7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385">
                    <a:moveTo>
                      <a:pt x="0" y="385"/>
                    </a:moveTo>
                    <a:lnTo>
                      <a:pt x="0" y="385"/>
                    </a:lnTo>
                    <a:lnTo>
                      <a:pt x="18" y="385"/>
                    </a:lnTo>
                    <a:lnTo>
                      <a:pt x="39" y="381"/>
                    </a:lnTo>
                    <a:lnTo>
                      <a:pt x="57" y="378"/>
                    </a:lnTo>
                    <a:lnTo>
                      <a:pt x="74" y="372"/>
                    </a:lnTo>
                    <a:lnTo>
                      <a:pt x="90" y="363"/>
                    </a:lnTo>
                    <a:lnTo>
                      <a:pt x="107" y="354"/>
                    </a:lnTo>
                    <a:lnTo>
                      <a:pt x="121" y="343"/>
                    </a:lnTo>
                    <a:lnTo>
                      <a:pt x="136" y="330"/>
                    </a:lnTo>
                    <a:lnTo>
                      <a:pt x="136" y="330"/>
                    </a:lnTo>
                    <a:lnTo>
                      <a:pt x="149" y="315"/>
                    </a:lnTo>
                    <a:lnTo>
                      <a:pt x="160" y="300"/>
                    </a:lnTo>
                    <a:lnTo>
                      <a:pt x="169" y="284"/>
                    </a:lnTo>
                    <a:lnTo>
                      <a:pt x="178" y="267"/>
                    </a:lnTo>
                    <a:lnTo>
                      <a:pt x="184" y="249"/>
                    </a:lnTo>
                    <a:lnTo>
                      <a:pt x="188" y="232"/>
                    </a:lnTo>
                    <a:lnTo>
                      <a:pt x="191" y="212"/>
                    </a:lnTo>
                    <a:lnTo>
                      <a:pt x="191" y="194"/>
                    </a:lnTo>
                    <a:lnTo>
                      <a:pt x="191" y="194"/>
                    </a:lnTo>
                    <a:lnTo>
                      <a:pt x="191" y="173"/>
                    </a:lnTo>
                    <a:lnTo>
                      <a:pt x="188" y="155"/>
                    </a:lnTo>
                    <a:lnTo>
                      <a:pt x="184" y="137"/>
                    </a:lnTo>
                    <a:lnTo>
                      <a:pt x="178" y="118"/>
                    </a:lnTo>
                    <a:lnTo>
                      <a:pt x="169" y="102"/>
                    </a:lnTo>
                    <a:lnTo>
                      <a:pt x="160" y="87"/>
                    </a:lnTo>
                    <a:lnTo>
                      <a:pt x="149" y="70"/>
                    </a:lnTo>
                    <a:lnTo>
                      <a:pt x="136" y="57"/>
                    </a:lnTo>
                    <a:lnTo>
                      <a:pt x="136" y="57"/>
                    </a:lnTo>
                    <a:lnTo>
                      <a:pt x="121" y="43"/>
                    </a:lnTo>
                    <a:lnTo>
                      <a:pt x="107" y="32"/>
                    </a:lnTo>
                    <a:lnTo>
                      <a:pt x="90" y="23"/>
                    </a:lnTo>
                    <a:lnTo>
                      <a:pt x="74" y="13"/>
                    </a:lnTo>
                    <a:lnTo>
                      <a:pt x="57" y="8"/>
                    </a:lnTo>
                    <a:lnTo>
                      <a:pt x="39" y="4"/>
                    </a:lnTo>
                    <a:lnTo>
                      <a:pt x="18" y="0"/>
                    </a:lnTo>
                    <a:lnTo>
                      <a:pt x="0" y="0"/>
                    </a:lnTo>
                    <a:lnTo>
                      <a:pt x="0" y="385"/>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7" name="Freeform 1192">
                <a:extLst>
                  <a:ext uri="{FF2B5EF4-FFF2-40B4-BE49-F238E27FC236}">
                    <a16:creationId xmlns:a16="http://schemas.microsoft.com/office/drawing/2014/main" id="{26692ADD-2535-4805-B904-7FA2BDF99CF4}"/>
                  </a:ext>
                </a:extLst>
              </p:cNvPr>
              <p:cNvSpPr>
                <a:spLocks/>
              </p:cNvSpPr>
              <p:nvPr/>
            </p:nvSpPr>
            <p:spPr bwMode="auto">
              <a:xfrm>
                <a:off x="4828831" y="2111740"/>
                <a:ext cx="143001" cy="50646"/>
              </a:xfrm>
              <a:custGeom>
                <a:avLst/>
                <a:gdLst>
                  <a:gd name="T0" fmla="*/ 0 w 384"/>
                  <a:gd name="T1" fmla="*/ 68 h 136"/>
                  <a:gd name="T2" fmla="*/ 0 w 384"/>
                  <a:gd name="T3" fmla="*/ 68 h 136"/>
                  <a:gd name="T4" fmla="*/ 0 w 384"/>
                  <a:gd name="T5" fmla="*/ 84 h 136"/>
                  <a:gd name="T6" fmla="*/ 3 w 384"/>
                  <a:gd name="T7" fmla="*/ 101 h 136"/>
                  <a:gd name="T8" fmla="*/ 7 w 384"/>
                  <a:gd name="T9" fmla="*/ 119 h 136"/>
                  <a:gd name="T10" fmla="*/ 13 w 384"/>
                  <a:gd name="T11" fmla="*/ 136 h 136"/>
                  <a:gd name="T12" fmla="*/ 373 w 384"/>
                  <a:gd name="T13" fmla="*/ 136 h 136"/>
                  <a:gd name="T14" fmla="*/ 373 w 384"/>
                  <a:gd name="T15" fmla="*/ 136 h 136"/>
                  <a:gd name="T16" fmla="*/ 379 w 384"/>
                  <a:gd name="T17" fmla="*/ 119 h 136"/>
                  <a:gd name="T18" fmla="*/ 382 w 384"/>
                  <a:gd name="T19" fmla="*/ 101 h 136"/>
                  <a:gd name="T20" fmla="*/ 384 w 384"/>
                  <a:gd name="T21" fmla="*/ 84 h 136"/>
                  <a:gd name="T22" fmla="*/ 384 w 384"/>
                  <a:gd name="T23" fmla="*/ 68 h 136"/>
                  <a:gd name="T24" fmla="*/ 384 w 384"/>
                  <a:gd name="T25" fmla="*/ 68 h 136"/>
                  <a:gd name="T26" fmla="*/ 384 w 384"/>
                  <a:gd name="T27" fmla="*/ 49 h 136"/>
                  <a:gd name="T28" fmla="*/ 382 w 384"/>
                  <a:gd name="T29" fmla="*/ 33 h 136"/>
                  <a:gd name="T30" fmla="*/ 379 w 384"/>
                  <a:gd name="T31" fmla="*/ 16 h 136"/>
                  <a:gd name="T32" fmla="*/ 373 w 384"/>
                  <a:gd name="T33" fmla="*/ 0 h 136"/>
                  <a:gd name="T34" fmla="*/ 13 w 384"/>
                  <a:gd name="T35" fmla="*/ 0 h 136"/>
                  <a:gd name="T36" fmla="*/ 13 w 384"/>
                  <a:gd name="T37" fmla="*/ 0 h 136"/>
                  <a:gd name="T38" fmla="*/ 7 w 384"/>
                  <a:gd name="T39" fmla="*/ 16 h 136"/>
                  <a:gd name="T40" fmla="*/ 3 w 384"/>
                  <a:gd name="T41" fmla="*/ 33 h 136"/>
                  <a:gd name="T42" fmla="*/ 0 w 384"/>
                  <a:gd name="T43" fmla="*/ 49 h 136"/>
                  <a:gd name="T44" fmla="*/ 0 w 384"/>
                  <a:gd name="T45" fmla="*/ 68 h 136"/>
                  <a:gd name="T46" fmla="*/ 0 w 384"/>
                  <a:gd name="T47"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 h="136">
                    <a:moveTo>
                      <a:pt x="0" y="68"/>
                    </a:moveTo>
                    <a:lnTo>
                      <a:pt x="0" y="68"/>
                    </a:lnTo>
                    <a:lnTo>
                      <a:pt x="0" y="84"/>
                    </a:lnTo>
                    <a:lnTo>
                      <a:pt x="3" y="101"/>
                    </a:lnTo>
                    <a:lnTo>
                      <a:pt x="7" y="119"/>
                    </a:lnTo>
                    <a:lnTo>
                      <a:pt x="13" y="136"/>
                    </a:lnTo>
                    <a:lnTo>
                      <a:pt x="373" y="136"/>
                    </a:lnTo>
                    <a:lnTo>
                      <a:pt x="373" y="136"/>
                    </a:lnTo>
                    <a:lnTo>
                      <a:pt x="379" y="119"/>
                    </a:lnTo>
                    <a:lnTo>
                      <a:pt x="382" y="101"/>
                    </a:lnTo>
                    <a:lnTo>
                      <a:pt x="384" y="84"/>
                    </a:lnTo>
                    <a:lnTo>
                      <a:pt x="384" y="68"/>
                    </a:lnTo>
                    <a:lnTo>
                      <a:pt x="384" y="68"/>
                    </a:lnTo>
                    <a:lnTo>
                      <a:pt x="384" y="49"/>
                    </a:lnTo>
                    <a:lnTo>
                      <a:pt x="382" y="33"/>
                    </a:lnTo>
                    <a:lnTo>
                      <a:pt x="379" y="16"/>
                    </a:lnTo>
                    <a:lnTo>
                      <a:pt x="373" y="0"/>
                    </a:lnTo>
                    <a:lnTo>
                      <a:pt x="13" y="0"/>
                    </a:lnTo>
                    <a:lnTo>
                      <a:pt x="13" y="0"/>
                    </a:lnTo>
                    <a:lnTo>
                      <a:pt x="7" y="16"/>
                    </a:lnTo>
                    <a:lnTo>
                      <a:pt x="3" y="33"/>
                    </a:lnTo>
                    <a:lnTo>
                      <a:pt x="0" y="49"/>
                    </a:lnTo>
                    <a:lnTo>
                      <a:pt x="0" y="68"/>
                    </a:lnTo>
                    <a:lnTo>
                      <a:pt x="0" y="68"/>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8" name="Freeform 1193">
                <a:extLst>
                  <a:ext uri="{FF2B5EF4-FFF2-40B4-BE49-F238E27FC236}">
                    <a16:creationId xmlns:a16="http://schemas.microsoft.com/office/drawing/2014/main" id="{207B259D-A601-41BA-BB1D-7B8E6FCB6AAE}"/>
                  </a:ext>
                </a:extLst>
              </p:cNvPr>
              <p:cNvSpPr>
                <a:spLocks/>
              </p:cNvSpPr>
              <p:nvPr/>
            </p:nvSpPr>
            <p:spPr bwMode="auto">
              <a:xfrm>
                <a:off x="4584537" y="2050667"/>
                <a:ext cx="205564" cy="309836"/>
              </a:xfrm>
              <a:custGeom>
                <a:avLst/>
                <a:gdLst>
                  <a:gd name="T0" fmla="*/ 418 w 554"/>
                  <a:gd name="T1" fmla="*/ 0 h 831"/>
                  <a:gd name="T2" fmla="*/ 0 w 554"/>
                  <a:gd name="T3" fmla="*/ 0 h 831"/>
                  <a:gd name="T4" fmla="*/ 0 w 554"/>
                  <a:gd name="T5" fmla="*/ 831 h 831"/>
                  <a:gd name="T6" fmla="*/ 554 w 554"/>
                  <a:gd name="T7" fmla="*/ 831 h 831"/>
                  <a:gd name="T8" fmla="*/ 554 w 554"/>
                  <a:gd name="T9" fmla="*/ 136 h 831"/>
                  <a:gd name="T10" fmla="*/ 418 w 554"/>
                  <a:gd name="T11" fmla="*/ 0 h 831"/>
                </a:gdLst>
                <a:ahLst/>
                <a:cxnLst>
                  <a:cxn ang="0">
                    <a:pos x="T0" y="T1"/>
                  </a:cxn>
                  <a:cxn ang="0">
                    <a:pos x="T2" y="T3"/>
                  </a:cxn>
                  <a:cxn ang="0">
                    <a:pos x="T4" y="T5"/>
                  </a:cxn>
                  <a:cxn ang="0">
                    <a:pos x="T6" y="T7"/>
                  </a:cxn>
                  <a:cxn ang="0">
                    <a:pos x="T8" y="T9"/>
                  </a:cxn>
                  <a:cxn ang="0">
                    <a:pos x="T10" y="T11"/>
                  </a:cxn>
                </a:cxnLst>
                <a:rect l="0" t="0" r="r" b="b"/>
                <a:pathLst>
                  <a:path w="554" h="831">
                    <a:moveTo>
                      <a:pt x="418" y="0"/>
                    </a:moveTo>
                    <a:lnTo>
                      <a:pt x="0" y="0"/>
                    </a:lnTo>
                    <a:lnTo>
                      <a:pt x="0" y="831"/>
                    </a:lnTo>
                    <a:lnTo>
                      <a:pt x="554" y="831"/>
                    </a:lnTo>
                    <a:lnTo>
                      <a:pt x="554" y="136"/>
                    </a:lnTo>
                    <a:lnTo>
                      <a:pt x="418" y="0"/>
                    </a:lnTo>
                    <a:close/>
                  </a:path>
                </a:pathLst>
              </a:custGeom>
              <a:solidFill>
                <a:srgbClr val="30C0D8"/>
              </a:solidFill>
              <a:ln w="317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29" name="Freeform 1194">
                <a:extLst>
                  <a:ext uri="{FF2B5EF4-FFF2-40B4-BE49-F238E27FC236}">
                    <a16:creationId xmlns:a16="http://schemas.microsoft.com/office/drawing/2014/main" id="{A5FD41D9-7B83-4DA3-8978-028DBB290AA9}"/>
                  </a:ext>
                </a:extLst>
              </p:cNvPr>
              <p:cNvSpPr>
                <a:spLocks/>
              </p:cNvSpPr>
              <p:nvPr/>
            </p:nvSpPr>
            <p:spPr bwMode="auto">
              <a:xfrm>
                <a:off x="4739455" y="2050667"/>
                <a:ext cx="52881" cy="52881"/>
              </a:xfrm>
              <a:custGeom>
                <a:avLst/>
                <a:gdLst>
                  <a:gd name="T0" fmla="*/ 0 w 141"/>
                  <a:gd name="T1" fmla="*/ 141 h 141"/>
                  <a:gd name="T2" fmla="*/ 141 w 141"/>
                  <a:gd name="T3" fmla="*/ 141 h 141"/>
                  <a:gd name="T4" fmla="*/ 0 w 141"/>
                  <a:gd name="T5" fmla="*/ 0 h 141"/>
                  <a:gd name="T6" fmla="*/ 0 w 141"/>
                  <a:gd name="T7" fmla="*/ 141 h 141"/>
                </a:gdLst>
                <a:ahLst/>
                <a:cxnLst>
                  <a:cxn ang="0">
                    <a:pos x="T0" y="T1"/>
                  </a:cxn>
                  <a:cxn ang="0">
                    <a:pos x="T2" y="T3"/>
                  </a:cxn>
                  <a:cxn ang="0">
                    <a:pos x="T4" y="T5"/>
                  </a:cxn>
                  <a:cxn ang="0">
                    <a:pos x="T6" y="T7"/>
                  </a:cxn>
                </a:cxnLst>
                <a:rect l="0" t="0" r="r" b="b"/>
                <a:pathLst>
                  <a:path w="141" h="141">
                    <a:moveTo>
                      <a:pt x="0" y="141"/>
                    </a:moveTo>
                    <a:lnTo>
                      <a:pt x="141" y="141"/>
                    </a:lnTo>
                    <a:lnTo>
                      <a:pt x="0" y="0"/>
                    </a:lnTo>
                    <a:lnTo>
                      <a:pt x="0" y="141"/>
                    </a:lnTo>
                    <a:close/>
                  </a:path>
                </a:pathLst>
              </a:custGeom>
              <a:solidFill>
                <a:srgbClr val="FFD23D"/>
              </a:solidFill>
              <a:ln w="317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30" name="Line 1195">
                <a:extLst>
                  <a:ext uri="{FF2B5EF4-FFF2-40B4-BE49-F238E27FC236}">
                    <a16:creationId xmlns:a16="http://schemas.microsoft.com/office/drawing/2014/main" id="{DF029C8A-71FE-4B9E-A1BB-34DA38E86D17}"/>
                  </a:ext>
                </a:extLst>
              </p:cNvPr>
              <p:cNvSpPr>
                <a:spLocks noChangeShapeType="1"/>
              </p:cNvSpPr>
              <p:nvPr/>
            </p:nvSpPr>
            <p:spPr bwMode="auto">
              <a:xfrm>
                <a:off x="4559959" y="2105782"/>
                <a:ext cx="5809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1" name="Line 1196">
                <a:extLst>
                  <a:ext uri="{FF2B5EF4-FFF2-40B4-BE49-F238E27FC236}">
                    <a16:creationId xmlns:a16="http://schemas.microsoft.com/office/drawing/2014/main" id="{75BFEE38-1748-4D52-BBF2-EC9BD1775B04}"/>
                  </a:ext>
                </a:extLst>
              </p:cNvPr>
              <p:cNvSpPr>
                <a:spLocks noChangeShapeType="1"/>
              </p:cNvSpPr>
              <p:nvPr/>
            </p:nvSpPr>
            <p:spPr bwMode="auto">
              <a:xfrm>
                <a:off x="4559214" y="2130360"/>
                <a:ext cx="136298"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2" name="Line 1197">
                <a:extLst>
                  <a:ext uri="{FF2B5EF4-FFF2-40B4-BE49-F238E27FC236}">
                    <a16:creationId xmlns:a16="http://schemas.microsoft.com/office/drawing/2014/main" id="{9FCC5762-6742-4850-A999-BFF018FC1A27}"/>
                  </a:ext>
                </a:extLst>
              </p:cNvPr>
              <p:cNvSpPr>
                <a:spLocks noChangeShapeType="1"/>
              </p:cNvSpPr>
              <p:nvPr/>
            </p:nvSpPr>
            <p:spPr bwMode="auto">
              <a:xfrm>
                <a:off x="4559214" y="2155683"/>
                <a:ext cx="136298"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3" name="Line 1198">
                <a:extLst>
                  <a:ext uri="{FF2B5EF4-FFF2-40B4-BE49-F238E27FC236}">
                    <a16:creationId xmlns:a16="http://schemas.microsoft.com/office/drawing/2014/main" id="{38644CCE-857C-483E-BDED-5D80C732470D}"/>
                  </a:ext>
                </a:extLst>
              </p:cNvPr>
              <p:cNvSpPr>
                <a:spLocks noChangeShapeType="1"/>
              </p:cNvSpPr>
              <p:nvPr/>
            </p:nvSpPr>
            <p:spPr bwMode="auto">
              <a:xfrm>
                <a:off x="4559214" y="2180262"/>
                <a:ext cx="136298"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4" name="Line 1199">
                <a:extLst>
                  <a:ext uri="{FF2B5EF4-FFF2-40B4-BE49-F238E27FC236}">
                    <a16:creationId xmlns:a16="http://schemas.microsoft.com/office/drawing/2014/main" id="{115A2BB8-16FE-4946-9AD2-D4C6D6079C6E}"/>
                  </a:ext>
                </a:extLst>
              </p:cNvPr>
              <p:cNvSpPr>
                <a:spLocks noChangeShapeType="1"/>
              </p:cNvSpPr>
              <p:nvPr/>
            </p:nvSpPr>
            <p:spPr bwMode="auto">
              <a:xfrm>
                <a:off x="4559214" y="2204840"/>
                <a:ext cx="87886"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5" name="Freeform 1200">
                <a:extLst>
                  <a:ext uri="{FF2B5EF4-FFF2-40B4-BE49-F238E27FC236}">
                    <a16:creationId xmlns:a16="http://schemas.microsoft.com/office/drawing/2014/main" id="{47D9BD54-5EDE-4D38-9508-BBE0E5EFAFF0}"/>
                  </a:ext>
                </a:extLst>
              </p:cNvPr>
              <p:cNvSpPr>
                <a:spLocks/>
              </p:cNvSpPr>
              <p:nvPr/>
            </p:nvSpPr>
            <p:spPr bwMode="auto">
              <a:xfrm>
                <a:off x="4606136" y="2275596"/>
                <a:ext cx="286002" cy="142256"/>
              </a:xfrm>
              <a:custGeom>
                <a:avLst/>
                <a:gdLst>
                  <a:gd name="T0" fmla="*/ 0 w 767"/>
                  <a:gd name="T1" fmla="*/ 370 h 383"/>
                  <a:gd name="T2" fmla="*/ 0 w 767"/>
                  <a:gd name="T3" fmla="*/ 370 h 383"/>
                  <a:gd name="T4" fmla="*/ 0 w 767"/>
                  <a:gd name="T5" fmla="*/ 375 h 383"/>
                  <a:gd name="T6" fmla="*/ 4 w 767"/>
                  <a:gd name="T7" fmla="*/ 379 h 383"/>
                  <a:gd name="T8" fmla="*/ 4 w 767"/>
                  <a:gd name="T9" fmla="*/ 379 h 383"/>
                  <a:gd name="T10" fmla="*/ 7 w 767"/>
                  <a:gd name="T11" fmla="*/ 383 h 383"/>
                  <a:gd name="T12" fmla="*/ 13 w 767"/>
                  <a:gd name="T13" fmla="*/ 383 h 383"/>
                  <a:gd name="T14" fmla="*/ 754 w 767"/>
                  <a:gd name="T15" fmla="*/ 383 h 383"/>
                  <a:gd name="T16" fmla="*/ 754 w 767"/>
                  <a:gd name="T17" fmla="*/ 383 h 383"/>
                  <a:gd name="T18" fmla="*/ 760 w 767"/>
                  <a:gd name="T19" fmla="*/ 383 h 383"/>
                  <a:gd name="T20" fmla="*/ 763 w 767"/>
                  <a:gd name="T21" fmla="*/ 379 h 383"/>
                  <a:gd name="T22" fmla="*/ 763 w 767"/>
                  <a:gd name="T23" fmla="*/ 379 h 383"/>
                  <a:gd name="T24" fmla="*/ 767 w 767"/>
                  <a:gd name="T25" fmla="*/ 375 h 383"/>
                  <a:gd name="T26" fmla="*/ 767 w 767"/>
                  <a:gd name="T27" fmla="*/ 370 h 383"/>
                  <a:gd name="T28" fmla="*/ 767 w 767"/>
                  <a:gd name="T29" fmla="*/ 13 h 383"/>
                  <a:gd name="T30" fmla="*/ 767 w 767"/>
                  <a:gd name="T31" fmla="*/ 13 h 383"/>
                  <a:gd name="T32" fmla="*/ 767 w 767"/>
                  <a:gd name="T33" fmla="*/ 9 h 383"/>
                  <a:gd name="T34" fmla="*/ 763 w 767"/>
                  <a:gd name="T35" fmla="*/ 4 h 383"/>
                  <a:gd name="T36" fmla="*/ 763 w 767"/>
                  <a:gd name="T37" fmla="*/ 4 h 383"/>
                  <a:gd name="T38" fmla="*/ 760 w 767"/>
                  <a:gd name="T39" fmla="*/ 2 h 383"/>
                  <a:gd name="T40" fmla="*/ 754 w 767"/>
                  <a:gd name="T41" fmla="*/ 0 h 383"/>
                  <a:gd name="T42" fmla="*/ 13 w 767"/>
                  <a:gd name="T43" fmla="*/ 0 h 383"/>
                  <a:gd name="T44" fmla="*/ 13 w 767"/>
                  <a:gd name="T45" fmla="*/ 0 h 383"/>
                  <a:gd name="T46" fmla="*/ 7 w 767"/>
                  <a:gd name="T47" fmla="*/ 2 h 383"/>
                  <a:gd name="T48" fmla="*/ 4 w 767"/>
                  <a:gd name="T49" fmla="*/ 4 h 383"/>
                  <a:gd name="T50" fmla="*/ 4 w 767"/>
                  <a:gd name="T51" fmla="*/ 4 h 383"/>
                  <a:gd name="T52" fmla="*/ 0 w 767"/>
                  <a:gd name="T53" fmla="*/ 9 h 383"/>
                  <a:gd name="T54" fmla="*/ 0 w 767"/>
                  <a:gd name="T55" fmla="*/ 13 h 383"/>
                  <a:gd name="T56" fmla="*/ 0 w 767"/>
                  <a:gd name="T57" fmla="*/ 37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7" h="383">
                    <a:moveTo>
                      <a:pt x="0" y="370"/>
                    </a:moveTo>
                    <a:lnTo>
                      <a:pt x="0" y="370"/>
                    </a:lnTo>
                    <a:lnTo>
                      <a:pt x="0" y="375"/>
                    </a:lnTo>
                    <a:lnTo>
                      <a:pt x="4" y="379"/>
                    </a:lnTo>
                    <a:lnTo>
                      <a:pt x="4" y="379"/>
                    </a:lnTo>
                    <a:lnTo>
                      <a:pt x="7" y="383"/>
                    </a:lnTo>
                    <a:lnTo>
                      <a:pt x="13" y="383"/>
                    </a:lnTo>
                    <a:lnTo>
                      <a:pt x="754" y="383"/>
                    </a:lnTo>
                    <a:lnTo>
                      <a:pt x="754" y="383"/>
                    </a:lnTo>
                    <a:lnTo>
                      <a:pt x="760" y="383"/>
                    </a:lnTo>
                    <a:lnTo>
                      <a:pt x="763" y="379"/>
                    </a:lnTo>
                    <a:lnTo>
                      <a:pt x="763" y="379"/>
                    </a:lnTo>
                    <a:lnTo>
                      <a:pt x="767" y="375"/>
                    </a:lnTo>
                    <a:lnTo>
                      <a:pt x="767" y="370"/>
                    </a:lnTo>
                    <a:lnTo>
                      <a:pt x="767" y="13"/>
                    </a:lnTo>
                    <a:lnTo>
                      <a:pt x="767" y="13"/>
                    </a:lnTo>
                    <a:lnTo>
                      <a:pt x="767" y="9"/>
                    </a:lnTo>
                    <a:lnTo>
                      <a:pt x="763" y="4"/>
                    </a:lnTo>
                    <a:lnTo>
                      <a:pt x="763" y="4"/>
                    </a:lnTo>
                    <a:lnTo>
                      <a:pt x="760" y="2"/>
                    </a:lnTo>
                    <a:lnTo>
                      <a:pt x="754" y="0"/>
                    </a:lnTo>
                    <a:lnTo>
                      <a:pt x="13" y="0"/>
                    </a:lnTo>
                    <a:lnTo>
                      <a:pt x="13" y="0"/>
                    </a:lnTo>
                    <a:lnTo>
                      <a:pt x="7" y="2"/>
                    </a:lnTo>
                    <a:lnTo>
                      <a:pt x="4" y="4"/>
                    </a:lnTo>
                    <a:lnTo>
                      <a:pt x="4" y="4"/>
                    </a:lnTo>
                    <a:lnTo>
                      <a:pt x="0" y="9"/>
                    </a:lnTo>
                    <a:lnTo>
                      <a:pt x="0" y="13"/>
                    </a:lnTo>
                    <a:lnTo>
                      <a:pt x="0" y="370"/>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6" name="Line 1201">
                <a:extLst>
                  <a:ext uri="{FF2B5EF4-FFF2-40B4-BE49-F238E27FC236}">
                    <a16:creationId xmlns:a16="http://schemas.microsoft.com/office/drawing/2014/main" id="{D455BA4A-D547-4106-8324-71B75AD13D8A}"/>
                  </a:ext>
                </a:extLst>
              </p:cNvPr>
              <p:cNvSpPr>
                <a:spLocks noChangeShapeType="1"/>
              </p:cNvSpPr>
              <p:nvPr/>
            </p:nvSpPr>
            <p:spPr bwMode="auto">
              <a:xfrm flipH="1">
                <a:off x="4848940"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7" name="Line 1202">
                <a:extLst>
                  <a:ext uri="{FF2B5EF4-FFF2-40B4-BE49-F238E27FC236}">
                    <a16:creationId xmlns:a16="http://schemas.microsoft.com/office/drawing/2014/main" id="{06209834-BFAF-4E4E-A727-4A4CC2A1E556}"/>
                  </a:ext>
                </a:extLst>
              </p:cNvPr>
              <p:cNvSpPr>
                <a:spLocks noChangeShapeType="1"/>
              </p:cNvSpPr>
              <p:nvPr/>
            </p:nvSpPr>
            <p:spPr bwMode="auto">
              <a:xfrm flipH="1">
                <a:off x="4816914" y="2301663"/>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8" name="Line 1203">
                <a:extLst>
                  <a:ext uri="{FF2B5EF4-FFF2-40B4-BE49-F238E27FC236}">
                    <a16:creationId xmlns:a16="http://schemas.microsoft.com/office/drawing/2014/main" id="{6EEDF4A5-13C7-44D3-A5BF-AC8745A85594}"/>
                  </a:ext>
                </a:extLst>
              </p:cNvPr>
              <p:cNvSpPr>
                <a:spLocks noChangeShapeType="1"/>
              </p:cNvSpPr>
              <p:nvPr/>
            </p:nvSpPr>
            <p:spPr bwMode="auto">
              <a:xfrm flipH="1">
                <a:off x="4785633"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9" name="Line 1204">
                <a:extLst>
                  <a:ext uri="{FF2B5EF4-FFF2-40B4-BE49-F238E27FC236}">
                    <a16:creationId xmlns:a16="http://schemas.microsoft.com/office/drawing/2014/main" id="{1899BB63-6392-464A-B4DE-A753A1A2A8E9}"/>
                  </a:ext>
                </a:extLst>
              </p:cNvPr>
              <p:cNvSpPr>
                <a:spLocks noChangeShapeType="1"/>
              </p:cNvSpPr>
              <p:nvPr/>
            </p:nvSpPr>
            <p:spPr bwMode="auto">
              <a:xfrm flipH="1">
                <a:off x="4754351"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0" name="Line 1205">
                <a:extLst>
                  <a:ext uri="{FF2B5EF4-FFF2-40B4-BE49-F238E27FC236}">
                    <a16:creationId xmlns:a16="http://schemas.microsoft.com/office/drawing/2014/main" id="{A227020E-B8DB-4CEB-A2A3-A6E1BC6A1A75}"/>
                  </a:ext>
                </a:extLst>
              </p:cNvPr>
              <p:cNvSpPr>
                <a:spLocks noChangeShapeType="1"/>
              </p:cNvSpPr>
              <p:nvPr/>
            </p:nvSpPr>
            <p:spPr bwMode="auto">
              <a:xfrm flipH="1">
                <a:off x="4721580" y="2301663"/>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1" name="Line 1206">
                <a:extLst>
                  <a:ext uri="{FF2B5EF4-FFF2-40B4-BE49-F238E27FC236}">
                    <a16:creationId xmlns:a16="http://schemas.microsoft.com/office/drawing/2014/main" id="{D94CC492-D912-4370-8DD1-E1C7A782E83F}"/>
                  </a:ext>
                </a:extLst>
              </p:cNvPr>
              <p:cNvSpPr>
                <a:spLocks noChangeShapeType="1"/>
              </p:cNvSpPr>
              <p:nvPr/>
            </p:nvSpPr>
            <p:spPr bwMode="auto">
              <a:xfrm flipH="1">
                <a:off x="4690299" y="2301663"/>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2" name="Line 1207">
                <a:extLst>
                  <a:ext uri="{FF2B5EF4-FFF2-40B4-BE49-F238E27FC236}">
                    <a16:creationId xmlns:a16="http://schemas.microsoft.com/office/drawing/2014/main" id="{4A3400AA-08FC-49B6-93C9-9B756288F597}"/>
                  </a:ext>
                </a:extLst>
              </p:cNvPr>
              <p:cNvSpPr>
                <a:spLocks noChangeShapeType="1"/>
              </p:cNvSpPr>
              <p:nvPr/>
            </p:nvSpPr>
            <p:spPr bwMode="auto">
              <a:xfrm flipH="1">
                <a:off x="4659017"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3" name="Line 1208">
                <a:extLst>
                  <a:ext uri="{FF2B5EF4-FFF2-40B4-BE49-F238E27FC236}">
                    <a16:creationId xmlns:a16="http://schemas.microsoft.com/office/drawing/2014/main" id="{0AF6C9EE-9814-4D3A-BF19-235F70856B07}"/>
                  </a:ext>
                </a:extLst>
              </p:cNvPr>
              <p:cNvSpPr>
                <a:spLocks noChangeShapeType="1"/>
              </p:cNvSpPr>
              <p:nvPr/>
            </p:nvSpPr>
            <p:spPr bwMode="auto">
              <a:xfrm flipH="1">
                <a:off x="4627736"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4" name="Line 1209">
                <a:extLst>
                  <a:ext uri="{FF2B5EF4-FFF2-40B4-BE49-F238E27FC236}">
                    <a16:creationId xmlns:a16="http://schemas.microsoft.com/office/drawing/2014/main" id="{23BEF916-29DB-4F90-90CE-2BB4C03FC40A}"/>
                  </a:ext>
                </a:extLst>
              </p:cNvPr>
              <p:cNvSpPr>
                <a:spLocks noChangeShapeType="1"/>
              </p:cNvSpPr>
              <p:nvPr/>
            </p:nvSpPr>
            <p:spPr bwMode="auto">
              <a:xfrm flipH="1">
                <a:off x="4848940"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5" name="Line 1210">
                <a:extLst>
                  <a:ext uri="{FF2B5EF4-FFF2-40B4-BE49-F238E27FC236}">
                    <a16:creationId xmlns:a16="http://schemas.microsoft.com/office/drawing/2014/main" id="{ACB17340-3D26-4ADE-AF7F-24FF1762353A}"/>
                  </a:ext>
                </a:extLst>
              </p:cNvPr>
              <p:cNvSpPr>
                <a:spLocks noChangeShapeType="1"/>
              </p:cNvSpPr>
              <p:nvPr/>
            </p:nvSpPr>
            <p:spPr bwMode="auto">
              <a:xfrm flipH="1">
                <a:off x="4816914" y="2331455"/>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6" name="Line 1211">
                <a:extLst>
                  <a:ext uri="{FF2B5EF4-FFF2-40B4-BE49-F238E27FC236}">
                    <a16:creationId xmlns:a16="http://schemas.microsoft.com/office/drawing/2014/main" id="{72FA09ED-9786-449D-BE0A-DB27736D2B7B}"/>
                  </a:ext>
                </a:extLst>
              </p:cNvPr>
              <p:cNvSpPr>
                <a:spLocks noChangeShapeType="1"/>
              </p:cNvSpPr>
              <p:nvPr/>
            </p:nvSpPr>
            <p:spPr bwMode="auto">
              <a:xfrm flipH="1">
                <a:off x="4785633"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7" name="Line 1212">
                <a:extLst>
                  <a:ext uri="{FF2B5EF4-FFF2-40B4-BE49-F238E27FC236}">
                    <a16:creationId xmlns:a16="http://schemas.microsoft.com/office/drawing/2014/main" id="{44BDF860-9DA8-4A79-9CAE-477EA2ED8C72}"/>
                  </a:ext>
                </a:extLst>
              </p:cNvPr>
              <p:cNvSpPr>
                <a:spLocks noChangeShapeType="1"/>
              </p:cNvSpPr>
              <p:nvPr/>
            </p:nvSpPr>
            <p:spPr bwMode="auto">
              <a:xfrm flipH="1">
                <a:off x="4754351"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8" name="Line 1213">
                <a:extLst>
                  <a:ext uri="{FF2B5EF4-FFF2-40B4-BE49-F238E27FC236}">
                    <a16:creationId xmlns:a16="http://schemas.microsoft.com/office/drawing/2014/main" id="{6F87E8D4-6D6D-411D-84C9-0F3C64F968C4}"/>
                  </a:ext>
                </a:extLst>
              </p:cNvPr>
              <p:cNvSpPr>
                <a:spLocks noChangeShapeType="1"/>
              </p:cNvSpPr>
              <p:nvPr/>
            </p:nvSpPr>
            <p:spPr bwMode="auto">
              <a:xfrm flipH="1">
                <a:off x="4721580" y="2331455"/>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9" name="Line 1214">
                <a:extLst>
                  <a:ext uri="{FF2B5EF4-FFF2-40B4-BE49-F238E27FC236}">
                    <a16:creationId xmlns:a16="http://schemas.microsoft.com/office/drawing/2014/main" id="{E82E67EC-673A-4DD9-82BF-2B88910D6C7D}"/>
                  </a:ext>
                </a:extLst>
              </p:cNvPr>
              <p:cNvSpPr>
                <a:spLocks noChangeShapeType="1"/>
              </p:cNvSpPr>
              <p:nvPr/>
            </p:nvSpPr>
            <p:spPr bwMode="auto">
              <a:xfrm flipH="1">
                <a:off x="4690299" y="2331455"/>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0" name="Line 1215">
                <a:extLst>
                  <a:ext uri="{FF2B5EF4-FFF2-40B4-BE49-F238E27FC236}">
                    <a16:creationId xmlns:a16="http://schemas.microsoft.com/office/drawing/2014/main" id="{3EB5C078-E68D-4E4A-97C2-48A01E1C1014}"/>
                  </a:ext>
                </a:extLst>
              </p:cNvPr>
              <p:cNvSpPr>
                <a:spLocks noChangeShapeType="1"/>
              </p:cNvSpPr>
              <p:nvPr/>
            </p:nvSpPr>
            <p:spPr bwMode="auto">
              <a:xfrm flipH="1">
                <a:off x="4659017"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1" name="Line 1216">
                <a:extLst>
                  <a:ext uri="{FF2B5EF4-FFF2-40B4-BE49-F238E27FC236}">
                    <a16:creationId xmlns:a16="http://schemas.microsoft.com/office/drawing/2014/main" id="{C81AC96F-44F1-4F13-9878-E8B5DEA59764}"/>
                  </a:ext>
                </a:extLst>
              </p:cNvPr>
              <p:cNvSpPr>
                <a:spLocks noChangeShapeType="1"/>
              </p:cNvSpPr>
              <p:nvPr/>
            </p:nvSpPr>
            <p:spPr bwMode="auto">
              <a:xfrm flipH="1">
                <a:off x="4627736"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2" name="Line 1217">
                <a:extLst>
                  <a:ext uri="{FF2B5EF4-FFF2-40B4-BE49-F238E27FC236}">
                    <a16:creationId xmlns:a16="http://schemas.microsoft.com/office/drawing/2014/main" id="{D3ED520B-06AB-461D-B6D8-555F40FDFDA4}"/>
                  </a:ext>
                </a:extLst>
              </p:cNvPr>
              <p:cNvSpPr>
                <a:spLocks noChangeShapeType="1"/>
              </p:cNvSpPr>
              <p:nvPr/>
            </p:nvSpPr>
            <p:spPr bwMode="auto">
              <a:xfrm flipH="1">
                <a:off x="4848940"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3" name="Line 1218">
                <a:extLst>
                  <a:ext uri="{FF2B5EF4-FFF2-40B4-BE49-F238E27FC236}">
                    <a16:creationId xmlns:a16="http://schemas.microsoft.com/office/drawing/2014/main" id="{23CD7CE0-ADCF-46B5-8676-45B02AD54472}"/>
                  </a:ext>
                </a:extLst>
              </p:cNvPr>
              <p:cNvSpPr>
                <a:spLocks noChangeShapeType="1"/>
              </p:cNvSpPr>
              <p:nvPr/>
            </p:nvSpPr>
            <p:spPr bwMode="auto">
              <a:xfrm flipH="1">
                <a:off x="4816914" y="2359758"/>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4" name="Line 1219">
                <a:extLst>
                  <a:ext uri="{FF2B5EF4-FFF2-40B4-BE49-F238E27FC236}">
                    <a16:creationId xmlns:a16="http://schemas.microsoft.com/office/drawing/2014/main" id="{0E2AEB19-8342-46DA-8A04-F3667A353C02}"/>
                  </a:ext>
                </a:extLst>
              </p:cNvPr>
              <p:cNvSpPr>
                <a:spLocks noChangeShapeType="1"/>
              </p:cNvSpPr>
              <p:nvPr/>
            </p:nvSpPr>
            <p:spPr bwMode="auto">
              <a:xfrm flipH="1">
                <a:off x="4785633"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5" name="Line 1220">
                <a:extLst>
                  <a:ext uri="{FF2B5EF4-FFF2-40B4-BE49-F238E27FC236}">
                    <a16:creationId xmlns:a16="http://schemas.microsoft.com/office/drawing/2014/main" id="{432A202E-1D64-4A1F-B4E6-49CC3E19315A}"/>
                  </a:ext>
                </a:extLst>
              </p:cNvPr>
              <p:cNvSpPr>
                <a:spLocks noChangeShapeType="1"/>
              </p:cNvSpPr>
              <p:nvPr/>
            </p:nvSpPr>
            <p:spPr bwMode="auto">
              <a:xfrm flipH="1">
                <a:off x="4754351"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6" name="Line 1221">
                <a:extLst>
                  <a:ext uri="{FF2B5EF4-FFF2-40B4-BE49-F238E27FC236}">
                    <a16:creationId xmlns:a16="http://schemas.microsoft.com/office/drawing/2014/main" id="{249A9362-DF34-42DC-8AAF-F4615B8FCE5B}"/>
                  </a:ext>
                </a:extLst>
              </p:cNvPr>
              <p:cNvSpPr>
                <a:spLocks noChangeShapeType="1"/>
              </p:cNvSpPr>
              <p:nvPr/>
            </p:nvSpPr>
            <p:spPr bwMode="auto">
              <a:xfrm flipH="1">
                <a:off x="4721580" y="2359758"/>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7" name="Line 1222">
                <a:extLst>
                  <a:ext uri="{FF2B5EF4-FFF2-40B4-BE49-F238E27FC236}">
                    <a16:creationId xmlns:a16="http://schemas.microsoft.com/office/drawing/2014/main" id="{97DC95BA-4112-4F74-96B9-9B8575E1A769}"/>
                  </a:ext>
                </a:extLst>
              </p:cNvPr>
              <p:cNvSpPr>
                <a:spLocks noChangeShapeType="1"/>
              </p:cNvSpPr>
              <p:nvPr/>
            </p:nvSpPr>
            <p:spPr bwMode="auto">
              <a:xfrm flipH="1">
                <a:off x="4690299" y="2359758"/>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8" name="Line 1223">
                <a:extLst>
                  <a:ext uri="{FF2B5EF4-FFF2-40B4-BE49-F238E27FC236}">
                    <a16:creationId xmlns:a16="http://schemas.microsoft.com/office/drawing/2014/main" id="{39938452-E00B-42C5-81F8-A33E4FEBCB05}"/>
                  </a:ext>
                </a:extLst>
              </p:cNvPr>
              <p:cNvSpPr>
                <a:spLocks noChangeShapeType="1"/>
              </p:cNvSpPr>
              <p:nvPr/>
            </p:nvSpPr>
            <p:spPr bwMode="auto">
              <a:xfrm flipH="1">
                <a:off x="4659017"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9" name="Line 1224">
                <a:extLst>
                  <a:ext uri="{FF2B5EF4-FFF2-40B4-BE49-F238E27FC236}">
                    <a16:creationId xmlns:a16="http://schemas.microsoft.com/office/drawing/2014/main" id="{8467BCC4-0FC2-4CFD-BB43-9D16742B197A}"/>
                  </a:ext>
                </a:extLst>
              </p:cNvPr>
              <p:cNvSpPr>
                <a:spLocks noChangeShapeType="1"/>
              </p:cNvSpPr>
              <p:nvPr/>
            </p:nvSpPr>
            <p:spPr bwMode="auto">
              <a:xfrm flipH="1">
                <a:off x="4627736"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0" name="Line 1225">
                <a:extLst>
                  <a:ext uri="{FF2B5EF4-FFF2-40B4-BE49-F238E27FC236}">
                    <a16:creationId xmlns:a16="http://schemas.microsoft.com/office/drawing/2014/main" id="{57AB2C47-E5E7-4101-B0A1-6048B1B02F8C}"/>
                  </a:ext>
                </a:extLst>
              </p:cNvPr>
              <p:cNvSpPr>
                <a:spLocks noChangeShapeType="1"/>
              </p:cNvSpPr>
              <p:nvPr/>
            </p:nvSpPr>
            <p:spPr bwMode="auto">
              <a:xfrm flipH="1">
                <a:off x="4848940" y="2389549"/>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1" name="Line 1226">
                <a:extLst>
                  <a:ext uri="{FF2B5EF4-FFF2-40B4-BE49-F238E27FC236}">
                    <a16:creationId xmlns:a16="http://schemas.microsoft.com/office/drawing/2014/main" id="{1653A6FE-FB81-43E0-9B28-6C3814E50291}"/>
                  </a:ext>
                </a:extLst>
              </p:cNvPr>
              <p:cNvSpPr>
                <a:spLocks noChangeShapeType="1"/>
              </p:cNvSpPr>
              <p:nvPr/>
            </p:nvSpPr>
            <p:spPr bwMode="auto">
              <a:xfrm flipH="1">
                <a:off x="4816914" y="2389549"/>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2" name="Line 1227">
                <a:extLst>
                  <a:ext uri="{FF2B5EF4-FFF2-40B4-BE49-F238E27FC236}">
                    <a16:creationId xmlns:a16="http://schemas.microsoft.com/office/drawing/2014/main" id="{06F3B0F2-042F-44BE-BA0A-9ECF8CFD2832}"/>
                  </a:ext>
                </a:extLst>
              </p:cNvPr>
              <p:cNvSpPr>
                <a:spLocks noChangeShapeType="1"/>
              </p:cNvSpPr>
              <p:nvPr/>
            </p:nvSpPr>
            <p:spPr bwMode="auto">
              <a:xfrm flipH="1">
                <a:off x="4690299" y="2389549"/>
                <a:ext cx="116933"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3" name="Line 1228">
                <a:extLst>
                  <a:ext uri="{FF2B5EF4-FFF2-40B4-BE49-F238E27FC236}">
                    <a16:creationId xmlns:a16="http://schemas.microsoft.com/office/drawing/2014/main" id="{C318FD36-0336-4D66-A99F-C0FC7916629D}"/>
                  </a:ext>
                </a:extLst>
              </p:cNvPr>
              <p:cNvSpPr>
                <a:spLocks noChangeShapeType="1"/>
              </p:cNvSpPr>
              <p:nvPr/>
            </p:nvSpPr>
            <p:spPr bwMode="auto">
              <a:xfrm flipH="1">
                <a:off x="4659017" y="2389549"/>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4" name="Line 1229">
                <a:extLst>
                  <a:ext uri="{FF2B5EF4-FFF2-40B4-BE49-F238E27FC236}">
                    <a16:creationId xmlns:a16="http://schemas.microsoft.com/office/drawing/2014/main" id="{54CD68D4-1E01-4B12-8105-0A3F2373CC2D}"/>
                  </a:ext>
                </a:extLst>
              </p:cNvPr>
              <p:cNvSpPr>
                <a:spLocks noChangeShapeType="1"/>
              </p:cNvSpPr>
              <p:nvPr/>
            </p:nvSpPr>
            <p:spPr bwMode="auto">
              <a:xfrm flipH="1">
                <a:off x="4627736" y="2389549"/>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5" name="Freeform 1551">
                <a:extLst>
                  <a:ext uri="{FF2B5EF4-FFF2-40B4-BE49-F238E27FC236}">
                    <a16:creationId xmlns:a16="http://schemas.microsoft.com/office/drawing/2014/main" id="{33420C53-70BC-484A-84A6-03842731C7FA}"/>
                  </a:ext>
                </a:extLst>
              </p:cNvPr>
              <p:cNvSpPr>
                <a:spLocks/>
              </p:cNvSpPr>
              <p:nvPr/>
            </p:nvSpPr>
            <p:spPr bwMode="auto">
              <a:xfrm>
                <a:off x="4660507" y="2437216"/>
                <a:ext cx="127361" cy="126616"/>
              </a:xfrm>
              <a:custGeom>
                <a:avLst/>
                <a:gdLst>
                  <a:gd name="T0" fmla="*/ 342 w 342"/>
                  <a:gd name="T1" fmla="*/ 171 h 341"/>
                  <a:gd name="T2" fmla="*/ 339 w 342"/>
                  <a:gd name="T3" fmla="*/ 136 h 341"/>
                  <a:gd name="T4" fmla="*/ 330 w 342"/>
                  <a:gd name="T5" fmla="*/ 105 h 341"/>
                  <a:gd name="T6" fmla="*/ 313 w 342"/>
                  <a:gd name="T7" fmla="*/ 76 h 341"/>
                  <a:gd name="T8" fmla="*/ 291 w 342"/>
                  <a:gd name="T9" fmla="*/ 50 h 341"/>
                  <a:gd name="T10" fmla="*/ 278 w 342"/>
                  <a:gd name="T11" fmla="*/ 39 h 341"/>
                  <a:gd name="T12" fmla="*/ 250 w 342"/>
                  <a:gd name="T13" fmla="*/ 21 h 341"/>
                  <a:gd name="T14" fmla="*/ 221 w 342"/>
                  <a:gd name="T15" fmla="*/ 8 h 341"/>
                  <a:gd name="T16" fmla="*/ 188 w 342"/>
                  <a:gd name="T17" fmla="*/ 0 h 341"/>
                  <a:gd name="T18" fmla="*/ 171 w 342"/>
                  <a:gd name="T19" fmla="*/ 0 h 341"/>
                  <a:gd name="T20" fmla="*/ 136 w 342"/>
                  <a:gd name="T21" fmla="*/ 4 h 341"/>
                  <a:gd name="T22" fmla="*/ 105 w 342"/>
                  <a:gd name="T23" fmla="*/ 13 h 341"/>
                  <a:gd name="T24" fmla="*/ 78 w 342"/>
                  <a:gd name="T25" fmla="*/ 28 h 341"/>
                  <a:gd name="T26" fmla="*/ 50 w 342"/>
                  <a:gd name="T27" fmla="*/ 50 h 341"/>
                  <a:gd name="T28" fmla="*/ 39 w 342"/>
                  <a:gd name="T29" fmla="*/ 63 h 341"/>
                  <a:gd name="T30" fmla="*/ 21 w 342"/>
                  <a:gd name="T31" fmla="*/ 91 h 341"/>
                  <a:gd name="T32" fmla="*/ 8 w 342"/>
                  <a:gd name="T33" fmla="*/ 120 h 341"/>
                  <a:gd name="T34" fmla="*/ 2 w 342"/>
                  <a:gd name="T35" fmla="*/ 153 h 341"/>
                  <a:gd name="T36" fmla="*/ 0 w 342"/>
                  <a:gd name="T37" fmla="*/ 171 h 341"/>
                  <a:gd name="T38" fmla="*/ 4 w 342"/>
                  <a:gd name="T39" fmla="*/ 205 h 341"/>
                  <a:gd name="T40" fmla="*/ 13 w 342"/>
                  <a:gd name="T41" fmla="*/ 236 h 341"/>
                  <a:gd name="T42" fmla="*/ 28 w 342"/>
                  <a:gd name="T43" fmla="*/ 265 h 341"/>
                  <a:gd name="T44" fmla="*/ 50 w 342"/>
                  <a:gd name="T45" fmla="*/ 291 h 341"/>
                  <a:gd name="T46" fmla="*/ 63 w 342"/>
                  <a:gd name="T47" fmla="*/ 304 h 341"/>
                  <a:gd name="T48" fmla="*/ 90 w 342"/>
                  <a:gd name="T49" fmla="*/ 322 h 341"/>
                  <a:gd name="T50" fmla="*/ 122 w 342"/>
                  <a:gd name="T51" fmla="*/ 335 h 341"/>
                  <a:gd name="T52" fmla="*/ 153 w 342"/>
                  <a:gd name="T53" fmla="*/ 341 h 341"/>
                  <a:gd name="T54" fmla="*/ 171 w 342"/>
                  <a:gd name="T55" fmla="*/ 341 h 341"/>
                  <a:gd name="T56" fmla="*/ 205 w 342"/>
                  <a:gd name="T57" fmla="*/ 339 h 341"/>
                  <a:gd name="T58" fmla="*/ 236 w 342"/>
                  <a:gd name="T59" fmla="*/ 330 h 341"/>
                  <a:gd name="T60" fmla="*/ 265 w 342"/>
                  <a:gd name="T61" fmla="*/ 313 h 341"/>
                  <a:gd name="T62" fmla="*/ 291 w 342"/>
                  <a:gd name="T63" fmla="*/ 291 h 341"/>
                  <a:gd name="T64" fmla="*/ 304 w 342"/>
                  <a:gd name="T65" fmla="*/ 278 h 341"/>
                  <a:gd name="T66" fmla="*/ 322 w 342"/>
                  <a:gd name="T67" fmla="*/ 251 h 341"/>
                  <a:gd name="T68" fmla="*/ 335 w 342"/>
                  <a:gd name="T69" fmla="*/ 221 h 341"/>
                  <a:gd name="T70" fmla="*/ 341 w 342"/>
                  <a:gd name="T71" fmla="*/ 188 h 341"/>
                  <a:gd name="T72" fmla="*/ 342 w 342"/>
                  <a:gd name="T73" fmla="*/ 17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341">
                    <a:moveTo>
                      <a:pt x="342" y="171"/>
                    </a:moveTo>
                    <a:lnTo>
                      <a:pt x="342" y="171"/>
                    </a:lnTo>
                    <a:lnTo>
                      <a:pt x="341" y="153"/>
                    </a:lnTo>
                    <a:lnTo>
                      <a:pt x="339" y="136"/>
                    </a:lnTo>
                    <a:lnTo>
                      <a:pt x="335" y="120"/>
                    </a:lnTo>
                    <a:lnTo>
                      <a:pt x="330" y="105"/>
                    </a:lnTo>
                    <a:lnTo>
                      <a:pt x="322" y="91"/>
                    </a:lnTo>
                    <a:lnTo>
                      <a:pt x="313" y="76"/>
                    </a:lnTo>
                    <a:lnTo>
                      <a:pt x="304" y="63"/>
                    </a:lnTo>
                    <a:lnTo>
                      <a:pt x="291" y="50"/>
                    </a:lnTo>
                    <a:lnTo>
                      <a:pt x="291" y="50"/>
                    </a:lnTo>
                    <a:lnTo>
                      <a:pt x="278" y="39"/>
                    </a:lnTo>
                    <a:lnTo>
                      <a:pt x="265" y="28"/>
                    </a:lnTo>
                    <a:lnTo>
                      <a:pt x="250" y="21"/>
                    </a:lnTo>
                    <a:lnTo>
                      <a:pt x="236" y="13"/>
                    </a:lnTo>
                    <a:lnTo>
                      <a:pt x="221" y="8"/>
                    </a:lnTo>
                    <a:lnTo>
                      <a:pt x="205" y="4"/>
                    </a:lnTo>
                    <a:lnTo>
                      <a:pt x="188" y="0"/>
                    </a:lnTo>
                    <a:lnTo>
                      <a:pt x="171" y="0"/>
                    </a:lnTo>
                    <a:lnTo>
                      <a:pt x="171" y="0"/>
                    </a:lnTo>
                    <a:lnTo>
                      <a:pt x="153" y="0"/>
                    </a:lnTo>
                    <a:lnTo>
                      <a:pt x="136" y="4"/>
                    </a:lnTo>
                    <a:lnTo>
                      <a:pt x="122" y="8"/>
                    </a:lnTo>
                    <a:lnTo>
                      <a:pt x="105" y="13"/>
                    </a:lnTo>
                    <a:lnTo>
                      <a:pt x="90" y="21"/>
                    </a:lnTo>
                    <a:lnTo>
                      <a:pt x="78" y="28"/>
                    </a:lnTo>
                    <a:lnTo>
                      <a:pt x="63" y="39"/>
                    </a:lnTo>
                    <a:lnTo>
                      <a:pt x="50" y="50"/>
                    </a:lnTo>
                    <a:lnTo>
                      <a:pt x="50" y="50"/>
                    </a:lnTo>
                    <a:lnTo>
                      <a:pt x="39" y="63"/>
                    </a:lnTo>
                    <a:lnTo>
                      <a:pt x="28" y="76"/>
                    </a:lnTo>
                    <a:lnTo>
                      <a:pt x="21" y="91"/>
                    </a:lnTo>
                    <a:lnTo>
                      <a:pt x="13" y="105"/>
                    </a:lnTo>
                    <a:lnTo>
                      <a:pt x="8" y="120"/>
                    </a:lnTo>
                    <a:lnTo>
                      <a:pt x="4" y="136"/>
                    </a:lnTo>
                    <a:lnTo>
                      <a:pt x="2" y="153"/>
                    </a:lnTo>
                    <a:lnTo>
                      <a:pt x="0" y="171"/>
                    </a:lnTo>
                    <a:lnTo>
                      <a:pt x="0" y="171"/>
                    </a:lnTo>
                    <a:lnTo>
                      <a:pt x="2" y="188"/>
                    </a:lnTo>
                    <a:lnTo>
                      <a:pt x="4" y="205"/>
                    </a:lnTo>
                    <a:lnTo>
                      <a:pt x="8" y="221"/>
                    </a:lnTo>
                    <a:lnTo>
                      <a:pt x="13" y="236"/>
                    </a:lnTo>
                    <a:lnTo>
                      <a:pt x="21" y="251"/>
                    </a:lnTo>
                    <a:lnTo>
                      <a:pt x="28" y="265"/>
                    </a:lnTo>
                    <a:lnTo>
                      <a:pt x="39" y="278"/>
                    </a:lnTo>
                    <a:lnTo>
                      <a:pt x="50" y="291"/>
                    </a:lnTo>
                    <a:lnTo>
                      <a:pt x="50" y="291"/>
                    </a:lnTo>
                    <a:lnTo>
                      <a:pt x="63" y="304"/>
                    </a:lnTo>
                    <a:lnTo>
                      <a:pt x="78" y="313"/>
                    </a:lnTo>
                    <a:lnTo>
                      <a:pt x="90" y="322"/>
                    </a:lnTo>
                    <a:lnTo>
                      <a:pt x="105" y="330"/>
                    </a:lnTo>
                    <a:lnTo>
                      <a:pt x="122" y="335"/>
                    </a:lnTo>
                    <a:lnTo>
                      <a:pt x="136" y="339"/>
                    </a:lnTo>
                    <a:lnTo>
                      <a:pt x="153" y="341"/>
                    </a:lnTo>
                    <a:lnTo>
                      <a:pt x="171" y="341"/>
                    </a:lnTo>
                    <a:lnTo>
                      <a:pt x="171" y="341"/>
                    </a:lnTo>
                    <a:lnTo>
                      <a:pt x="188" y="341"/>
                    </a:lnTo>
                    <a:lnTo>
                      <a:pt x="205" y="339"/>
                    </a:lnTo>
                    <a:lnTo>
                      <a:pt x="221" y="335"/>
                    </a:lnTo>
                    <a:lnTo>
                      <a:pt x="236" y="330"/>
                    </a:lnTo>
                    <a:lnTo>
                      <a:pt x="250" y="322"/>
                    </a:lnTo>
                    <a:lnTo>
                      <a:pt x="265" y="313"/>
                    </a:lnTo>
                    <a:lnTo>
                      <a:pt x="278" y="304"/>
                    </a:lnTo>
                    <a:lnTo>
                      <a:pt x="291" y="291"/>
                    </a:lnTo>
                    <a:lnTo>
                      <a:pt x="291" y="291"/>
                    </a:lnTo>
                    <a:lnTo>
                      <a:pt x="304" y="278"/>
                    </a:lnTo>
                    <a:lnTo>
                      <a:pt x="313" y="265"/>
                    </a:lnTo>
                    <a:lnTo>
                      <a:pt x="322" y="251"/>
                    </a:lnTo>
                    <a:lnTo>
                      <a:pt x="330" y="236"/>
                    </a:lnTo>
                    <a:lnTo>
                      <a:pt x="335" y="221"/>
                    </a:lnTo>
                    <a:lnTo>
                      <a:pt x="339" y="205"/>
                    </a:lnTo>
                    <a:lnTo>
                      <a:pt x="341" y="188"/>
                    </a:lnTo>
                    <a:lnTo>
                      <a:pt x="342" y="171"/>
                    </a:lnTo>
                    <a:lnTo>
                      <a:pt x="342" y="171"/>
                    </a:lnTo>
                    <a:close/>
                  </a:path>
                </a:pathLst>
              </a:custGeom>
              <a:solidFill>
                <a:srgbClr val="B4EB88"/>
              </a:solidFill>
              <a:ln w="6350">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66" name="Freeform 1552">
                <a:extLst>
                  <a:ext uri="{FF2B5EF4-FFF2-40B4-BE49-F238E27FC236}">
                    <a16:creationId xmlns:a16="http://schemas.microsoft.com/office/drawing/2014/main" id="{16B5E24F-FA86-4155-A708-39639A02A452}"/>
                  </a:ext>
                </a:extLst>
              </p:cNvPr>
              <p:cNvSpPr>
                <a:spLocks/>
              </p:cNvSpPr>
              <p:nvPr/>
            </p:nvSpPr>
            <p:spPr bwMode="auto">
              <a:xfrm>
                <a:off x="4706684" y="2477436"/>
                <a:ext cx="34261" cy="34261"/>
              </a:xfrm>
              <a:custGeom>
                <a:avLst/>
                <a:gdLst>
                  <a:gd name="T0" fmla="*/ 92 w 92"/>
                  <a:gd name="T1" fmla="*/ 46 h 92"/>
                  <a:gd name="T2" fmla="*/ 92 w 92"/>
                  <a:gd name="T3" fmla="*/ 46 h 92"/>
                  <a:gd name="T4" fmla="*/ 92 w 92"/>
                  <a:gd name="T5" fmla="*/ 55 h 92"/>
                  <a:gd name="T6" fmla="*/ 89 w 92"/>
                  <a:gd name="T7" fmla="*/ 64 h 92"/>
                  <a:gd name="T8" fmla="*/ 85 w 92"/>
                  <a:gd name="T9" fmla="*/ 72 h 92"/>
                  <a:gd name="T10" fmla="*/ 80 w 92"/>
                  <a:gd name="T11" fmla="*/ 79 h 92"/>
                  <a:gd name="T12" fmla="*/ 80 w 92"/>
                  <a:gd name="T13" fmla="*/ 79 h 92"/>
                  <a:gd name="T14" fmla="*/ 72 w 92"/>
                  <a:gd name="T15" fmla="*/ 85 h 92"/>
                  <a:gd name="T16" fmla="*/ 65 w 92"/>
                  <a:gd name="T17" fmla="*/ 90 h 92"/>
                  <a:gd name="T18" fmla="*/ 56 w 92"/>
                  <a:gd name="T19" fmla="*/ 92 h 92"/>
                  <a:gd name="T20" fmla="*/ 46 w 92"/>
                  <a:gd name="T21" fmla="*/ 92 h 92"/>
                  <a:gd name="T22" fmla="*/ 46 w 92"/>
                  <a:gd name="T23" fmla="*/ 92 h 92"/>
                  <a:gd name="T24" fmla="*/ 37 w 92"/>
                  <a:gd name="T25" fmla="*/ 92 h 92"/>
                  <a:gd name="T26" fmla="*/ 28 w 92"/>
                  <a:gd name="T27" fmla="*/ 90 h 92"/>
                  <a:gd name="T28" fmla="*/ 21 w 92"/>
                  <a:gd name="T29" fmla="*/ 85 h 92"/>
                  <a:gd name="T30" fmla="*/ 13 w 92"/>
                  <a:gd name="T31" fmla="*/ 79 h 92"/>
                  <a:gd name="T32" fmla="*/ 13 w 92"/>
                  <a:gd name="T33" fmla="*/ 79 h 92"/>
                  <a:gd name="T34" fmla="*/ 8 w 92"/>
                  <a:gd name="T35" fmla="*/ 72 h 92"/>
                  <a:gd name="T36" fmla="*/ 4 w 92"/>
                  <a:gd name="T37" fmla="*/ 64 h 92"/>
                  <a:gd name="T38" fmla="*/ 0 w 92"/>
                  <a:gd name="T39" fmla="*/ 55 h 92"/>
                  <a:gd name="T40" fmla="*/ 0 w 92"/>
                  <a:gd name="T41" fmla="*/ 46 h 92"/>
                  <a:gd name="T42" fmla="*/ 0 w 92"/>
                  <a:gd name="T43" fmla="*/ 46 h 92"/>
                  <a:gd name="T44" fmla="*/ 0 w 92"/>
                  <a:gd name="T45" fmla="*/ 37 h 92"/>
                  <a:gd name="T46" fmla="*/ 4 w 92"/>
                  <a:gd name="T47" fmla="*/ 29 h 92"/>
                  <a:gd name="T48" fmla="*/ 8 w 92"/>
                  <a:gd name="T49" fmla="*/ 20 h 92"/>
                  <a:gd name="T50" fmla="*/ 13 w 92"/>
                  <a:gd name="T51" fmla="*/ 15 h 92"/>
                  <a:gd name="T52" fmla="*/ 13 w 92"/>
                  <a:gd name="T53" fmla="*/ 15 h 92"/>
                  <a:gd name="T54" fmla="*/ 21 w 92"/>
                  <a:gd name="T55" fmla="*/ 7 h 92"/>
                  <a:gd name="T56" fmla="*/ 28 w 92"/>
                  <a:gd name="T57" fmla="*/ 4 h 92"/>
                  <a:gd name="T58" fmla="*/ 37 w 92"/>
                  <a:gd name="T59" fmla="*/ 2 h 92"/>
                  <a:gd name="T60" fmla="*/ 46 w 92"/>
                  <a:gd name="T61" fmla="*/ 0 h 92"/>
                  <a:gd name="T62" fmla="*/ 46 w 92"/>
                  <a:gd name="T63" fmla="*/ 0 h 92"/>
                  <a:gd name="T64" fmla="*/ 56 w 92"/>
                  <a:gd name="T65" fmla="*/ 2 h 92"/>
                  <a:gd name="T66" fmla="*/ 63 w 92"/>
                  <a:gd name="T67" fmla="*/ 4 h 92"/>
                  <a:gd name="T68" fmla="*/ 72 w 92"/>
                  <a:gd name="T69" fmla="*/ 7 h 92"/>
                  <a:gd name="T70" fmla="*/ 80 w 92"/>
                  <a:gd name="T71" fmla="*/ 15 h 92"/>
                  <a:gd name="T72" fmla="*/ 80 w 92"/>
                  <a:gd name="T73" fmla="*/ 15 h 92"/>
                  <a:gd name="T74" fmla="*/ 85 w 92"/>
                  <a:gd name="T75" fmla="*/ 20 h 92"/>
                  <a:gd name="T76" fmla="*/ 89 w 92"/>
                  <a:gd name="T77" fmla="*/ 29 h 92"/>
                  <a:gd name="T78" fmla="*/ 92 w 92"/>
                  <a:gd name="T79" fmla="*/ 37 h 92"/>
                  <a:gd name="T80" fmla="*/ 92 w 92"/>
                  <a:gd name="T81" fmla="*/ 46 h 92"/>
                  <a:gd name="T82" fmla="*/ 92 w 92"/>
                  <a:gd name="T83"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 h="92">
                    <a:moveTo>
                      <a:pt x="92" y="46"/>
                    </a:moveTo>
                    <a:lnTo>
                      <a:pt x="92" y="46"/>
                    </a:lnTo>
                    <a:lnTo>
                      <a:pt x="92" y="55"/>
                    </a:lnTo>
                    <a:lnTo>
                      <a:pt x="89" y="64"/>
                    </a:lnTo>
                    <a:lnTo>
                      <a:pt x="85" y="72"/>
                    </a:lnTo>
                    <a:lnTo>
                      <a:pt x="80" y="79"/>
                    </a:lnTo>
                    <a:lnTo>
                      <a:pt x="80" y="79"/>
                    </a:lnTo>
                    <a:lnTo>
                      <a:pt x="72" y="85"/>
                    </a:lnTo>
                    <a:lnTo>
                      <a:pt x="65" y="90"/>
                    </a:lnTo>
                    <a:lnTo>
                      <a:pt x="56" y="92"/>
                    </a:lnTo>
                    <a:lnTo>
                      <a:pt x="46" y="92"/>
                    </a:lnTo>
                    <a:lnTo>
                      <a:pt x="46" y="92"/>
                    </a:lnTo>
                    <a:lnTo>
                      <a:pt x="37" y="92"/>
                    </a:lnTo>
                    <a:lnTo>
                      <a:pt x="28" y="90"/>
                    </a:lnTo>
                    <a:lnTo>
                      <a:pt x="21" y="85"/>
                    </a:lnTo>
                    <a:lnTo>
                      <a:pt x="13" y="79"/>
                    </a:lnTo>
                    <a:lnTo>
                      <a:pt x="13" y="79"/>
                    </a:lnTo>
                    <a:lnTo>
                      <a:pt x="8" y="72"/>
                    </a:lnTo>
                    <a:lnTo>
                      <a:pt x="4" y="64"/>
                    </a:lnTo>
                    <a:lnTo>
                      <a:pt x="0" y="55"/>
                    </a:lnTo>
                    <a:lnTo>
                      <a:pt x="0" y="46"/>
                    </a:lnTo>
                    <a:lnTo>
                      <a:pt x="0" y="46"/>
                    </a:lnTo>
                    <a:lnTo>
                      <a:pt x="0" y="37"/>
                    </a:lnTo>
                    <a:lnTo>
                      <a:pt x="4" y="29"/>
                    </a:lnTo>
                    <a:lnTo>
                      <a:pt x="8" y="20"/>
                    </a:lnTo>
                    <a:lnTo>
                      <a:pt x="13" y="15"/>
                    </a:lnTo>
                    <a:lnTo>
                      <a:pt x="13" y="15"/>
                    </a:lnTo>
                    <a:lnTo>
                      <a:pt x="21" y="7"/>
                    </a:lnTo>
                    <a:lnTo>
                      <a:pt x="28" y="4"/>
                    </a:lnTo>
                    <a:lnTo>
                      <a:pt x="37" y="2"/>
                    </a:lnTo>
                    <a:lnTo>
                      <a:pt x="46" y="0"/>
                    </a:lnTo>
                    <a:lnTo>
                      <a:pt x="46" y="0"/>
                    </a:lnTo>
                    <a:lnTo>
                      <a:pt x="56" y="2"/>
                    </a:lnTo>
                    <a:lnTo>
                      <a:pt x="63" y="4"/>
                    </a:lnTo>
                    <a:lnTo>
                      <a:pt x="72" y="7"/>
                    </a:lnTo>
                    <a:lnTo>
                      <a:pt x="80" y="15"/>
                    </a:lnTo>
                    <a:lnTo>
                      <a:pt x="80" y="15"/>
                    </a:lnTo>
                    <a:lnTo>
                      <a:pt x="85" y="20"/>
                    </a:lnTo>
                    <a:lnTo>
                      <a:pt x="89" y="29"/>
                    </a:lnTo>
                    <a:lnTo>
                      <a:pt x="92" y="37"/>
                    </a:lnTo>
                    <a:lnTo>
                      <a:pt x="92" y="46"/>
                    </a:lnTo>
                    <a:lnTo>
                      <a:pt x="92" y="46"/>
                    </a:lnTo>
                    <a:close/>
                  </a:path>
                </a:pathLst>
              </a:custGeom>
              <a:noFill/>
              <a:ln w="317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7" name="Freeform 1553">
                <a:extLst>
                  <a:ext uri="{FF2B5EF4-FFF2-40B4-BE49-F238E27FC236}">
                    <a16:creationId xmlns:a16="http://schemas.microsoft.com/office/drawing/2014/main" id="{D2B8E6AB-7268-4B4A-B356-AFFC0AB7ACCB}"/>
                  </a:ext>
                </a:extLst>
              </p:cNvPr>
              <p:cNvSpPr>
                <a:spLocks/>
              </p:cNvSpPr>
              <p:nvPr/>
            </p:nvSpPr>
            <p:spPr bwMode="auto">
              <a:xfrm>
                <a:off x="4694022" y="2513931"/>
                <a:ext cx="60329" cy="31281"/>
              </a:xfrm>
              <a:custGeom>
                <a:avLst/>
                <a:gdLst>
                  <a:gd name="T0" fmla="*/ 116 w 162"/>
                  <a:gd name="T1" fmla="*/ 0 h 83"/>
                  <a:gd name="T2" fmla="*/ 46 w 162"/>
                  <a:gd name="T3" fmla="*/ 0 h 83"/>
                  <a:gd name="T4" fmla="*/ 46 w 162"/>
                  <a:gd name="T5" fmla="*/ 0 h 83"/>
                  <a:gd name="T6" fmla="*/ 37 w 162"/>
                  <a:gd name="T7" fmla="*/ 2 h 83"/>
                  <a:gd name="T8" fmla="*/ 28 w 162"/>
                  <a:gd name="T9" fmla="*/ 4 h 83"/>
                  <a:gd name="T10" fmla="*/ 21 w 162"/>
                  <a:gd name="T11" fmla="*/ 8 h 83"/>
                  <a:gd name="T12" fmla="*/ 13 w 162"/>
                  <a:gd name="T13" fmla="*/ 15 h 83"/>
                  <a:gd name="T14" fmla="*/ 13 w 162"/>
                  <a:gd name="T15" fmla="*/ 15 h 83"/>
                  <a:gd name="T16" fmla="*/ 8 w 162"/>
                  <a:gd name="T17" fmla="*/ 21 h 83"/>
                  <a:gd name="T18" fmla="*/ 4 w 162"/>
                  <a:gd name="T19" fmla="*/ 30 h 83"/>
                  <a:gd name="T20" fmla="*/ 0 w 162"/>
                  <a:gd name="T21" fmla="*/ 37 h 83"/>
                  <a:gd name="T22" fmla="*/ 0 w 162"/>
                  <a:gd name="T23" fmla="*/ 46 h 83"/>
                  <a:gd name="T24" fmla="*/ 0 w 162"/>
                  <a:gd name="T25" fmla="*/ 50 h 83"/>
                  <a:gd name="T26" fmla="*/ 0 w 162"/>
                  <a:gd name="T27" fmla="*/ 50 h 83"/>
                  <a:gd name="T28" fmla="*/ 19 w 162"/>
                  <a:gd name="T29" fmla="*/ 65 h 83"/>
                  <a:gd name="T30" fmla="*/ 37 w 162"/>
                  <a:gd name="T31" fmla="*/ 76 h 83"/>
                  <a:gd name="T32" fmla="*/ 59 w 162"/>
                  <a:gd name="T33" fmla="*/ 81 h 83"/>
                  <a:gd name="T34" fmla="*/ 81 w 162"/>
                  <a:gd name="T35" fmla="*/ 83 h 83"/>
                  <a:gd name="T36" fmla="*/ 81 w 162"/>
                  <a:gd name="T37" fmla="*/ 83 h 83"/>
                  <a:gd name="T38" fmla="*/ 103 w 162"/>
                  <a:gd name="T39" fmla="*/ 81 h 83"/>
                  <a:gd name="T40" fmla="*/ 126 w 162"/>
                  <a:gd name="T41" fmla="*/ 76 h 83"/>
                  <a:gd name="T42" fmla="*/ 144 w 162"/>
                  <a:gd name="T43" fmla="*/ 65 h 83"/>
                  <a:gd name="T44" fmla="*/ 162 w 162"/>
                  <a:gd name="T45" fmla="*/ 50 h 83"/>
                  <a:gd name="T46" fmla="*/ 162 w 162"/>
                  <a:gd name="T47" fmla="*/ 46 h 83"/>
                  <a:gd name="T48" fmla="*/ 162 w 162"/>
                  <a:gd name="T49" fmla="*/ 46 h 83"/>
                  <a:gd name="T50" fmla="*/ 162 w 162"/>
                  <a:gd name="T51" fmla="*/ 37 h 83"/>
                  <a:gd name="T52" fmla="*/ 159 w 162"/>
                  <a:gd name="T53" fmla="*/ 30 h 83"/>
                  <a:gd name="T54" fmla="*/ 155 w 162"/>
                  <a:gd name="T55" fmla="*/ 21 h 83"/>
                  <a:gd name="T56" fmla="*/ 149 w 162"/>
                  <a:gd name="T57" fmla="*/ 15 h 83"/>
                  <a:gd name="T58" fmla="*/ 149 w 162"/>
                  <a:gd name="T59" fmla="*/ 15 h 83"/>
                  <a:gd name="T60" fmla="*/ 142 w 162"/>
                  <a:gd name="T61" fmla="*/ 8 h 83"/>
                  <a:gd name="T62" fmla="*/ 133 w 162"/>
                  <a:gd name="T63" fmla="*/ 4 h 83"/>
                  <a:gd name="T64" fmla="*/ 126 w 162"/>
                  <a:gd name="T65" fmla="*/ 2 h 83"/>
                  <a:gd name="T66" fmla="*/ 116 w 162"/>
                  <a:gd name="T67" fmla="*/ 0 h 83"/>
                  <a:gd name="T68" fmla="*/ 116 w 162"/>
                  <a:gd name="T6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83">
                    <a:moveTo>
                      <a:pt x="116" y="0"/>
                    </a:moveTo>
                    <a:lnTo>
                      <a:pt x="46" y="0"/>
                    </a:lnTo>
                    <a:lnTo>
                      <a:pt x="46" y="0"/>
                    </a:lnTo>
                    <a:lnTo>
                      <a:pt x="37" y="2"/>
                    </a:lnTo>
                    <a:lnTo>
                      <a:pt x="28" y="4"/>
                    </a:lnTo>
                    <a:lnTo>
                      <a:pt x="21" y="8"/>
                    </a:lnTo>
                    <a:lnTo>
                      <a:pt x="13" y="15"/>
                    </a:lnTo>
                    <a:lnTo>
                      <a:pt x="13" y="15"/>
                    </a:lnTo>
                    <a:lnTo>
                      <a:pt x="8" y="21"/>
                    </a:lnTo>
                    <a:lnTo>
                      <a:pt x="4" y="30"/>
                    </a:lnTo>
                    <a:lnTo>
                      <a:pt x="0" y="37"/>
                    </a:lnTo>
                    <a:lnTo>
                      <a:pt x="0" y="46"/>
                    </a:lnTo>
                    <a:lnTo>
                      <a:pt x="0" y="50"/>
                    </a:lnTo>
                    <a:lnTo>
                      <a:pt x="0" y="50"/>
                    </a:lnTo>
                    <a:lnTo>
                      <a:pt x="19" y="65"/>
                    </a:lnTo>
                    <a:lnTo>
                      <a:pt x="37" y="76"/>
                    </a:lnTo>
                    <a:lnTo>
                      <a:pt x="59" y="81"/>
                    </a:lnTo>
                    <a:lnTo>
                      <a:pt x="81" y="83"/>
                    </a:lnTo>
                    <a:lnTo>
                      <a:pt x="81" y="83"/>
                    </a:lnTo>
                    <a:lnTo>
                      <a:pt x="103" y="81"/>
                    </a:lnTo>
                    <a:lnTo>
                      <a:pt x="126" y="76"/>
                    </a:lnTo>
                    <a:lnTo>
                      <a:pt x="144" y="65"/>
                    </a:lnTo>
                    <a:lnTo>
                      <a:pt x="162" y="50"/>
                    </a:lnTo>
                    <a:lnTo>
                      <a:pt x="162" y="46"/>
                    </a:lnTo>
                    <a:lnTo>
                      <a:pt x="162" y="46"/>
                    </a:lnTo>
                    <a:lnTo>
                      <a:pt x="162" y="37"/>
                    </a:lnTo>
                    <a:lnTo>
                      <a:pt x="159" y="30"/>
                    </a:lnTo>
                    <a:lnTo>
                      <a:pt x="155" y="21"/>
                    </a:lnTo>
                    <a:lnTo>
                      <a:pt x="149" y="15"/>
                    </a:lnTo>
                    <a:lnTo>
                      <a:pt x="149" y="15"/>
                    </a:lnTo>
                    <a:lnTo>
                      <a:pt x="142" y="8"/>
                    </a:lnTo>
                    <a:lnTo>
                      <a:pt x="133" y="4"/>
                    </a:lnTo>
                    <a:lnTo>
                      <a:pt x="126" y="2"/>
                    </a:lnTo>
                    <a:lnTo>
                      <a:pt x="116" y="0"/>
                    </a:lnTo>
                    <a:lnTo>
                      <a:pt x="116" y="0"/>
                    </a:lnTo>
                    <a:close/>
                  </a:path>
                </a:pathLst>
              </a:custGeom>
              <a:noFill/>
              <a:ln w="317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8" name="Line 1569">
                <a:extLst>
                  <a:ext uri="{FF2B5EF4-FFF2-40B4-BE49-F238E27FC236}">
                    <a16:creationId xmlns:a16="http://schemas.microsoft.com/office/drawing/2014/main" id="{02998080-8B2F-44D4-8C29-B4772E1F8BE6}"/>
                  </a:ext>
                </a:extLst>
              </p:cNvPr>
              <p:cNvSpPr>
                <a:spLocks noChangeShapeType="1"/>
              </p:cNvSpPr>
              <p:nvPr/>
            </p:nvSpPr>
            <p:spPr bwMode="auto">
              <a:xfrm>
                <a:off x="4816914" y="1932244"/>
                <a:ext cx="0" cy="14151"/>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9" name="Line 1570">
                <a:extLst>
                  <a:ext uri="{FF2B5EF4-FFF2-40B4-BE49-F238E27FC236}">
                    <a16:creationId xmlns:a16="http://schemas.microsoft.com/office/drawing/2014/main" id="{91E66731-77C4-4B5E-A8A2-C9F736E2BCEC}"/>
                  </a:ext>
                </a:extLst>
              </p:cNvPr>
              <p:cNvSpPr>
                <a:spLocks noChangeShapeType="1"/>
              </p:cNvSpPr>
              <p:nvPr/>
            </p:nvSpPr>
            <p:spPr bwMode="auto">
              <a:xfrm>
                <a:off x="4781908" y="1951609"/>
                <a:ext cx="12662" cy="6703"/>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70" name="Line 1571">
                <a:extLst>
                  <a:ext uri="{FF2B5EF4-FFF2-40B4-BE49-F238E27FC236}">
                    <a16:creationId xmlns:a16="http://schemas.microsoft.com/office/drawing/2014/main" id="{53C5D786-8534-4262-A917-C43985024759}"/>
                  </a:ext>
                </a:extLst>
              </p:cNvPr>
              <p:cNvSpPr>
                <a:spLocks noChangeShapeType="1"/>
              </p:cNvSpPr>
              <p:nvPr/>
            </p:nvSpPr>
            <p:spPr bwMode="auto">
              <a:xfrm flipV="1">
                <a:off x="4781164" y="1984380"/>
                <a:ext cx="12662" cy="6703"/>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71" name="Line 1572">
                <a:extLst>
                  <a:ext uri="{FF2B5EF4-FFF2-40B4-BE49-F238E27FC236}">
                    <a16:creationId xmlns:a16="http://schemas.microsoft.com/office/drawing/2014/main" id="{09DF3108-447C-452F-8B9E-38011DE35DA5}"/>
                  </a:ext>
                </a:extLst>
              </p:cNvPr>
              <p:cNvSpPr>
                <a:spLocks noChangeShapeType="1"/>
              </p:cNvSpPr>
              <p:nvPr/>
            </p:nvSpPr>
            <p:spPr bwMode="auto">
              <a:xfrm flipV="1">
                <a:off x="4815425" y="1997786"/>
                <a:ext cx="0" cy="14151"/>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72" name="Line 1573">
                <a:extLst>
                  <a:ext uri="{FF2B5EF4-FFF2-40B4-BE49-F238E27FC236}">
                    <a16:creationId xmlns:a16="http://schemas.microsoft.com/office/drawing/2014/main" id="{9D393989-5541-4AD9-AF8B-E2DB4D26CD66}"/>
                  </a:ext>
                </a:extLst>
              </p:cNvPr>
              <p:cNvSpPr>
                <a:spLocks noChangeShapeType="1"/>
              </p:cNvSpPr>
              <p:nvPr/>
            </p:nvSpPr>
            <p:spPr bwMode="auto">
              <a:xfrm flipH="1" flipV="1">
                <a:off x="4838513" y="1985125"/>
                <a:ext cx="11917" cy="7448"/>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73" name="Line 1574">
                <a:extLst>
                  <a:ext uri="{FF2B5EF4-FFF2-40B4-BE49-F238E27FC236}">
                    <a16:creationId xmlns:a16="http://schemas.microsoft.com/office/drawing/2014/main" id="{C81164C5-C858-474B-8343-0391410700AC}"/>
                  </a:ext>
                </a:extLst>
              </p:cNvPr>
              <p:cNvSpPr>
                <a:spLocks noChangeShapeType="1"/>
              </p:cNvSpPr>
              <p:nvPr/>
            </p:nvSpPr>
            <p:spPr bwMode="auto">
              <a:xfrm flipH="1">
                <a:off x="4839258" y="1952354"/>
                <a:ext cx="11917" cy="7448"/>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413" name="Rectangle 412">
              <a:extLst>
                <a:ext uri="{FF2B5EF4-FFF2-40B4-BE49-F238E27FC236}">
                  <a16:creationId xmlns:a16="http://schemas.microsoft.com/office/drawing/2014/main" id="{58390979-85A5-4FE9-96B9-B03FF0949E90}"/>
                </a:ext>
              </a:extLst>
            </p:cNvPr>
            <p:cNvSpPr/>
            <p:nvPr/>
          </p:nvSpPr>
          <p:spPr>
            <a:xfrm>
              <a:off x="478109" y="3091488"/>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print Planning</a:t>
              </a:r>
            </a:p>
          </p:txBody>
        </p:sp>
      </p:grpSp>
      <p:grpSp>
        <p:nvGrpSpPr>
          <p:cNvPr id="674" name="Group 673">
            <a:extLst>
              <a:ext uri="{FF2B5EF4-FFF2-40B4-BE49-F238E27FC236}">
                <a16:creationId xmlns:a16="http://schemas.microsoft.com/office/drawing/2014/main" id="{D5E6A0B8-CDC6-43DB-BF74-04AD0E489D79}"/>
              </a:ext>
            </a:extLst>
          </p:cNvPr>
          <p:cNvGrpSpPr/>
          <p:nvPr/>
        </p:nvGrpSpPr>
        <p:grpSpPr>
          <a:xfrm>
            <a:off x="1851451" y="3569639"/>
            <a:ext cx="838958" cy="735279"/>
            <a:chOff x="1701958" y="2259861"/>
            <a:chExt cx="1115908" cy="978004"/>
          </a:xfrm>
        </p:grpSpPr>
        <p:grpSp>
          <p:nvGrpSpPr>
            <p:cNvPr id="675" name="Group 674">
              <a:extLst>
                <a:ext uri="{FF2B5EF4-FFF2-40B4-BE49-F238E27FC236}">
                  <a16:creationId xmlns:a16="http://schemas.microsoft.com/office/drawing/2014/main" id="{FDCDED3F-CF5B-4354-A332-0450956382EA}"/>
                </a:ext>
              </a:extLst>
            </p:cNvPr>
            <p:cNvGrpSpPr/>
            <p:nvPr/>
          </p:nvGrpSpPr>
          <p:grpSpPr>
            <a:xfrm>
              <a:off x="1884148" y="2259861"/>
              <a:ext cx="661806" cy="567204"/>
              <a:chOff x="4404171" y="3636991"/>
              <a:chExt cx="555037" cy="475698"/>
            </a:xfrm>
          </p:grpSpPr>
          <p:sp>
            <p:nvSpPr>
              <p:cNvPr id="677" name="Line 67">
                <a:extLst>
                  <a:ext uri="{FF2B5EF4-FFF2-40B4-BE49-F238E27FC236}">
                    <a16:creationId xmlns:a16="http://schemas.microsoft.com/office/drawing/2014/main" id="{9D9C8D71-35C1-42E6-890E-10BBDF3A3E9E}"/>
                  </a:ext>
                </a:extLst>
              </p:cNvPr>
              <p:cNvSpPr>
                <a:spLocks noChangeShapeType="1"/>
              </p:cNvSpPr>
              <p:nvPr/>
            </p:nvSpPr>
            <p:spPr bwMode="auto">
              <a:xfrm rot="8100000">
                <a:off x="4420834" y="387894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78" name="Line 74">
                <a:extLst>
                  <a:ext uri="{FF2B5EF4-FFF2-40B4-BE49-F238E27FC236}">
                    <a16:creationId xmlns:a16="http://schemas.microsoft.com/office/drawing/2014/main" id="{D4261D1A-F220-4CE9-9CE0-2B45B01EA822}"/>
                  </a:ext>
                </a:extLst>
              </p:cNvPr>
              <p:cNvSpPr>
                <a:spLocks noChangeShapeType="1"/>
              </p:cNvSpPr>
              <p:nvPr/>
            </p:nvSpPr>
            <p:spPr bwMode="auto">
              <a:xfrm rot="8100000">
                <a:off x="4404171" y="389561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nvGrpSpPr>
              <p:cNvPr id="679" name="Group 678">
                <a:extLst>
                  <a:ext uri="{FF2B5EF4-FFF2-40B4-BE49-F238E27FC236}">
                    <a16:creationId xmlns:a16="http://schemas.microsoft.com/office/drawing/2014/main" id="{467D2D2D-F49D-46B1-92C2-94038AB3ACE6}"/>
                  </a:ext>
                </a:extLst>
              </p:cNvPr>
              <p:cNvGrpSpPr/>
              <p:nvPr/>
            </p:nvGrpSpPr>
            <p:grpSpPr>
              <a:xfrm>
                <a:off x="4502242" y="3636991"/>
                <a:ext cx="456966" cy="475698"/>
                <a:chOff x="10712002" y="4268231"/>
                <a:chExt cx="483856" cy="503691"/>
              </a:xfrm>
            </p:grpSpPr>
            <p:sp>
              <p:nvSpPr>
                <p:cNvPr id="687" name="Freeform 48">
                  <a:extLst>
                    <a:ext uri="{FF2B5EF4-FFF2-40B4-BE49-F238E27FC236}">
                      <a16:creationId xmlns:a16="http://schemas.microsoft.com/office/drawing/2014/main" id="{2CAD0678-B859-42E0-B22F-0BFE89341AF3}"/>
                    </a:ext>
                  </a:extLst>
                </p:cNvPr>
                <p:cNvSpPr>
                  <a:spLocks/>
                </p:cNvSpPr>
                <p:nvPr/>
              </p:nvSpPr>
              <p:spPr bwMode="auto">
                <a:xfrm>
                  <a:off x="10712002" y="4268231"/>
                  <a:ext cx="483856" cy="285505"/>
                </a:xfrm>
                <a:custGeom>
                  <a:avLst/>
                  <a:gdLst>
                    <a:gd name="T0" fmla="*/ 1533 w 1606"/>
                    <a:gd name="T1" fmla="*/ 950 h 950"/>
                    <a:gd name="T2" fmla="*/ 1606 w 1606"/>
                    <a:gd name="T3" fmla="*/ 950 h 950"/>
                    <a:gd name="T4" fmla="*/ 1606 w 1606"/>
                    <a:gd name="T5" fmla="*/ 0 h 950"/>
                    <a:gd name="T6" fmla="*/ 0 w 1606"/>
                    <a:gd name="T7" fmla="*/ 0 h 950"/>
                    <a:gd name="T8" fmla="*/ 0 w 1606"/>
                    <a:gd name="T9" fmla="*/ 950 h 950"/>
                    <a:gd name="T10" fmla="*/ 73 w 1606"/>
                    <a:gd name="T11" fmla="*/ 950 h 950"/>
                  </a:gdLst>
                  <a:ahLst/>
                  <a:cxnLst>
                    <a:cxn ang="0">
                      <a:pos x="T0" y="T1"/>
                    </a:cxn>
                    <a:cxn ang="0">
                      <a:pos x="T2" y="T3"/>
                    </a:cxn>
                    <a:cxn ang="0">
                      <a:pos x="T4" y="T5"/>
                    </a:cxn>
                    <a:cxn ang="0">
                      <a:pos x="T6" y="T7"/>
                    </a:cxn>
                    <a:cxn ang="0">
                      <a:pos x="T8" y="T9"/>
                    </a:cxn>
                    <a:cxn ang="0">
                      <a:pos x="T10" y="T11"/>
                    </a:cxn>
                  </a:cxnLst>
                  <a:rect l="0" t="0" r="r" b="b"/>
                  <a:pathLst>
                    <a:path w="1606" h="950">
                      <a:moveTo>
                        <a:pt x="1533" y="950"/>
                      </a:moveTo>
                      <a:lnTo>
                        <a:pt x="1606" y="950"/>
                      </a:lnTo>
                      <a:lnTo>
                        <a:pt x="1606" y="0"/>
                      </a:lnTo>
                      <a:lnTo>
                        <a:pt x="0" y="0"/>
                      </a:lnTo>
                      <a:lnTo>
                        <a:pt x="0" y="950"/>
                      </a:lnTo>
                      <a:lnTo>
                        <a:pt x="73" y="950"/>
                      </a:lnTo>
                    </a:path>
                  </a:pathLst>
                </a:custGeom>
                <a:noFill/>
                <a:ln w="15875">
                  <a:solidFill>
                    <a:srgbClr val="5151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88" name="Line 60">
                  <a:extLst>
                    <a:ext uri="{FF2B5EF4-FFF2-40B4-BE49-F238E27FC236}">
                      <a16:creationId xmlns:a16="http://schemas.microsoft.com/office/drawing/2014/main" id="{B9A1138B-0D4A-4D7C-B9B6-C7A0D5BE58A6}"/>
                    </a:ext>
                  </a:extLst>
                </p:cNvPr>
                <p:cNvSpPr>
                  <a:spLocks noChangeShapeType="1"/>
                </p:cNvSpPr>
                <p:nvPr/>
              </p:nvSpPr>
              <p:spPr bwMode="auto">
                <a:xfrm>
                  <a:off x="10790140" y="4323830"/>
                  <a:ext cx="0" cy="175811"/>
                </a:xfrm>
                <a:prstGeom prst="line">
                  <a:avLst/>
                </a:prstGeom>
                <a:noFill/>
                <a:ln w="19050">
                  <a:solidFill>
                    <a:srgbClr val="00A3E0"/>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89" name="Line 61">
                  <a:extLst>
                    <a:ext uri="{FF2B5EF4-FFF2-40B4-BE49-F238E27FC236}">
                      <a16:creationId xmlns:a16="http://schemas.microsoft.com/office/drawing/2014/main" id="{A461049A-9FE4-4C26-9E25-EE73C23E170E}"/>
                    </a:ext>
                  </a:extLst>
                </p:cNvPr>
                <p:cNvSpPr>
                  <a:spLocks noChangeShapeType="1"/>
                </p:cNvSpPr>
                <p:nvPr/>
              </p:nvSpPr>
              <p:spPr bwMode="auto">
                <a:xfrm>
                  <a:off x="10844236" y="4421502"/>
                  <a:ext cx="0" cy="78138"/>
                </a:xfrm>
                <a:prstGeom prst="line">
                  <a:avLst/>
                </a:prstGeom>
                <a:noFill/>
                <a:ln w="19050">
                  <a:solidFill>
                    <a:srgbClr val="08AEAE"/>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90" name="Line 62">
                  <a:extLst>
                    <a:ext uri="{FF2B5EF4-FFF2-40B4-BE49-F238E27FC236}">
                      <a16:creationId xmlns:a16="http://schemas.microsoft.com/office/drawing/2014/main" id="{899B9E41-7CAD-487E-833F-4947006BF1E1}"/>
                    </a:ext>
                  </a:extLst>
                </p:cNvPr>
                <p:cNvSpPr>
                  <a:spLocks noChangeShapeType="1"/>
                </p:cNvSpPr>
                <p:nvPr/>
              </p:nvSpPr>
              <p:spPr bwMode="auto">
                <a:xfrm>
                  <a:off x="10898332" y="4367407"/>
                  <a:ext cx="0" cy="132234"/>
                </a:xfrm>
                <a:prstGeom prst="line">
                  <a:avLst/>
                </a:prstGeom>
                <a:noFill/>
                <a:ln w="19050">
                  <a:solidFill>
                    <a:srgbClr val="86BC25"/>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nvGrpSpPr>
                <p:cNvPr id="691" name="Group 690">
                  <a:extLst>
                    <a:ext uri="{FF2B5EF4-FFF2-40B4-BE49-F238E27FC236}">
                      <a16:creationId xmlns:a16="http://schemas.microsoft.com/office/drawing/2014/main" id="{9176A38D-E457-4C8D-B2F9-384462DBE276}"/>
                    </a:ext>
                  </a:extLst>
                </p:cNvPr>
                <p:cNvGrpSpPr/>
                <p:nvPr/>
              </p:nvGrpSpPr>
              <p:grpSpPr>
                <a:xfrm>
                  <a:off x="11098383" y="4578916"/>
                  <a:ext cx="87936" cy="190405"/>
                  <a:chOff x="11468790" y="3825525"/>
                  <a:chExt cx="103017" cy="223059"/>
                </a:xfrm>
              </p:grpSpPr>
              <p:sp>
                <p:nvSpPr>
                  <p:cNvPr id="827" name="Freeform 37">
                    <a:extLst>
                      <a:ext uri="{FF2B5EF4-FFF2-40B4-BE49-F238E27FC236}">
                        <a16:creationId xmlns:a16="http://schemas.microsoft.com/office/drawing/2014/main" id="{CCFFC06F-2B46-4E2B-BB71-B1E196ED335A}"/>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28" name="Freeform 38">
                    <a:extLst>
                      <a:ext uri="{FF2B5EF4-FFF2-40B4-BE49-F238E27FC236}">
                        <a16:creationId xmlns:a16="http://schemas.microsoft.com/office/drawing/2014/main" id="{9F04AF9B-738D-41DA-95C8-249C52DD38CF}"/>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grpSp>
            <p:grpSp>
              <p:nvGrpSpPr>
                <p:cNvPr id="692" name="Group 691">
                  <a:extLst>
                    <a:ext uri="{FF2B5EF4-FFF2-40B4-BE49-F238E27FC236}">
                      <a16:creationId xmlns:a16="http://schemas.microsoft.com/office/drawing/2014/main" id="{FB633429-464D-4A55-A8A0-80B12B55B903}"/>
                    </a:ext>
                  </a:extLst>
                </p:cNvPr>
                <p:cNvGrpSpPr/>
                <p:nvPr/>
              </p:nvGrpSpPr>
              <p:grpSpPr>
                <a:xfrm>
                  <a:off x="10979665" y="4578916"/>
                  <a:ext cx="87936" cy="190405"/>
                  <a:chOff x="11468790" y="3825525"/>
                  <a:chExt cx="103017" cy="223059"/>
                </a:xfrm>
              </p:grpSpPr>
              <p:sp>
                <p:nvSpPr>
                  <p:cNvPr id="825" name="Freeform 37">
                    <a:extLst>
                      <a:ext uri="{FF2B5EF4-FFF2-40B4-BE49-F238E27FC236}">
                        <a16:creationId xmlns:a16="http://schemas.microsoft.com/office/drawing/2014/main" id="{A2EF3A3E-1F77-42FF-B907-5D375CBF6DB7}"/>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26" name="Freeform 38">
                    <a:extLst>
                      <a:ext uri="{FF2B5EF4-FFF2-40B4-BE49-F238E27FC236}">
                        <a16:creationId xmlns:a16="http://schemas.microsoft.com/office/drawing/2014/main" id="{F57EF9A6-C7C9-4ED2-B420-DF7394A03269}"/>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grpSp>
            <p:grpSp>
              <p:nvGrpSpPr>
                <p:cNvPr id="693" name="Group 692">
                  <a:extLst>
                    <a:ext uri="{FF2B5EF4-FFF2-40B4-BE49-F238E27FC236}">
                      <a16:creationId xmlns:a16="http://schemas.microsoft.com/office/drawing/2014/main" id="{60B71C73-5740-4978-B835-5EE8A6758782}"/>
                    </a:ext>
                  </a:extLst>
                </p:cNvPr>
                <p:cNvGrpSpPr/>
                <p:nvPr/>
              </p:nvGrpSpPr>
              <p:grpSpPr>
                <a:xfrm>
                  <a:off x="10861913" y="4581517"/>
                  <a:ext cx="87936" cy="190405"/>
                  <a:chOff x="11468790" y="3825525"/>
                  <a:chExt cx="103017" cy="223059"/>
                </a:xfrm>
              </p:grpSpPr>
              <p:sp>
                <p:nvSpPr>
                  <p:cNvPr id="698" name="Freeform 37">
                    <a:extLst>
                      <a:ext uri="{FF2B5EF4-FFF2-40B4-BE49-F238E27FC236}">
                        <a16:creationId xmlns:a16="http://schemas.microsoft.com/office/drawing/2014/main" id="{ABBABF8B-FBFD-436D-B307-A78A1BE1F6A1}"/>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24" name="Freeform 38">
                    <a:extLst>
                      <a:ext uri="{FF2B5EF4-FFF2-40B4-BE49-F238E27FC236}">
                        <a16:creationId xmlns:a16="http://schemas.microsoft.com/office/drawing/2014/main" id="{8A8A417F-97DC-4568-9CE4-06B981F42D04}"/>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grpSp>
            <p:grpSp>
              <p:nvGrpSpPr>
                <p:cNvPr id="694" name="Group 693">
                  <a:extLst>
                    <a:ext uri="{FF2B5EF4-FFF2-40B4-BE49-F238E27FC236}">
                      <a16:creationId xmlns:a16="http://schemas.microsoft.com/office/drawing/2014/main" id="{C91B92CC-DB98-42C1-BFBD-2F9232149641}"/>
                    </a:ext>
                  </a:extLst>
                </p:cNvPr>
                <p:cNvGrpSpPr/>
                <p:nvPr/>
              </p:nvGrpSpPr>
              <p:grpSpPr>
                <a:xfrm>
                  <a:off x="10745008" y="4581517"/>
                  <a:ext cx="87936" cy="190405"/>
                  <a:chOff x="11468790" y="3825525"/>
                  <a:chExt cx="103017" cy="223059"/>
                </a:xfrm>
              </p:grpSpPr>
              <p:sp>
                <p:nvSpPr>
                  <p:cNvPr id="696" name="Freeform 37">
                    <a:extLst>
                      <a:ext uri="{FF2B5EF4-FFF2-40B4-BE49-F238E27FC236}">
                        <a16:creationId xmlns:a16="http://schemas.microsoft.com/office/drawing/2014/main" id="{C438853D-1666-448C-BD0E-14C5ACD36EF5}"/>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97" name="Freeform 38">
                    <a:extLst>
                      <a:ext uri="{FF2B5EF4-FFF2-40B4-BE49-F238E27FC236}">
                        <a16:creationId xmlns:a16="http://schemas.microsoft.com/office/drawing/2014/main" id="{1D57E90F-E6F0-4E8F-89DD-5CAE4DFAFA2C}"/>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grpSp>
            <p:sp>
              <p:nvSpPr>
                <p:cNvPr id="695" name="Line 61">
                  <a:extLst>
                    <a:ext uri="{FF2B5EF4-FFF2-40B4-BE49-F238E27FC236}">
                      <a16:creationId xmlns:a16="http://schemas.microsoft.com/office/drawing/2014/main" id="{EC3DB76F-1B80-4D6A-9C78-F48FF30212F8}"/>
                    </a:ext>
                  </a:extLst>
                </p:cNvPr>
                <p:cNvSpPr>
                  <a:spLocks noChangeShapeType="1"/>
                </p:cNvSpPr>
                <p:nvPr/>
              </p:nvSpPr>
              <p:spPr bwMode="auto">
                <a:xfrm>
                  <a:off x="10955476" y="4417054"/>
                  <a:ext cx="0" cy="78138"/>
                </a:xfrm>
                <a:prstGeom prst="line">
                  <a:avLst/>
                </a:prstGeom>
                <a:noFill/>
                <a:ln w="19050">
                  <a:solidFill>
                    <a:srgbClr val="EAB400"/>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680" name="AutoShape 3">
                <a:extLst>
                  <a:ext uri="{FF2B5EF4-FFF2-40B4-BE49-F238E27FC236}">
                    <a16:creationId xmlns:a16="http://schemas.microsoft.com/office/drawing/2014/main" id="{9593BDA5-D4A5-4333-904A-AB8AABE592A2}"/>
                  </a:ext>
                </a:extLst>
              </p:cNvPr>
              <p:cNvSpPr>
                <a:spLocks noChangeAspect="1" noChangeArrowheads="1" noTextEdit="1"/>
              </p:cNvSpPr>
              <p:nvPr/>
            </p:nvSpPr>
            <p:spPr bwMode="auto">
              <a:xfrm>
                <a:off x="4765675" y="3697288"/>
                <a:ext cx="157163"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81" name="Freeform 5">
                <a:extLst>
                  <a:ext uri="{FF2B5EF4-FFF2-40B4-BE49-F238E27FC236}">
                    <a16:creationId xmlns:a16="http://schemas.microsoft.com/office/drawing/2014/main" id="{1804B0DF-EC44-4B11-ABAA-2126F9C829FB}"/>
                  </a:ext>
                </a:extLst>
              </p:cNvPr>
              <p:cNvSpPr>
                <a:spLocks noEditPoints="1"/>
              </p:cNvSpPr>
              <p:nvPr/>
            </p:nvSpPr>
            <p:spPr bwMode="auto">
              <a:xfrm>
                <a:off x="4765675" y="3708401"/>
                <a:ext cx="146050" cy="144463"/>
              </a:xfrm>
              <a:custGeom>
                <a:avLst/>
                <a:gdLst>
                  <a:gd name="T0" fmla="*/ 643 w 1286"/>
                  <a:gd name="T1" fmla="*/ 0 h 1273"/>
                  <a:gd name="T2" fmla="*/ 577 w 1286"/>
                  <a:gd name="T3" fmla="*/ 3 h 1273"/>
                  <a:gd name="T4" fmla="*/ 513 w 1286"/>
                  <a:gd name="T5" fmla="*/ 14 h 1273"/>
                  <a:gd name="T6" fmla="*/ 452 w 1286"/>
                  <a:gd name="T7" fmla="*/ 29 h 1273"/>
                  <a:gd name="T8" fmla="*/ 392 w 1286"/>
                  <a:gd name="T9" fmla="*/ 50 h 1273"/>
                  <a:gd name="T10" fmla="*/ 336 w 1286"/>
                  <a:gd name="T11" fmla="*/ 77 h 1273"/>
                  <a:gd name="T12" fmla="*/ 284 w 1286"/>
                  <a:gd name="T13" fmla="*/ 109 h 1273"/>
                  <a:gd name="T14" fmla="*/ 234 w 1286"/>
                  <a:gd name="T15" fmla="*/ 146 h 1273"/>
                  <a:gd name="T16" fmla="*/ 188 w 1286"/>
                  <a:gd name="T17" fmla="*/ 186 h 1273"/>
                  <a:gd name="T18" fmla="*/ 147 w 1286"/>
                  <a:gd name="T19" fmla="*/ 232 h 1273"/>
                  <a:gd name="T20" fmla="*/ 110 w 1286"/>
                  <a:gd name="T21" fmla="*/ 281 h 1273"/>
                  <a:gd name="T22" fmla="*/ 77 w 1286"/>
                  <a:gd name="T23" fmla="*/ 333 h 1273"/>
                  <a:gd name="T24" fmla="*/ 50 w 1286"/>
                  <a:gd name="T25" fmla="*/ 389 h 1273"/>
                  <a:gd name="T26" fmla="*/ 29 w 1286"/>
                  <a:gd name="T27" fmla="*/ 448 h 1273"/>
                  <a:gd name="T28" fmla="*/ 14 w 1286"/>
                  <a:gd name="T29" fmla="*/ 508 h 1273"/>
                  <a:gd name="T30" fmla="*/ 3 w 1286"/>
                  <a:gd name="T31" fmla="*/ 572 h 1273"/>
                  <a:gd name="T32" fmla="*/ 0 w 1286"/>
                  <a:gd name="T33" fmla="*/ 637 h 1273"/>
                  <a:gd name="T34" fmla="*/ 1 w 1286"/>
                  <a:gd name="T35" fmla="*/ 670 h 1273"/>
                  <a:gd name="T36" fmla="*/ 7 w 1286"/>
                  <a:gd name="T37" fmla="*/ 734 h 1273"/>
                  <a:gd name="T38" fmla="*/ 20 w 1286"/>
                  <a:gd name="T39" fmla="*/ 796 h 1273"/>
                  <a:gd name="T40" fmla="*/ 39 w 1286"/>
                  <a:gd name="T41" fmla="*/ 856 h 1273"/>
                  <a:gd name="T42" fmla="*/ 64 w 1286"/>
                  <a:gd name="T43" fmla="*/ 912 h 1273"/>
                  <a:gd name="T44" fmla="*/ 93 w 1286"/>
                  <a:gd name="T45" fmla="*/ 966 h 1273"/>
                  <a:gd name="T46" fmla="*/ 127 w 1286"/>
                  <a:gd name="T47" fmla="*/ 1018 h 1273"/>
                  <a:gd name="T48" fmla="*/ 167 w 1286"/>
                  <a:gd name="T49" fmla="*/ 1064 h 1273"/>
                  <a:gd name="T50" fmla="*/ 211 w 1286"/>
                  <a:gd name="T51" fmla="*/ 1108 h 1273"/>
                  <a:gd name="T52" fmla="*/ 258 w 1286"/>
                  <a:gd name="T53" fmla="*/ 1147 h 1273"/>
                  <a:gd name="T54" fmla="*/ 310 w 1286"/>
                  <a:gd name="T55" fmla="*/ 1181 h 1273"/>
                  <a:gd name="T56" fmla="*/ 364 w 1286"/>
                  <a:gd name="T57" fmla="*/ 1210 h 1273"/>
                  <a:gd name="T58" fmla="*/ 422 w 1286"/>
                  <a:gd name="T59" fmla="*/ 1235 h 1273"/>
                  <a:gd name="T60" fmla="*/ 482 w 1286"/>
                  <a:gd name="T61" fmla="*/ 1253 h 1273"/>
                  <a:gd name="T62" fmla="*/ 545 w 1286"/>
                  <a:gd name="T63" fmla="*/ 1266 h 1273"/>
                  <a:gd name="T64" fmla="*/ 610 w 1286"/>
                  <a:gd name="T65" fmla="*/ 1272 h 1273"/>
                  <a:gd name="T66" fmla="*/ 643 w 1286"/>
                  <a:gd name="T67" fmla="*/ 1273 h 1273"/>
                  <a:gd name="T68" fmla="*/ 709 w 1286"/>
                  <a:gd name="T69" fmla="*/ 1270 h 1273"/>
                  <a:gd name="T70" fmla="*/ 772 w 1286"/>
                  <a:gd name="T71" fmla="*/ 1260 h 1273"/>
                  <a:gd name="T72" fmla="*/ 834 w 1286"/>
                  <a:gd name="T73" fmla="*/ 1244 h 1273"/>
                  <a:gd name="T74" fmla="*/ 893 w 1286"/>
                  <a:gd name="T75" fmla="*/ 1223 h 1273"/>
                  <a:gd name="T76" fmla="*/ 950 w 1286"/>
                  <a:gd name="T77" fmla="*/ 1197 h 1273"/>
                  <a:gd name="T78" fmla="*/ 1002 w 1286"/>
                  <a:gd name="T79" fmla="*/ 1165 h 1273"/>
                  <a:gd name="T80" fmla="*/ 1052 w 1286"/>
                  <a:gd name="T81" fmla="*/ 1127 h 1273"/>
                  <a:gd name="T82" fmla="*/ 1098 w 1286"/>
                  <a:gd name="T83" fmla="*/ 1087 h 1273"/>
                  <a:gd name="T84" fmla="*/ 1139 w 1286"/>
                  <a:gd name="T85" fmla="*/ 1042 h 1273"/>
                  <a:gd name="T86" fmla="*/ 1176 w 1286"/>
                  <a:gd name="T87" fmla="*/ 992 h 1273"/>
                  <a:gd name="T88" fmla="*/ 1209 w 1286"/>
                  <a:gd name="T89" fmla="*/ 940 h 1273"/>
                  <a:gd name="T90" fmla="*/ 1236 w 1286"/>
                  <a:gd name="T91" fmla="*/ 885 h 1273"/>
                  <a:gd name="T92" fmla="*/ 1257 w 1286"/>
                  <a:gd name="T93" fmla="*/ 826 h 1273"/>
                  <a:gd name="T94" fmla="*/ 1272 w 1286"/>
                  <a:gd name="T95" fmla="*/ 765 h 1273"/>
                  <a:gd name="T96" fmla="*/ 1283 w 1286"/>
                  <a:gd name="T97" fmla="*/ 702 h 1273"/>
                  <a:gd name="T98" fmla="*/ 1286 w 1286"/>
                  <a:gd name="T99" fmla="*/ 637 h 1273"/>
                  <a:gd name="T100" fmla="*/ 643 w 1286"/>
                  <a:gd name="T101" fmla="*/ 0 h 1273"/>
                  <a:gd name="T102" fmla="*/ 643 w 1286"/>
                  <a:gd name="T103" fmla="*/ 0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6" h="1273">
                    <a:moveTo>
                      <a:pt x="643" y="0"/>
                    </a:moveTo>
                    <a:lnTo>
                      <a:pt x="643" y="0"/>
                    </a:lnTo>
                    <a:lnTo>
                      <a:pt x="610" y="1"/>
                    </a:lnTo>
                    <a:lnTo>
                      <a:pt x="577" y="3"/>
                    </a:lnTo>
                    <a:lnTo>
                      <a:pt x="545" y="7"/>
                    </a:lnTo>
                    <a:lnTo>
                      <a:pt x="513" y="14"/>
                    </a:lnTo>
                    <a:lnTo>
                      <a:pt x="482" y="20"/>
                    </a:lnTo>
                    <a:lnTo>
                      <a:pt x="452" y="29"/>
                    </a:lnTo>
                    <a:lnTo>
                      <a:pt x="422" y="38"/>
                    </a:lnTo>
                    <a:lnTo>
                      <a:pt x="392" y="50"/>
                    </a:lnTo>
                    <a:lnTo>
                      <a:pt x="364" y="63"/>
                    </a:lnTo>
                    <a:lnTo>
                      <a:pt x="336" y="77"/>
                    </a:lnTo>
                    <a:lnTo>
                      <a:pt x="310" y="92"/>
                    </a:lnTo>
                    <a:lnTo>
                      <a:pt x="284" y="109"/>
                    </a:lnTo>
                    <a:lnTo>
                      <a:pt x="258" y="126"/>
                    </a:lnTo>
                    <a:lnTo>
                      <a:pt x="234" y="146"/>
                    </a:lnTo>
                    <a:lnTo>
                      <a:pt x="211" y="165"/>
                    </a:lnTo>
                    <a:lnTo>
                      <a:pt x="188" y="186"/>
                    </a:lnTo>
                    <a:lnTo>
                      <a:pt x="167" y="209"/>
                    </a:lnTo>
                    <a:lnTo>
                      <a:pt x="147" y="232"/>
                    </a:lnTo>
                    <a:lnTo>
                      <a:pt x="127" y="255"/>
                    </a:lnTo>
                    <a:lnTo>
                      <a:pt x="110" y="281"/>
                    </a:lnTo>
                    <a:lnTo>
                      <a:pt x="93" y="307"/>
                    </a:lnTo>
                    <a:lnTo>
                      <a:pt x="77" y="333"/>
                    </a:lnTo>
                    <a:lnTo>
                      <a:pt x="64" y="361"/>
                    </a:lnTo>
                    <a:lnTo>
                      <a:pt x="50" y="389"/>
                    </a:lnTo>
                    <a:lnTo>
                      <a:pt x="39" y="418"/>
                    </a:lnTo>
                    <a:lnTo>
                      <a:pt x="29" y="448"/>
                    </a:lnTo>
                    <a:lnTo>
                      <a:pt x="20" y="477"/>
                    </a:lnTo>
                    <a:lnTo>
                      <a:pt x="14" y="508"/>
                    </a:lnTo>
                    <a:lnTo>
                      <a:pt x="7" y="539"/>
                    </a:lnTo>
                    <a:lnTo>
                      <a:pt x="3" y="572"/>
                    </a:lnTo>
                    <a:lnTo>
                      <a:pt x="1" y="604"/>
                    </a:lnTo>
                    <a:lnTo>
                      <a:pt x="0" y="637"/>
                    </a:lnTo>
                    <a:lnTo>
                      <a:pt x="0" y="637"/>
                    </a:lnTo>
                    <a:lnTo>
                      <a:pt x="1" y="670"/>
                    </a:lnTo>
                    <a:lnTo>
                      <a:pt x="3" y="702"/>
                    </a:lnTo>
                    <a:lnTo>
                      <a:pt x="7" y="734"/>
                    </a:lnTo>
                    <a:lnTo>
                      <a:pt x="14" y="765"/>
                    </a:lnTo>
                    <a:lnTo>
                      <a:pt x="20" y="796"/>
                    </a:lnTo>
                    <a:lnTo>
                      <a:pt x="29" y="826"/>
                    </a:lnTo>
                    <a:lnTo>
                      <a:pt x="39" y="856"/>
                    </a:lnTo>
                    <a:lnTo>
                      <a:pt x="50" y="885"/>
                    </a:lnTo>
                    <a:lnTo>
                      <a:pt x="64" y="912"/>
                    </a:lnTo>
                    <a:lnTo>
                      <a:pt x="77" y="940"/>
                    </a:lnTo>
                    <a:lnTo>
                      <a:pt x="93" y="966"/>
                    </a:lnTo>
                    <a:lnTo>
                      <a:pt x="110" y="992"/>
                    </a:lnTo>
                    <a:lnTo>
                      <a:pt x="127" y="1018"/>
                    </a:lnTo>
                    <a:lnTo>
                      <a:pt x="147" y="1042"/>
                    </a:lnTo>
                    <a:lnTo>
                      <a:pt x="167" y="1064"/>
                    </a:lnTo>
                    <a:lnTo>
                      <a:pt x="188" y="1087"/>
                    </a:lnTo>
                    <a:lnTo>
                      <a:pt x="211" y="1108"/>
                    </a:lnTo>
                    <a:lnTo>
                      <a:pt x="234" y="1127"/>
                    </a:lnTo>
                    <a:lnTo>
                      <a:pt x="258" y="1147"/>
                    </a:lnTo>
                    <a:lnTo>
                      <a:pt x="284" y="1165"/>
                    </a:lnTo>
                    <a:lnTo>
                      <a:pt x="310" y="1181"/>
                    </a:lnTo>
                    <a:lnTo>
                      <a:pt x="336" y="1197"/>
                    </a:lnTo>
                    <a:lnTo>
                      <a:pt x="364" y="1210"/>
                    </a:lnTo>
                    <a:lnTo>
                      <a:pt x="392" y="1223"/>
                    </a:lnTo>
                    <a:lnTo>
                      <a:pt x="422" y="1235"/>
                    </a:lnTo>
                    <a:lnTo>
                      <a:pt x="452" y="1244"/>
                    </a:lnTo>
                    <a:lnTo>
                      <a:pt x="482" y="1253"/>
                    </a:lnTo>
                    <a:lnTo>
                      <a:pt x="513" y="1260"/>
                    </a:lnTo>
                    <a:lnTo>
                      <a:pt x="545" y="1266"/>
                    </a:lnTo>
                    <a:lnTo>
                      <a:pt x="577" y="1270"/>
                    </a:lnTo>
                    <a:lnTo>
                      <a:pt x="610" y="1272"/>
                    </a:lnTo>
                    <a:lnTo>
                      <a:pt x="643" y="1273"/>
                    </a:lnTo>
                    <a:lnTo>
                      <a:pt x="643" y="1273"/>
                    </a:lnTo>
                    <a:lnTo>
                      <a:pt x="676" y="1272"/>
                    </a:lnTo>
                    <a:lnTo>
                      <a:pt x="709" y="1270"/>
                    </a:lnTo>
                    <a:lnTo>
                      <a:pt x="741" y="1266"/>
                    </a:lnTo>
                    <a:lnTo>
                      <a:pt x="772" y="1260"/>
                    </a:lnTo>
                    <a:lnTo>
                      <a:pt x="804" y="1253"/>
                    </a:lnTo>
                    <a:lnTo>
                      <a:pt x="834" y="1244"/>
                    </a:lnTo>
                    <a:lnTo>
                      <a:pt x="864" y="1235"/>
                    </a:lnTo>
                    <a:lnTo>
                      <a:pt x="893" y="1223"/>
                    </a:lnTo>
                    <a:lnTo>
                      <a:pt x="922" y="1210"/>
                    </a:lnTo>
                    <a:lnTo>
                      <a:pt x="950" y="1197"/>
                    </a:lnTo>
                    <a:lnTo>
                      <a:pt x="976" y="1181"/>
                    </a:lnTo>
                    <a:lnTo>
                      <a:pt x="1002" y="1165"/>
                    </a:lnTo>
                    <a:lnTo>
                      <a:pt x="1028" y="1147"/>
                    </a:lnTo>
                    <a:lnTo>
                      <a:pt x="1052" y="1127"/>
                    </a:lnTo>
                    <a:lnTo>
                      <a:pt x="1075" y="1108"/>
                    </a:lnTo>
                    <a:lnTo>
                      <a:pt x="1098" y="1087"/>
                    </a:lnTo>
                    <a:lnTo>
                      <a:pt x="1119" y="1064"/>
                    </a:lnTo>
                    <a:lnTo>
                      <a:pt x="1139" y="1042"/>
                    </a:lnTo>
                    <a:lnTo>
                      <a:pt x="1158" y="1018"/>
                    </a:lnTo>
                    <a:lnTo>
                      <a:pt x="1176" y="992"/>
                    </a:lnTo>
                    <a:lnTo>
                      <a:pt x="1193" y="966"/>
                    </a:lnTo>
                    <a:lnTo>
                      <a:pt x="1209" y="940"/>
                    </a:lnTo>
                    <a:lnTo>
                      <a:pt x="1222" y="912"/>
                    </a:lnTo>
                    <a:lnTo>
                      <a:pt x="1236" y="885"/>
                    </a:lnTo>
                    <a:lnTo>
                      <a:pt x="1247" y="856"/>
                    </a:lnTo>
                    <a:lnTo>
                      <a:pt x="1257" y="826"/>
                    </a:lnTo>
                    <a:lnTo>
                      <a:pt x="1266" y="796"/>
                    </a:lnTo>
                    <a:lnTo>
                      <a:pt x="1272" y="765"/>
                    </a:lnTo>
                    <a:lnTo>
                      <a:pt x="1279" y="734"/>
                    </a:lnTo>
                    <a:lnTo>
                      <a:pt x="1283" y="702"/>
                    </a:lnTo>
                    <a:lnTo>
                      <a:pt x="1285" y="670"/>
                    </a:lnTo>
                    <a:lnTo>
                      <a:pt x="1286" y="637"/>
                    </a:lnTo>
                    <a:lnTo>
                      <a:pt x="643" y="637"/>
                    </a:lnTo>
                    <a:lnTo>
                      <a:pt x="643" y="0"/>
                    </a:lnTo>
                    <a:close/>
                    <a:moveTo>
                      <a:pt x="643" y="0"/>
                    </a:moveTo>
                    <a:lnTo>
                      <a:pt x="643" y="0"/>
                    </a:lnTo>
                    <a:close/>
                  </a:path>
                </a:pathLst>
              </a:custGeom>
              <a:solidFill>
                <a:srgbClr val="43B02A"/>
              </a:solidFill>
              <a:ln>
                <a:noFill/>
              </a:ln>
            </p:spPr>
            <p:txBody>
              <a:bodyPr vert="horz" wrap="square" lIns="68746" tIns="34374" rIns="68746" bIns="34374" numCol="1" anchor="t" anchorCtr="0" compatLnSpc="1">
                <a:prstTxWarp prst="textNoShape">
                  <a:avLst/>
                </a:prstTxWarp>
              </a:bodyPr>
              <a:lstStyle/>
              <a:p>
                <a:endParaRPr lang="en-US" sz="1354" dirty="0"/>
              </a:p>
            </p:txBody>
          </p:sp>
          <p:sp>
            <p:nvSpPr>
              <p:cNvPr id="682" name="Freeform 6">
                <a:extLst>
                  <a:ext uri="{FF2B5EF4-FFF2-40B4-BE49-F238E27FC236}">
                    <a16:creationId xmlns:a16="http://schemas.microsoft.com/office/drawing/2014/main" id="{4C634825-2F1F-4982-9FF3-DC1082DDC54C}"/>
                  </a:ext>
                </a:extLst>
              </p:cNvPr>
              <p:cNvSpPr>
                <a:spLocks/>
              </p:cNvSpPr>
              <p:nvPr/>
            </p:nvSpPr>
            <p:spPr bwMode="auto">
              <a:xfrm>
                <a:off x="4765675" y="3708401"/>
                <a:ext cx="146050" cy="144463"/>
              </a:xfrm>
              <a:custGeom>
                <a:avLst/>
                <a:gdLst>
                  <a:gd name="T0" fmla="*/ 643 w 1286"/>
                  <a:gd name="T1" fmla="*/ 0 h 1273"/>
                  <a:gd name="T2" fmla="*/ 577 w 1286"/>
                  <a:gd name="T3" fmla="*/ 3 h 1273"/>
                  <a:gd name="T4" fmla="*/ 513 w 1286"/>
                  <a:gd name="T5" fmla="*/ 14 h 1273"/>
                  <a:gd name="T6" fmla="*/ 452 w 1286"/>
                  <a:gd name="T7" fmla="*/ 29 h 1273"/>
                  <a:gd name="T8" fmla="*/ 392 w 1286"/>
                  <a:gd name="T9" fmla="*/ 50 h 1273"/>
                  <a:gd name="T10" fmla="*/ 336 w 1286"/>
                  <a:gd name="T11" fmla="*/ 77 h 1273"/>
                  <a:gd name="T12" fmla="*/ 284 w 1286"/>
                  <a:gd name="T13" fmla="*/ 109 h 1273"/>
                  <a:gd name="T14" fmla="*/ 234 w 1286"/>
                  <a:gd name="T15" fmla="*/ 146 h 1273"/>
                  <a:gd name="T16" fmla="*/ 188 w 1286"/>
                  <a:gd name="T17" fmla="*/ 186 h 1273"/>
                  <a:gd name="T18" fmla="*/ 147 w 1286"/>
                  <a:gd name="T19" fmla="*/ 232 h 1273"/>
                  <a:gd name="T20" fmla="*/ 110 w 1286"/>
                  <a:gd name="T21" fmla="*/ 281 h 1273"/>
                  <a:gd name="T22" fmla="*/ 77 w 1286"/>
                  <a:gd name="T23" fmla="*/ 333 h 1273"/>
                  <a:gd name="T24" fmla="*/ 50 w 1286"/>
                  <a:gd name="T25" fmla="*/ 389 h 1273"/>
                  <a:gd name="T26" fmla="*/ 29 w 1286"/>
                  <a:gd name="T27" fmla="*/ 448 h 1273"/>
                  <a:gd name="T28" fmla="*/ 14 w 1286"/>
                  <a:gd name="T29" fmla="*/ 508 h 1273"/>
                  <a:gd name="T30" fmla="*/ 3 w 1286"/>
                  <a:gd name="T31" fmla="*/ 572 h 1273"/>
                  <a:gd name="T32" fmla="*/ 0 w 1286"/>
                  <a:gd name="T33" fmla="*/ 637 h 1273"/>
                  <a:gd name="T34" fmla="*/ 1 w 1286"/>
                  <a:gd name="T35" fmla="*/ 670 h 1273"/>
                  <a:gd name="T36" fmla="*/ 7 w 1286"/>
                  <a:gd name="T37" fmla="*/ 734 h 1273"/>
                  <a:gd name="T38" fmla="*/ 20 w 1286"/>
                  <a:gd name="T39" fmla="*/ 796 h 1273"/>
                  <a:gd name="T40" fmla="*/ 39 w 1286"/>
                  <a:gd name="T41" fmla="*/ 856 h 1273"/>
                  <a:gd name="T42" fmla="*/ 64 w 1286"/>
                  <a:gd name="T43" fmla="*/ 912 h 1273"/>
                  <a:gd name="T44" fmla="*/ 93 w 1286"/>
                  <a:gd name="T45" fmla="*/ 966 h 1273"/>
                  <a:gd name="T46" fmla="*/ 127 w 1286"/>
                  <a:gd name="T47" fmla="*/ 1018 h 1273"/>
                  <a:gd name="T48" fmla="*/ 167 w 1286"/>
                  <a:gd name="T49" fmla="*/ 1064 h 1273"/>
                  <a:gd name="T50" fmla="*/ 211 w 1286"/>
                  <a:gd name="T51" fmla="*/ 1108 h 1273"/>
                  <a:gd name="T52" fmla="*/ 258 w 1286"/>
                  <a:gd name="T53" fmla="*/ 1147 h 1273"/>
                  <a:gd name="T54" fmla="*/ 310 w 1286"/>
                  <a:gd name="T55" fmla="*/ 1181 h 1273"/>
                  <a:gd name="T56" fmla="*/ 364 w 1286"/>
                  <a:gd name="T57" fmla="*/ 1210 h 1273"/>
                  <a:gd name="T58" fmla="*/ 422 w 1286"/>
                  <a:gd name="T59" fmla="*/ 1235 h 1273"/>
                  <a:gd name="T60" fmla="*/ 482 w 1286"/>
                  <a:gd name="T61" fmla="*/ 1253 h 1273"/>
                  <a:gd name="T62" fmla="*/ 545 w 1286"/>
                  <a:gd name="T63" fmla="*/ 1266 h 1273"/>
                  <a:gd name="T64" fmla="*/ 610 w 1286"/>
                  <a:gd name="T65" fmla="*/ 1272 h 1273"/>
                  <a:gd name="T66" fmla="*/ 643 w 1286"/>
                  <a:gd name="T67" fmla="*/ 1273 h 1273"/>
                  <a:gd name="T68" fmla="*/ 709 w 1286"/>
                  <a:gd name="T69" fmla="*/ 1270 h 1273"/>
                  <a:gd name="T70" fmla="*/ 772 w 1286"/>
                  <a:gd name="T71" fmla="*/ 1260 h 1273"/>
                  <a:gd name="T72" fmla="*/ 834 w 1286"/>
                  <a:gd name="T73" fmla="*/ 1244 h 1273"/>
                  <a:gd name="T74" fmla="*/ 893 w 1286"/>
                  <a:gd name="T75" fmla="*/ 1223 h 1273"/>
                  <a:gd name="T76" fmla="*/ 950 w 1286"/>
                  <a:gd name="T77" fmla="*/ 1197 h 1273"/>
                  <a:gd name="T78" fmla="*/ 1002 w 1286"/>
                  <a:gd name="T79" fmla="*/ 1165 h 1273"/>
                  <a:gd name="T80" fmla="*/ 1052 w 1286"/>
                  <a:gd name="T81" fmla="*/ 1127 h 1273"/>
                  <a:gd name="T82" fmla="*/ 1098 w 1286"/>
                  <a:gd name="T83" fmla="*/ 1087 h 1273"/>
                  <a:gd name="T84" fmla="*/ 1139 w 1286"/>
                  <a:gd name="T85" fmla="*/ 1042 h 1273"/>
                  <a:gd name="T86" fmla="*/ 1176 w 1286"/>
                  <a:gd name="T87" fmla="*/ 992 h 1273"/>
                  <a:gd name="T88" fmla="*/ 1209 w 1286"/>
                  <a:gd name="T89" fmla="*/ 940 h 1273"/>
                  <a:gd name="T90" fmla="*/ 1236 w 1286"/>
                  <a:gd name="T91" fmla="*/ 885 h 1273"/>
                  <a:gd name="T92" fmla="*/ 1257 w 1286"/>
                  <a:gd name="T93" fmla="*/ 826 h 1273"/>
                  <a:gd name="T94" fmla="*/ 1272 w 1286"/>
                  <a:gd name="T95" fmla="*/ 765 h 1273"/>
                  <a:gd name="T96" fmla="*/ 1283 w 1286"/>
                  <a:gd name="T97" fmla="*/ 702 h 1273"/>
                  <a:gd name="T98" fmla="*/ 1286 w 1286"/>
                  <a:gd name="T99" fmla="*/ 637 h 1273"/>
                  <a:gd name="T100" fmla="*/ 643 w 1286"/>
                  <a:gd name="T101" fmla="*/ 0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6" h="1273">
                    <a:moveTo>
                      <a:pt x="643" y="0"/>
                    </a:moveTo>
                    <a:lnTo>
                      <a:pt x="643" y="0"/>
                    </a:lnTo>
                    <a:lnTo>
                      <a:pt x="610" y="1"/>
                    </a:lnTo>
                    <a:lnTo>
                      <a:pt x="577" y="3"/>
                    </a:lnTo>
                    <a:lnTo>
                      <a:pt x="545" y="7"/>
                    </a:lnTo>
                    <a:lnTo>
                      <a:pt x="513" y="14"/>
                    </a:lnTo>
                    <a:lnTo>
                      <a:pt x="482" y="20"/>
                    </a:lnTo>
                    <a:lnTo>
                      <a:pt x="452" y="29"/>
                    </a:lnTo>
                    <a:lnTo>
                      <a:pt x="422" y="38"/>
                    </a:lnTo>
                    <a:lnTo>
                      <a:pt x="392" y="50"/>
                    </a:lnTo>
                    <a:lnTo>
                      <a:pt x="364" y="63"/>
                    </a:lnTo>
                    <a:lnTo>
                      <a:pt x="336" y="77"/>
                    </a:lnTo>
                    <a:lnTo>
                      <a:pt x="310" y="92"/>
                    </a:lnTo>
                    <a:lnTo>
                      <a:pt x="284" y="109"/>
                    </a:lnTo>
                    <a:lnTo>
                      <a:pt x="258" y="126"/>
                    </a:lnTo>
                    <a:lnTo>
                      <a:pt x="234" y="146"/>
                    </a:lnTo>
                    <a:lnTo>
                      <a:pt x="211" y="165"/>
                    </a:lnTo>
                    <a:lnTo>
                      <a:pt x="188" y="186"/>
                    </a:lnTo>
                    <a:lnTo>
                      <a:pt x="167" y="209"/>
                    </a:lnTo>
                    <a:lnTo>
                      <a:pt x="147" y="232"/>
                    </a:lnTo>
                    <a:lnTo>
                      <a:pt x="127" y="255"/>
                    </a:lnTo>
                    <a:lnTo>
                      <a:pt x="110" y="281"/>
                    </a:lnTo>
                    <a:lnTo>
                      <a:pt x="93" y="307"/>
                    </a:lnTo>
                    <a:lnTo>
                      <a:pt x="77" y="333"/>
                    </a:lnTo>
                    <a:lnTo>
                      <a:pt x="64" y="361"/>
                    </a:lnTo>
                    <a:lnTo>
                      <a:pt x="50" y="389"/>
                    </a:lnTo>
                    <a:lnTo>
                      <a:pt x="39" y="418"/>
                    </a:lnTo>
                    <a:lnTo>
                      <a:pt x="29" y="448"/>
                    </a:lnTo>
                    <a:lnTo>
                      <a:pt x="20" y="477"/>
                    </a:lnTo>
                    <a:lnTo>
                      <a:pt x="14" y="508"/>
                    </a:lnTo>
                    <a:lnTo>
                      <a:pt x="7" y="539"/>
                    </a:lnTo>
                    <a:lnTo>
                      <a:pt x="3" y="572"/>
                    </a:lnTo>
                    <a:lnTo>
                      <a:pt x="1" y="604"/>
                    </a:lnTo>
                    <a:lnTo>
                      <a:pt x="0" y="637"/>
                    </a:lnTo>
                    <a:lnTo>
                      <a:pt x="0" y="637"/>
                    </a:lnTo>
                    <a:lnTo>
                      <a:pt x="1" y="670"/>
                    </a:lnTo>
                    <a:lnTo>
                      <a:pt x="3" y="702"/>
                    </a:lnTo>
                    <a:lnTo>
                      <a:pt x="7" y="734"/>
                    </a:lnTo>
                    <a:lnTo>
                      <a:pt x="14" y="765"/>
                    </a:lnTo>
                    <a:lnTo>
                      <a:pt x="20" y="796"/>
                    </a:lnTo>
                    <a:lnTo>
                      <a:pt x="29" y="826"/>
                    </a:lnTo>
                    <a:lnTo>
                      <a:pt x="39" y="856"/>
                    </a:lnTo>
                    <a:lnTo>
                      <a:pt x="50" y="885"/>
                    </a:lnTo>
                    <a:lnTo>
                      <a:pt x="64" y="912"/>
                    </a:lnTo>
                    <a:lnTo>
                      <a:pt x="77" y="940"/>
                    </a:lnTo>
                    <a:lnTo>
                      <a:pt x="93" y="966"/>
                    </a:lnTo>
                    <a:lnTo>
                      <a:pt x="110" y="992"/>
                    </a:lnTo>
                    <a:lnTo>
                      <a:pt x="127" y="1018"/>
                    </a:lnTo>
                    <a:lnTo>
                      <a:pt x="147" y="1042"/>
                    </a:lnTo>
                    <a:lnTo>
                      <a:pt x="167" y="1064"/>
                    </a:lnTo>
                    <a:lnTo>
                      <a:pt x="188" y="1087"/>
                    </a:lnTo>
                    <a:lnTo>
                      <a:pt x="211" y="1108"/>
                    </a:lnTo>
                    <a:lnTo>
                      <a:pt x="234" y="1127"/>
                    </a:lnTo>
                    <a:lnTo>
                      <a:pt x="258" y="1147"/>
                    </a:lnTo>
                    <a:lnTo>
                      <a:pt x="284" y="1165"/>
                    </a:lnTo>
                    <a:lnTo>
                      <a:pt x="310" y="1181"/>
                    </a:lnTo>
                    <a:lnTo>
                      <a:pt x="336" y="1197"/>
                    </a:lnTo>
                    <a:lnTo>
                      <a:pt x="364" y="1210"/>
                    </a:lnTo>
                    <a:lnTo>
                      <a:pt x="392" y="1223"/>
                    </a:lnTo>
                    <a:lnTo>
                      <a:pt x="422" y="1235"/>
                    </a:lnTo>
                    <a:lnTo>
                      <a:pt x="452" y="1244"/>
                    </a:lnTo>
                    <a:lnTo>
                      <a:pt x="482" y="1253"/>
                    </a:lnTo>
                    <a:lnTo>
                      <a:pt x="513" y="1260"/>
                    </a:lnTo>
                    <a:lnTo>
                      <a:pt x="545" y="1266"/>
                    </a:lnTo>
                    <a:lnTo>
                      <a:pt x="577" y="1270"/>
                    </a:lnTo>
                    <a:lnTo>
                      <a:pt x="610" y="1272"/>
                    </a:lnTo>
                    <a:lnTo>
                      <a:pt x="643" y="1273"/>
                    </a:lnTo>
                    <a:lnTo>
                      <a:pt x="643" y="1273"/>
                    </a:lnTo>
                    <a:lnTo>
                      <a:pt x="676" y="1272"/>
                    </a:lnTo>
                    <a:lnTo>
                      <a:pt x="709" y="1270"/>
                    </a:lnTo>
                    <a:lnTo>
                      <a:pt x="741" y="1266"/>
                    </a:lnTo>
                    <a:lnTo>
                      <a:pt x="772" y="1260"/>
                    </a:lnTo>
                    <a:lnTo>
                      <a:pt x="804" y="1253"/>
                    </a:lnTo>
                    <a:lnTo>
                      <a:pt x="834" y="1244"/>
                    </a:lnTo>
                    <a:lnTo>
                      <a:pt x="864" y="1235"/>
                    </a:lnTo>
                    <a:lnTo>
                      <a:pt x="893" y="1223"/>
                    </a:lnTo>
                    <a:lnTo>
                      <a:pt x="922" y="1210"/>
                    </a:lnTo>
                    <a:lnTo>
                      <a:pt x="950" y="1197"/>
                    </a:lnTo>
                    <a:lnTo>
                      <a:pt x="976" y="1181"/>
                    </a:lnTo>
                    <a:lnTo>
                      <a:pt x="1002" y="1165"/>
                    </a:lnTo>
                    <a:lnTo>
                      <a:pt x="1028" y="1147"/>
                    </a:lnTo>
                    <a:lnTo>
                      <a:pt x="1052" y="1127"/>
                    </a:lnTo>
                    <a:lnTo>
                      <a:pt x="1075" y="1108"/>
                    </a:lnTo>
                    <a:lnTo>
                      <a:pt x="1098" y="1087"/>
                    </a:lnTo>
                    <a:lnTo>
                      <a:pt x="1119" y="1064"/>
                    </a:lnTo>
                    <a:lnTo>
                      <a:pt x="1139" y="1042"/>
                    </a:lnTo>
                    <a:lnTo>
                      <a:pt x="1158" y="1018"/>
                    </a:lnTo>
                    <a:lnTo>
                      <a:pt x="1176" y="992"/>
                    </a:lnTo>
                    <a:lnTo>
                      <a:pt x="1193" y="966"/>
                    </a:lnTo>
                    <a:lnTo>
                      <a:pt x="1209" y="940"/>
                    </a:lnTo>
                    <a:lnTo>
                      <a:pt x="1222" y="912"/>
                    </a:lnTo>
                    <a:lnTo>
                      <a:pt x="1236" y="885"/>
                    </a:lnTo>
                    <a:lnTo>
                      <a:pt x="1247" y="856"/>
                    </a:lnTo>
                    <a:lnTo>
                      <a:pt x="1257" y="826"/>
                    </a:lnTo>
                    <a:lnTo>
                      <a:pt x="1266" y="796"/>
                    </a:lnTo>
                    <a:lnTo>
                      <a:pt x="1272" y="765"/>
                    </a:lnTo>
                    <a:lnTo>
                      <a:pt x="1279" y="734"/>
                    </a:lnTo>
                    <a:lnTo>
                      <a:pt x="1283" y="702"/>
                    </a:lnTo>
                    <a:lnTo>
                      <a:pt x="1285" y="670"/>
                    </a:lnTo>
                    <a:lnTo>
                      <a:pt x="1286" y="637"/>
                    </a:lnTo>
                    <a:lnTo>
                      <a:pt x="643" y="637"/>
                    </a:lnTo>
                    <a:lnTo>
                      <a:pt x="6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83" name="Line 7">
                <a:extLst>
                  <a:ext uri="{FF2B5EF4-FFF2-40B4-BE49-F238E27FC236}">
                    <a16:creationId xmlns:a16="http://schemas.microsoft.com/office/drawing/2014/main" id="{D61470DB-0D0E-4859-9E69-73E940905891}"/>
                  </a:ext>
                </a:extLst>
              </p:cNvPr>
              <p:cNvSpPr>
                <a:spLocks noChangeShapeType="1"/>
              </p:cNvSpPr>
              <p:nvPr/>
            </p:nvSpPr>
            <p:spPr bwMode="auto">
              <a:xfrm>
                <a:off x="4838700" y="370840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84" name="Freeform 8">
                <a:extLst>
                  <a:ext uri="{FF2B5EF4-FFF2-40B4-BE49-F238E27FC236}">
                    <a16:creationId xmlns:a16="http://schemas.microsoft.com/office/drawing/2014/main" id="{F0BAAD2B-5307-4DA8-BE1A-4F4517ECE732}"/>
                  </a:ext>
                </a:extLst>
              </p:cNvPr>
              <p:cNvSpPr>
                <a:spLocks noEditPoints="1"/>
              </p:cNvSpPr>
              <p:nvPr/>
            </p:nvSpPr>
            <p:spPr bwMode="auto">
              <a:xfrm>
                <a:off x="4849813" y="3697288"/>
                <a:ext cx="73025" cy="71438"/>
              </a:xfrm>
              <a:custGeom>
                <a:avLst/>
                <a:gdLst>
                  <a:gd name="T0" fmla="*/ 0 w 643"/>
                  <a:gd name="T1" fmla="*/ 0 h 636"/>
                  <a:gd name="T2" fmla="*/ 0 w 643"/>
                  <a:gd name="T3" fmla="*/ 636 h 636"/>
                  <a:gd name="T4" fmla="*/ 643 w 643"/>
                  <a:gd name="T5" fmla="*/ 636 h 636"/>
                  <a:gd name="T6" fmla="*/ 643 w 643"/>
                  <a:gd name="T7" fmla="*/ 636 h 636"/>
                  <a:gd name="T8" fmla="*/ 642 w 643"/>
                  <a:gd name="T9" fmla="*/ 603 h 636"/>
                  <a:gd name="T10" fmla="*/ 640 w 643"/>
                  <a:gd name="T11" fmla="*/ 571 h 636"/>
                  <a:gd name="T12" fmla="*/ 636 w 643"/>
                  <a:gd name="T13" fmla="*/ 539 h 636"/>
                  <a:gd name="T14" fmla="*/ 629 w 643"/>
                  <a:gd name="T15" fmla="*/ 508 h 636"/>
                  <a:gd name="T16" fmla="*/ 623 w 643"/>
                  <a:gd name="T17" fmla="*/ 477 h 636"/>
                  <a:gd name="T18" fmla="*/ 614 w 643"/>
                  <a:gd name="T19" fmla="*/ 447 h 636"/>
                  <a:gd name="T20" fmla="*/ 604 w 643"/>
                  <a:gd name="T21" fmla="*/ 417 h 636"/>
                  <a:gd name="T22" fmla="*/ 593 w 643"/>
                  <a:gd name="T23" fmla="*/ 388 h 636"/>
                  <a:gd name="T24" fmla="*/ 579 w 643"/>
                  <a:gd name="T25" fmla="*/ 361 h 636"/>
                  <a:gd name="T26" fmla="*/ 566 w 643"/>
                  <a:gd name="T27" fmla="*/ 333 h 636"/>
                  <a:gd name="T28" fmla="*/ 550 w 643"/>
                  <a:gd name="T29" fmla="*/ 307 h 636"/>
                  <a:gd name="T30" fmla="*/ 533 w 643"/>
                  <a:gd name="T31" fmla="*/ 281 h 636"/>
                  <a:gd name="T32" fmla="*/ 516 w 643"/>
                  <a:gd name="T33" fmla="*/ 255 h 636"/>
                  <a:gd name="T34" fmla="*/ 496 w 643"/>
                  <a:gd name="T35" fmla="*/ 231 h 636"/>
                  <a:gd name="T36" fmla="*/ 476 w 643"/>
                  <a:gd name="T37" fmla="*/ 209 h 636"/>
                  <a:gd name="T38" fmla="*/ 455 w 643"/>
                  <a:gd name="T39" fmla="*/ 186 h 636"/>
                  <a:gd name="T40" fmla="*/ 432 w 643"/>
                  <a:gd name="T41" fmla="*/ 165 h 636"/>
                  <a:gd name="T42" fmla="*/ 409 w 643"/>
                  <a:gd name="T43" fmla="*/ 146 h 636"/>
                  <a:gd name="T44" fmla="*/ 385 w 643"/>
                  <a:gd name="T45" fmla="*/ 126 h 636"/>
                  <a:gd name="T46" fmla="*/ 359 w 643"/>
                  <a:gd name="T47" fmla="*/ 108 h 636"/>
                  <a:gd name="T48" fmla="*/ 333 w 643"/>
                  <a:gd name="T49" fmla="*/ 92 h 636"/>
                  <a:gd name="T50" fmla="*/ 307 w 643"/>
                  <a:gd name="T51" fmla="*/ 76 h 636"/>
                  <a:gd name="T52" fmla="*/ 279 w 643"/>
                  <a:gd name="T53" fmla="*/ 63 h 636"/>
                  <a:gd name="T54" fmla="*/ 251 w 643"/>
                  <a:gd name="T55" fmla="*/ 50 h 636"/>
                  <a:gd name="T56" fmla="*/ 221 w 643"/>
                  <a:gd name="T57" fmla="*/ 38 h 636"/>
                  <a:gd name="T58" fmla="*/ 191 w 643"/>
                  <a:gd name="T59" fmla="*/ 29 h 636"/>
                  <a:gd name="T60" fmla="*/ 161 w 643"/>
                  <a:gd name="T61" fmla="*/ 20 h 636"/>
                  <a:gd name="T62" fmla="*/ 130 w 643"/>
                  <a:gd name="T63" fmla="*/ 13 h 636"/>
                  <a:gd name="T64" fmla="*/ 98 w 643"/>
                  <a:gd name="T65" fmla="*/ 7 h 636"/>
                  <a:gd name="T66" fmla="*/ 66 w 643"/>
                  <a:gd name="T67" fmla="*/ 3 h 636"/>
                  <a:gd name="T68" fmla="*/ 33 w 643"/>
                  <a:gd name="T69" fmla="*/ 1 h 636"/>
                  <a:gd name="T70" fmla="*/ 0 w 643"/>
                  <a:gd name="T71" fmla="*/ 0 h 636"/>
                  <a:gd name="T72" fmla="*/ 0 w 643"/>
                  <a:gd name="T73" fmla="*/ 0 h 636"/>
                  <a:gd name="T74" fmla="*/ 0 w 643"/>
                  <a:gd name="T75" fmla="*/ 0 h 636"/>
                  <a:gd name="T76" fmla="*/ 0 w 643"/>
                  <a:gd name="T77"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3" h="636">
                    <a:moveTo>
                      <a:pt x="0" y="0"/>
                    </a:moveTo>
                    <a:lnTo>
                      <a:pt x="0" y="636"/>
                    </a:lnTo>
                    <a:lnTo>
                      <a:pt x="643" y="636"/>
                    </a:lnTo>
                    <a:lnTo>
                      <a:pt x="643" y="636"/>
                    </a:lnTo>
                    <a:lnTo>
                      <a:pt x="642" y="603"/>
                    </a:lnTo>
                    <a:lnTo>
                      <a:pt x="640" y="571"/>
                    </a:lnTo>
                    <a:lnTo>
                      <a:pt x="636" y="539"/>
                    </a:lnTo>
                    <a:lnTo>
                      <a:pt x="629" y="508"/>
                    </a:lnTo>
                    <a:lnTo>
                      <a:pt x="623" y="477"/>
                    </a:lnTo>
                    <a:lnTo>
                      <a:pt x="614" y="447"/>
                    </a:lnTo>
                    <a:lnTo>
                      <a:pt x="604" y="417"/>
                    </a:lnTo>
                    <a:lnTo>
                      <a:pt x="593" y="388"/>
                    </a:lnTo>
                    <a:lnTo>
                      <a:pt x="579" y="361"/>
                    </a:lnTo>
                    <a:lnTo>
                      <a:pt x="566" y="333"/>
                    </a:lnTo>
                    <a:lnTo>
                      <a:pt x="550" y="307"/>
                    </a:lnTo>
                    <a:lnTo>
                      <a:pt x="533" y="281"/>
                    </a:lnTo>
                    <a:lnTo>
                      <a:pt x="516" y="255"/>
                    </a:lnTo>
                    <a:lnTo>
                      <a:pt x="496" y="231"/>
                    </a:lnTo>
                    <a:lnTo>
                      <a:pt x="476" y="209"/>
                    </a:lnTo>
                    <a:lnTo>
                      <a:pt x="455" y="186"/>
                    </a:lnTo>
                    <a:lnTo>
                      <a:pt x="432" y="165"/>
                    </a:lnTo>
                    <a:lnTo>
                      <a:pt x="409" y="146"/>
                    </a:lnTo>
                    <a:lnTo>
                      <a:pt x="385" y="126"/>
                    </a:lnTo>
                    <a:lnTo>
                      <a:pt x="359" y="108"/>
                    </a:lnTo>
                    <a:lnTo>
                      <a:pt x="333" y="92"/>
                    </a:lnTo>
                    <a:lnTo>
                      <a:pt x="307" y="76"/>
                    </a:lnTo>
                    <a:lnTo>
                      <a:pt x="279" y="63"/>
                    </a:lnTo>
                    <a:lnTo>
                      <a:pt x="251" y="50"/>
                    </a:lnTo>
                    <a:lnTo>
                      <a:pt x="221" y="38"/>
                    </a:lnTo>
                    <a:lnTo>
                      <a:pt x="191" y="29"/>
                    </a:lnTo>
                    <a:lnTo>
                      <a:pt x="161" y="20"/>
                    </a:lnTo>
                    <a:lnTo>
                      <a:pt x="130" y="13"/>
                    </a:lnTo>
                    <a:lnTo>
                      <a:pt x="98" y="7"/>
                    </a:lnTo>
                    <a:lnTo>
                      <a:pt x="66" y="3"/>
                    </a:lnTo>
                    <a:lnTo>
                      <a:pt x="33" y="1"/>
                    </a:lnTo>
                    <a:lnTo>
                      <a:pt x="0" y="0"/>
                    </a:lnTo>
                    <a:lnTo>
                      <a:pt x="0" y="0"/>
                    </a:lnTo>
                    <a:close/>
                    <a:moveTo>
                      <a:pt x="0" y="0"/>
                    </a:moveTo>
                    <a:lnTo>
                      <a:pt x="0" y="0"/>
                    </a:lnTo>
                    <a:close/>
                  </a:path>
                </a:pathLst>
              </a:custGeom>
              <a:solidFill>
                <a:srgbClr val="C4D600"/>
              </a:solidFill>
              <a:ln>
                <a:noFill/>
              </a:ln>
            </p:spPr>
            <p:txBody>
              <a:bodyPr vert="horz" wrap="square" lIns="68746" tIns="34374" rIns="68746" bIns="34374" numCol="1" anchor="t" anchorCtr="0" compatLnSpc="1">
                <a:prstTxWarp prst="textNoShape">
                  <a:avLst/>
                </a:prstTxWarp>
              </a:bodyPr>
              <a:lstStyle/>
              <a:p>
                <a:endParaRPr lang="en-US" sz="1354" dirty="0"/>
              </a:p>
            </p:txBody>
          </p:sp>
          <p:sp>
            <p:nvSpPr>
              <p:cNvPr id="685" name="Freeform 9">
                <a:extLst>
                  <a:ext uri="{FF2B5EF4-FFF2-40B4-BE49-F238E27FC236}">
                    <a16:creationId xmlns:a16="http://schemas.microsoft.com/office/drawing/2014/main" id="{036AF09C-629A-4DC1-B4BB-5C9E9645541E}"/>
                  </a:ext>
                </a:extLst>
              </p:cNvPr>
              <p:cNvSpPr>
                <a:spLocks/>
              </p:cNvSpPr>
              <p:nvPr/>
            </p:nvSpPr>
            <p:spPr bwMode="auto">
              <a:xfrm>
                <a:off x="4849813" y="3697288"/>
                <a:ext cx="73025" cy="71438"/>
              </a:xfrm>
              <a:custGeom>
                <a:avLst/>
                <a:gdLst>
                  <a:gd name="T0" fmla="*/ 0 w 643"/>
                  <a:gd name="T1" fmla="*/ 0 h 636"/>
                  <a:gd name="T2" fmla="*/ 0 w 643"/>
                  <a:gd name="T3" fmla="*/ 636 h 636"/>
                  <a:gd name="T4" fmla="*/ 643 w 643"/>
                  <a:gd name="T5" fmla="*/ 636 h 636"/>
                  <a:gd name="T6" fmla="*/ 643 w 643"/>
                  <a:gd name="T7" fmla="*/ 636 h 636"/>
                  <a:gd name="T8" fmla="*/ 642 w 643"/>
                  <a:gd name="T9" fmla="*/ 603 h 636"/>
                  <a:gd name="T10" fmla="*/ 640 w 643"/>
                  <a:gd name="T11" fmla="*/ 571 h 636"/>
                  <a:gd name="T12" fmla="*/ 636 w 643"/>
                  <a:gd name="T13" fmla="*/ 539 h 636"/>
                  <a:gd name="T14" fmla="*/ 629 w 643"/>
                  <a:gd name="T15" fmla="*/ 508 h 636"/>
                  <a:gd name="T16" fmla="*/ 623 w 643"/>
                  <a:gd name="T17" fmla="*/ 477 h 636"/>
                  <a:gd name="T18" fmla="*/ 614 w 643"/>
                  <a:gd name="T19" fmla="*/ 447 h 636"/>
                  <a:gd name="T20" fmla="*/ 604 w 643"/>
                  <a:gd name="T21" fmla="*/ 417 h 636"/>
                  <a:gd name="T22" fmla="*/ 593 w 643"/>
                  <a:gd name="T23" fmla="*/ 388 h 636"/>
                  <a:gd name="T24" fmla="*/ 579 w 643"/>
                  <a:gd name="T25" fmla="*/ 361 h 636"/>
                  <a:gd name="T26" fmla="*/ 566 w 643"/>
                  <a:gd name="T27" fmla="*/ 333 h 636"/>
                  <a:gd name="T28" fmla="*/ 550 w 643"/>
                  <a:gd name="T29" fmla="*/ 307 h 636"/>
                  <a:gd name="T30" fmla="*/ 533 w 643"/>
                  <a:gd name="T31" fmla="*/ 281 h 636"/>
                  <a:gd name="T32" fmla="*/ 516 w 643"/>
                  <a:gd name="T33" fmla="*/ 255 h 636"/>
                  <a:gd name="T34" fmla="*/ 496 w 643"/>
                  <a:gd name="T35" fmla="*/ 231 h 636"/>
                  <a:gd name="T36" fmla="*/ 476 w 643"/>
                  <a:gd name="T37" fmla="*/ 209 h 636"/>
                  <a:gd name="T38" fmla="*/ 455 w 643"/>
                  <a:gd name="T39" fmla="*/ 186 h 636"/>
                  <a:gd name="T40" fmla="*/ 432 w 643"/>
                  <a:gd name="T41" fmla="*/ 165 h 636"/>
                  <a:gd name="T42" fmla="*/ 409 w 643"/>
                  <a:gd name="T43" fmla="*/ 146 h 636"/>
                  <a:gd name="T44" fmla="*/ 385 w 643"/>
                  <a:gd name="T45" fmla="*/ 126 h 636"/>
                  <a:gd name="T46" fmla="*/ 359 w 643"/>
                  <a:gd name="T47" fmla="*/ 108 h 636"/>
                  <a:gd name="T48" fmla="*/ 333 w 643"/>
                  <a:gd name="T49" fmla="*/ 92 h 636"/>
                  <a:gd name="T50" fmla="*/ 307 w 643"/>
                  <a:gd name="T51" fmla="*/ 76 h 636"/>
                  <a:gd name="T52" fmla="*/ 279 w 643"/>
                  <a:gd name="T53" fmla="*/ 63 h 636"/>
                  <a:gd name="T54" fmla="*/ 251 w 643"/>
                  <a:gd name="T55" fmla="*/ 50 h 636"/>
                  <a:gd name="T56" fmla="*/ 221 w 643"/>
                  <a:gd name="T57" fmla="*/ 38 h 636"/>
                  <a:gd name="T58" fmla="*/ 191 w 643"/>
                  <a:gd name="T59" fmla="*/ 29 h 636"/>
                  <a:gd name="T60" fmla="*/ 161 w 643"/>
                  <a:gd name="T61" fmla="*/ 20 h 636"/>
                  <a:gd name="T62" fmla="*/ 130 w 643"/>
                  <a:gd name="T63" fmla="*/ 13 h 636"/>
                  <a:gd name="T64" fmla="*/ 98 w 643"/>
                  <a:gd name="T65" fmla="*/ 7 h 636"/>
                  <a:gd name="T66" fmla="*/ 66 w 643"/>
                  <a:gd name="T67" fmla="*/ 3 h 636"/>
                  <a:gd name="T68" fmla="*/ 33 w 643"/>
                  <a:gd name="T69" fmla="*/ 1 h 636"/>
                  <a:gd name="T70" fmla="*/ 0 w 643"/>
                  <a:gd name="T71" fmla="*/ 0 h 636"/>
                  <a:gd name="T72" fmla="*/ 0 w 643"/>
                  <a:gd name="T73"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3" h="636">
                    <a:moveTo>
                      <a:pt x="0" y="0"/>
                    </a:moveTo>
                    <a:lnTo>
                      <a:pt x="0" y="636"/>
                    </a:lnTo>
                    <a:lnTo>
                      <a:pt x="643" y="636"/>
                    </a:lnTo>
                    <a:lnTo>
                      <a:pt x="643" y="636"/>
                    </a:lnTo>
                    <a:lnTo>
                      <a:pt x="642" y="603"/>
                    </a:lnTo>
                    <a:lnTo>
                      <a:pt x="640" y="571"/>
                    </a:lnTo>
                    <a:lnTo>
                      <a:pt x="636" y="539"/>
                    </a:lnTo>
                    <a:lnTo>
                      <a:pt x="629" y="508"/>
                    </a:lnTo>
                    <a:lnTo>
                      <a:pt x="623" y="477"/>
                    </a:lnTo>
                    <a:lnTo>
                      <a:pt x="614" y="447"/>
                    </a:lnTo>
                    <a:lnTo>
                      <a:pt x="604" y="417"/>
                    </a:lnTo>
                    <a:lnTo>
                      <a:pt x="593" y="388"/>
                    </a:lnTo>
                    <a:lnTo>
                      <a:pt x="579" y="361"/>
                    </a:lnTo>
                    <a:lnTo>
                      <a:pt x="566" y="333"/>
                    </a:lnTo>
                    <a:lnTo>
                      <a:pt x="550" y="307"/>
                    </a:lnTo>
                    <a:lnTo>
                      <a:pt x="533" y="281"/>
                    </a:lnTo>
                    <a:lnTo>
                      <a:pt x="516" y="255"/>
                    </a:lnTo>
                    <a:lnTo>
                      <a:pt x="496" y="231"/>
                    </a:lnTo>
                    <a:lnTo>
                      <a:pt x="476" y="209"/>
                    </a:lnTo>
                    <a:lnTo>
                      <a:pt x="455" y="186"/>
                    </a:lnTo>
                    <a:lnTo>
                      <a:pt x="432" y="165"/>
                    </a:lnTo>
                    <a:lnTo>
                      <a:pt x="409" y="146"/>
                    </a:lnTo>
                    <a:lnTo>
                      <a:pt x="385" y="126"/>
                    </a:lnTo>
                    <a:lnTo>
                      <a:pt x="359" y="108"/>
                    </a:lnTo>
                    <a:lnTo>
                      <a:pt x="333" y="92"/>
                    </a:lnTo>
                    <a:lnTo>
                      <a:pt x="307" y="76"/>
                    </a:lnTo>
                    <a:lnTo>
                      <a:pt x="279" y="63"/>
                    </a:lnTo>
                    <a:lnTo>
                      <a:pt x="251" y="50"/>
                    </a:lnTo>
                    <a:lnTo>
                      <a:pt x="221" y="38"/>
                    </a:lnTo>
                    <a:lnTo>
                      <a:pt x="191" y="29"/>
                    </a:lnTo>
                    <a:lnTo>
                      <a:pt x="161" y="20"/>
                    </a:lnTo>
                    <a:lnTo>
                      <a:pt x="130" y="13"/>
                    </a:lnTo>
                    <a:lnTo>
                      <a:pt x="98" y="7"/>
                    </a:lnTo>
                    <a:lnTo>
                      <a:pt x="66" y="3"/>
                    </a:lnTo>
                    <a:lnTo>
                      <a:pt x="33" y="1"/>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86" name="Line 10">
                <a:extLst>
                  <a:ext uri="{FF2B5EF4-FFF2-40B4-BE49-F238E27FC236}">
                    <a16:creationId xmlns:a16="http://schemas.microsoft.com/office/drawing/2014/main" id="{8237AE03-3DAF-4B02-A1B5-B48A2F6DE9D8}"/>
                  </a:ext>
                </a:extLst>
              </p:cNvPr>
              <p:cNvSpPr>
                <a:spLocks noChangeShapeType="1"/>
              </p:cNvSpPr>
              <p:nvPr/>
            </p:nvSpPr>
            <p:spPr bwMode="auto">
              <a:xfrm>
                <a:off x="4849813" y="36972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676" name="Rectangle 675">
              <a:extLst>
                <a:ext uri="{FF2B5EF4-FFF2-40B4-BE49-F238E27FC236}">
                  <a16:creationId xmlns:a16="http://schemas.microsoft.com/office/drawing/2014/main" id="{D214714F-F0CD-4375-B366-ED77CD069145}"/>
                </a:ext>
              </a:extLst>
            </p:cNvPr>
            <p:cNvSpPr/>
            <p:nvPr/>
          </p:nvSpPr>
          <p:spPr>
            <a:xfrm>
              <a:off x="1701958" y="2960402"/>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print Review</a:t>
              </a:r>
            </a:p>
          </p:txBody>
        </p:sp>
      </p:grpSp>
      <p:grpSp>
        <p:nvGrpSpPr>
          <p:cNvPr id="829" name="Group 828">
            <a:extLst>
              <a:ext uri="{FF2B5EF4-FFF2-40B4-BE49-F238E27FC236}">
                <a16:creationId xmlns:a16="http://schemas.microsoft.com/office/drawing/2014/main" id="{A6312F0A-78CB-4B18-B367-0D518BC2DB75}"/>
              </a:ext>
            </a:extLst>
          </p:cNvPr>
          <p:cNvGrpSpPr/>
          <p:nvPr/>
        </p:nvGrpSpPr>
        <p:grpSpPr>
          <a:xfrm>
            <a:off x="2874737" y="2599049"/>
            <a:ext cx="838958" cy="702552"/>
            <a:chOff x="2900858" y="2316341"/>
            <a:chExt cx="1115908" cy="934472"/>
          </a:xfrm>
        </p:grpSpPr>
        <p:grpSp>
          <p:nvGrpSpPr>
            <p:cNvPr id="830" name="Group 829">
              <a:extLst>
                <a:ext uri="{FF2B5EF4-FFF2-40B4-BE49-F238E27FC236}">
                  <a16:creationId xmlns:a16="http://schemas.microsoft.com/office/drawing/2014/main" id="{66AD847A-A6BF-44E6-A8C9-43400BE01D1C}"/>
                </a:ext>
              </a:extLst>
            </p:cNvPr>
            <p:cNvGrpSpPr/>
            <p:nvPr/>
          </p:nvGrpSpPr>
          <p:grpSpPr>
            <a:xfrm>
              <a:off x="3269815" y="2316341"/>
              <a:ext cx="492410" cy="469846"/>
              <a:chOff x="4480341" y="1157481"/>
              <a:chExt cx="481968" cy="459883"/>
            </a:xfrm>
          </p:grpSpPr>
          <p:sp>
            <p:nvSpPr>
              <p:cNvPr id="832" name="Freeform 9">
                <a:extLst>
                  <a:ext uri="{FF2B5EF4-FFF2-40B4-BE49-F238E27FC236}">
                    <a16:creationId xmlns:a16="http://schemas.microsoft.com/office/drawing/2014/main" id="{5C72343B-2997-4CC1-BFF6-12E3205FBDE0}"/>
                  </a:ext>
                </a:extLst>
              </p:cNvPr>
              <p:cNvSpPr>
                <a:spLocks noEditPoints="1"/>
              </p:cNvSpPr>
              <p:nvPr/>
            </p:nvSpPr>
            <p:spPr bwMode="auto">
              <a:xfrm>
                <a:off x="4869388" y="1177003"/>
                <a:ext cx="89243" cy="89243"/>
              </a:xfrm>
              <a:custGeom>
                <a:avLst/>
                <a:gdLst>
                  <a:gd name="T0" fmla="*/ 779 w 780"/>
                  <a:gd name="T1" fmla="*/ 410 h 781"/>
                  <a:gd name="T2" fmla="*/ 772 w 780"/>
                  <a:gd name="T3" fmla="*/ 470 h 781"/>
                  <a:gd name="T4" fmla="*/ 756 w 780"/>
                  <a:gd name="T5" fmla="*/ 525 h 781"/>
                  <a:gd name="T6" fmla="*/ 733 w 780"/>
                  <a:gd name="T7" fmla="*/ 576 h 781"/>
                  <a:gd name="T8" fmla="*/ 702 w 780"/>
                  <a:gd name="T9" fmla="*/ 624 h 781"/>
                  <a:gd name="T10" fmla="*/ 665 w 780"/>
                  <a:gd name="T11" fmla="*/ 667 h 781"/>
                  <a:gd name="T12" fmla="*/ 623 w 780"/>
                  <a:gd name="T13" fmla="*/ 703 h 781"/>
                  <a:gd name="T14" fmla="*/ 575 w 780"/>
                  <a:gd name="T15" fmla="*/ 734 h 781"/>
                  <a:gd name="T16" fmla="*/ 523 w 780"/>
                  <a:gd name="T17" fmla="*/ 757 h 781"/>
                  <a:gd name="T18" fmla="*/ 469 w 780"/>
                  <a:gd name="T19" fmla="*/ 773 h 781"/>
                  <a:gd name="T20" fmla="*/ 409 w 780"/>
                  <a:gd name="T21" fmla="*/ 780 h 781"/>
                  <a:gd name="T22" fmla="*/ 369 w 780"/>
                  <a:gd name="T23" fmla="*/ 780 h 781"/>
                  <a:gd name="T24" fmla="*/ 311 w 780"/>
                  <a:gd name="T25" fmla="*/ 773 h 781"/>
                  <a:gd name="T26" fmla="*/ 256 w 780"/>
                  <a:gd name="T27" fmla="*/ 757 h 781"/>
                  <a:gd name="T28" fmla="*/ 203 w 780"/>
                  <a:gd name="T29" fmla="*/ 734 h 781"/>
                  <a:gd name="T30" fmla="*/ 156 w 780"/>
                  <a:gd name="T31" fmla="*/ 703 h 781"/>
                  <a:gd name="T32" fmla="*/ 114 w 780"/>
                  <a:gd name="T33" fmla="*/ 667 h 781"/>
                  <a:gd name="T34" fmla="*/ 77 w 780"/>
                  <a:gd name="T35" fmla="*/ 624 h 781"/>
                  <a:gd name="T36" fmla="*/ 46 w 780"/>
                  <a:gd name="T37" fmla="*/ 576 h 781"/>
                  <a:gd name="T38" fmla="*/ 24 w 780"/>
                  <a:gd name="T39" fmla="*/ 525 h 781"/>
                  <a:gd name="T40" fmla="*/ 8 w 780"/>
                  <a:gd name="T41" fmla="*/ 470 h 781"/>
                  <a:gd name="T42" fmla="*/ 0 w 780"/>
                  <a:gd name="T43" fmla="*/ 410 h 781"/>
                  <a:gd name="T44" fmla="*/ 0 w 780"/>
                  <a:gd name="T45" fmla="*/ 370 h 781"/>
                  <a:gd name="T46" fmla="*/ 8 w 780"/>
                  <a:gd name="T47" fmla="*/ 312 h 781"/>
                  <a:gd name="T48" fmla="*/ 24 w 780"/>
                  <a:gd name="T49" fmla="*/ 257 h 781"/>
                  <a:gd name="T50" fmla="*/ 46 w 780"/>
                  <a:gd name="T51" fmla="*/ 204 h 781"/>
                  <a:gd name="T52" fmla="*/ 77 w 780"/>
                  <a:gd name="T53" fmla="*/ 157 h 781"/>
                  <a:gd name="T54" fmla="*/ 114 w 780"/>
                  <a:gd name="T55" fmla="*/ 114 h 781"/>
                  <a:gd name="T56" fmla="*/ 156 w 780"/>
                  <a:gd name="T57" fmla="*/ 78 h 781"/>
                  <a:gd name="T58" fmla="*/ 203 w 780"/>
                  <a:gd name="T59" fmla="*/ 47 h 781"/>
                  <a:gd name="T60" fmla="*/ 256 w 780"/>
                  <a:gd name="T61" fmla="*/ 24 h 781"/>
                  <a:gd name="T62" fmla="*/ 311 w 780"/>
                  <a:gd name="T63" fmla="*/ 8 h 781"/>
                  <a:gd name="T64" fmla="*/ 369 w 780"/>
                  <a:gd name="T65" fmla="*/ 0 h 781"/>
                  <a:gd name="T66" fmla="*/ 409 w 780"/>
                  <a:gd name="T67" fmla="*/ 0 h 781"/>
                  <a:gd name="T68" fmla="*/ 469 w 780"/>
                  <a:gd name="T69" fmla="*/ 8 h 781"/>
                  <a:gd name="T70" fmla="*/ 523 w 780"/>
                  <a:gd name="T71" fmla="*/ 24 h 781"/>
                  <a:gd name="T72" fmla="*/ 575 w 780"/>
                  <a:gd name="T73" fmla="*/ 47 h 781"/>
                  <a:gd name="T74" fmla="*/ 623 w 780"/>
                  <a:gd name="T75" fmla="*/ 78 h 781"/>
                  <a:gd name="T76" fmla="*/ 665 w 780"/>
                  <a:gd name="T77" fmla="*/ 114 h 781"/>
                  <a:gd name="T78" fmla="*/ 702 w 780"/>
                  <a:gd name="T79" fmla="*/ 157 h 781"/>
                  <a:gd name="T80" fmla="*/ 733 w 780"/>
                  <a:gd name="T81" fmla="*/ 204 h 781"/>
                  <a:gd name="T82" fmla="*/ 756 w 780"/>
                  <a:gd name="T83" fmla="*/ 257 h 781"/>
                  <a:gd name="T84" fmla="*/ 772 w 780"/>
                  <a:gd name="T85" fmla="*/ 312 h 781"/>
                  <a:gd name="T86" fmla="*/ 779 w 780"/>
                  <a:gd name="T87" fmla="*/ 370 h 781"/>
                  <a:gd name="T88" fmla="*/ 780 w 780"/>
                  <a:gd name="T89" fmla="*/ 39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0" h="781">
                    <a:moveTo>
                      <a:pt x="780" y="391"/>
                    </a:moveTo>
                    <a:lnTo>
                      <a:pt x="780" y="391"/>
                    </a:lnTo>
                    <a:lnTo>
                      <a:pt x="779" y="410"/>
                    </a:lnTo>
                    <a:lnTo>
                      <a:pt x="777" y="431"/>
                    </a:lnTo>
                    <a:lnTo>
                      <a:pt x="775" y="450"/>
                    </a:lnTo>
                    <a:lnTo>
                      <a:pt x="772" y="470"/>
                    </a:lnTo>
                    <a:lnTo>
                      <a:pt x="767" y="488"/>
                    </a:lnTo>
                    <a:lnTo>
                      <a:pt x="761" y="506"/>
                    </a:lnTo>
                    <a:lnTo>
                      <a:pt x="756" y="525"/>
                    </a:lnTo>
                    <a:lnTo>
                      <a:pt x="749" y="543"/>
                    </a:lnTo>
                    <a:lnTo>
                      <a:pt x="741" y="560"/>
                    </a:lnTo>
                    <a:lnTo>
                      <a:pt x="733" y="576"/>
                    </a:lnTo>
                    <a:lnTo>
                      <a:pt x="722" y="593"/>
                    </a:lnTo>
                    <a:lnTo>
                      <a:pt x="712" y="608"/>
                    </a:lnTo>
                    <a:lnTo>
                      <a:pt x="702" y="624"/>
                    </a:lnTo>
                    <a:lnTo>
                      <a:pt x="690" y="639"/>
                    </a:lnTo>
                    <a:lnTo>
                      <a:pt x="678" y="653"/>
                    </a:lnTo>
                    <a:lnTo>
                      <a:pt x="665" y="667"/>
                    </a:lnTo>
                    <a:lnTo>
                      <a:pt x="652" y="679"/>
                    </a:lnTo>
                    <a:lnTo>
                      <a:pt x="638" y="692"/>
                    </a:lnTo>
                    <a:lnTo>
                      <a:pt x="623" y="703"/>
                    </a:lnTo>
                    <a:lnTo>
                      <a:pt x="607" y="715"/>
                    </a:lnTo>
                    <a:lnTo>
                      <a:pt x="592" y="724"/>
                    </a:lnTo>
                    <a:lnTo>
                      <a:pt x="575" y="734"/>
                    </a:lnTo>
                    <a:lnTo>
                      <a:pt x="559" y="742"/>
                    </a:lnTo>
                    <a:lnTo>
                      <a:pt x="542" y="750"/>
                    </a:lnTo>
                    <a:lnTo>
                      <a:pt x="523" y="757"/>
                    </a:lnTo>
                    <a:lnTo>
                      <a:pt x="505" y="763"/>
                    </a:lnTo>
                    <a:lnTo>
                      <a:pt x="487" y="769"/>
                    </a:lnTo>
                    <a:lnTo>
                      <a:pt x="469" y="773"/>
                    </a:lnTo>
                    <a:lnTo>
                      <a:pt x="449" y="777"/>
                    </a:lnTo>
                    <a:lnTo>
                      <a:pt x="430" y="779"/>
                    </a:lnTo>
                    <a:lnTo>
                      <a:pt x="409" y="780"/>
                    </a:lnTo>
                    <a:lnTo>
                      <a:pt x="390" y="781"/>
                    </a:lnTo>
                    <a:lnTo>
                      <a:pt x="390" y="781"/>
                    </a:lnTo>
                    <a:lnTo>
                      <a:pt x="369" y="780"/>
                    </a:lnTo>
                    <a:lnTo>
                      <a:pt x="350" y="779"/>
                    </a:lnTo>
                    <a:lnTo>
                      <a:pt x="330" y="777"/>
                    </a:lnTo>
                    <a:lnTo>
                      <a:pt x="311" y="773"/>
                    </a:lnTo>
                    <a:lnTo>
                      <a:pt x="292" y="769"/>
                    </a:lnTo>
                    <a:lnTo>
                      <a:pt x="273" y="763"/>
                    </a:lnTo>
                    <a:lnTo>
                      <a:pt x="256" y="757"/>
                    </a:lnTo>
                    <a:lnTo>
                      <a:pt x="237" y="750"/>
                    </a:lnTo>
                    <a:lnTo>
                      <a:pt x="220" y="742"/>
                    </a:lnTo>
                    <a:lnTo>
                      <a:pt x="203" y="734"/>
                    </a:lnTo>
                    <a:lnTo>
                      <a:pt x="187" y="724"/>
                    </a:lnTo>
                    <a:lnTo>
                      <a:pt x="171" y="715"/>
                    </a:lnTo>
                    <a:lnTo>
                      <a:pt x="156" y="703"/>
                    </a:lnTo>
                    <a:lnTo>
                      <a:pt x="141" y="692"/>
                    </a:lnTo>
                    <a:lnTo>
                      <a:pt x="128" y="679"/>
                    </a:lnTo>
                    <a:lnTo>
                      <a:pt x="114" y="667"/>
                    </a:lnTo>
                    <a:lnTo>
                      <a:pt x="100" y="653"/>
                    </a:lnTo>
                    <a:lnTo>
                      <a:pt x="89" y="639"/>
                    </a:lnTo>
                    <a:lnTo>
                      <a:pt x="77" y="624"/>
                    </a:lnTo>
                    <a:lnTo>
                      <a:pt x="66" y="608"/>
                    </a:lnTo>
                    <a:lnTo>
                      <a:pt x="56" y="593"/>
                    </a:lnTo>
                    <a:lnTo>
                      <a:pt x="46" y="576"/>
                    </a:lnTo>
                    <a:lnTo>
                      <a:pt x="37" y="560"/>
                    </a:lnTo>
                    <a:lnTo>
                      <a:pt x="30" y="543"/>
                    </a:lnTo>
                    <a:lnTo>
                      <a:pt x="24" y="525"/>
                    </a:lnTo>
                    <a:lnTo>
                      <a:pt x="17" y="506"/>
                    </a:lnTo>
                    <a:lnTo>
                      <a:pt x="12" y="488"/>
                    </a:lnTo>
                    <a:lnTo>
                      <a:pt x="8" y="470"/>
                    </a:lnTo>
                    <a:lnTo>
                      <a:pt x="4" y="450"/>
                    </a:lnTo>
                    <a:lnTo>
                      <a:pt x="2" y="431"/>
                    </a:lnTo>
                    <a:lnTo>
                      <a:pt x="0" y="410"/>
                    </a:lnTo>
                    <a:lnTo>
                      <a:pt x="0" y="391"/>
                    </a:lnTo>
                    <a:lnTo>
                      <a:pt x="0" y="391"/>
                    </a:lnTo>
                    <a:lnTo>
                      <a:pt x="0" y="370"/>
                    </a:lnTo>
                    <a:lnTo>
                      <a:pt x="2" y="350"/>
                    </a:lnTo>
                    <a:lnTo>
                      <a:pt x="4" y="331"/>
                    </a:lnTo>
                    <a:lnTo>
                      <a:pt x="8" y="312"/>
                    </a:lnTo>
                    <a:lnTo>
                      <a:pt x="12" y="293"/>
                    </a:lnTo>
                    <a:lnTo>
                      <a:pt x="17" y="274"/>
                    </a:lnTo>
                    <a:lnTo>
                      <a:pt x="24" y="257"/>
                    </a:lnTo>
                    <a:lnTo>
                      <a:pt x="30" y="238"/>
                    </a:lnTo>
                    <a:lnTo>
                      <a:pt x="37" y="221"/>
                    </a:lnTo>
                    <a:lnTo>
                      <a:pt x="46" y="204"/>
                    </a:lnTo>
                    <a:lnTo>
                      <a:pt x="56" y="188"/>
                    </a:lnTo>
                    <a:lnTo>
                      <a:pt x="66" y="172"/>
                    </a:lnTo>
                    <a:lnTo>
                      <a:pt x="77" y="157"/>
                    </a:lnTo>
                    <a:lnTo>
                      <a:pt x="89" y="142"/>
                    </a:lnTo>
                    <a:lnTo>
                      <a:pt x="100" y="128"/>
                    </a:lnTo>
                    <a:lnTo>
                      <a:pt x="114" y="114"/>
                    </a:lnTo>
                    <a:lnTo>
                      <a:pt x="128" y="101"/>
                    </a:lnTo>
                    <a:lnTo>
                      <a:pt x="141" y="89"/>
                    </a:lnTo>
                    <a:lnTo>
                      <a:pt x="156" y="78"/>
                    </a:lnTo>
                    <a:lnTo>
                      <a:pt x="171" y="66"/>
                    </a:lnTo>
                    <a:lnTo>
                      <a:pt x="187" y="56"/>
                    </a:lnTo>
                    <a:lnTo>
                      <a:pt x="203" y="47"/>
                    </a:lnTo>
                    <a:lnTo>
                      <a:pt x="220" y="39"/>
                    </a:lnTo>
                    <a:lnTo>
                      <a:pt x="237" y="31"/>
                    </a:lnTo>
                    <a:lnTo>
                      <a:pt x="256" y="24"/>
                    </a:lnTo>
                    <a:lnTo>
                      <a:pt x="273" y="17"/>
                    </a:lnTo>
                    <a:lnTo>
                      <a:pt x="292" y="13"/>
                    </a:lnTo>
                    <a:lnTo>
                      <a:pt x="311" y="8"/>
                    </a:lnTo>
                    <a:lnTo>
                      <a:pt x="330" y="4"/>
                    </a:lnTo>
                    <a:lnTo>
                      <a:pt x="350" y="2"/>
                    </a:lnTo>
                    <a:lnTo>
                      <a:pt x="369" y="0"/>
                    </a:lnTo>
                    <a:lnTo>
                      <a:pt x="390" y="0"/>
                    </a:lnTo>
                    <a:lnTo>
                      <a:pt x="390" y="0"/>
                    </a:lnTo>
                    <a:lnTo>
                      <a:pt x="409" y="0"/>
                    </a:lnTo>
                    <a:lnTo>
                      <a:pt x="430" y="2"/>
                    </a:lnTo>
                    <a:lnTo>
                      <a:pt x="449" y="4"/>
                    </a:lnTo>
                    <a:lnTo>
                      <a:pt x="469" y="8"/>
                    </a:lnTo>
                    <a:lnTo>
                      <a:pt x="487" y="13"/>
                    </a:lnTo>
                    <a:lnTo>
                      <a:pt x="505" y="17"/>
                    </a:lnTo>
                    <a:lnTo>
                      <a:pt x="523" y="24"/>
                    </a:lnTo>
                    <a:lnTo>
                      <a:pt x="542" y="31"/>
                    </a:lnTo>
                    <a:lnTo>
                      <a:pt x="559" y="39"/>
                    </a:lnTo>
                    <a:lnTo>
                      <a:pt x="575" y="47"/>
                    </a:lnTo>
                    <a:lnTo>
                      <a:pt x="592" y="56"/>
                    </a:lnTo>
                    <a:lnTo>
                      <a:pt x="607" y="66"/>
                    </a:lnTo>
                    <a:lnTo>
                      <a:pt x="623" y="78"/>
                    </a:lnTo>
                    <a:lnTo>
                      <a:pt x="638" y="89"/>
                    </a:lnTo>
                    <a:lnTo>
                      <a:pt x="652" y="101"/>
                    </a:lnTo>
                    <a:lnTo>
                      <a:pt x="665" y="114"/>
                    </a:lnTo>
                    <a:lnTo>
                      <a:pt x="678" y="128"/>
                    </a:lnTo>
                    <a:lnTo>
                      <a:pt x="690" y="142"/>
                    </a:lnTo>
                    <a:lnTo>
                      <a:pt x="702" y="157"/>
                    </a:lnTo>
                    <a:lnTo>
                      <a:pt x="712" y="172"/>
                    </a:lnTo>
                    <a:lnTo>
                      <a:pt x="722" y="188"/>
                    </a:lnTo>
                    <a:lnTo>
                      <a:pt x="733" y="204"/>
                    </a:lnTo>
                    <a:lnTo>
                      <a:pt x="741" y="221"/>
                    </a:lnTo>
                    <a:lnTo>
                      <a:pt x="749" y="238"/>
                    </a:lnTo>
                    <a:lnTo>
                      <a:pt x="756" y="257"/>
                    </a:lnTo>
                    <a:lnTo>
                      <a:pt x="761" y="274"/>
                    </a:lnTo>
                    <a:lnTo>
                      <a:pt x="767" y="293"/>
                    </a:lnTo>
                    <a:lnTo>
                      <a:pt x="772" y="312"/>
                    </a:lnTo>
                    <a:lnTo>
                      <a:pt x="775" y="331"/>
                    </a:lnTo>
                    <a:lnTo>
                      <a:pt x="777" y="350"/>
                    </a:lnTo>
                    <a:lnTo>
                      <a:pt x="779" y="370"/>
                    </a:lnTo>
                    <a:lnTo>
                      <a:pt x="780" y="391"/>
                    </a:lnTo>
                    <a:lnTo>
                      <a:pt x="780" y="391"/>
                    </a:lnTo>
                    <a:close/>
                    <a:moveTo>
                      <a:pt x="780" y="391"/>
                    </a:moveTo>
                    <a:lnTo>
                      <a:pt x="780" y="391"/>
                    </a:lnTo>
                    <a:close/>
                  </a:path>
                </a:pathLst>
              </a:custGeom>
              <a:solidFill>
                <a:srgbClr val="D9D9D9"/>
              </a:solidFill>
              <a:ln w="19050">
                <a:solidFill>
                  <a:schemeClr val="tx1">
                    <a:lumMod val="75000"/>
                    <a:lumOff val="25000"/>
                  </a:schemeClr>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33" name="Freeform 5">
                <a:extLst>
                  <a:ext uri="{FF2B5EF4-FFF2-40B4-BE49-F238E27FC236}">
                    <a16:creationId xmlns:a16="http://schemas.microsoft.com/office/drawing/2014/main" id="{364B61AE-8C77-414E-9BDF-6C1DF102CF5F}"/>
                  </a:ext>
                </a:extLst>
              </p:cNvPr>
              <p:cNvSpPr>
                <a:spLocks noEditPoints="1"/>
              </p:cNvSpPr>
              <p:nvPr/>
            </p:nvSpPr>
            <p:spPr bwMode="auto">
              <a:xfrm>
                <a:off x="4480341" y="1177003"/>
                <a:ext cx="89243" cy="89243"/>
              </a:xfrm>
              <a:custGeom>
                <a:avLst/>
                <a:gdLst>
                  <a:gd name="T0" fmla="*/ 779 w 780"/>
                  <a:gd name="T1" fmla="*/ 410 h 781"/>
                  <a:gd name="T2" fmla="*/ 772 w 780"/>
                  <a:gd name="T3" fmla="*/ 470 h 781"/>
                  <a:gd name="T4" fmla="*/ 756 w 780"/>
                  <a:gd name="T5" fmla="*/ 525 h 781"/>
                  <a:gd name="T6" fmla="*/ 734 w 780"/>
                  <a:gd name="T7" fmla="*/ 576 h 781"/>
                  <a:gd name="T8" fmla="*/ 703 w 780"/>
                  <a:gd name="T9" fmla="*/ 624 h 781"/>
                  <a:gd name="T10" fmla="*/ 666 w 780"/>
                  <a:gd name="T11" fmla="*/ 667 h 781"/>
                  <a:gd name="T12" fmla="*/ 624 w 780"/>
                  <a:gd name="T13" fmla="*/ 703 h 781"/>
                  <a:gd name="T14" fmla="*/ 576 w 780"/>
                  <a:gd name="T15" fmla="*/ 734 h 781"/>
                  <a:gd name="T16" fmla="*/ 524 w 780"/>
                  <a:gd name="T17" fmla="*/ 757 h 781"/>
                  <a:gd name="T18" fmla="*/ 469 w 780"/>
                  <a:gd name="T19" fmla="*/ 773 h 781"/>
                  <a:gd name="T20" fmla="*/ 411 w 780"/>
                  <a:gd name="T21" fmla="*/ 780 h 781"/>
                  <a:gd name="T22" fmla="*/ 370 w 780"/>
                  <a:gd name="T23" fmla="*/ 780 h 781"/>
                  <a:gd name="T24" fmla="*/ 311 w 780"/>
                  <a:gd name="T25" fmla="*/ 773 h 781"/>
                  <a:gd name="T26" fmla="*/ 257 w 780"/>
                  <a:gd name="T27" fmla="*/ 757 h 781"/>
                  <a:gd name="T28" fmla="*/ 204 w 780"/>
                  <a:gd name="T29" fmla="*/ 734 h 781"/>
                  <a:gd name="T30" fmla="*/ 157 w 780"/>
                  <a:gd name="T31" fmla="*/ 703 h 781"/>
                  <a:gd name="T32" fmla="*/ 115 w 780"/>
                  <a:gd name="T33" fmla="*/ 667 h 781"/>
                  <a:gd name="T34" fmla="*/ 78 w 780"/>
                  <a:gd name="T35" fmla="*/ 624 h 781"/>
                  <a:gd name="T36" fmla="*/ 47 w 780"/>
                  <a:gd name="T37" fmla="*/ 576 h 781"/>
                  <a:gd name="T38" fmla="*/ 24 w 780"/>
                  <a:gd name="T39" fmla="*/ 525 h 781"/>
                  <a:gd name="T40" fmla="*/ 8 w 780"/>
                  <a:gd name="T41" fmla="*/ 470 h 781"/>
                  <a:gd name="T42" fmla="*/ 0 w 780"/>
                  <a:gd name="T43" fmla="*/ 410 h 781"/>
                  <a:gd name="T44" fmla="*/ 0 w 780"/>
                  <a:gd name="T45" fmla="*/ 370 h 781"/>
                  <a:gd name="T46" fmla="*/ 8 w 780"/>
                  <a:gd name="T47" fmla="*/ 312 h 781"/>
                  <a:gd name="T48" fmla="*/ 24 w 780"/>
                  <a:gd name="T49" fmla="*/ 257 h 781"/>
                  <a:gd name="T50" fmla="*/ 47 w 780"/>
                  <a:gd name="T51" fmla="*/ 204 h 781"/>
                  <a:gd name="T52" fmla="*/ 78 w 780"/>
                  <a:gd name="T53" fmla="*/ 157 h 781"/>
                  <a:gd name="T54" fmla="*/ 115 w 780"/>
                  <a:gd name="T55" fmla="*/ 114 h 781"/>
                  <a:gd name="T56" fmla="*/ 157 w 780"/>
                  <a:gd name="T57" fmla="*/ 78 h 781"/>
                  <a:gd name="T58" fmla="*/ 204 w 780"/>
                  <a:gd name="T59" fmla="*/ 47 h 781"/>
                  <a:gd name="T60" fmla="*/ 257 w 780"/>
                  <a:gd name="T61" fmla="*/ 24 h 781"/>
                  <a:gd name="T62" fmla="*/ 311 w 780"/>
                  <a:gd name="T63" fmla="*/ 8 h 781"/>
                  <a:gd name="T64" fmla="*/ 370 w 780"/>
                  <a:gd name="T65" fmla="*/ 0 h 781"/>
                  <a:gd name="T66" fmla="*/ 411 w 780"/>
                  <a:gd name="T67" fmla="*/ 0 h 781"/>
                  <a:gd name="T68" fmla="*/ 469 w 780"/>
                  <a:gd name="T69" fmla="*/ 8 h 781"/>
                  <a:gd name="T70" fmla="*/ 524 w 780"/>
                  <a:gd name="T71" fmla="*/ 24 h 781"/>
                  <a:gd name="T72" fmla="*/ 576 w 780"/>
                  <a:gd name="T73" fmla="*/ 47 h 781"/>
                  <a:gd name="T74" fmla="*/ 624 w 780"/>
                  <a:gd name="T75" fmla="*/ 78 h 781"/>
                  <a:gd name="T76" fmla="*/ 666 w 780"/>
                  <a:gd name="T77" fmla="*/ 114 h 781"/>
                  <a:gd name="T78" fmla="*/ 703 w 780"/>
                  <a:gd name="T79" fmla="*/ 157 h 781"/>
                  <a:gd name="T80" fmla="*/ 734 w 780"/>
                  <a:gd name="T81" fmla="*/ 204 h 781"/>
                  <a:gd name="T82" fmla="*/ 756 w 780"/>
                  <a:gd name="T83" fmla="*/ 257 h 781"/>
                  <a:gd name="T84" fmla="*/ 772 w 780"/>
                  <a:gd name="T85" fmla="*/ 312 h 781"/>
                  <a:gd name="T86" fmla="*/ 779 w 780"/>
                  <a:gd name="T87" fmla="*/ 370 h 781"/>
                  <a:gd name="T88" fmla="*/ 780 w 780"/>
                  <a:gd name="T89" fmla="*/ 39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0" h="781">
                    <a:moveTo>
                      <a:pt x="780" y="391"/>
                    </a:moveTo>
                    <a:lnTo>
                      <a:pt x="780" y="391"/>
                    </a:lnTo>
                    <a:lnTo>
                      <a:pt x="779" y="410"/>
                    </a:lnTo>
                    <a:lnTo>
                      <a:pt x="778" y="431"/>
                    </a:lnTo>
                    <a:lnTo>
                      <a:pt x="776" y="450"/>
                    </a:lnTo>
                    <a:lnTo>
                      <a:pt x="772" y="470"/>
                    </a:lnTo>
                    <a:lnTo>
                      <a:pt x="768" y="488"/>
                    </a:lnTo>
                    <a:lnTo>
                      <a:pt x="762" y="506"/>
                    </a:lnTo>
                    <a:lnTo>
                      <a:pt x="756" y="525"/>
                    </a:lnTo>
                    <a:lnTo>
                      <a:pt x="750" y="543"/>
                    </a:lnTo>
                    <a:lnTo>
                      <a:pt x="742" y="560"/>
                    </a:lnTo>
                    <a:lnTo>
                      <a:pt x="734" y="576"/>
                    </a:lnTo>
                    <a:lnTo>
                      <a:pt x="723" y="593"/>
                    </a:lnTo>
                    <a:lnTo>
                      <a:pt x="714" y="608"/>
                    </a:lnTo>
                    <a:lnTo>
                      <a:pt x="703" y="624"/>
                    </a:lnTo>
                    <a:lnTo>
                      <a:pt x="691" y="639"/>
                    </a:lnTo>
                    <a:lnTo>
                      <a:pt x="679" y="653"/>
                    </a:lnTo>
                    <a:lnTo>
                      <a:pt x="666" y="667"/>
                    </a:lnTo>
                    <a:lnTo>
                      <a:pt x="652" y="679"/>
                    </a:lnTo>
                    <a:lnTo>
                      <a:pt x="639" y="692"/>
                    </a:lnTo>
                    <a:lnTo>
                      <a:pt x="624" y="703"/>
                    </a:lnTo>
                    <a:lnTo>
                      <a:pt x="609" y="715"/>
                    </a:lnTo>
                    <a:lnTo>
                      <a:pt x="593" y="724"/>
                    </a:lnTo>
                    <a:lnTo>
                      <a:pt x="576" y="734"/>
                    </a:lnTo>
                    <a:lnTo>
                      <a:pt x="560" y="742"/>
                    </a:lnTo>
                    <a:lnTo>
                      <a:pt x="543" y="750"/>
                    </a:lnTo>
                    <a:lnTo>
                      <a:pt x="524" y="757"/>
                    </a:lnTo>
                    <a:lnTo>
                      <a:pt x="506" y="763"/>
                    </a:lnTo>
                    <a:lnTo>
                      <a:pt x="488" y="769"/>
                    </a:lnTo>
                    <a:lnTo>
                      <a:pt x="469" y="773"/>
                    </a:lnTo>
                    <a:lnTo>
                      <a:pt x="450" y="777"/>
                    </a:lnTo>
                    <a:lnTo>
                      <a:pt x="430" y="779"/>
                    </a:lnTo>
                    <a:lnTo>
                      <a:pt x="411" y="780"/>
                    </a:lnTo>
                    <a:lnTo>
                      <a:pt x="390" y="781"/>
                    </a:lnTo>
                    <a:lnTo>
                      <a:pt x="390" y="781"/>
                    </a:lnTo>
                    <a:lnTo>
                      <a:pt x="370" y="780"/>
                    </a:lnTo>
                    <a:lnTo>
                      <a:pt x="350" y="779"/>
                    </a:lnTo>
                    <a:lnTo>
                      <a:pt x="331" y="777"/>
                    </a:lnTo>
                    <a:lnTo>
                      <a:pt x="311" y="773"/>
                    </a:lnTo>
                    <a:lnTo>
                      <a:pt x="293" y="769"/>
                    </a:lnTo>
                    <a:lnTo>
                      <a:pt x="275" y="763"/>
                    </a:lnTo>
                    <a:lnTo>
                      <a:pt x="257" y="757"/>
                    </a:lnTo>
                    <a:lnTo>
                      <a:pt x="238" y="750"/>
                    </a:lnTo>
                    <a:lnTo>
                      <a:pt x="221" y="742"/>
                    </a:lnTo>
                    <a:lnTo>
                      <a:pt x="204" y="734"/>
                    </a:lnTo>
                    <a:lnTo>
                      <a:pt x="188" y="724"/>
                    </a:lnTo>
                    <a:lnTo>
                      <a:pt x="172" y="715"/>
                    </a:lnTo>
                    <a:lnTo>
                      <a:pt x="157" y="703"/>
                    </a:lnTo>
                    <a:lnTo>
                      <a:pt x="142" y="692"/>
                    </a:lnTo>
                    <a:lnTo>
                      <a:pt x="128" y="679"/>
                    </a:lnTo>
                    <a:lnTo>
                      <a:pt x="115" y="667"/>
                    </a:lnTo>
                    <a:lnTo>
                      <a:pt x="102" y="653"/>
                    </a:lnTo>
                    <a:lnTo>
                      <a:pt x="90" y="639"/>
                    </a:lnTo>
                    <a:lnTo>
                      <a:pt x="78" y="624"/>
                    </a:lnTo>
                    <a:lnTo>
                      <a:pt x="67" y="608"/>
                    </a:lnTo>
                    <a:lnTo>
                      <a:pt x="56" y="593"/>
                    </a:lnTo>
                    <a:lnTo>
                      <a:pt x="47" y="576"/>
                    </a:lnTo>
                    <a:lnTo>
                      <a:pt x="39" y="560"/>
                    </a:lnTo>
                    <a:lnTo>
                      <a:pt x="31" y="543"/>
                    </a:lnTo>
                    <a:lnTo>
                      <a:pt x="24" y="525"/>
                    </a:lnTo>
                    <a:lnTo>
                      <a:pt x="17" y="506"/>
                    </a:lnTo>
                    <a:lnTo>
                      <a:pt x="13" y="488"/>
                    </a:lnTo>
                    <a:lnTo>
                      <a:pt x="8" y="470"/>
                    </a:lnTo>
                    <a:lnTo>
                      <a:pt x="5" y="450"/>
                    </a:lnTo>
                    <a:lnTo>
                      <a:pt x="3" y="431"/>
                    </a:lnTo>
                    <a:lnTo>
                      <a:pt x="0" y="410"/>
                    </a:lnTo>
                    <a:lnTo>
                      <a:pt x="0" y="391"/>
                    </a:lnTo>
                    <a:lnTo>
                      <a:pt x="0" y="391"/>
                    </a:lnTo>
                    <a:lnTo>
                      <a:pt x="0" y="370"/>
                    </a:lnTo>
                    <a:lnTo>
                      <a:pt x="3" y="350"/>
                    </a:lnTo>
                    <a:lnTo>
                      <a:pt x="5" y="331"/>
                    </a:lnTo>
                    <a:lnTo>
                      <a:pt x="8" y="312"/>
                    </a:lnTo>
                    <a:lnTo>
                      <a:pt x="13" y="293"/>
                    </a:lnTo>
                    <a:lnTo>
                      <a:pt x="17" y="274"/>
                    </a:lnTo>
                    <a:lnTo>
                      <a:pt x="24" y="257"/>
                    </a:lnTo>
                    <a:lnTo>
                      <a:pt x="31" y="238"/>
                    </a:lnTo>
                    <a:lnTo>
                      <a:pt x="39" y="221"/>
                    </a:lnTo>
                    <a:lnTo>
                      <a:pt x="47" y="204"/>
                    </a:lnTo>
                    <a:lnTo>
                      <a:pt x="56" y="188"/>
                    </a:lnTo>
                    <a:lnTo>
                      <a:pt x="67" y="172"/>
                    </a:lnTo>
                    <a:lnTo>
                      <a:pt x="78" y="157"/>
                    </a:lnTo>
                    <a:lnTo>
                      <a:pt x="90" y="142"/>
                    </a:lnTo>
                    <a:lnTo>
                      <a:pt x="102" y="128"/>
                    </a:lnTo>
                    <a:lnTo>
                      <a:pt x="115" y="114"/>
                    </a:lnTo>
                    <a:lnTo>
                      <a:pt x="128" y="101"/>
                    </a:lnTo>
                    <a:lnTo>
                      <a:pt x="142" y="89"/>
                    </a:lnTo>
                    <a:lnTo>
                      <a:pt x="157" y="78"/>
                    </a:lnTo>
                    <a:lnTo>
                      <a:pt x="172" y="66"/>
                    </a:lnTo>
                    <a:lnTo>
                      <a:pt x="188" y="56"/>
                    </a:lnTo>
                    <a:lnTo>
                      <a:pt x="204" y="47"/>
                    </a:lnTo>
                    <a:lnTo>
                      <a:pt x="221" y="39"/>
                    </a:lnTo>
                    <a:lnTo>
                      <a:pt x="238" y="31"/>
                    </a:lnTo>
                    <a:lnTo>
                      <a:pt x="257" y="24"/>
                    </a:lnTo>
                    <a:lnTo>
                      <a:pt x="275" y="17"/>
                    </a:lnTo>
                    <a:lnTo>
                      <a:pt x="293" y="13"/>
                    </a:lnTo>
                    <a:lnTo>
                      <a:pt x="311" y="8"/>
                    </a:lnTo>
                    <a:lnTo>
                      <a:pt x="331" y="4"/>
                    </a:lnTo>
                    <a:lnTo>
                      <a:pt x="350" y="2"/>
                    </a:lnTo>
                    <a:lnTo>
                      <a:pt x="370" y="0"/>
                    </a:lnTo>
                    <a:lnTo>
                      <a:pt x="390" y="0"/>
                    </a:lnTo>
                    <a:lnTo>
                      <a:pt x="390" y="0"/>
                    </a:lnTo>
                    <a:lnTo>
                      <a:pt x="411" y="0"/>
                    </a:lnTo>
                    <a:lnTo>
                      <a:pt x="430" y="2"/>
                    </a:lnTo>
                    <a:lnTo>
                      <a:pt x="450" y="4"/>
                    </a:lnTo>
                    <a:lnTo>
                      <a:pt x="469" y="8"/>
                    </a:lnTo>
                    <a:lnTo>
                      <a:pt x="488" y="13"/>
                    </a:lnTo>
                    <a:lnTo>
                      <a:pt x="506" y="17"/>
                    </a:lnTo>
                    <a:lnTo>
                      <a:pt x="524" y="24"/>
                    </a:lnTo>
                    <a:lnTo>
                      <a:pt x="543" y="31"/>
                    </a:lnTo>
                    <a:lnTo>
                      <a:pt x="560" y="39"/>
                    </a:lnTo>
                    <a:lnTo>
                      <a:pt x="576" y="47"/>
                    </a:lnTo>
                    <a:lnTo>
                      <a:pt x="593" y="56"/>
                    </a:lnTo>
                    <a:lnTo>
                      <a:pt x="609" y="66"/>
                    </a:lnTo>
                    <a:lnTo>
                      <a:pt x="624" y="78"/>
                    </a:lnTo>
                    <a:lnTo>
                      <a:pt x="639" y="89"/>
                    </a:lnTo>
                    <a:lnTo>
                      <a:pt x="652" y="101"/>
                    </a:lnTo>
                    <a:lnTo>
                      <a:pt x="666" y="114"/>
                    </a:lnTo>
                    <a:lnTo>
                      <a:pt x="679" y="128"/>
                    </a:lnTo>
                    <a:lnTo>
                      <a:pt x="691" y="142"/>
                    </a:lnTo>
                    <a:lnTo>
                      <a:pt x="703" y="157"/>
                    </a:lnTo>
                    <a:lnTo>
                      <a:pt x="714" y="172"/>
                    </a:lnTo>
                    <a:lnTo>
                      <a:pt x="723" y="188"/>
                    </a:lnTo>
                    <a:lnTo>
                      <a:pt x="734" y="204"/>
                    </a:lnTo>
                    <a:lnTo>
                      <a:pt x="742" y="221"/>
                    </a:lnTo>
                    <a:lnTo>
                      <a:pt x="750" y="238"/>
                    </a:lnTo>
                    <a:lnTo>
                      <a:pt x="756" y="257"/>
                    </a:lnTo>
                    <a:lnTo>
                      <a:pt x="762" y="274"/>
                    </a:lnTo>
                    <a:lnTo>
                      <a:pt x="768" y="293"/>
                    </a:lnTo>
                    <a:lnTo>
                      <a:pt x="772" y="312"/>
                    </a:lnTo>
                    <a:lnTo>
                      <a:pt x="776" y="331"/>
                    </a:lnTo>
                    <a:lnTo>
                      <a:pt x="778" y="350"/>
                    </a:lnTo>
                    <a:lnTo>
                      <a:pt x="779" y="370"/>
                    </a:lnTo>
                    <a:lnTo>
                      <a:pt x="780" y="391"/>
                    </a:lnTo>
                    <a:lnTo>
                      <a:pt x="780" y="391"/>
                    </a:lnTo>
                    <a:close/>
                    <a:moveTo>
                      <a:pt x="780" y="391"/>
                    </a:moveTo>
                    <a:lnTo>
                      <a:pt x="780" y="391"/>
                    </a:lnTo>
                    <a:close/>
                  </a:path>
                </a:pathLst>
              </a:custGeom>
              <a:solidFill>
                <a:srgbClr val="D9D9D9"/>
              </a:solidFill>
              <a:ln w="19050">
                <a:solidFill>
                  <a:schemeClr val="tx1">
                    <a:lumMod val="75000"/>
                    <a:lumOff val="25000"/>
                  </a:schemeClr>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34" name="Line 7">
                <a:extLst>
                  <a:ext uri="{FF2B5EF4-FFF2-40B4-BE49-F238E27FC236}">
                    <a16:creationId xmlns:a16="http://schemas.microsoft.com/office/drawing/2014/main" id="{E171FF38-E3D0-4D35-B12D-C446AA93CC53}"/>
                  </a:ext>
                </a:extLst>
              </p:cNvPr>
              <p:cNvSpPr>
                <a:spLocks noChangeShapeType="1"/>
              </p:cNvSpPr>
              <p:nvPr/>
            </p:nvSpPr>
            <p:spPr bwMode="auto">
              <a:xfrm>
                <a:off x="4573982" y="1227428"/>
                <a:ext cx="0" cy="0"/>
              </a:xfrm>
              <a:prstGeom prst="line">
                <a:avLst/>
              </a:prstGeom>
              <a:noFill/>
              <a:ln w="15875">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35" name="Freeform 8">
                <a:extLst>
                  <a:ext uri="{FF2B5EF4-FFF2-40B4-BE49-F238E27FC236}">
                    <a16:creationId xmlns:a16="http://schemas.microsoft.com/office/drawing/2014/main" id="{56100F2A-2C7C-452F-ABF5-6FE88F79DFFD}"/>
                  </a:ext>
                </a:extLst>
              </p:cNvPr>
              <p:cNvSpPr>
                <a:spLocks/>
              </p:cNvSpPr>
              <p:nvPr/>
            </p:nvSpPr>
            <p:spPr bwMode="auto">
              <a:xfrm>
                <a:off x="4490367" y="1287728"/>
                <a:ext cx="82811" cy="329636"/>
              </a:xfrm>
              <a:custGeom>
                <a:avLst/>
                <a:gdLst>
                  <a:gd name="T0" fmla="*/ 702 w 721"/>
                  <a:gd name="T1" fmla="*/ 204 h 2869"/>
                  <a:gd name="T2" fmla="*/ 674 w 721"/>
                  <a:gd name="T3" fmla="*/ 147 h 2869"/>
                  <a:gd name="T4" fmla="*/ 629 w 721"/>
                  <a:gd name="T5" fmla="*/ 98 h 2869"/>
                  <a:gd name="T6" fmla="*/ 574 w 721"/>
                  <a:gd name="T7" fmla="*/ 59 h 2869"/>
                  <a:gd name="T8" fmla="*/ 514 w 721"/>
                  <a:gd name="T9" fmla="*/ 31 h 2869"/>
                  <a:gd name="T10" fmla="*/ 453 w 721"/>
                  <a:gd name="T11" fmla="*/ 11 h 2869"/>
                  <a:gd name="T12" fmla="*/ 427 w 721"/>
                  <a:gd name="T13" fmla="*/ 4 h 2869"/>
                  <a:gd name="T14" fmla="*/ 368 w 721"/>
                  <a:gd name="T15" fmla="*/ 0 h 2869"/>
                  <a:gd name="T16" fmla="*/ 308 w 721"/>
                  <a:gd name="T17" fmla="*/ 4 h 2869"/>
                  <a:gd name="T18" fmla="*/ 278 w 721"/>
                  <a:gd name="T19" fmla="*/ 9 h 2869"/>
                  <a:gd name="T20" fmla="*/ 205 w 721"/>
                  <a:gd name="T21" fmla="*/ 35 h 2869"/>
                  <a:gd name="T22" fmla="*/ 135 w 721"/>
                  <a:gd name="T23" fmla="*/ 75 h 2869"/>
                  <a:gd name="T24" fmla="*/ 74 w 721"/>
                  <a:gd name="T25" fmla="*/ 129 h 2869"/>
                  <a:gd name="T26" fmla="*/ 30 w 721"/>
                  <a:gd name="T27" fmla="*/ 198 h 2869"/>
                  <a:gd name="T28" fmla="*/ 16 w 721"/>
                  <a:gd name="T29" fmla="*/ 237 h 2869"/>
                  <a:gd name="T30" fmla="*/ 8 w 721"/>
                  <a:gd name="T31" fmla="*/ 278 h 2869"/>
                  <a:gd name="T32" fmla="*/ 0 w 721"/>
                  <a:gd name="T33" fmla="*/ 1170 h 2869"/>
                  <a:gd name="T34" fmla="*/ 2 w 721"/>
                  <a:gd name="T35" fmla="*/ 1205 h 2869"/>
                  <a:gd name="T36" fmla="*/ 14 w 721"/>
                  <a:gd name="T37" fmla="*/ 1254 h 2869"/>
                  <a:gd name="T38" fmla="*/ 33 w 721"/>
                  <a:gd name="T39" fmla="*/ 1300 h 2869"/>
                  <a:gd name="T40" fmla="*/ 61 w 721"/>
                  <a:gd name="T41" fmla="*/ 1340 h 2869"/>
                  <a:gd name="T42" fmla="*/ 95 w 721"/>
                  <a:gd name="T43" fmla="*/ 1377 h 2869"/>
                  <a:gd name="T44" fmla="*/ 121 w 721"/>
                  <a:gd name="T45" fmla="*/ 2639 h 2869"/>
                  <a:gd name="T46" fmla="*/ 121 w 721"/>
                  <a:gd name="T47" fmla="*/ 2682 h 2869"/>
                  <a:gd name="T48" fmla="*/ 136 w 721"/>
                  <a:gd name="T49" fmla="*/ 2740 h 2869"/>
                  <a:gd name="T50" fmla="*/ 166 w 721"/>
                  <a:gd name="T51" fmla="*/ 2792 h 2869"/>
                  <a:gd name="T52" fmla="*/ 209 w 721"/>
                  <a:gd name="T53" fmla="*/ 2832 h 2869"/>
                  <a:gd name="T54" fmla="*/ 263 w 721"/>
                  <a:gd name="T55" fmla="*/ 2859 h 2869"/>
                  <a:gd name="T56" fmla="*/ 304 w 721"/>
                  <a:gd name="T57" fmla="*/ 2867 h 2869"/>
                  <a:gd name="T58" fmla="*/ 347 w 721"/>
                  <a:gd name="T59" fmla="*/ 2869 h 2869"/>
                  <a:gd name="T60" fmla="*/ 405 w 721"/>
                  <a:gd name="T61" fmla="*/ 2854 h 2869"/>
                  <a:gd name="T62" fmla="*/ 456 w 721"/>
                  <a:gd name="T63" fmla="*/ 2824 h 2869"/>
                  <a:gd name="T64" fmla="*/ 496 w 721"/>
                  <a:gd name="T65" fmla="*/ 2780 h 2869"/>
                  <a:gd name="T66" fmla="*/ 524 w 721"/>
                  <a:gd name="T67" fmla="*/ 2725 h 2869"/>
                  <a:gd name="T68" fmla="*/ 532 w 721"/>
                  <a:gd name="T69" fmla="*/ 1438 h 2869"/>
                  <a:gd name="T70" fmla="*/ 568 w 721"/>
                  <a:gd name="T71" fmla="*/ 1418 h 2869"/>
                  <a:gd name="T72" fmla="*/ 619 w 721"/>
                  <a:gd name="T73" fmla="*/ 1382 h 2869"/>
                  <a:gd name="T74" fmla="*/ 661 w 721"/>
                  <a:gd name="T75" fmla="*/ 1336 h 2869"/>
                  <a:gd name="T76" fmla="*/ 693 w 721"/>
                  <a:gd name="T77" fmla="*/ 1282 h 2869"/>
                  <a:gd name="T78" fmla="*/ 711 w 721"/>
                  <a:gd name="T79" fmla="*/ 1220 h 2869"/>
                  <a:gd name="T80" fmla="*/ 716 w 721"/>
                  <a:gd name="T81" fmla="*/ 1174 h 2869"/>
                  <a:gd name="T82" fmla="*/ 721 w 721"/>
                  <a:gd name="T83" fmla="*/ 609 h 2869"/>
                  <a:gd name="T84" fmla="*/ 719 w 721"/>
                  <a:gd name="T85" fmla="*/ 498 h 2869"/>
                  <a:gd name="T86" fmla="*/ 714 w 721"/>
                  <a:gd name="T87" fmla="*/ 306 h 2869"/>
                  <a:gd name="T88" fmla="*/ 707 w 721"/>
                  <a:gd name="T89" fmla="*/ 226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1" h="2869">
                    <a:moveTo>
                      <a:pt x="707" y="226"/>
                    </a:moveTo>
                    <a:lnTo>
                      <a:pt x="707" y="226"/>
                    </a:lnTo>
                    <a:lnTo>
                      <a:pt x="702" y="204"/>
                    </a:lnTo>
                    <a:lnTo>
                      <a:pt x="694" y="183"/>
                    </a:lnTo>
                    <a:lnTo>
                      <a:pt x="685" y="164"/>
                    </a:lnTo>
                    <a:lnTo>
                      <a:pt x="674" y="147"/>
                    </a:lnTo>
                    <a:lnTo>
                      <a:pt x="661" y="129"/>
                    </a:lnTo>
                    <a:lnTo>
                      <a:pt x="646" y="113"/>
                    </a:lnTo>
                    <a:lnTo>
                      <a:pt x="629" y="98"/>
                    </a:lnTo>
                    <a:lnTo>
                      <a:pt x="612" y="85"/>
                    </a:lnTo>
                    <a:lnTo>
                      <a:pt x="594" y="71"/>
                    </a:lnTo>
                    <a:lnTo>
                      <a:pt x="574" y="59"/>
                    </a:lnTo>
                    <a:lnTo>
                      <a:pt x="555" y="49"/>
                    </a:lnTo>
                    <a:lnTo>
                      <a:pt x="534" y="39"/>
                    </a:lnTo>
                    <a:lnTo>
                      <a:pt x="514" y="31"/>
                    </a:lnTo>
                    <a:lnTo>
                      <a:pt x="493" y="23"/>
                    </a:lnTo>
                    <a:lnTo>
                      <a:pt x="472" y="17"/>
                    </a:lnTo>
                    <a:lnTo>
                      <a:pt x="453" y="11"/>
                    </a:lnTo>
                    <a:lnTo>
                      <a:pt x="453" y="11"/>
                    </a:lnTo>
                    <a:lnTo>
                      <a:pt x="445" y="9"/>
                    </a:lnTo>
                    <a:lnTo>
                      <a:pt x="427" y="4"/>
                    </a:lnTo>
                    <a:lnTo>
                      <a:pt x="399" y="1"/>
                    </a:lnTo>
                    <a:lnTo>
                      <a:pt x="384" y="0"/>
                    </a:lnTo>
                    <a:lnTo>
                      <a:pt x="368" y="0"/>
                    </a:lnTo>
                    <a:lnTo>
                      <a:pt x="368" y="0"/>
                    </a:lnTo>
                    <a:lnTo>
                      <a:pt x="336" y="1"/>
                    </a:lnTo>
                    <a:lnTo>
                      <a:pt x="308" y="4"/>
                    </a:lnTo>
                    <a:lnTo>
                      <a:pt x="279" y="9"/>
                    </a:lnTo>
                    <a:lnTo>
                      <a:pt x="278" y="9"/>
                    </a:lnTo>
                    <a:lnTo>
                      <a:pt x="278" y="9"/>
                    </a:lnTo>
                    <a:lnTo>
                      <a:pt x="254" y="16"/>
                    </a:lnTo>
                    <a:lnTo>
                      <a:pt x="229" y="25"/>
                    </a:lnTo>
                    <a:lnTo>
                      <a:pt x="205" y="35"/>
                    </a:lnTo>
                    <a:lnTo>
                      <a:pt x="181" y="47"/>
                    </a:lnTo>
                    <a:lnTo>
                      <a:pt x="157" y="61"/>
                    </a:lnTo>
                    <a:lnTo>
                      <a:pt x="135" y="75"/>
                    </a:lnTo>
                    <a:lnTo>
                      <a:pt x="113" y="92"/>
                    </a:lnTo>
                    <a:lnTo>
                      <a:pt x="93" y="110"/>
                    </a:lnTo>
                    <a:lnTo>
                      <a:pt x="74" y="129"/>
                    </a:lnTo>
                    <a:lnTo>
                      <a:pt x="57" y="151"/>
                    </a:lnTo>
                    <a:lnTo>
                      <a:pt x="42" y="174"/>
                    </a:lnTo>
                    <a:lnTo>
                      <a:pt x="30" y="198"/>
                    </a:lnTo>
                    <a:lnTo>
                      <a:pt x="25" y="211"/>
                    </a:lnTo>
                    <a:lnTo>
                      <a:pt x="19" y="223"/>
                    </a:lnTo>
                    <a:lnTo>
                      <a:pt x="16" y="237"/>
                    </a:lnTo>
                    <a:lnTo>
                      <a:pt x="13" y="250"/>
                    </a:lnTo>
                    <a:lnTo>
                      <a:pt x="9" y="265"/>
                    </a:lnTo>
                    <a:lnTo>
                      <a:pt x="8" y="278"/>
                    </a:lnTo>
                    <a:lnTo>
                      <a:pt x="6" y="293"/>
                    </a:lnTo>
                    <a:lnTo>
                      <a:pt x="6" y="308"/>
                    </a:lnTo>
                    <a:lnTo>
                      <a:pt x="0" y="1170"/>
                    </a:lnTo>
                    <a:lnTo>
                      <a:pt x="0" y="1170"/>
                    </a:lnTo>
                    <a:lnTo>
                      <a:pt x="1" y="1188"/>
                    </a:lnTo>
                    <a:lnTo>
                      <a:pt x="2" y="1205"/>
                    </a:lnTo>
                    <a:lnTo>
                      <a:pt x="5" y="1222"/>
                    </a:lnTo>
                    <a:lnTo>
                      <a:pt x="9" y="1238"/>
                    </a:lnTo>
                    <a:lnTo>
                      <a:pt x="14" y="1254"/>
                    </a:lnTo>
                    <a:lnTo>
                      <a:pt x="19" y="1270"/>
                    </a:lnTo>
                    <a:lnTo>
                      <a:pt x="26" y="1285"/>
                    </a:lnTo>
                    <a:lnTo>
                      <a:pt x="33" y="1300"/>
                    </a:lnTo>
                    <a:lnTo>
                      <a:pt x="42" y="1314"/>
                    </a:lnTo>
                    <a:lnTo>
                      <a:pt x="51" y="1328"/>
                    </a:lnTo>
                    <a:lnTo>
                      <a:pt x="61" y="1340"/>
                    </a:lnTo>
                    <a:lnTo>
                      <a:pt x="71" y="1353"/>
                    </a:lnTo>
                    <a:lnTo>
                      <a:pt x="82" y="1366"/>
                    </a:lnTo>
                    <a:lnTo>
                      <a:pt x="95" y="1377"/>
                    </a:lnTo>
                    <a:lnTo>
                      <a:pt x="107" y="1387"/>
                    </a:lnTo>
                    <a:lnTo>
                      <a:pt x="120" y="1398"/>
                    </a:lnTo>
                    <a:lnTo>
                      <a:pt x="121" y="2639"/>
                    </a:lnTo>
                    <a:lnTo>
                      <a:pt x="121" y="2639"/>
                    </a:lnTo>
                    <a:lnTo>
                      <a:pt x="120" y="2661"/>
                    </a:lnTo>
                    <a:lnTo>
                      <a:pt x="121" y="2682"/>
                    </a:lnTo>
                    <a:lnTo>
                      <a:pt x="123" y="2701"/>
                    </a:lnTo>
                    <a:lnTo>
                      <a:pt x="129" y="2722"/>
                    </a:lnTo>
                    <a:lnTo>
                      <a:pt x="136" y="2740"/>
                    </a:lnTo>
                    <a:lnTo>
                      <a:pt x="144" y="2759"/>
                    </a:lnTo>
                    <a:lnTo>
                      <a:pt x="154" y="2776"/>
                    </a:lnTo>
                    <a:lnTo>
                      <a:pt x="166" y="2792"/>
                    </a:lnTo>
                    <a:lnTo>
                      <a:pt x="178" y="2807"/>
                    </a:lnTo>
                    <a:lnTo>
                      <a:pt x="193" y="2821"/>
                    </a:lnTo>
                    <a:lnTo>
                      <a:pt x="209" y="2832"/>
                    </a:lnTo>
                    <a:lnTo>
                      <a:pt x="226" y="2842"/>
                    </a:lnTo>
                    <a:lnTo>
                      <a:pt x="245" y="2851"/>
                    </a:lnTo>
                    <a:lnTo>
                      <a:pt x="263" y="2859"/>
                    </a:lnTo>
                    <a:lnTo>
                      <a:pt x="284" y="2864"/>
                    </a:lnTo>
                    <a:lnTo>
                      <a:pt x="304" y="2867"/>
                    </a:lnTo>
                    <a:lnTo>
                      <a:pt x="304" y="2867"/>
                    </a:lnTo>
                    <a:lnTo>
                      <a:pt x="304" y="2867"/>
                    </a:lnTo>
                    <a:lnTo>
                      <a:pt x="326" y="2869"/>
                    </a:lnTo>
                    <a:lnTo>
                      <a:pt x="347" y="2869"/>
                    </a:lnTo>
                    <a:lnTo>
                      <a:pt x="366" y="2865"/>
                    </a:lnTo>
                    <a:lnTo>
                      <a:pt x="387" y="2861"/>
                    </a:lnTo>
                    <a:lnTo>
                      <a:pt x="405" y="2854"/>
                    </a:lnTo>
                    <a:lnTo>
                      <a:pt x="423" y="2846"/>
                    </a:lnTo>
                    <a:lnTo>
                      <a:pt x="440" y="2835"/>
                    </a:lnTo>
                    <a:lnTo>
                      <a:pt x="456" y="2824"/>
                    </a:lnTo>
                    <a:lnTo>
                      <a:pt x="471" y="2810"/>
                    </a:lnTo>
                    <a:lnTo>
                      <a:pt x="485" y="2795"/>
                    </a:lnTo>
                    <a:lnTo>
                      <a:pt x="496" y="2780"/>
                    </a:lnTo>
                    <a:lnTo>
                      <a:pt x="507" y="2763"/>
                    </a:lnTo>
                    <a:lnTo>
                      <a:pt x="516" y="2745"/>
                    </a:lnTo>
                    <a:lnTo>
                      <a:pt x="524" y="2725"/>
                    </a:lnTo>
                    <a:lnTo>
                      <a:pt x="528" y="2706"/>
                    </a:lnTo>
                    <a:lnTo>
                      <a:pt x="532" y="2685"/>
                    </a:lnTo>
                    <a:lnTo>
                      <a:pt x="532" y="1438"/>
                    </a:lnTo>
                    <a:lnTo>
                      <a:pt x="532" y="1438"/>
                    </a:lnTo>
                    <a:lnTo>
                      <a:pt x="550" y="1429"/>
                    </a:lnTo>
                    <a:lnTo>
                      <a:pt x="568" y="1418"/>
                    </a:lnTo>
                    <a:lnTo>
                      <a:pt x="586" y="1407"/>
                    </a:lnTo>
                    <a:lnTo>
                      <a:pt x="603" y="1394"/>
                    </a:lnTo>
                    <a:lnTo>
                      <a:pt x="619" y="1382"/>
                    </a:lnTo>
                    <a:lnTo>
                      <a:pt x="634" y="1368"/>
                    </a:lnTo>
                    <a:lnTo>
                      <a:pt x="647" y="1352"/>
                    </a:lnTo>
                    <a:lnTo>
                      <a:pt x="661" y="1336"/>
                    </a:lnTo>
                    <a:lnTo>
                      <a:pt x="673" y="1320"/>
                    </a:lnTo>
                    <a:lnTo>
                      <a:pt x="684" y="1301"/>
                    </a:lnTo>
                    <a:lnTo>
                      <a:pt x="693" y="1282"/>
                    </a:lnTo>
                    <a:lnTo>
                      <a:pt x="701" y="1262"/>
                    </a:lnTo>
                    <a:lnTo>
                      <a:pt x="707" y="1242"/>
                    </a:lnTo>
                    <a:lnTo>
                      <a:pt x="711" y="1220"/>
                    </a:lnTo>
                    <a:lnTo>
                      <a:pt x="715" y="1198"/>
                    </a:lnTo>
                    <a:lnTo>
                      <a:pt x="716" y="1174"/>
                    </a:lnTo>
                    <a:lnTo>
                      <a:pt x="716" y="1174"/>
                    </a:lnTo>
                    <a:lnTo>
                      <a:pt x="719" y="915"/>
                    </a:lnTo>
                    <a:lnTo>
                      <a:pt x="721" y="703"/>
                    </a:lnTo>
                    <a:lnTo>
                      <a:pt x="721" y="609"/>
                    </a:lnTo>
                    <a:lnTo>
                      <a:pt x="719" y="536"/>
                    </a:lnTo>
                    <a:lnTo>
                      <a:pt x="719" y="536"/>
                    </a:lnTo>
                    <a:lnTo>
                      <a:pt x="719" y="498"/>
                    </a:lnTo>
                    <a:lnTo>
                      <a:pt x="718" y="409"/>
                    </a:lnTo>
                    <a:lnTo>
                      <a:pt x="716" y="357"/>
                    </a:lnTo>
                    <a:lnTo>
                      <a:pt x="714" y="306"/>
                    </a:lnTo>
                    <a:lnTo>
                      <a:pt x="711" y="261"/>
                    </a:lnTo>
                    <a:lnTo>
                      <a:pt x="707" y="226"/>
                    </a:lnTo>
                    <a:lnTo>
                      <a:pt x="707" y="226"/>
                    </a:lnTo>
                    <a:close/>
                  </a:path>
                </a:pathLst>
              </a:custGeom>
              <a:solidFill>
                <a:srgbClr val="D9D9D9"/>
              </a:solidFill>
              <a:ln w="19050">
                <a:solidFill>
                  <a:schemeClr val="tx1">
                    <a:lumMod val="75000"/>
                    <a:lumOff val="25000"/>
                  </a:schemeClr>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36" name="Line 11">
                <a:extLst>
                  <a:ext uri="{FF2B5EF4-FFF2-40B4-BE49-F238E27FC236}">
                    <a16:creationId xmlns:a16="http://schemas.microsoft.com/office/drawing/2014/main" id="{7F5E9A89-3DBE-4B6D-B80C-D7110C2CCB28}"/>
                  </a:ext>
                </a:extLst>
              </p:cNvPr>
              <p:cNvSpPr>
                <a:spLocks noChangeShapeType="1"/>
              </p:cNvSpPr>
              <p:nvPr/>
            </p:nvSpPr>
            <p:spPr bwMode="auto">
              <a:xfrm>
                <a:off x="4962309" y="1227428"/>
                <a:ext cx="0" cy="0"/>
              </a:xfrm>
              <a:prstGeom prst="line">
                <a:avLst/>
              </a:prstGeom>
              <a:noFill/>
              <a:ln w="15875">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37" name="Freeform 12">
                <a:extLst>
                  <a:ext uri="{FF2B5EF4-FFF2-40B4-BE49-F238E27FC236}">
                    <a16:creationId xmlns:a16="http://schemas.microsoft.com/office/drawing/2014/main" id="{8A542C28-D668-40E1-9276-DE79F2FA1983}"/>
                  </a:ext>
                </a:extLst>
              </p:cNvPr>
              <p:cNvSpPr>
                <a:spLocks/>
              </p:cNvSpPr>
              <p:nvPr/>
            </p:nvSpPr>
            <p:spPr bwMode="auto">
              <a:xfrm>
                <a:off x="4878694" y="1287728"/>
                <a:ext cx="82811" cy="329636"/>
              </a:xfrm>
              <a:custGeom>
                <a:avLst/>
                <a:gdLst>
                  <a:gd name="T0" fmla="*/ 703 w 721"/>
                  <a:gd name="T1" fmla="*/ 204 h 2869"/>
                  <a:gd name="T2" fmla="*/ 674 w 721"/>
                  <a:gd name="T3" fmla="*/ 147 h 2869"/>
                  <a:gd name="T4" fmla="*/ 629 w 721"/>
                  <a:gd name="T5" fmla="*/ 98 h 2869"/>
                  <a:gd name="T6" fmla="*/ 574 w 721"/>
                  <a:gd name="T7" fmla="*/ 59 h 2869"/>
                  <a:gd name="T8" fmla="*/ 514 w 721"/>
                  <a:gd name="T9" fmla="*/ 31 h 2869"/>
                  <a:gd name="T10" fmla="*/ 453 w 721"/>
                  <a:gd name="T11" fmla="*/ 11 h 2869"/>
                  <a:gd name="T12" fmla="*/ 427 w 721"/>
                  <a:gd name="T13" fmla="*/ 4 h 2869"/>
                  <a:gd name="T14" fmla="*/ 368 w 721"/>
                  <a:gd name="T15" fmla="*/ 0 h 2869"/>
                  <a:gd name="T16" fmla="*/ 308 w 721"/>
                  <a:gd name="T17" fmla="*/ 4 h 2869"/>
                  <a:gd name="T18" fmla="*/ 278 w 721"/>
                  <a:gd name="T19" fmla="*/ 9 h 2869"/>
                  <a:gd name="T20" fmla="*/ 205 w 721"/>
                  <a:gd name="T21" fmla="*/ 35 h 2869"/>
                  <a:gd name="T22" fmla="*/ 135 w 721"/>
                  <a:gd name="T23" fmla="*/ 75 h 2869"/>
                  <a:gd name="T24" fmla="*/ 74 w 721"/>
                  <a:gd name="T25" fmla="*/ 129 h 2869"/>
                  <a:gd name="T26" fmla="*/ 30 w 721"/>
                  <a:gd name="T27" fmla="*/ 198 h 2869"/>
                  <a:gd name="T28" fmla="*/ 16 w 721"/>
                  <a:gd name="T29" fmla="*/ 237 h 2869"/>
                  <a:gd name="T30" fmla="*/ 7 w 721"/>
                  <a:gd name="T31" fmla="*/ 278 h 2869"/>
                  <a:gd name="T32" fmla="*/ 0 w 721"/>
                  <a:gd name="T33" fmla="*/ 1170 h 2869"/>
                  <a:gd name="T34" fmla="*/ 2 w 721"/>
                  <a:gd name="T35" fmla="*/ 1205 h 2869"/>
                  <a:gd name="T36" fmla="*/ 14 w 721"/>
                  <a:gd name="T37" fmla="*/ 1254 h 2869"/>
                  <a:gd name="T38" fmla="*/ 33 w 721"/>
                  <a:gd name="T39" fmla="*/ 1300 h 2869"/>
                  <a:gd name="T40" fmla="*/ 61 w 721"/>
                  <a:gd name="T41" fmla="*/ 1340 h 2869"/>
                  <a:gd name="T42" fmla="*/ 95 w 721"/>
                  <a:gd name="T43" fmla="*/ 1377 h 2869"/>
                  <a:gd name="T44" fmla="*/ 121 w 721"/>
                  <a:gd name="T45" fmla="*/ 2639 h 2869"/>
                  <a:gd name="T46" fmla="*/ 121 w 721"/>
                  <a:gd name="T47" fmla="*/ 2682 h 2869"/>
                  <a:gd name="T48" fmla="*/ 135 w 721"/>
                  <a:gd name="T49" fmla="*/ 2740 h 2869"/>
                  <a:gd name="T50" fmla="*/ 166 w 721"/>
                  <a:gd name="T51" fmla="*/ 2792 h 2869"/>
                  <a:gd name="T52" fmla="*/ 209 w 721"/>
                  <a:gd name="T53" fmla="*/ 2832 h 2869"/>
                  <a:gd name="T54" fmla="*/ 263 w 721"/>
                  <a:gd name="T55" fmla="*/ 2859 h 2869"/>
                  <a:gd name="T56" fmla="*/ 304 w 721"/>
                  <a:gd name="T57" fmla="*/ 2867 h 2869"/>
                  <a:gd name="T58" fmla="*/ 347 w 721"/>
                  <a:gd name="T59" fmla="*/ 2869 h 2869"/>
                  <a:gd name="T60" fmla="*/ 405 w 721"/>
                  <a:gd name="T61" fmla="*/ 2854 h 2869"/>
                  <a:gd name="T62" fmla="*/ 457 w 721"/>
                  <a:gd name="T63" fmla="*/ 2824 h 2869"/>
                  <a:gd name="T64" fmla="*/ 497 w 721"/>
                  <a:gd name="T65" fmla="*/ 2780 h 2869"/>
                  <a:gd name="T66" fmla="*/ 523 w 721"/>
                  <a:gd name="T67" fmla="*/ 2725 h 2869"/>
                  <a:gd name="T68" fmla="*/ 532 w 721"/>
                  <a:gd name="T69" fmla="*/ 1438 h 2869"/>
                  <a:gd name="T70" fmla="*/ 569 w 721"/>
                  <a:gd name="T71" fmla="*/ 1418 h 2869"/>
                  <a:gd name="T72" fmla="*/ 619 w 721"/>
                  <a:gd name="T73" fmla="*/ 1382 h 2869"/>
                  <a:gd name="T74" fmla="*/ 661 w 721"/>
                  <a:gd name="T75" fmla="*/ 1336 h 2869"/>
                  <a:gd name="T76" fmla="*/ 693 w 721"/>
                  <a:gd name="T77" fmla="*/ 1282 h 2869"/>
                  <a:gd name="T78" fmla="*/ 712 w 721"/>
                  <a:gd name="T79" fmla="*/ 1220 h 2869"/>
                  <a:gd name="T80" fmla="*/ 716 w 721"/>
                  <a:gd name="T81" fmla="*/ 1174 h 2869"/>
                  <a:gd name="T82" fmla="*/ 721 w 721"/>
                  <a:gd name="T83" fmla="*/ 609 h 2869"/>
                  <a:gd name="T84" fmla="*/ 720 w 721"/>
                  <a:gd name="T85" fmla="*/ 498 h 2869"/>
                  <a:gd name="T86" fmla="*/ 714 w 721"/>
                  <a:gd name="T87" fmla="*/ 306 h 2869"/>
                  <a:gd name="T88" fmla="*/ 707 w 721"/>
                  <a:gd name="T89" fmla="*/ 226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1" h="2869">
                    <a:moveTo>
                      <a:pt x="707" y="226"/>
                    </a:moveTo>
                    <a:lnTo>
                      <a:pt x="707" y="226"/>
                    </a:lnTo>
                    <a:lnTo>
                      <a:pt x="703" y="204"/>
                    </a:lnTo>
                    <a:lnTo>
                      <a:pt x="695" y="183"/>
                    </a:lnTo>
                    <a:lnTo>
                      <a:pt x="685" y="164"/>
                    </a:lnTo>
                    <a:lnTo>
                      <a:pt x="674" y="147"/>
                    </a:lnTo>
                    <a:lnTo>
                      <a:pt x="660" y="129"/>
                    </a:lnTo>
                    <a:lnTo>
                      <a:pt x="645" y="113"/>
                    </a:lnTo>
                    <a:lnTo>
                      <a:pt x="629" y="98"/>
                    </a:lnTo>
                    <a:lnTo>
                      <a:pt x="612" y="85"/>
                    </a:lnTo>
                    <a:lnTo>
                      <a:pt x="594" y="71"/>
                    </a:lnTo>
                    <a:lnTo>
                      <a:pt x="574" y="59"/>
                    </a:lnTo>
                    <a:lnTo>
                      <a:pt x="554" y="49"/>
                    </a:lnTo>
                    <a:lnTo>
                      <a:pt x="534" y="39"/>
                    </a:lnTo>
                    <a:lnTo>
                      <a:pt x="514" y="31"/>
                    </a:lnTo>
                    <a:lnTo>
                      <a:pt x="493" y="23"/>
                    </a:lnTo>
                    <a:lnTo>
                      <a:pt x="473" y="17"/>
                    </a:lnTo>
                    <a:lnTo>
                      <a:pt x="453" y="11"/>
                    </a:lnTo>
                    <a:lnTo>
                      <a:pt x="453" y="11"/>
                    </a:lnTo>
                    <a:lnTo>
                      <a:pt x="445" y="9"/>
                    </a:lnTo>
                    <a:lnTo>
                      <a:pt x="427" y="4"/>
                    </a:lnTo>
                    <a:lnTo>
                      <a:pt x="399" y="1"/>
                    </a:lnTo>
                    <a:lnTo>
                      <a:pt x="385" y="0"/>
                    </a:lnTo>
                    <a:lnTo>
                      <a:pt x="368" y="0"/>
                    </a:lnTo>
                    <a:lnTo>
                      <a:pt x="368" y="0"/>
                    </a:lnTo>
                    <a:lnTo>
                      <a:pt x="336" y="1"/>
                    </a:lnTo>
                    <a:lnTo>
                      <a:pt x="308" y="4"/>
                    </a:lnTo>
                    <a:lnTo>
                      <a:pt x="279" y="9"/>
                    </a:lnTo>
                    <a:lnTo>
                      <a:pt x="278" y="9"/>
                    </a:lnTo>
                    <a:lnTo>
                      <a:pt x="278" y="9"/>
                    </a:lnTo>
                    <a:lnTo>
                      <a:pt x="254" y="16"/>
                    </a:lnTo>
                    <a:lnTo>
                      <a:pt x="229" y="25"/>
                    </a:lnTo>
                    <a:lnTo>
                      <a:pt x="205" y="35"/>
                    </a:lnTo>
                    <a:lnTo>
                      <a:pt x="181" y="47"/>
                    </a:lnTo>
                    <a:lnTo>
                      <a:pt x="157" y="61"/>
                    </a:lnTo>
                    <a:lnTo>
                      <a:pt x="135" y="75"/>
                    </a:lnTo>
                    <a:lnTo>
                      <a:pt x="113" y="92"/>
                    </a:lnTo>
                    <a:lnTo>
                      <a:pt x="93" y="110"/>
                    </a:lnTo>
                    <a:lnTo>
                      <a:pt x="74" y="129"/>
                    </a:lnTo>
                    <a:lnTo>
                      <a:pt x="57" y="151"/>
                    </a:lnTo>
                    <a:lnTo>
                      <a:pt x="42" y="174"/>
                    </a:lnTo>
                    <a:lnTo>
                      <a:pt x="30" y="198"/>
                    </a:lnTo>
                    <a:lnTo>
                      <a:pt x="24" y="211"/>
                    </a:lnTo>
                    <a:lnTo>
                      <a:pt x="20" y="223"/>
                    </a:lnTo>
                    <a:lnTo>
                      <a:pt x="16" y="237"/>
                    </a:lnTo>
                    <a:lnTo>
                      <a:pt x="13" y="250"/>
                    </a:lnTo>
                    <a:lnTo>
                      <a:pt x="9" y="265"/>
                    </a:lnTo>
                    <a:lnTo>
                      <a:pt x="7" y="278"/>
                    </a:lnTo>
                    <a:lnTo>
                      <a:pt x="6" y="293"/>
                    </a:lnTo>
                    <a:lnTo>
                      <a:pt x="6" y="308"/>
                    </a:lnTo>
                    <a:lnTo>
                      <a:pt x="0" y="1170"/>
                    </a:lnTo>
                    <a:lnTo>
                      <a:pt x="0" y="1170"/>
                    </a:lnTo>
                    <a:lnTo>
                      <a:pt x="1" y="1188"/>
                    </a:lnTo>
                    <a:lnTo>
                      <a:pt x="2" y="1205"/>
                    </a:lnTo>
                    <a:lnTo>
                      <a:pt x="5" y="1222"/>
                    </a:lnTo>
                    <a:lnTo>
                      <a:pt x="9" y="1238"/>
                    </a:lnTo>
                    <a:lnTo>
                      <a:pt x="14" y="1254"/>
                    </a:lnTo>
                    <a:lnTo>
                      <a:pt x="20" y="1270"/>
                    </a:lnTo>
                    <a:lnTo>
                      <a:pt x="26" y="1285"/>
                    </a:lnTo>
                    <a:lnTo>
                      <a:pt x="33" y="1300"/>
                    </a:lnTo>
                    <a:lnTo>
                      <a:pt x="41" y="1314"/>
                    </a:lnTo>
                    <a:lnTo>
                      <a:pt x="50" y="1328"/>
                    </a:lnTo>
                    <a:lnTo>
                      <a:pt x="61" y="1340"/>
                    </a:lnTo>
                    <a:lnTo>
                      <a:pt x="71" y="1353"/>
                    </a:lnTo>
                    <a:lnTo>
                      <a:pt x="83" y="1366"/>
                    </a:lnTo>
                    <a:lnTo>
                      <a:pt x="95" y="1377"/>
                    </a:lnTo>
                    <a:lnTo>
                      <a:pt x="108" y="1387"/>
                    </a:lnTo>
                    <a:lnTo>
                      <a:pt x="120" y="1398"/>
                    </a:lnTo>
                    <a:lnTo>
                      <a:pt x="121" y="2639"/>
                    </a:lnTo>
                    <a:lnTo>
                      <a:pt x="121" y="2639"/>
                    </a:lnTo>
                    <a:lnTo>
                      <a:pt x="120" y="2661"/>
                    </a:lnTo>
                    <a:lnTo>
                      <a:pt x="121" y="2682"/>
                    </a:lnTo>
                    <a:lnTo>
                      <a:pt x="124" y="2701"/>
                    </a:lnTo>
                    <a:lnTo>
                      <a:pt x="129" y="2722"/>
                    </a:lnTo>
                    <a:lnTo>
                      <a:pt x="135" y="2740"/>
                    </a:lnTo>
                    <a:lnTo>
                      <a:pt x="144" y="2759"/>
                    </a:lnTo>
                    <a:lnTo>
                      <a:pt x="155" y="2776"/>
                    </a:lnTo>
                    <a:lnTo>
                      <a:pt x="166" y="2792"/>
                    </a:lnTo>
                    <a:lnTo>
                      <a:pt x="179" y="2807"/>
                    </a:lnTo>
                    <a:lnTo>
                      <a:pt x="193" y="2821"/>
                    </a:lnTo>
                    <a:lnTo>
                      <a:pt x="209" y="2832"/>
                    </a:lnTo>
                    <a:lnTo>
                      <a:pt x="227" y="2842"/>
                    </a:lnTo>
                    <a:lnTo>
                      <a:pt x="244" y="2851"/>
                    </a:lnTo>
                    <a:lnTo>
                      <a:pt x="263" y="2859"/>
                    </a:lnTo>
                    <a:lnTo>
                      <a:pt x="284" y="2864"/>
                    </a:lnTo>
                    <a:lnTo>
                      <a:pt x="304" y="2867"/>
                    </a:lnTo>
                    <a:lnTo>
                      <a:pt x="304" y="2867"/>
                    </a:lnTo>
                    <a:lnTo>
                      <a:pt x="304" y="2867"/>
                    </a:lnTo>
                    <a:lnTo>
                      <a:pt x="326" y="2869"/>
                    </a:lnTo>
                    <a:lnTo>
                      <a:pt x="347" y="2869"/>
                    </a:lnTo>
                    <a:lnTo>
                      <a:pt x="366" y="2865"/>
                    </a:lnTo>
                    <a:lnTo>
                      <a:pt x="386" y="2861"/>
                    </a:lnTo>
                    <a:lnTo>
                      <a:pt x="405" y="2854"/>
                    </a:lnTo>
                    <a:lnTo>
                      <a:pt x="423" y="2846"/>
                    </a:lnTo>
                    <a:lnTo>
                      <a:pt x="441" y="2835"/>
                    </a:lnTo>
                    <a:lnTo>
                      <a:pt x="457" y="2824"/>
                    </a:lnTo>
                    <a:lnTo>
                      <a:pt x="471" y="2810"/>
                    </a:lnTo>
                    <a:lnTo>
                      <a:pt x="484" y="2795"/>
                    </a:lnTo>
                    <a:lnTo>
                      <a:pt x="497" y="2780"/>
                    </a:lnTo>
                    <a:lnTo>
                      <a:pt x="507" y="2763"/>
                    </a:lnTo>
                    <a:lnTo>
                      <a:pt x="516" y="2745"/>
                    </a:lnTo>
                    <a:lnTo>
                      <a:pt x="523" y="2725"/>
                    </a:lnTo>
                    <a:lnTo>
                      <a:pt x="529" y="2706"/>
                    </a:lnTo>
                    <a:lnTo>
                      <a:pt x="532" y="2685"/>
                    </a:lnTo>
                    <a:lnTo>
                      <a:pt x="532" y="1438"/>
                    </a:lnTo>
                    <a:lnTo>
                      <a:pt x="532" y="1438"/>
                    </a:lnTo>
                    <a:lnTo>
                      <a:pt x="550" y="1429"/>
                    </a:lnTo>
                    <a:lnTo>
                      <a:pt x="569" y="1418"/>
                    </a:lnTo>
                    <a:lnTo>
                      <a:pt x="586" y="1407"/>
                    </a:lnTo>
                    <a:lnTo>
                      <a:pt x="603" y="1394"/>
                    </a:lnTo>
                    <a:lnTo>
                      <a:pt x="619" y="1382"/>
                    </a:lnTo>
                    <a:lnTo>
                      <a:pt x="634" y="1368"/>
                    </a:lnTo>
                    <a:lnTo>
                      <a:pt x="648" y="1352"/>
                    </a:lnTo>
                    <a:lnTo>
                      <a:pt x="661" y="1336"/>
                    </a:lnTo>
                    <a:lnTo>
                      <a:pt x="673" y="1320"/>
                    </a:lnTo>
                    <a:lnTo>
                      <a:pt x="684" y="1301"/>
                    </a:lnTo>
                    <a:lnTo>
                      <a:pt x="693" y="1282"/>
                    </a:lnTo>
                    <a:lnTo>
                      <a:pt x="701" y="1262"/>
                    </a:lnTo>
                    <a:lnTo>
                      <a:pt x="707" y="1242"/>
                    </a:lnTo>
                    <a:lnTo>
                      <a:pt x="712" y="1220"/>
                    </a:lnTo>
                    <a:lnTo>
                      <a:pt x="715" y="1198"/>
                    </a:lnTo>
                    <a:lnTo>
                      <a:pt x="716" y="1174"/>
                    </a:lnTo>
                    <a:lnTo>
                      <a:pt x="716" y="1174"/>
                    </a:lnTo>
                    <a:lnTo>
                      <a:pt x="719" y="915"/>
                    </a:lnTo>
                    <a:lnTo>
                      <a:pt x="721" y="703"/>
                    </a:lnTo>
                    <a:lnTo>
                      <a:pt x="721" y="609"/>
                    </a:lnTo>
                    <a:lnTo>
                      <a:pt x="720" y="536"/>
                    </a:lnTo>
                    <a:lnTo>
                      <a:pt x="720" y="536"/>
                    </a:lnTo>
                    <a:lnTo>
                      <a:pt x="720" y="498"/>
                    </a:lnTo>
                    <a:lnTo>
                      <a:pt x="719" y="409"/>
                    </a:lnTo>
                    <a:lnTo>
                      <a:pt x="716" y="357"/>
                    </a:lnTo>
                    <a:lnTo>
                      <a:pt x="714" y="306"/>
                    </a:lnTo>
                    <a:lnTo>
                      <a:pt x="712" y="261"/>
                    </a:lnTo>
                    <a:lnTo>
                      <a:pt x="707" y="226"/>
                    </a:lnTo>
                    <a:lnTo>
                      <a:pt x="707" y="226"/>
                    </a:lnTo>
                    <a:close/>
                  </a:path>
                </a:pathLst>
              </a:custGeom>
              <a:solidFill>
                <a:srgbClr val="D9D9D9"/>
              </a:solidFill>
              <a:ln w="19050">
                <a:solidFill>
                  <a:schemeClr val="tx1">
                    <a:lumMod val="75000"/>
                    <a:lumOff val="25000"/>
                  </a:schemeClr>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38" name="Freeform 13">
                <a:extLst>
                  <a:ext uri="{FF2B5EF4-FFF2-40B4-BE49-F238E27FC236}">
                    <a16:creationId xmlns:a16="http://schemas.microsoft.com/office/drawing/2014/main" id="{17AEDD79-62AE-409D-8C70-1AB79BCAD8E8}"/>
                  </a:ext>
                </a:extLst>
              </p:cNvPr>
              <p:cNvSpPr>
                <a:spLocks noEditPoints="1"/>
              </p:cNvSpPr>
              <p:nvPr/>
            </p:nvSpPr>
            <p:spPr bwMode="auto">
              <a:xfrm>
                <a:off x="4694580" y="1157481"/>
                <a:ext cx="81203" cy="82007"/>
              </a:xfrm>
              <a:custGeom>
                <a:avLst/>
                <a:gdLst>
                  <a:gd name="T0" fmla="*/ 709 w 709"/>
                  <a:gd name="T1" fmla="*/ 375 h 712"/>
                  <a:gd name="T2" fmla="*/ 702 w 709"/>
                  <a:gd name="T3" fmla="*/ 428 h 712"/>
                  <a:gd name="T4" fmla="*/ 687 w 709"/>
                  <a:gd name="T5" fmla="*/ 478 h 712"/>
                  <a:gd name="T6" fmla="*/ 667 w 709"/>
                  <a:gd name="T7" fmla="*/ 525 h 712"/>
                  <a:gd name="T8" fmla="*/ 639 w 709"/>
                  <a:gd name="T9" fmla="*/ 569 h 712"/>
                  <a:gd name="T10" fmla="*/ 605 w 709"/>
                  <a:gd name="T11" fmla="*/ 608 h 712"/>
                  <a:gd name="T12" fmla="*/ 567 w 709"/>
                  <a:gd name="T13" fmla="*/ 641 h 712"/>
                  <a:gd name="T14" fmla="*/ 524 w 709"/>
                  <a:gd name="T15" fmla="*/ 668 h 712"/>
                  <a:gd name="T16" fmla="*/ 477 w 709"/>
                  <a:gd name="T17" fmla="*/ 690 h 712"/>
                  <a:gd name="T18" fmla="*/ 427 w 709"/>
                  <a:gd name="T19" fmla="*/ 704 h 712"/>
                  <a:gd name="T20" fmla="*/ 373 w 709"/>
                  <a:gd name="T21" fmla="*/ 711 h 712"/>
                  <a:gd name="T22" fmla="*/ 336 w 709"/>
                  <a:gd name="T23" fmla="*/ 711 h 712"/>
                  <a:gd name="T24" fmla="*/ 284 w 709"/>
                  <a:gd name="T25" fmla="*/ 704 h 712"/>
                  <a:gd name="T26" fmla="*/ 232 w 709"/>
                  <a:gd name="T27" fmla="*/ 690 h 712"/>
                  <a:gd name="T28" fmla="*/ 185 w 709"/>
                  <a:gd name="T29" fmla="*/ 668 h 712"/>
                  <a:gd name="T30" fmla="*/ 143 w 709"/>
                  <a:gd name="T31" fmla="*/ 641 h 712"/>
                  <a:gd name="T32" fmla="*/ 104 w 709"/>
                  <a:gd name="T33" fmla="*/ 608 h 712"/>
                  <a:gd name="T34" fmla="*/ 71 w 709"/>
                  <a:gd name="T35" fmla="*/ 569 h 712"/>
                  <a:gd name="T36" fmla="*/ 42 w 709"/>
                  <a:gd name="T37" fmla="*/ 525 h 712"/>
                  <a:gd name="T38" fmla="*/ 22 w 709"/>
                  <a:gd name="T39" fmla="*/ 478 h 712"/>
                  <a:gd name="T40" fmla="*/ 7 w 709"/>
                  <a:gd name="T41" fmla="*/ 428 h 712"/>
                  <a:gd name="T42" fmla="*/ 0 w 709"/>
                  <a:gd name="T43" fmla="*/ 375 h 712"/>
                  <a:gd name="T44" fmla="*/ 0 w 709"/>
                  <a:gd name="T45" fmla="*/ 338 h 712"/>
                  <a:gd name="T46" fmla="*/ 7 w 709"/>
                  <a:gd name="T47" fmla="*/ 284 h 712"/>
                  <a:gd name="T48" fmla="*/ 22 w 709"/>
                  <a:gd name="T49" fmla="*/ 234 h 712"/>
                  <a:gd name="T50" fmla="*/ 42 w 709"/>
                  <a:gd name="T51" fmla="*/ 187 h 712"/>
                  <a:gd name="T52" fmla="*/ 71 w 709"/>
                  <a:gd name="T53" fmla="*/ 144 h 712"/>
                  <a:gd name="T54" fmla="*/ 104 w 709"/>
                  <a:gd name="T55" fmla="*/ 105 h 712"/>
                  <a:gd name="T56" fmla="*/ 143 w 709"/>
                  <a:gd name="T57" fmla="*/ 71 h 712"/>
                  <a:gd name="T58" fmla="*/ 185 w 709"/>
                  <a:gd name="T59" fmla="*/ 44 h 712"/>
                  <a:gd name="T60" fmla="*/ 232 w 709"/>
                  <a:gd name="T61" fmla="*/ 22 h 712"/>
                  <a:gd name="T62" fmla="*/ 284 w 709"/>
                  <a:gd name="T63" fmla="*/ 8 h 712"/>
                  <a:gd name="T64" fmla="*/ 336 w 709"/>
                  <a:gd name="T65" fmla="*/ 2 h 712"/>
                  <a:gd name="T66" fmla="*/ 373 w 709"/>
                  <a:gd name="T67" fmla="*/ 2 h 712"/>
                  <a:gd name="T68" fmla="*/ 427 w 709"/>
                  <a:gd name="T69" fmla="*/ 8 h 712"/>
                  <a:gd name="T70" fmla="*/ 477 w 709"/>
                  <a:gd name="T71" fmla="*/ 22 h 712"/>
                  <a:gd name="T72" fmla="*/ 524 w 709"/>
                  <a:gd name="T73" fmla="*/ 44 h 712"/>
                  <a:gd name="T74" fmla="*/ 567 w 709"/>
                  <a:gd name="T75" fmla="*/ 71 h 712"/>
                  <a:gd name="T76" fmla="*/ 605 w 709"/>
                  <a:gd name="T77" fmla="*/ 105 h 712"/>
                  <a:gd name="T78" fmla="*/ 639 w 709"/>
                  <a:gd name="T79" fmla="*/ 144 h 712"/>
                  <a:gd name="T80" fmla="*/ 667 w 709"/>
                  <a:gd name="T81" fmla="*/ 187 h 712"/>
                  <a:gd name="T82" fmla="*/ 687 w 709"/>
                  <a:gd name="T83" fmla="*/ 234 h 712"/>
                  <a:gd name="T84" fmla="*/ 702 w 709"/>
                  <a:gd name="T85" fmla="*/ 284 h 712"/>
                  <a:gd name="T86" fmla="*/ 709 w 709"/>
                  <a:gd name="T87" fmla="*/ 338 h 712"/>
                  <a:gd name="T88" fmla="*/ 709 w 709"/>
                  <a:gd name="T89" fmla="*/ 35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9" h="712">
                    <a:moveTo>
                      <a:pt x="709" y="357"/>
                    </a:moveTo>
                    <a:lnTo>
                      <a:pt x="709" y="357"/>
                    </a:lnTo>
                    <a:lnTo>
                      <a:pt x="709" y="375"/>
                    </a:lnTo>
                    <a:lnTo>
                      <a:pt x="708" y="392"/>
                    </a:lnTo>
                    <a:lnTo>
                      <a:pt x="706" y="411"/>
                    </a:lnTo>
                    <a:lnTo>
                      <a:pt x="702" y="428"/>
                    </a:lnTo>
                    <a:lnTo>
                      <a:pt x="698" y="445"/>
                    </a:lnTo>
                    <a:lnTo>
                      <a:pt x="693" y="462"/>
                    </a:lnTo>
                    <a:lnTo>
                      <a:pt x="687" y="478"/>
                    </a:lnTo>
                    <a:lnTo>
                      <a:pt x="682" y="494"/>
                    </a:lnTo>
                    <a:lnTo>
                      <a:pt x="675" y="510"/>
                    </a:lnTo>
                    <a:lnTo>
                      <a:pt x="667" y="525"/>
                    </a:lnTo>
                    <a:lnTo>
                      <a:pt x="658" y="540"/>
                    </a:lnTo>
                    <a:lnTo>
                      <a:pt x="649" y="555"/>
                    </a:lnTo>
                    <a:lnTo>
                      <a:pt x="639" y="569"/>
                    </a:lnTo>
                    <a:lnTo>
                      <a:pt x="628" y="582"/>
                    </a:lnTo>
                    <a:lnTo>
                      <a:pt x="618" y="595"/>
                    </a:lnTo>
                    <a:lnTo>
                      <a:pt x="605" y="608"/>
                    </a:lnTo>
                    <a:lnTo>
                      <a:pt x="594" y="619"/>
                    </a:lnTo>
                    <a:lnTo>
                      <a:pt x="580" y="630"/>
                    </a:lnTo>
                    <a:lnTo>
                      <a:pt x="567" y="641"/>
                    </a:lnTo>
                    <a:lnTo>
                      <a:pt x="552" y="651"/>
                    </a:lnTo>
                    <a:lnTo>
                      <a:pt x="539" y="660"/>
                    </a:lnTo>
                    <a:lnTo>
                      <a:pt x="524" y="668"/>
                    </a:lnTo>
                    <a:lnTo>
                      <a:pt x="509" y="676"/>
                    </a:lnTo>
                    <a:lnTo>
                      <a:pt x="493" y="683"/>
                    </a:lnTo>
                    <a:lnTo>
                      <a:pt x="477" y="690"/>
                    </a:lnTo>
                    <a:lnTo>
                      <a:pt x="460" y="696"/>
                    </a:lnTo>
                    <a:lnTo>
                      <a:pt x="444" y="700"/>
                    </a:lnTo>
                    <a:lnTo>
                      <a:pt x="427" y="704"/>
                    </a:lnTo>
                    <a:lnTo>
                      <a:pt x="408" y="707"/>
                    </a:lnTo>
                    <a:lnTo>
                      <a:pt x="391" y="710"/>
                    </a:lnTo>
                    <a:lnTo>
                      <a:pt x="373" y="711"/>
                    </a:lnTo>
                    <a:lnTo>
                      <a:pt x="355" y="712"/>
                    </a:lnTo>
                    <a:lnTo>
                      <a:pt x="355" y="712"/>
                    </a:lnTo>
                    <a:lnTo>
                      <a:pt x="336" y="711"/>
                    </a:lnTo>
                    <a:lnTo>
                      <a:pt x="318" y="710"/>
                    </a:lnTo>
                    <a:lnTo>
                      <a:pt x="301" y="707"/>
                    </a:lnTo>
                    <a:lnTo>
                      <a:pt x="284" y="704"/>
                    </a:lnTo>
                    <a:lnTo>
                      <a:pt x="266" y="700"/>
                    </a:lnTo>
                    <a:lnTo>
                      <a:pt x="249" y="696"/>
                    </a:lnTo>
                    <a:lnTo>
                      <a:pt x="232" y="690"/>
                    </a:lnTo>
                    <a:lnTo>
                      <a:pt x="216" y="683"/>
                    </a:lnTo>
                    <a:lnTo>
                      <a:pt x="201" y="676"/>
                    </a:lnTo>
                    <a:lnTo>
                      <a:pt x="185" y="668"/>
                    </a:lnTo>
                    <a:lnTo>
                      <a:pt x="170" y="660"/>
                    </a:lnTo>
                    <a:lnTo>
                      <a:pt x="157" y="651"/>
                    </a:lnTo>
                    <a:lnTo>
                      <a:pt x="143" y="641"/>
                    </a:lnTo>
                    <a:lnTo>
                      <a:pt x="129" y="630"/>
                    </a:lnTo>
                    <a:lnTo>
                      <a:pt x="117" y="619"/>
                    </a:lnTo>
                    <a:lnTo>
                      <a:pt x="104" y="608"/>
                    </a:lnTo>
                    <a:lnTo>
                      <a:pt x="91" y="595"/>
                    </a:lnTo>
                    <a:lnTo>
                      <a:pt x="81" y="582"/>
                    </a:lnTo>
                    <a:lnTo>
                      <a:pt x="71" y="569"/>
                    </a:lnTo>
                    <a:lnTo>
                      <a:pt x="61" y="555"/>
                    </a:lnTo>
                    <a:lnTo>
                      <a:pt x="51" y="540"/>
                    </a:lnTo>
                    <a:lnTo>
                      <a:pt x="42" y="525"/>
                    </a:lnTo>
                    <a:lnTo>
                      <a:pt x="34" y="510"/>
                    </a:lnTo>
                    <a:lnTo>
                      <a:pt x="27" y="494"/>
                    </a:lnTo>
                    <a:lnTo>
                      <a:pt x="22" y="478"/>
                    </a:lnTo>
                    <a:lnTo>
                      <a:pt x="16" y="462"/>
                    </a:lnTo>
                    <a:lnTo>
                      <a:pt x="11" y="445"/>
                    </a:lnTo>
                    <a:lnTo>
                      <a:pt x="7" y="428"/>
                    </a:lnTo>
                    <a:lnTo>
                      <a:pt x="3" y="411"/>
                    </a:lnTo>
                    <a:lnTo>
                      <a:pt x="1" y="392"/>
                    </a:lnTo>
                    <a:lnTo>
                      <a:pt x="0" y="375"/>
                    </a:lnTo>
                    <a:lnTo>
                      <a:pt x="0" y="357"/>
                    </a:lnTo>
                    <a:lnTo>
                      <a:pt x="0" y="357"/>
                    </a:lnTo>
                    <a:lnTo>
                      <a:pt x="0" y="338"/>
                    </a:lnTo>
                    <a:lnTo>
                      <a:pt x="1" y="320"/>
                    </a:lnTo>
                    <a:lnTo>
                      <a:pt x="3" y="302"/>
                    </a:lnTo>
                    <a:lnTo>
                      <a:pt x="7" y="284"/>
                    </a:lnTo>
                    <a:lnTo>
                      <a:pt x="11" y="267"/>
                    </a:lnTo>
                    <a:lnTo>
                      <a:pt x="16" y="250"/>
                    </a:lnTo>
                    <a:lnTo>
                      <a:pt x="22" y="234"/>
                    </a:lnTo>
                    <a:lnTo>
                      <a:pt x="27" y="218"/>
                    </a:lnTo>
                    <a:lnTo>
                      <a:pt x="34" y="202"/>
                    </a:lnTo>
                    <a:lnTo>
                      <a:pt x="42" y="187"/>
                    </a:lnTo>
                    <a:lnTo>
                      <a:pt x="51" y="172"/>
                    </a:lnTo>
                    <a:lnTo>
                      <a:pt x="61" y="157"/>
                    </a:lnTo>
                    <a:lnTo>
                      <a:pt x="71" y="144"/>
                    </a:lnTo>
                    <a:lnTo>
                      <a:pt x="81" y="130"/>
                    </a:lnTo>
                    <a:lnTo>
                      <a:pt x="91" y="117"/>
                    </a:lnTo>
                    <a:lnTo>
                      <a:pt x="104" y="105"/>
                    </a:lnTo>
                    <a:lnTo>
                      <a:pt x="117" y="93"/>
                    </a:lnTo>
                    <a:lnTo>
                      <a:pt x="129" y="82"/>
                    </a:lnTo>
                    <a:lnTo>
                      <a:pt x="143" y="71"/>
                    </a:lnTo>
                    <a:lnTo>
                      <a:pt x="157" y="61"/>
                    </a:lnTo>
                    <a:lnTo>
                      <a:pt x="170" y="52"/>
                    </a:lnTo>
                    <a:lnTo>
                      <a:pt x="185" y="44"/>
                    </a:lnTo>
                    <a:lnTo>
                      <a:pt x="201" y="36"/>
                    </a:lnTo>
                    <a:lnTo>
                      <a:pt x="216" y="29"/>
                    </a:lnTo>
                    <a:lnTo>
                      <a:pt x="232" y="22"/>
                    </a:lnTo>
                    <a:lnTo>
                      <a:pt x="249" y="16"/>
                    </a:lnTo>
                    <a:lnTo>
                      <a:pt x="266" y="12"/>
                    </a:lnTo>
                    <a:lnTo>
                      <a:pt x="284" y="8"/>
                    </a:lnTo>
                    <a:lnTo>
                      <a:pt x="301" y="5"/>
                    </a:lnTo>
                    <a:lnTo>
                      <a:pt x="318" y="3"/>
                    </a:lnTo>
                    <a:lnTo>
                      <a:pt x="336" y="2"/>
                    </a:lnTo>
                    <a:lnTo>
                      <a:pt x="355" y="0"/>
                    </a:lnTo>
                    <a:lnTo>
                      <a:pt x="355" y="0"/>
                    </a:lnTo>
                    <a:lnTo>
                      <a:pt x="373" y="2"/>
                    </a:lnTo>
                    <a:lnTo>
                      <a:pt x="391" y="3"/>
                    </a:lnTo>
                    <a:lnTo>
                      <a:pt x="408" y="5"/>
                    </a:lnTo>
                    <a:lnTo>
                      <a:pt x="427" y="8"/>
                    </a:lnTo>
                    <a:lnTo>
                      <a:pt x="444" y="12"/>
                    </a:lnTo>
                    <a:lnTo>
                      <a:pt x="460" y="16"/>
                    </a:lnTo>
                    <a:lnTo>
                      <a:pt x="477" y="22"/>
                    </a:lnTo>
                    <a:lnTo>
                      <a:pt x="493" y="29"/>
                    </a:lnTo>
                    <a:lnTo>
                      <a:pt x="509" y="36"/>
                    </a:lnTo>
                    <a:lnTo>
                      <a:pt x="524" y="44"/>
                    </a:lnTo>
                    <a:lnTo>
                      <a:pt x="539" y="52"/>
                    </a:lnTo>
                    <a:lnTo>
                      <a:pt x="552" y="61"/>
                    </a:lnTo>
                    <a:lnTo>
                      <a:pt x="567" y="71"/>
                    </a:lnTo>
                    <a:lnTo>
                      <a:pt x="580" y="82"/>
                    </a:lnTo>
                    <a:lnTo>
                      <a:pt x="594" y="93"/>
                    </a:lnTo>
                    <a:lnTo>
                      <a:pt x="605" y="105"/>
                    </a:lnTo>
                    <a:lnTo>
                      <a:pt x="618" y="117"/>
                    </a:lnTo>
                    <a:lnTo>
                      <a:pt x="628" y="130"/>
                    </a:lnTo>
                    <a:lnTo>
                      <a:pt x="639" y="144"/>
                    </a:lnTo>
                    <a:lnTo>
                      <a:pt x="649" y="157"/>
                    </a:lnTo>
                    <a:lnTo>
                      <a:pt x="658" y="172"/>
                    </a:lnTo>
                    <a:lnTo>
                      <a:pt x="667" y="187"/>
                    </a:lnTo>
                    <a:lnTo>
                      <a:pt x="675" y="202"/>
                    </a:lnTo>
                    <a:lnTo>
                      <a:pt x="682" y="218"/>
                    </a:lnTo>
                    <a:lnTo>
                      <a:pt x="687" y="234"/>
                    </a:lnTo>
                    <a:lnTo>
                      <a:pt x="693" y="250"/>
                    </a:lnTo>
                    <a:lnTo>
                      <a:pt x="698" y="267"/>
                    </a:lnTo>
                    <a:lnTo>
                      <a:pt x="702" y="284"/>
                    </a:lnTo>
                    <a:lnTo>
                      <a:pt x="706" y="302"/>
                    </a:lnTo>
                    <a:lnTo>
                      <a:pt x="708" y="320"/>
                    </a:lnTo>
                    <a:lnTo>
                      <a:pt x="709" y="338"/>
                    </a:lnTo>
                    <a:lnTo>
                      <a:pt x="709" y="357"/>
                    </a:lnTo>
                    <a:lnTo>
                      <a:pt x="709" y="357"/>
                    </a:lnTo>
                    <a:close/>
                    <a:moveTo>
                      <a:pt x="709" y="357"/>
                    </a:moveTo>
                    <a:lnTo>
                      <a:pt x="709" y="357"/>
                    </a:lnTo>
                    <a:close/>
                  </a:path>
                </a:pathLst>
              </a:custGeom>
              <a:solidFill>
                <a:srgbClr val="50CFE6"/>
              </a:solidFill>
              <a:ln w="9525">
                <a:solidFill>
                  <a:schemeClr val="tx1"/>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39" name="Freeform 14">
                <a:extLst>
                  <a:ext uri="{FF2B5EF4-FFF2-40B4-BE49-F238E27FC236}">
                    <a16:creationId xmlns:a16="http://schemas.microsoft.com/office/drawing/2014/main" id="{C7E60B71-87F9-4930-9B1B-16232B6BE70E}"/>
                  </a:ext>
                </a:extLst>
              </p:cNvPr>
              <p:cNvSpPr>
                <a:spLocks/>
              </p:cNvSpPr>
              <p:nvPr/>
            </p:nvSpPr>
            <p:spPr bwMode="auto">
              <a:xfrm>
                <a:off x="4694580" y="1157481"/>
                <a:ext cx="81203" cy="82007"/>
              </a:xfrm>
              <a:custGeom>
                <a:avLst/>
                <a:gdLst>
                  <a:gd name="T0" fmla="*/ 709 w 709"/>
                  <a:gd name="T1" fmla="*/ 375 h 712"/>
                  <a:gd name="T2" fmla="*/ 702 w 709"/>
                  <a:gd name="T3" fmla="*/ 428 h 712"/>
                  <a:gd name="T4" fmla="*/ 687 w 709"/>
                  <a:gd name="T5" fmla="*/ 478 h 712"/>
                  <a:gd name="T6" fmla="*/ 667 w 709"/>
                  <a:gd name="T7" fmla="*/ 525 h 712"/>
                  <a:gd name="T8" fmla="*/ 639 w 709"/>
                  <a:gd name="T9" fmla="*/ 569 h 712"/>
                  <a:gd name="T10" fmla="*/ 605 w 709"/>
                  <a:gd name="T11" fmla="*/ 608 h 712"/>
                  <a:gd name="T12" fmla="*/ 567 w 709"/>
                  <a:gd name="T13" fmla="*/ 641 h 712"/>
                  <a:gd name="T14" fmla="*/ 524 w 709"/>
                  <a:gd name="T15" fmla="*/ 668 h 712"/>
                  <a:gd name="T16" fmla="*/ 477 w 709"/>
                  <a:gd name="T17" fmla="*/ 690 h 712"/>
                  <a:gd name="T18" fmla="*/ 427 w 709"/>
                  <a:gd name="T19" fmla="*/ 704 h 712"/>
                  <a:gd name="T20" fmla="*/ 373 w 709"/>
                  <a:gd name="T21" fmla="*/ 711 h 712"/>
                  <a:gd name="T22" fmla="*/ 336 w 709"/>
                  <a:gd name="T23" fmla="*/ 711 h 712"/>
                  <a:gd name="T24" fmla="*/ 284 w 709"/>
                  <a:gd name="T25" fmla="*/ 704 h 712"/>
                  <a:gd name="T26" fmla="*/ 232 w 709"/>
                  <a:gd name="T27" fmla="*/ 690 h 712"/>
                  <a:gd name="T28" fmla="*/ 185 w 709"/>
                  <a:gd name="T29" fmla="*/ 668 h 712"/>
                  <a:gd name="T30" fmla="*/ 143 w 709"/>
                  <a:gd name="T31" fmla="*/ 641 h 712"/>
                  <a:gd name="T32" fmla="*/ 104 w 709"/>
                  <a:gd name="T33" fmla="*/ 608 h 712"/>
                  <a:gd name="T34" fmla="*/ 71 w 709"/>
                  <a:gd name="T35" fmla="*/ 569 h 712"/>
                  <a:gd name="T36" fmla="*/ 42 w 709"/>
                  <a:gd name="T37" fmla="*/ 525 h 712"/>
                  <a:gd name="T38" fmla="*/ 22 w 709"/>
                  <a:gd name="T39" fmla="*/ 478 h 712"/>
                  <a:gd name="T40" fmla="*/ 7 w 709"/>
                  <a:gd name="T41" fmla="*/ 428 h 712"/>
                  <a:gd name="T42" fmla="*/ 0 w 709"/>
                  <a:gd name="T43" fmla="*/ 375 h 712"/>
                  <a:gd name="T44" fmla="*/ 0 w 709"/>
                  <a:gd name="T45" fmla="*/ 338 h 712"/>
                  <a:gd name="T46" fmla="*/ 7 w 709"/>
                  <a:gd name="T47" fmla="*/ 284 h 712"/>
                  <a:gd name="T48" fmla="*/ 22 w 709"/>
                  <a:gd name="T49" fmla="*/ 234 h 712"/>
                  <a:gd name="T50" fmla="*/ 42 w 709"/>
                  <a:gd name="T51" fmla="*/ 187 h 712"/>
                  <a:gd name="T52" fmla="*/ 71 w 709"/>
                  <a:gd name="T53" fmla="*/ 144 h 712"/>
                  <a:gd name="T54" fmla="*/ 104 w 709"/>
                  <a:gd name="T55" fmla="*/ 105 h 712"/>
                  <a:gd name="T56" fmla="*/ 143 w 709"/>
                  <a:gd name="T57" fmla="*/ 71 h 712"/>
                  <a:gd name="T58" fmla="*/ 185 w 709"/>
                  <a:gd name="T59" fmla="*/ 44 h 712"/>
                  <a:gd name="T60" fmla="*/ 232 w 709"/>
                  <a:gd name="T61" fmla="*/ 22 h 712"/>
                  <a:gd name="T62" fmla="*/ 284 w 709"/>
                  <a:gd name="T63" fmla="*/ 8 h 712"/>
                  <a:gd name="T64" fmla="*/ 336 w 709"/>
                  <a:gd name="T65" fmla="*/ 2 h 712"/>
                  <a:gd name="T66" fmla="*/ 373 w 709"/>
                  <a:gd name="T67" fmla="*/ 2 h 712"/>
                  <a:gd name="T68" fmla="*/ 427 w 709"/>
                  <a:gd name="T69" fmla="*/ 8 h 712"/>
                  <a:gd name="T70" fmla="*/ 477 w 709"/>
                  <a:gd name="T71" fmla="*/ 22 h 712"/>
                  <a:gd name="T72" fmla="*/ 524 w 709"/>
                  <a:gd name="T73" fmla="*/ 44 h 712"/>
                  <a:gd name="T74" fmla="*/ 567 w 709"/>
                  <a:gd name="T75" fmla="*/ 71 h 712"/>
                  <a:gd name="T76" fmla="*/ 605 w 709"/>
                  <a:gd name="T77" fmla="*/ 105 h 712"/>
                  <a:gd name="T78" fmla="*/ 639 w 709"/>
                  <a:gd name="T79" fmla="*/ 144 h 712"/>
                  <a:gd name="T80" fmla="*/ 667 w 709"/>
                  <a:gd name="T81" fmla="*/ 187 h 712"/>
                  <a:gd name="T82" fmla="*/ 687 w 709"/>
                  <a:gd name="T83" fmla="*/ 234 h 712"/>
                  <a:gd name="T84" fmla="*/ 702 w 709"/>
                  <a:gd name="T85" fmla="*/ 284 h 712"/>
                  <a:gd name="T86" fmla="*/ 709 w 709"/>
                  <a:gd name="T87" fmla="*/ 33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712">
                    <a:moveTo>
                      <a:pt x="709" y="357"/>
                    </a:moveTo>
                    <a:lnTo>
                      <a:pt x="709" y="357"/>
                    </a:lnTo>
                    <a:lnTo>
                      <a:pt x="709" y="375"/>
                    </a:lnTo>
                    <a:lnTo>
                      <a:pt x="708" y="392"/>
                    </a:lnTo>
                    <a:lnTo>
                      <a:pt x="706" y="411"/>
                    </a:lnTo>
                    <a:lnTo>
                      <a:pt x="702" y="428"/>
                    </a:lnTo>
                    <a:lnTo>
                      <a:pt x="698" y="445"/>
                    </a:lnTo>
                    <a:lnTo>
                      <a:pt x="693" y="462"/>
                    </a:lnTo>
                    <a:lnTo>
                      <a:pt x="687" y="478"/>
                    </a:lnTo>
                    <a:lnTo>
                      <a:pt x="682" y="494"/>
                    </a:lnTo>
                    <a:lnTo>
                      <a:pt x="675" y="510"/>
                    </a:lnTo>
                    <a:lnTo>
                      <a:pt x="667" y="525"/>
                    </a:lnTo>
                    <a:lnTo>
                      <a:pt x="658" y="540"/>
                    </a:lnTo>
                    <a:lnTo>
                      <a:pt x="649" y="555"/>
                    </a:lnTo>
                    <a:lnTo>
                      <a:pt x="639" y="569"/>
                    </a:lnTo>
                    <a:lnTo>
                      <a:pt x="628" y="582"/>
                    </a:lnTo>
                    <a:lnTo>
                      <a:pt x="618" y="595"/>
                    </a:lnTo>
                    <a:lnTo>
                      <a:pt x="605" y="608"/>
                    </a:lnTo>
                    <a:lnTo>
                      <a:pt x="594" y="619"/>
                    </a:lnTo>
                    <a:lnTo>
                      <a:pt x="580" y="630"/>
                    </a:lnTo>
                    <a:lnTo>
                      <a:pt x="567" y="641"/>
                    </a:lnTo>
                    <a:lnTo>
                      <a:pt x="552" y="651"/>
                    </a:lnTo>
                    <a:lnTo>
                      <a:pt x="539" y="660"/>
                    </a:lnTo>
                    <a:lnTo>
                      <a:pt x="524" y="668"/>
                    </a:lnTo>
                    <a:lnTo>
                      <a:pt x="509" y="676"/>
                    </a:lnTo>
                    <a:lnTo>
                      <a:pt x="493" y="683"/>
                    </a:lnTo>
                    <a:lnTo>
                      <a:pt x="477" y="690"/>
                    </a:lnTo>
                    <a:lnTo>
                      <a:pt x="460" y="696"/>
                    </a:lnTo>
                    <a:lnTo>
                      <a:pt x="444" y="700"/>
                    </a:lnTo>
                    <a:lnTo>
                      <a:pt x="427" y="704"/>
                    </a:lnTo>
                    <a:lnTo>
                      <a:pt x="408" y="707"/>
                    </a:lnTo>
                    <a:lnTo>
                      <a:pt x="391" y="710"/>
                    </a:lnTo>
                    <a:lnTo>
                      <a:pt x="373" y="711"/>
                    </a:lnTo>
                    <a:lnTo>
                      <a:pt x="355" y="712"/>
                    </a:lnTo>
                    <a:lnTo>
                      <a:pt x="355" y="712"/>
                    </a:lnTo>
                    <a:lnTo>
                      <a:pt x="336" y="711"/>
                    </a:lnTo>
                    <a:lnTo>
                      <a:pt x="318" y="710"/>
                    </a:lnTo>
                    <a:lnTo>
                      <a:pt x="301" y="707"/>
                    </a:lnTo>
                    <a:lnTo>
                      <a:pt x="284" y="704"/>
                    </a:lnTo>
                    <a:lnTo>
                      <a:pt x="266" y="700"/>
                    </a:lnTo>
                    <a:lnTo>
                      <a:pt x="249" y="696"/>
                    </a:lnTo>
                    <a:lnTo>
                      <a:pt x="232" y="690"/>
                    </a:lnTo>
                    <a:lnTo>
                      <a:pt x="216" y="683"/>
                    </a:lnTo>
                    <a:lnTo>
                      <a:pt x="201" y="676"/>
                    </a:lnTo>
                    <a:lnTo>
                      <a:pt x="185" y="668"/>
                    </a:lnTo>
                    <a:lnTo>
                      <a:pt x="170" y="660"/>
                    </a:lnTo>
                    <a:lnTo>
                      <a:pt x="157" y="651"/>
                    </a:lnTo>
                    <a:lnTo>
                      <a:pt x="143" y="641"/>
                    </a:lnTo>
                    <a:lnTo>
                      <a:pt x="129" y="630"/>
                    </a:lnTo>
                    <a:lnTo>
                      <a:pt x="117" y="619"/>
                    </a:lnTo>
                    <a:lnTo>
                      <a:pt x="104" y="608"/>
                    </a:lnTo>
                    <a:lnTo>
                      <a:pt x="91" y="595"/>
                    </a:lnTo>
                    <a:lnTo>
                      <a:pt x="81" y="582"/>
                    </a:lnTo>
                    <a:lnTo>
                      <a:pt x="71" y="569"/>
                    </a:lnTo>
                    <a:lnTo>
                      <a:pt x="61" y="555"/>
                    </a:lnTo>
                    <a:lnTo>
                      <a:pt x="51" y="540"/>
                    </a:lnTo>
                    <a:lnTo>
                      <a:pt x="42" y="525"/>
                    </a:lnTo>
                    <a:lnTo>
                      <a:pt x="34" y="510"/>
                    </a:lnTo>
                    <a:lnTo>
                      <a:pt x="27" y="494"/>
                    </a:lnTo>
                    <a:lnTo>
                      <a:pt x="22" y="478"/>
                    </a:lnTo>
                    <a:lnTo>
                      <a:pt x="16" y="462"/>
                    </a:lnTo>
                    <a:lnTo>
                      <a:pt x="11" y="445"/>
                    </a:lnTo>
                    <a:lnTo>
                      <a:pt x="7" y="428"/>
                    </a:lnTo>
                    <a:lnTo>
                      <a:pt x="3" y="411"/>
                    </a:lnTo>
                    <a:lnTo>
                      <a:pt x="1" y="392"/>
                    </a:lnTo>
                    <a:lnTo>
                      <a:pt x="0" y="375"/>
                    </a:lnTo>
                    <a:lnTo>
                      <a:pt x="0" y="357"/>
                    </a:lnTo>
                    <a:lnTo>
                      <a:pt x="0" y="357"/>
                    </a:lnTo>
                    <a:lnTo>
                      <a:pt x="0" y="338"/>
                    </a:lnTo>
                    <a:lnTo>
                      <a:pt x="1" y="320"/>
                    </a:lnTo>
                    <a:lnTo>
                      <a:pt x="3" y="302"/>
                    </a:lnTo>
                    <a:lnTo>
                      <a:pt x="7" y="284"/>
                    </a:lnTo>
                    <a:lnTo>
                      <a:pt x="11" y="267"/>
                    </a:lnTo>
                    <a:lnTo>
                      <a:pt x="16" y="250"/>
                    </a:lnTo>
                    <a:lnTo>
                      <a:pt x="22" y="234"/>
                    </a:lnTo>
                    <a:lnTo>
                      <a:pt x="27" y="218"/>
                    </a:lnTo>
                    <a:lnTo>
                      <a:pt x="34" y="202"/>
                    </a:lnTo>
                    <a:lnTo>
                      <a:pt x="42" y="187"/>
                    </a:lnTo>
                    <a:lnTo>
                      <a:pt x="51" y="172"/>
                    </a:lnTo>
                    <a:lnTo>
                      <a:pt x="61" y="157"/>
                    </a:lnTo>
                    <a:lnTo>
                      <a:pt x="71" y="144"/>
                    </a:lnTo>
                    <a:lnTo>
                      <a:pt x="81" y="130"/>
                    </a:lnTo>
                    <a:lnTo>
                      <a:pt x="91" y="117"/>
                    </a:lnTo>
                    <a:lnTo>
                      <a:pt x="104" y="105"/>
                    </a:lnTo>
                    <a:lnTo>
                      <a:pt x="117" y="93"/>
                    </a:lnTo>
                    <a:lnTo>
                      <a:pt x="129" y="82"/>
                    </a:lnTo>
                    <a:lnTo>
                      <a:pt x="143" y="71"/>
                    </a:lnTo>
                    <a:lnTo>
                      <a:pt x="157" y="61"/>
                    </a:lnTo>
                    <a:lnTo>
                      <a:pt x="170" y="52"/>
                    </a:lnTo>
                    <a:lnTo>
                      <a:pt x="185" y="44"/>
                    </a:lnTo>
                    <a:lnTo>
                      <a:pt x="201" y="36"/>
                    </a:lnTo>
                    <a:lnTo>
                      <a:pt x="216" y="29"/>
                    </a:lnTo>
                    <a:lnTo>
                      <a:pt x="232" y="22"/>
                    </a:lnTo>
                    <a:lnTo>
                      <a:pt x="249" y="16"/>
                    </a:lnTo>
                    <a:lnTo>
                      <a:pt x="266" y="12"/>
                    </a:lnTo>
                    <a:lnTo>
                      <a:pt x="284" y="8"/>
                    </a:lnTo>
                    <a:lnTo>
                      <a:pt x="301" y="5"/>
                    </a:lnTo>
                    <a:lnTo>
                      <a:pt x="318" y="3"/>
                    </a:lnTo>
                    <a:lnTo>
                      <a:pt x="336" y="2"/>
                    </a:lnTo>
                    <a:lnTo>
                      <a:pt x="355" y="0"/>
                    </a:lnTo>
                    <a:lnTo>
                      <a:pt x="355" y="0"/>
                    </a:lnTo>
                    <a:lnTo>
                      <a:pt x="373" y="2"/>
                    </a:lnTo>
                    <a:lnTo>
                      <a:pt x="391" y="3"/>
                    </a:lnTo>
                    <a:lnTo>
                      <a:pt x="408" y="5"/>
                    </a:lnTo>
                    <a:lnTo>
                      <a:pt x="427" y="8"/>
                    </a:lnTo>
                    <a:lnTo>
                      <a:pt x="444" y="12"/>
                    </a:lnTo>
                    <a:lnTo>
                      <a:pt x="460" y="16"/>
                    </a:lnTo>
                    <a:lnTo>
                      <a:pt x="477" y="22"/>
                    </a:lnTo>
                    <a:lnTo>
                      <a:pt x="493" y="29"/>
                    </a:lnTo>
                    <a:lnTo>
                      <a:pt x="509" y="36"/>
                    </a:lnTo>
                    <a:lnTo>
                      <a:pt x="524" y="44"/>
                    </a:lnTo>
                    <a:lnTo>
                      <a:pt x="539" y="52"/>
                    </a:lnTo>
                    <a:lnTo>
                      <a:pt x="552" y="61"/>
                    </a:lnTo>
                    <a:lnTo>
                      <a:pt x="567" y="71"/>
                    </a:lnTo>
                    <a:lnTo>
                      <a:pt x="580" y="82"/>
                    </a:lnTo>
                    <a:lnTo>
                      <a:pt x="594" y="93"/>
                    </a:lnTo>
                    <a:lnTo>
                      <a:pt x="605" y="105"/>
                    </a:lnTo>
                    <a:lnTo>
                      <a:pt x="618" y="117"/>
                    </a:lnTo>
                    <a:lnTo>
                      <a:pt x="628" y="130"/>
                    </a:lnTo>
                    <a:lnTo>
                      <a:pt x="639" y="144"/>
                    </a:lnTo>
                    <a:lnTo>
                      <a:pt x="649" y="157"/>
                    </a:lnTo>
                    <a:lnTo>
                      <a:pt x="658" y="172"/>
                    </a:lnTo>
                    <a:lnTo>
                      <a:pt x="667" y="187"/>
                    </a:lnTo>
                    <a:lnTo>
                      <a:pt x="675" y="202"/>
                    </a:lnTo>
                    <a:lnTo>
                      <a:pt x="682" y="218"/>
                    </a:lnTo>
                    <a:lnTo>
                      <a:pt x="687" y="234"/>
                    </a:lnTo>
                    <a:lnTo>
                      <a:pt x="693" y="250"/>
                    </a:lnTo>
                    <a:lnTo>
                      <a:pt x="698" y="267"/>
                    </a:lnTo>
                    <a:lnTo>
                      <a:pt x="702" y="284"/>
                    </a:lnTo>
                    <a:lnTo>
                      <a:pt x="706" y="302"/>
                    </a:lnTo>
                    <a:lnTo>
                      <a:pt x="708" y="320"/>
                    </a:lnTo>
                    <a:lnTo>
                      <a:pt x="709" y="338"/>
                    </a:lnTo>
                    <a:lnTo>
                      <a:pt x="709" y="357"/>
                    </a:lnTo>
                    <a:lnTo>
                      <a:pt x="709" y="357"/>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40" name="Line 15">
                <a:extLst>
                  <a:ext uri="{FF2B5EF4-FFF2-40B4-BE49-F238E27FC236}">
                    <a16:creationId xmlns:a16="http://schemas.microsoft.com/office/drawing/2014/main" id="{55BC8226-16E5-4D30-B21B-392439F7BF0E}"/>
                  </a:ext>
                </a:extLst>
              </p:cNvPr>
              <p:cNvSpPr>
                <a:spLocks noChangeShapeType="1"/>
              </p:cNvSpPr>
              <p:nvPr/>
            </p:nvSpPr>
            <p:spPr bwMode="auto">
              <a:xfrm>
                <a:off x="4775784" y="1198484"/>
                <a:ext cx="0" cy="0"/>
              </a:xfrm>
              <a:prstGeom prst="line">
                <a:avLst/>
              </a:prstGeom>
              <a:noFill/>
              <a:ln w="63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41" name="Freeform 16">
                <a:extLst>
                  <a:ext uri="{FF2B5EF4-FFF2-40B4-BE49-F238E27FC236}">
                    <a16:creationId xmlns:a16="http://schemas.microsoft.com/office/drawing/2014/main" id="{32D819F9-D150-4B08-9B77-61FF26FF72D0}"/>
                  </a:ext>
                </a:extLst>
              </p:cNvPr>
              <p:cNvSpPr>
                <a:spLocks noEditPoints="1"/>
              </p:cNvSpPr>
              <p:nvPr/>
            </p:nvSpPr>
            <p:spPr bwMode="auto">
              <a:xfrm>
                <a:off x="4615789" y="1251548"/>
                <a:ext cx="196174" cy="311144"/>
              </a:xfrm>
              <a:custGeom>
                <a:avLst/>
                <a:gdLst>
                  <a:gd name="T0" fmla="*/ 0 w 1708"/>
                  <a:gd name="T1" fmla="*/ 456 h 2704"/>
                  <a:gd name="T2" fmla="*/ 11 w 1708"/>
                  <a:gd name="T3" fmla="*/ 518 h 2704"/>
                  <a:gd name="T4" fmla="*/ 47 w 1708"/>
                  <a:gd name="T5" fmla="*/ 568 h 2704"/>
                  <a:gd name="T6" fmla="*/ 117 w 1708"/>
                  <a:gd name="T7" fmla="*/ 606 h 2704"/>
                  <a:gd name="T8" fmla="*/ 288 w 1708"/>
                  <a:gd name="T9" fmla="*/ 653 h 2704"/>
                  <a:gd name="T10" fmla="*/ 395 w 1708"/>
                  <a:gd name="T11" fmla="*/ 654 h 2704"/>
                  <a:gd name="T12" fmla="*/ 503 w 1708"/>
                  <a:gd name="T13" fmla="*/ 631 h 2704"/>
                  <a:gd name="T14" fmla="*/ 599 w 1708"/>
                  <a:gd name="T15" fmla="*/ 588 h 2704"/>
                  <a:gd name="T16" fmla="*/ 673 w 1708"/>
                  <a:gd name="T17" fmla="*/ 1122 h 2704"/>
                  <a:gd name="T18" fmla="*/ 690 w 1708"/>
                  <a:gd name="T19" fmla="*/ 1209 h 2704"/>
                  <a:gd name="T20" fmla="*/ 692 w 1708"/>
                  <a:gd name="T21" fmla="*/ 2573 h 2704"/>
                  <a:gd name="T22" fmla="*/ 727 w 1708"/>
                  <a:gd name="T23" fmla="*/ 2644 h 2704"/>
                  <a:gd name="T24" fmla="*/ 790 w 1708"/>
                  <a:gd name="T25" fmla="*/ 2690 h 2704"/>
                  <a:gd name="T26" fmla="*/ 853 w 1708"/>
                  <a:gd name="T27" fmla="*/ 2704 h 2704"/>
                  <a:gd name="T28" fmla="*/ 930 w 1708"/>
                  <a:gd name="T29" fmla="*/ 2683 h 2704"/>
                  <a:gd name="T30" fmla="*/ 988 w 1708"/>
                  <a:gd name="T31" fmla="*/ 2632 h 2704"/>
                  <a:gd name="T32" fmla="*/ 1014 w 1708"/>
                  <a:gd name="T33" fmla="*/ 2557 h 2704"/>
                  <a:gd name="T34" fmla="*/ 1035 w 1708"/>
                  <a:gd name="T35" fmla="*/ 1408 h 2704"/>
                  <a:gd name="T36" fmla="*/ 1041 w 1708"/>
                  <a:gd name="T37" fmla="*/ 2573 h 2704"/>
                  <a:gd name="T38" fmla="*/ 1076 w 1708"/>
                  <a:gd name="T39" fmla="*/ 2644 h 2704"/>
                  <a:gd name="T40" fmla="*/ 1137 w 1708"/>
                  <a:gd name="T41" fmla="*/ 2690 h 2704"/>
                  <a:gd name="T42" fmla="*/ 1202 w 1708"/>
                  <a:gd name="T43" fmla="*/ 2704 h 2704"/>
                  <a:gd name="T44" fmla="*/ 1264 w 1708"/>
                  <a:gd name="T45" fmla="*/ 2690 h 2704"/>
                  <a:gd name="T46" fmla="*/ 1326 w 1708"/>
                  <a:gd name="T47" fmla="*/ 2644 h 2704"/>
                  <a:gd name="T48" fmla="*/ 1361 w 1708"/>
                  <a:gd name="T49" fmla="*/ 2573 h 2704"/>
                  <a:gd name="T50" fmla="*/ 1372 w 1708"/>
                  <a:gd name="T51" fmla="*/ 1212 h 2704"/>
                  <a:gd name="T52" fmla="*/ 1395 w 1708"/>
                  <a:gd name="T53" fmla="*/ 1130 h 2704"/>
                  <a:gd name="T54" fmla="*/ 1409 w 1708"/>
                  <a:gd name="T55" fmla="*/ 697 h 2704"/>
                  <a:gd name="T56" fmla="*/ 1433 w 1708"/>
                  <a:gd name="T57" fmla="*/ 988 h 2704"/>
                  <a:gd name="T58" fmla="*/ 1427 w 1708"/>
                  <a:gd name="T59" fmla="*/ 1166 h 2704"/>
                  <a:gd name="T60" fmla="*/ 1451 w 1708"/>
                  <a:gd name="T61" fmla="*/ 1228 h 2704"/>
                  <a:gd name="T62" fmla="*/ 1500 w 1708"/>
                  <a:gd name="T63" fmla="*/ 1272 h 2704"/>
                  <a:gd name="T64" fmla="*/ 1553 w 1708"/>
                  <a:gd name="T65" fmla="*/ 1287 h 2704"/>
                  <a:gd name="T66" fmla="*/ 1602 w 1708"/>
                  <a:gd name="T67" fmla="*/ 1281 h 2704"/>
                  <a:gd name="T68" fmla="*/ 1657 w 1708"/>
                  <a:gd name="T69" fmla="*/ 1250 h 2704"/>
                  <a:gd name="T70" fmla="*/ 1692 w 1708"/>
                  <a:gd name="T71" fmla="*/ 1198 h 2704"/>
                  <a:gd name="T72" fmla="*/ 1705 w 1708"/>
                  <a:gd name="T73" fmla="*/ 1095 h 2704"/>
                  <a:gd name="T74" fmla="*/ 1703 w 1708"/>
                  <a:gd name="T75" fmla="*/ 813 h 2704"/>
                  <a:gd name="T76" fmla="*/ 1667 w 1708"/>
                  <a:gd name="T77" fmla="*/ 589 h 2704"/>
                  <a:gd name="T78" fmla="*/ 1602 w 1708"/>
                  <a:gd name="T79" fmla="*/ 411 h 2704"/>
                  <a:gd name="T80" fmla="*/ 1514 w 1708"/>
                  <a:gd name="T81" fmla="*/ 274 h 2704"/>
                  <a:gd name="T82" fmla="*/ 1410 w 1708"/>
                  <a:gd name="T83" fmla="*/ 166 h 2704"/>
                  <a:gd name="T84" fmla="*/ 1270 w 1708"/>
                  <a:gd name="T85" fmla="*/ 66 h 2704"/>
                  <a:gd name="T86" fmla="*/ 1252 w 1708"/>
                  <a:gd name="T87" fmla="*/ 57 h 2704"/>
                  <a:gd name="T88" fmla="*/ 1173 w 1708"/>
                  <a:gd name="T89" fmla="*/ 17 h 2704"/>
                  <a:gd name="T90" fmla="*/ 949 w 1708"/>
                  <a:gd name="T91" fmla="*/ 0 h 2704"/>
                  <a:gd name="T92" fmla="*/ 913 w 1708"/>
                  <a:gd name="T93" fmla="*/ 10 h 2704"/>
                  <a:gd name="T94" fmla="*/ 831 w 1708"/>
                  <a:gd name="T95" fmla="*/ 48 h 2704"/>
                  <a:gd name="T96" fmla="*/ 787 w 1708"/>
                  <a:gd name="T97" fmla="*/ 73 h 2704"/>
                  <a:gd name="T98" fmla="*/ 672 w 1708"/>
                  <a:gd name="T99" fmla="*/ 179 h 2704"/>
                  <a:gd name="T100" fmla="*/ 481 w 1708"/>
                  <a:gd name="T101" fmla="*/ 338 h 2704"/>
                  <a:gd name="T102" fmla="*/ 402 w 1708"/>
                  <a:gd name="T103" fmla="*/ 375 h 2704"/>
                  <a:gd name="T104" fmla="*/ 337 w 1708"/>
                  <a:gd name="T105" fmla="*/ 381 h 2704"/>
                  <a:gd name="T106" fmla="*/ 264 w 1708"/>
                  <a:gd name="T107" fmla="*/ 367 h 2704"/>
                  <a:gd name="T108" fmla="*/ 174 w 1708"/>
                  <a:gd name="T109" fmla="*/ 332 h 2704"/>
                  <a:gd name="T110" fmla="*/ 119 w 1708"/>
                  <a:gd name="T111" fmla="*/ 328 h 2704"/>
                  <a:gd name="T112" fmla="*/ 68 w 1708"/>
                  <a:gd name="T113" fmla="*/ 346 h 2704"/>
                  <a:gd name="T114" fmla="*/ 8 w 1708"/>
                  <a:gd name="T115" fmla="*/ 418 h 2704"/>
                  <a:gd name="T116" fmla="*/ 1036 w 1708"/>
                  <a:gd name="T117" fmla="*/ 103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8" h="2704">
                    <a:moveTo>
                      <a:pt x="8" y="418"/>
                    </a:moveTo>
                    <a:lnTo>
                      <a:pt x="8" y="418"/>
                    </a:lnTo>
                    <a:lnTo>
                      <a:pt x="5" y="431"/>
                    </a:lnTo>
                    <a:lnTo>
                      <a:pt x="2" y="443"/>
                    </a:lnTo>
                    <a:lnTo>
                      <a:pt x="0" y="456"/>
                    </a:lnTo>
                    <a:lnTo>
                      <a:pt x="0" y="469"/>
                    </a:lnTo>
                    <a:lnTo>
                      <a:pt x="2" y="481"/>
                    </a:lnTo>
                    <a:lnTo>
                      <a:pt x="4" y="494"/>
                    </a:lnTo>
                    <a:lnTo>
                      <a:pt x="6" y="506"/>
                    </a:lnTo>
                    <a:lnTo>
                      <a:pt x="11" y="518"/>
                    </a:lnTo>
                    <a:lnTo>
                      <a:pt x="16" y="529"/>
                    </a:lnTo>
                    <a:lnTo>
                      <a:pt x="22" y="540"/>
                    </a:lnTo>
                    <a:lnTo>
                      <a:pt x="30" y="550"/>
                    </a:lnTo>
                    <a:lnTo>
                      <a:pt x="38" y="559"/>
                    </a:lnTo>
                    <a:lnTo>
                      <a:pt x="47" y="568"/>
                    </a:lnTo>
                    <a:lnTo>
                      <a:pt x="58" y="576"/>
                    </a:lnTo>
                    <a:lnTo>
                      <a:pt x="68" y="583"/>
                    </a:lnTo>
                    <a:lnTo>
                      <a:pt x="79" y="590"/>
                    </a:lnTo>
                    <a:lnTo>
                      <a:pt x="79" y="590"/>
                    </a:lnTo>
                    <a:lnTo>
                      <a:pt x="117" y="606"/>
                    </a:lnTo>
                    <a:lnTo>
                      <a:pt x="154" y="620"/>
                    </a:lnTo>
                    <a:lnTo>
                      <a:pt x="188" y="631"/>
                    </a:lnTo>
                    <a:lnTo>
                      <a:pt x="222" y="642"/>
                    </a:lnTo>
                    <a:lnTo>
                      <a:pt x="256" y="648"/>
                    </a:lnTo>
                    <a:lnTo>
                      <a:pt x="288" y="653"/>
                    </a:lnTo>
                    <a:lnTo>
                      <a:pt x="320" y="656"/>
                    </a:lnTo>
                    <a:lnTo>
                      <a:pt x="349" y="656"/>
                    </a:lnTo>
                    <a:lnTo>
                      <a:pt x="349" y="656"/>
                    </a:lnTo>
                    <a:lnTo>
                      <a:pt x="373" y="656"/>
                    </a:lnTo>
                    <a:lnTo>
                      <a:pt x="395" y="654"/>
                    </a:lnTo>
                    <a:lnTo>
                      <a:pt x="418" y="652"/>
                    </a:lnTo>
                    <a:lnTo>
                      <a:pt x="440" y="648"/>
                    </a:lnTo>
                    <a:lnTo>
                      <a:pt x="460" y="644"/>
                    </a:lnTo>
                    <a:lnTo>
                      <a:pt x="482" y="638"/>
                    </a:lnTo>
                    <a:lnTo>
                      <a:pt x="503" y="631"/>
                    </a:lnTo>
                    <a:lnTo>
                      <a:pt x="522" y="624"/>
                    </a:lnTo>
                    <a:lnTo>
                      <a:pt x="541" y="616"/>
                    </a:lnTo>
                    <a:lnTo>
                      <a:pt x="561" y="607"/>
                    </a:lnTo>
                    <a:lnTo>
                      <a:pt x="580" y="598"/>
                    </a:lnTo>
                    <a:lnTo>
                      <a:pt x="599" y="588"/>
                    </a:lnTo>
                    <a:lnTo>
                      <a:pt x="635" y="566"/>
                    </a:lnTo>
                    <a:lnTo>
                      <a:pt x="672" y="542"/>
                    </a:lnTo>
                    <a:lnTo>
                      <a:pt x="672" y="1094"/>
                    </a:lnTo>
                    <a:lnTo>
                      <a:pt x="672" y="1094"/>
                    </a:lnTo>
                    <a:lnTo>
                      <a:pt x="673" y="1122"/>
                    </a:lnTo>
                    <a:lnTo>
                      <a:pt x="676" y="1148"/>
                    </a:lnTo>
                    <a:lnTo>
                      <a:pt x="683" y="1173"/>
                    </a:lnTo>
                    <a:lnTo>
                      <a:pt x="691" y="1197"/>
                    </a:lnTo>
                    <a:lnTo>
                      <a:pt x="691" y="1197"/>
                    </a:lnTo>
                    <a:lnTo>
                      <a:pt x="690" y="1209"/>
                    </a:lnTo>
                    <a:lnTo>
                      <a:pt x="690" y="1219"/>
                    </a:lnTo>
                    <a:lnTo>
                      <a:pt x="690" y="2540"/>
                    </a:lnTo>
                    <a:lnTo>
                      <a:pt x="690" y="2540"/>
                    </a:lnTo>
                    <a:lnTo>
                      <a:pt x="690" y="2557"/>
                    </a:lnTo>
                    <a:lnTo>
                      <a:pt x="692" y="2573"/>
                    </a:lnTo>
                    <a:lnTo>
                      <a:pt x="697" y="2589"/>
                    </a:lnTo>
                    <a:lnTo>
                      <a:pt x="703" y="2604"/>
                    </a:lnTo>
                    <a:lnTo>
                      <a:pt x="710" y="2618"/>
                    </a:lnTo>
                    <a:lnTo>
                      <a:pt x="718" y="2632"/>
                    </a:lnTo>
                    <a:lnTo>
                      <a:pt x="727" y="2644"/>
                    </a:lnTo>
                    <a:lnTo>
                      <a:pt x="737" y="2656"/>
                    </a:lnTo>
                    <a:lnTo>
                      <a:pt x="749" y="2666"/>
                    </a:lnTo>
                    <a:lnTo>
                      <a:pt x="761" y="2675"/>
                    </a:lnTo>
                    <a:lnTo>
                      <a:pt x="775" y="2683"/>
                    </a:lnTo>
                    <a:lnTo>
                      <a:pt x="790" y="2690"/>
                    </a:lnTo>
                    <a:lnTo>
                      <a:pt x="805" y="2696"/>
                    </a:lnTo>
                    <a:lnTo>
                      <a:pt x="819" y="2700"/>
                    </a:lnTo>
                    <a:lnTo>
                      <a:pt x="835" y="2703"/>
                    </a:lnTo>
                    <a:lnTo>
                      <a:pt x="853" y="2704"/>
                    </a:lnTo>
                    <a:lnTo>
                      <a:pt x="853" y="2704"/>
                    </a:lnTo>
                    <a:lnTo>
                      <a:pt x="869" y="2703"/>
                    </a:lnTo>
                    <a:lnTo>
                      <a:pt x="886" y="2700"/>
                    </a:lnTo>
                    <a:lnTo>
                      <a:pt x="901" y="2696"/>
                    </a:lnTo>
                    <a:lnTo>
                      <a:pt x="916" y="2690"/>
                    </a:lnTo>
                    <a:lnTo>
                      <a:pt x="930" y="2683"/>
                    </a:lnTo>
                    <a:lnTo>
                      <a:pt x="943" y="2675"/>
                    </a:lnTo>
                    <a:lnTo>
                      <a:pt x="956" y="2666"/>
                    </a:lnTo>
                    <a:lnTo>
                      <a:pt x="968" y="2656"/>
                    </a:lnTo>
                    <a:lnTo>
                      <a:pt x="978" y="2644"/>
                    </a:lnTo>
                    <a:lnTo>
                      <a:pt x="988" y="2632"/>
                    </a:lnTo>
                    <a:lnTo>
                      <a:pt x="996" y="2618"/>
                    </a:lnTo>
                    <a:lnTo>
                      <a:pt x="1002" y="2604"/>
                    </a:lnTo>
                    <a:lnTo>
                      <a:pt x="1008" y="2589"/>
                    </a:lnTo>
                    <a:lnTo>
                      <a:pt x="1012" y="2573"/>
                    </a:lnTo>
                    <a:lnTo>
                      <a:pt x="1014" y="2557"/>
                    </a:lnTo>
                    <a:lnTo>
                      <a:pt x="1015" y="2540"/>
                    </a:lnTo>
                    <a:lnTo>
                      <a:pt x="1015" y="1407"/>
                    </a:lnTo>
                    <a:lnTo>
                      <a:pt x="1015" y="1407"/>
                    </a:lnTo>
                    <a:lnTo>
                      <a:pt x="1035" y="1408"/>
                    </a:lnTo>
                    <a:lnTo>
                      <a:pt x="1035" y="1408"/>
                    </a:lnTo>
                    <a:lnTo>
                      <a:pt x="1038" y="1407"/>
                    </a:lnTo>
                    <a:lnTo>
                      <a:pt x="1038" y="2540"/>
                    </a:lnTo>
                    <a:lnTo>
                      <a:pt x="1038" y="2540"/>
                    </a:lnTo>
                    <a:lnTo>
                      <a:pt x="1039" y="2557"/>
                    </a:lnTo>
                    <a:lnTo>
                      <a:pt x="1041" y="2573"/>
                    </a:lnTo>
                    <a:lnTo>
                      <a:pt x="1046" y="2589"/>
                    </a:lnTo>
                    <a:lnTo>
                      <a:pt x="1051" y="2604"/>
                    </a:lnTo>
                    <a:lnTo>
                      <a:pt x="1057" y="2618"/>
                    </a:lnTo>
                    <a:lnTo>
                      <a:pt x="1067" y="2632"/>
                    </a:lnTo>
                    <a:lnTo>
                      <a:pt x="1076" y="2644"/>
                    </a:lnTo>
                    <a:lnTo>
                      <a:pt x="1086" y="2656"/>
                    </a:lnTo>
                    <a:lnTo>
                      <a:pt x="1097" y="2666"/>
                    </a:lnTo>
                    <a:lnTo>
                      <a:pt x="1110" y="2675"/>
                    </a:lnTo>
                    <a:lnTo>
                      <a:pt x="1124" y="2683"/>
                    </a:lnTo>
                    <a:lnTo>
                      <a:pt x="1137" y="2690"/>
                    </a:lnTo>
                    <a:lnTo>
                      <a:pt x="1152" y="2696"/>
                    </a:lnTo>
                    <a:lnTo>
                      <a:pt x="1168" y="2700"/>
                    </a:lnTo>
                    <a:lnTo>
                      <a:pt x="1184" y="2703"/>
                    </a:lnTo>
                    <a:lnTo>
                      <a:pt x="1202" y="2704"/>
                    </a:lnTo>
                    <a:lnTo>
                      <a:pt x="1202" y="2704"/>
                    </a:lnTo>
                    <a:lnTo>
                      <a:pt x="1202" y="2704"/>
                    </a:lnTo>
                    <a:lnTo>
                      <a:pt x="1218" y="2703"/>
                    </a:lnTo>
                    <a:lnTo>
                      <a:pt x="1234" y="2700"/>
                    </a:lnTo>
                    <a:lnTo>
                      <a:pt x="1250" y="2696"/>
                    </a:lnTo>
                    <a:lnTo>
                      <a:pt x="1264" y="2690"/>
                    </a:lnTo>
                    <a:lnTo>
                      <a:pt x="1278" y="2683"/>
                    </a:lnTo>
                    <a:lnTo>
                      <a:pt x="1292" y="2675"/>
                    </a:lnTo>
                    <a:lnTo>
                      <a:pt x="1304" y="2666"/>
                    </a:lnTo>
                    <a:lnTo>
                      <a:pt x="1316" y="2656"/>
                    </a:lnTo>
                    <a:lnTo>
                      <a:pt x="1326" y="2644"/>
                    </a:lnTo>
                    <a:lnTo>
                      <a:pt x="1337" y="2632"/>
                    </a:lnTo>
                    <a:lnTo>
                      <a:pt x="1345" y="2618"/>
                    </a:lnTo>
                    <a:lnTo>
                      <a:pt x="1351" y="2604"/>
                    </a:lnTo>
                    <a:lnTo>
                      <a:pt x="1357" y="2589"/>
                    </a:lnTo>
                    <a:lnTo>
                      <a:pt x="1361" y="2573"/>
                    </a:lnTo>
                    <a:lnTo>
                      <a:pt x="1363" y="2557"/>
                    </a:lnTo>
                    <a:lnTo>
                      <a:pt x="1364" y="2540"/>
                    </a:lnTo>
                    <a:lnTo>
                      <a:pt x="1364" y="1227"/>
                    </a:lnTo>
                    <a:lnTo>
                      <a:pt x="1364" y="1227"/>
                    </a:lnTo>
                    <a:lnTo>
                      <a:pt x="1372" y="1212"/>
                    </a:lnTo>
                    <a:lnTo>
                      <a:pt x="1378" y="1197"/>
                    </a:lnTo>
                    <a:lnTo>
                      <a:pt x="1383" y="1181"/>
                    </a:lnTo>
                    <a:lnTo>
                      <a:pt x="1389" y="1164"/>
                    </a:lnTo>
                    <a:lnTo>
                      <a:pt x="1393" y="1147"/>
                    </a:lnTo>
                    <a:lnTo>
                      <a:pt x="1395" y="1130"/>
                    </a:lnTo>
                    <a:lnTo>
                      <a:pt x="1397" y="1112"/>
                    </a:lnTo>
                    <a:lnTo>
                      <a:pt x="1397" y="1094"/>
                    </a:lnTo>
                    <a:lnTo>
                      <a:pt x="1397" y="651"/>
                    </a:lnTo>
                    <a:lnTo>
                      <a:pt x="1397" y="651"/>
                    </a:lnTo>
                    <a:lnTo>
                      <a:pt x="1409" y="697"/>
                    </a:lnTo>
                    <a:lnTo>
                      <a:pt x="1418" y="746"/>
                    </a:lnTo>
                    <a:lnTo>
                      <a:pt x="1426" y="800"/>
                    </a:lnTo>
                    <a:lnTo>
                      <a:pt x="1430" y="858"/>
                    </a:lnTo>
                    <a:lnTo>
                      <a:pt x="1433" y="920"/>
                    </a:lnTo>
                    <a:lnTo>
                      <a:pt x="1433" y="988"/>
                    </a:lnTo>
                    <a:lnTo>
                      <a:pt x="1431" y="1060"/>
                    </a:lnTo>
                    <a:lnTo>
                      <a:pt x="1426" y="1138"/>
                    </a:lnTo>
                    <a:lnTo>
                      <a:pt x="1426" y="1138"/>
                    </a:lnTo>
                    <a:lnTo>
                      <a:pt x="1426" y="1153"/>
                    </a:lnTo>
                    <a:lnTo>
                      <a:pt x="1427" y="1166"/>
                    </a:lnTo>
                    <a:lnTo>
                      <a:pt x="1429" y="1179"/>
                    </a:lnTo>
                    <a:lnTo>
                      <a:pt x="1433" y="1193"/>
                    </a:lnTo>
                    <a:lnTo>
                      <a:pt x="1437" y="1205"/>
                    </a:lnTo>
                    <a:lnTo>
                      <a:pt x="1443" y="1217"/>
                    </a:lnTo>
                    <a:lnTo>
                      <a:pt x="1451" y="1228"/>
                    </a:lnTo>
                    <a:lnTo>
                      <a:pt x="1459" y="1238"/>
                    </a:lnTo>
                    <a:lnTo>
                      <a:pt x="1468" y="1248"/>
                    </a:lnTo>
                    <a:lnTo>
                      <a:pt x="1477" y="1257"/>
                    </a:lnTo>
                    <a:lnTo>
                      <a:pt x="1489" y="1265"/>
                    </a:lnTo>
                    <a:lnTo>
                      <a:pt x="1500" y="1272"/>
                    </a:lnTo>
                    <a:lnTo>
                      <a:pt x="1513" y="1276"/>
                    </a:lnTo>
                    <a:lnTo>
                      <a:pt x="1525" y="1281"/>
                    </a:lnTo>
                    <a:lnTo>
                      <a:pt x="1539" y="1284"/>
                    </a:lnTo>
                    <a:lnTo>
                      <a:pt x="1553" y="1287"/>
                    </a:lnTo>
                    <a:lnTo>
                      <a:pt x="1553" y="1287"/>
                    </a:lnTo>
                    <a:lnTo>
                      <a:pt x="1563" y="1287"/>
                    </a:lnTo>
                    <a:lnTo>
                      <a:pt x="1563" y="1287"/>
                    </a:lnTo>
                    <a:lnTo>
                      <a:pt x="1577" y="1287"/>
                    </a:lnTo>
                    <a:lnTo>
                      <a:pt x="1589" y="1284"/>
                    </a:lnTo>
                    <a:lnTo>
                      <a:pt x="1602" y="1281"/>
                    </a:lnTo>
                    <a:lnTo>
                      <a:pt x="1615" y="1277"/>
                    </a:lnTo>
                    <a:lnTo>
                      <a:pt x="1626" y="1272"/>
                    </a:lnTo>
                    <a:lnTo>
                      <a:pt x="1636" y="1266"/>
                    </a:lnTo>
                    <a:lnTo>
                      <a:pt x="1647" y="1258"/>
                    </a:lnTo>
                    <a:lnTo>
                      <a:pt x="1657" y="1250"/>
                    </a:lnTo>
                    <a:lnTo>
                      <a:pt x="1666" y="1241"/>
                    </a:lnTo>
                    <a:lnTo>
                      <a:pt x="1674" y="1232"/>
                    </a:lnTo>
                    <a:lnTo>
                      <a:pt x="1681" y="1221"/>
                    </a:lnTo>
                    <a:lnTo>
                      <a:pt x="1687" y="1210"/>
                    </a:lnTo>
                    <a:lnTo>
                      <a:pt x="1692" y="1198"/>
                    </a:lnTo>
                    <a:lnTo>
                      <a:pt x="1696" y="1186"/>
                    </a:lnTo>
                    <a:lnTo>
                      <a:pt x="1699" y="1173"/>
                    </a:lnTo>
                    <a:lnTo>
                      <a:pt x="1700" y="1159"/>
                    </a:lnTo>
                    <a:lnTo>
                      <a:pt x="1700" y="1159"/>
                    </a:lnTo>
                    <a:lnTo>
                      <a:pt x="1705" y="1095"/>
                    </a:lnTo>
                    <a:lnTo>
                      <a:pt x="1707" y="1035"/>
                    </a:lnTo>
                    <a:lnTo>
                      <a:pt x="1708" y="976"/>
                    </a:lnTo>
                    <a:lnTo>
                      <a:pt x="1708" y="920"/>
                    </a:lnTo>
                    <a:lnTo>
                      <a:pt x="1706" y="865"/>
                    </a:lnTo>
                    <a:lnTo>
                      <a:pt x="1703" y="813"/>
                    </a:lnTo>
                    <a:lnTo>
                      <a:pt x="1698" y="764"/>
                    </a:lnTo>
                    <a:lnTo>
                      <a:pt x="1692" y="717"/>
                    </a:lnTo>
                    <a:lnTo>
                      <a:pt x="1685" y="672"/>
                    </a:lnTo>
                    <a:lnTo>
                      <a:pt x="1676" y="630"/>
                    </a:lnTo>
                    <a:lnTo>
                      <a:pt x="1667" y="589"/>
                    </a:lnTo>
                    <a:lnTo>
                      <a:pt x="1656" y="550"/>
                    </a:lnTo>
                    <a:lnTo>
                      <a:pt x="1644" y="512"/>
                    </a:lnTo>
                    <a:lnTo>
                      <a:pt x="1631" y="477"/>
                    </a:lnTo>
                    <a:lnTo>
                      <a:pt x="1617" y="443"/>
                    </a:lnTo>
                    <a:lnTo>
                      <a:pt x="1602" y="411"/>
                    </a:lnTo>
                    <a:lnTo>
                      <a:pt x="1586" y="380"/>
                    </a:lnTo>
                    <a:lnTo>
                      <a:pt x="1569" y="352"/>
                    </a:lnTo>
                    <a:lnTo>
                      <a:pt x="1552" y="324"/>
                    </a:lnTo>
                    <a:lnTo>
                      <a:pt x="1533" y="298"/>
                    </a:lnTo>
                    <a:lnTo>
                      <a:pt x="1514" y="274"/>
                    </a:lnTo>
                    <a:lnTo>
                      <a:pt x="1494" y="250"/>
                    </a:lnTo>
                    <a:lnTo>
                      <a:pt x="1474" y="227"/>
                    </a:lnTo>
                    <a:lnTo>
                      <a:pt x="1453" y="206"/>
                    </a:lnTo>
                    <a:lnTo>
                      <a:pt x="1431" y="186"/>
                    </a:lnTo>
                    <a:lnTo>
                      <a:pt x="1410" y="166"/>
                    </a:lnTo>
                    <a:lnTo>
                      <a:pt x="1387" y="148"/>
                    </a:lnTo>
                    <a:lnTo>
                      <a:pt x="1365" y="131"/>
                    </a:lnTo>
                    <a:lnTo>
                      <a:pt x="1341" y="113"/>
                    </a:lnTo>
                    <a:lnTo>
                      <a:pt x="1318" y="97"/>
                    </a:lnTo>
                    <a:lnTo>
                      <a:pt x="1270" y="66"/>
                    </a:lnTo>
                    <a:lnTo>
                      <a:pt x="1270" y="66"/>
                    </a:lnTo>
                    <a:lnTo>
                      <a:pt x="1270" y="66"/>
                    </a:lnTo>
                    <a:lnTo>
                      <a:pt x="1261" y="62"/>
                    </a:lnTo>
                    <a:lnTo>
                      <a:pt x="1252" y="57"/>
                    </a:lnTo>
                    <a:lnTo>
                      <a:pt x="1252" y="57"/>
                    </a:lnTo>
                    <a:lnTo>
                      <a:pt x="1237" y="48"/>
                    </a:lnTo>
                    <a:lnTo>
                      <a:pt x="1221" y="39"/>
                    </a:lnTo>
                    <a:lnTo>
                      <a:pt x="1206" y="31"/>
                    </a:lnTo>
                    <a:lnTo>
                      <a:pt x="1190" y="24"/>
                    </a:lnTo>
                    <a:lnTo>
                      <a:pt x="1173" y="17"/>
                    </a:lnTo>
                    <a:lnTo>
                      <a:pt x="1157" y="10"/>
                    </a:lnTo>
                    <a:lnTo>
                      <a:pt x="1140" y="6"/>
                    </a:lnTo>
                    <a:lnTo>
                      <a:pt x="1123" y="1"/>
                    </a:lnTo>
                    <a:lnTo>
                      <a:pt x="1035" y="89"/>
                    </a:lnTo>
                    <a:lnTo>
                      <a:pt x="949" y="0"/>
                    </a:lnTo>
                    <a:lnTo>
                      <a:pt x="949" y="0"/>
                    </a:lnTo>
                    <a:lnTo>
                      <a:pt x="948" y="0"/>
                    </a:lnTo>
                    <a:lnTo>
                      <a:pt x="948" y="0"/>
                    </a:lnTo>
                    <a:lnTo>
                      <a:pt x="930" y="5"/>
                    </a:lnTo>
                    <a:lnTo>
                      <a:pt x="913" y="10"/>
                    </a:lnTo>
                    <a:lnTo>
                      <a:pt x="896" y="16"/>
                    </a:lnTo>
                    <a:lnTo>
                      <a:pt x="880" y="23"/>
                    </a:lnTo>
                    <a:lnTo>
                      <a:pt x="863" y="31"/>
                    </a:lnTo>
                    <a:lnTo>
                      <a:pt x="847" y="39"/>
                    </a:lnTo>
                    <a:lnTo>
                      <a:pt x="831" y="48"/>
                    </a:lnTo>
                    <a:lnTo>
                      <a:pt x="816" y="58"/>
                    </a:lnTo>
                    <a:lnTo>
                      <a:pt x="816" y="58"/>
                    </a:lnTo>
                    <a:lnTo>
                      <a:pt x="807" y="63"/>
                    </a:lnTo>
                    <a:lnTo>
                      <a:pt x="797" y="68"/>
                    </a:lnTo>
                    <a:lnTo>
                      <a:pt x="787" y="73"/>
                    </a:lnTo>
                    <a:lnTo>
                      <a:pt x="779" y="81"/>
                    </a:lnTo>
                    <a:lnTo>
                      <a:pt x="779" y="81"/>
                    </a:lnTo>
                    <a:lnTo>
                      <a:pt x="725" y="131"/>
                    </a:lnTo>
                    <a:lnTo>
                      <a:pt x="672" y="179"/>
                    </a:lnTo>
                    <a:lnTo>
                      <a:pt x="672" y="179"/>
                    </a:lnTo>
                    <a:lnTo>
                      <a:pt x="600" y="245"/>
                    </a:lnTo>
                    <a:lnTo>
                      <a:pt x="567" y="273"/>
                    </a:lnTo>
                    <a:lnTo>
                      <a:pt x="537" y="298"/>
                    </a:lnTo>
                    <a:lnTo>
                      <a:pt x="508" y="320"/>
                    </a:lnTo>
                    <a:lnTo>
                      <a:pt x="481" y="338"/>
                    </a:lnTo>
                    <a:lnTo>
                      <a:pt x="453" y="354"/>
                    </a:lnTo>
                    <a:lnTo>
                      <a:pt x="441" y="360"/>
                    </a:lnTo>
                    <a:lnTo>
                      <a:pt x="428" y="365"/>
                    </a:lnTo>
                    <a:lnTo>
                      <a:pt x="415" y="370"/>
                    </a:lnTo>
                    <a:lnTo>
                      <a:pt x="402" y="375"/>
                    </a:lnTo>
                    <a:lnTo>
                      <a:pt x="389" y="377"/>
                    </a:lnTo>
                    <a:lnTo>
                      <a:pt x="377" y="379"/>
                    </a:lnTo>
                    <a:lnTo>
                      <a:pt x="363" y="380"/>
                    </a:lnTo>
                    <a:lnTo>
                      <a:pt x="349" y="381"/>
                    </a:lnTo>
                    <a:lnTo>
                      <a:pt x="337" y="381"/>
                    </a:lnTo>
                    <a:lnTo>
                      <a:pt x="322" y="379"/>
                    </a:lnTo>
                    <a:lnTo>
                      <a:pt x="308" y="378"/>
                    </a:lnTo>
                    <a:lnTo>
                      <a:pt x="293" y="375"/>
                    </a:lnTo>
                    <a:lnTo>
                      <a:pt x="278" y="371"/>
                    </a:lnTo>
                    <a:lnTo>
                      <a:pt x="264" y="367"/>
                    </a:lnTo>
                    <a:lnTo>
                      <a:pt x="231" y="355"/>
                    </a:lnTo>
                    <a:lnTo>
                      <a:pt x="196" y="340"/>
                    </a:lnTo>
                    <a:lnTo>
                      <a:pt x="196" y="340"/>
                    </a:lnTo>
                    <a:lnTo>
                      <a:pt x="186" y="336"/>
                    </a:lnTo>
                    <a:lnTo>
                      <a:pt x="174" y="332"/>
                    </a:lnTo>
                    <a:lnTo>
                      <a:pt x="164" y="329"/>
                    </a:lnTo>
                    <a:lnTo>
                      <a:pt x="153" y="328"/>
                    </a:lnTo>
                    <a:lnTo>
                      <a:pt x="141" y="326"/>
                    </a:lnTo>
                    <a:lnTo>
                      <a:pt x="130" y="326"/>
                    </a:lnTo>
                    <a:lnTo>
                      <a:pt x="119" y="328"/>
                    </a:lnTo>
                    <a:lnTo>
                      <a:pt x="108" y="330"/>
                    </a:lnTo>
                    <a:lnTo>
                      <a:pt x="98" y="333"/>
                    </a:lnTo>
                    <a:lnTo>
                      <a:pt x="87" y="337"/>
                    </a:lnTo>
                    <a:lnTo>
                      <a:pt x="77" y="341"/>
                    </a:lnTo>
                    <a:lnTo>
                      <a:pt x="68" y="346"/>
                    </a:lnTo>
                    <a:lnTo>
                      <a:pt x="58" y="353"/>
                    </a:lnTo>
                    <a:lnTo>
                      <a:pt x="50" y="360"/>
                    </a:lnTo>
                    <a:lnTo>
                      <a:pt x="42" y="367"/>
                    </a:lnTo>
                    <a:lnTo>
                      <a:pt x="34" y="376"/>
                    </a:lnTo>
                    <a:lnTo>
                      <a:pt x="8" y="418"/>
                    </a:lnTo>
                    <a:close/>
                    <a:moveTo>
                      <a:pt x="1036" y="793"/>
                    </a:moveTo>
                    <a:lnTo>
                      <a:pt x="1033" y="793"/>
                    </a:lnTo>
                    <a:lnTo>
                      <a:pt x="948" y="676"/>
                    </a:lnTo>
                    <a:lnTo>
                      <a:pt x="1033" y="103"/>
                    </a:lnTo>
                    <a:lnTo>
                      <a:pt x="1036" y="103"/>
                    </a:lnTo>
                    <a:lnTo>
                      <a:pt x="1121" y="676"/>
                    </a:lnTo>
                    <a:lnTo>
                      <a:pt x="1036" y="793"/>
                    </a:lnTo>
                    <a:close/>
                    <a:moveTo>
                      <a:pt x="1036" y="793"/>
                    </a:moveTo>
                    <a:lnTo>
                      <a:pt x="1036" y="793"/>
                    </a:lnTo>
                    <a:close/>
                  </a:path>
                </a:pathLst>
              </a:custGeom>
              <a:solidFill>
                <a:srgbClr val="50CFE6"/>
              </a:solidFill>
              <a:ln w="9525">
                <a:solidFill>
                  <a:schemeClr val="tx1"/>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42" name="Freeform 17">
                <a:extLst>
                  <a:ext uri="{FF2B5EF4-FFF2-40B4-BE49-F238E27FC236}">
                    <a16:creationId xmlns:a16="http://schemas.microsoft.com/office/drawing/2014/main" id="{031959AF-635F-4CF7-AD35-B0A013ABA79D}"/>
                  </a:ext>
                </a:extLst>
              </p:cNvPr>
              <p:cNvSpPr>
                <a:spLocks/>
              </p:cNvSpPr>
              <p:nvPr/>
            </p:nvSpPr>
            <p:spPr bwMode="auto">
              <a:xfrm>
                <a:off x="4615789" y="1251548"/>
                <a:ext cx="196174" cy="311144"/>
              </a:xfrm>
              <a:custGeom>
                <a:avLst/>
                <a:gdLst>
                  <a:gd name="T0" fmla="*/ 0 w 1708"/>
                  <a:gd name="T1" fmla="*/ 456 h 2704"/>
                  <a:gd name="T2" fmla="*/ 11 w 1708"/>
                  <a:gd name="T3" fmla="*/ 518 h 2704"/>
                  <a:gd name="T4" fmla="*/ 47 w 1708"/>
                  <a:gd name="T5" fmla="*/ 568 h 2704"/>
                  <a:gd name="T6" fmla="*/ 117 w 1708"/>
                  <a:gd name="T7" fmla="*/ 606 h 2704"/>
                  <a:gd name="T8" fmla="*/ 288 w 1708"/>
                  <a:gd name="T9" fmla="*/ 653 h 2704"/>
                  <a:gd name="T10" fmla="*/ 395 w 1708"/>
                  <a:gd name="T11" fmla="*/ 654 h 2704"/>
                  <a:gd name="T12" fmla="*/ 503 w 1708"/>
                  <a:gd name="T13" fmla="*/ 631 h 2704"/>
                  <a:gd name="T14" fmla="*/ 599 w 1708"/>
                  <a:gd name="T15" fmla="*/ 588 h 2704"/>
                  <a:gd name="T16" fmla="*/ 673 w 1708"/>
                  <a:gd name="T17" fmla="*/ 1122 h 2704"/>
                  <a:gd name="T18" fmla="*/ 690 w 1708"/>
                  <a:gd name="T19" fmla="*/ 1209 h 2704"/>
                  <a:gd name="T20" fmla="*/ 692 w 1708"/>
                  <a:gd name="T21" fmla="*/ 2573 h 2704"/>
                  <a:gd name="T22" fmla="*/ 727 w 1708"/>
                  <a:gd name="T23" fmla="*/ 2644 h 2704"/>
                  <a:gd name="T24" fmla="*/ 790 w 1708"/>
                  <a:gd name="T25" fmla="*/ 2690 h 2704"/>
                  <a:gd name="T26" fmla="*/ 853 w 1708"/>
                  <a:gd name="T27" fmla="*/ 2704 h 2704"/>
                  <a:gd name="T28" fmla="*/ 930 w 1708"/>
                  <a:gd name="T29" fmla="*/ 2683 h 2704"/>
                  <a:gd name="T30" fmla="*/ 988 w 1708"/>
                  <a:gd name="T31" fmla="*/ 2632 h 2704"/>
                  <a:gd name="T32" fmla="*/ 1014 w 1708"/>
                  <a:gd name="T33" fmla="*/ 2557 h 2704"/>
                  <a:gd name="T34" fmla="*/ 1035 w 1708"/>
                  <a:gd name="T35" fmla="*/ 1408 h 2704"/>
                  <a:gd name="T36" fmla="*/ 1041 w 1708"/>
                  <a:gd name="T37" fmla="*/ 2573 h 2704"/>
                  <a:gd name="T38" fmla="*/ 1076 w 1708"/>
                  <a:gd name="T39" fmla="*/ 2644 h 2704"/>
                  <a:gd name="T40" fmla="*/ 1137 w 1708"/>
                  <a:gd name="T41" fmla="*/ 2690 h 2704"/>
                  <a:gd name="T42" fmla="*/ 1202 w 1708"/>
                  <a:gd name="T43" fmla="*/ 2704 h 2704"/>
                  <a:gd name="T44" fmla="*/ 1264 w 1708"/>
                  <a:gd name="T45" fmla="*/ 2690 h 2704"/>
                  <a:gd name="T46" fmla="*/ 1326 w 1708"/>
                  <a:gd name="T47" fmla="*/ 2644 h 2704"/>
                  <a:gd name="T48" fmla="*/ 1361 w 1708"/>
                  <a:gd name="T49" fmla="*/ 2573 h 2704"/>
                  <a:gd name="T50" fmla="*/ 1372 w 1708"/>
                  <a:gd name="T51" fmla="*/ 1212 h 2704"/>
                  <a:gd name="T52" fmla="*/ 1395 w 1708"/>
                  <a:gd name="T53" fmla="*/ 1130 h 2704"/>
                  <a:gd name="T54" fmla="*/ 1409 w 1708"/>
                  <a:gd name="T55" fmla="*/ 697 h 2704"/>
                  <a:gd name="T56" fmla="*/ 1433 w 1708"/>
                  <a:gd name="T57" fmla="*/ 988 h 2704"/>
                  <a:gd name="T58" fmla="*/ 1427 w 1708"/>
                  <a:gd name="T59" fmla="*/ 1166 h 2704"/>
                  <a:gd name="T60" fmla="*/ 1451 w 1708"/>
                  <a:gd name="T61" fmla="*/ 1228 h 2704"/>
                  <a:gd name="T62" fmla="*/ 1500 w 1708"/>
                  <a:gd name="T63" fmla="*/ 1272 h 2704"/>
                  <a:gd name="T64" fmla="*/ 1553 w 1708"/>
                  <a:gd name="T65" fmla="*/ 1287 h 2704"/>
                  <a:gd name="T66" fmla="*/ 1602 w 1708"/>
                  <a:gd name="T67" fmla="*/ 1281 h 2704"/>
                  <a:gd name="T68" fmla="*/ 1657 w 1708"/>
                  <a:gd name="T69" fmla="*/ 1250 h 2704"/>
                  <a:gd name="T70" fmla="*/ 1692 w 1708"/>
                  <a:gd name="T71" fmla="*/ 1198 h 2704"/>
                  <a:gd name="T72" fmla="*/ 1705 w 1708"/>
                  <a:gd name="T73" fmla="*/ 1095 h 2704"/>
                  <a:gd name="T74" fmla="*/ 1703 w 1708"/>
                  <a:gd name="T75" fmla="*/ 813 h 2704"/>
                  <a:gd name="T76" fmla="*/ 1667 w 1708"/>
                  <a:gd name="T77" fmla="*/ 589 h 2704"/>
                  <a:gd name="T78" fmla="*/ 1602 w 1708"/>
                  <a:gd name="T79" fmla="*/ 411 h 2704"/>
                  <a:gd name="T80" fmla="*/ 1514 w 1708"/>
                  <a:gd name="T81" fmla="*/ 274 h 2704"/>
                  <a:gd name="T82" fmla="*/ 1410 w 1708"/>
                  <a:gd name="T83" fmla="*/ 166 h 2704"/>
                  <a:gd name="T84" fmla="*/ 1270 w 1708"/>
                  <a:gd name="T85" fmla="*/ 66 h 2704"/>
                  <a:gd name="T86" fmla="*/ 1252 w 1708"/>
                  <a:gd name="T87" fmla="*/ 57 h 2704"/>
                  <a:gd name="T88" fmla="*/ 1173 w 1708"/>
                  <a:gd name="T89" fmla="*/ 17 h 2704"/>
                  <a:gd name="T90" fmla="*/ 949 w 1708"/>
                  <a:gd name="T91" fmla="*/ 0 h 2704"/>
                  <a:gd name="T92" fmla="*/ 913 w 1708"/>
                  <a:gd name="T93" fmla="*/ 10 h 2704"/>
                  <a:gd name="T94" fmla="*/ 831 w 1708"/>
                  <a:gd name="T95" fmla="*/ 48 h 2704"/>
                  <a:gd name="T96" fmla="*/ 787 w 1708"/>
                  <a:gd name="T97" fmla="*/ 73 h 2704"/>
                  <a:gd name="T98" fmla="*/ 672 w 1708"/>
                  <a:gd name="T99" fmla="*/ 179 h 2704"/>
                  <a:gd name="T100" fmla="*/ 481 w 1708"/>
                  <a:gd name="T101" fmla="*/ 338 h 2704"/>
                  <a:gd name="T102" fmla="*/ 402 w 1708"/>
                  <a:gd name="T103" fmla="*/ 375 h 2704"/>
                  <a:gd name="T104" fmla="*/ 337 w 1708"/>
                  <a:gd name="T105" fmla="*/ 381 h 2704"/>
                  <a:gd name="T106" fmla="*/ 264 w 1708"/>
                  <a:gd name="T107" fmla="*/ 367 h 2704"/>
                  <a:gd name="T108" fmla="*/ 174 w 1708"/>
                  <a:gd name="T109" fmla="*/ 332 h 2704"/>
                  <a:gd name="T110" fmla="*/ 119 w 1708"/>
                  <a:gd name="T111" fmla="*/ 328 h 2704"/>
                  <a:gd name="T112" fmla="*/ 68 w 1708"/>
                  <a:gd name="T113" fmla="*/ 346 h 2704"/>
                  <a:gd name="T114" fmla="*/ 8 w 1708"/>
                  <a:gd name="T115" fmla="*/ 418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08" h="2704">
                    <a:moveTo>
                      <a:pt x="8" y="418"/>
                    </a:moveTo>
                    <a:lnTo>
                      <a:pt x="8" y="418"/>
                    </a:lnTo>
                    <a:lnTo>
                      <a:pt x="5" y="431"/>
                    </a:lnTo>
                    <a:lnTo>
                      <a:pt x="2" y="443"/>
                    </a:lnTo>
                    <a:lnTo>
                      <a:pt x="0" y="456"/>
                    </a:lnTo>
                    <a:lnTo>
                      <a:pt x="0" y="469"/>
                    </a:lnTo>
                    <a:lnTo>
                      <a:pt x="2" y="481"/>
                    </a:lnTo>
                    <a:lnTo>
                      <a:pt x="4" y="494"/>
                    </a:lnTo>
                    <a:lnTo>
                      <a:pt x="6" y="506"/>
                    </a:lnTo>
                    <a:lnTo>
                      <a:pt x="11" y="518"/>
                    </a:lnTo>
                    <a:lnTo>
                      <a:pt x="16" y="529"/>
                    </a:lnTo>
                    <a:lnTo>
                      <a:pt x="22" y="540"/>
                    </a:lnTo>
                    <a:lnTo>
                      <a:pt x="30" y="550"/>
                    </a:lnTo>
                    <a:lnTo>
                      <a:pt x="38" y="559"/>
                    </a:lnTo>
                    <a:lnTo>
                      <a:pt x="47" y="568"/>
                    </a:lnTo>
                    <a:lnTo>
                      <a:pt x="58" y="576"/>
                    </a:lnTo>
                    <a:lnTo>
                      <a:pt x="68" y="583"/>
                    </a:lnTo>
                    <a:lnTo>
                      <a:pt x="79" y="590"/>
                    </a:lnTo>
                    <a:lnTo>
                      <a:pt x="79" y="590"/>
                    </a:lnTo>
                    <a:lnTo>
                      <a:pt x="117" y="606"/>
                    </a:lnTo>
                    <a:lnTo>
                      <a:pt x="154" y="620"/>
                    </a:lnTo>
                    <a:lnTo>
                      <a:pt x="188" y="631"/>
                    </a:lnTo>
                    <a:lnTo>
                      <a:pt x="222" y="642"/>
                    </a:lnTo>
                    <a:lnTo>
                      <a:pt x="256" y="648"/>
                    </a:lnTo>
                    <a:lnTo>
                      <a:pt x="288" y="653"/>
                    </a:lnTo>
                    <a:lnTo>
                      <a:pt x="320" y="656"/>
                    </a:lnTo>
                    <a:lnTo>
                      <a:pt x="349" y="656"/>
                    </a:lnTo>
                    <a:lnTo>
                      <a:pt x="349" y="656"/>
                    </a:lnTo>
                    <a:lnTo>
                      <a:pt x="373" y="656"/>
                    </a:lnTo>
                    <a:lnTo>
                      <a:pt x="395" y="654"/>
                    </a:lnTo>
                    <a:lnTo>
                      <a:pt x="418" y="652"/>
                    </a:lnTo>
                    <a:lnTo>
                      <a:pt x="440" y="648"/>
                    </a:lnTo>
                    <a:lnTo>
                      <a:pt x="460" y="644"/>
                    </a:lnTo>
                    <a:lnTo>
                      <a:pt x="482" y="638"/>
                    </a:lnTo>
                    <a:lnTo>
                      <a:pt x="503" y="631"/>
                    </a:lnTo>
                    <a:lnTo>
                      <a:pt x="522" y="624"/>
                    </a:lnTo>
                    <a:lnTo>
                      <a:pt x="541" y="616"/>
                    </a:lnTo>
                    <a:lnTo>
                      <a:pt x="561" y="607"/>
                    </a:lnTo>
                    <a:lnTo>
                      <a:pt x="580" y="598"/>
                    </a:lnTo>
                    <a:lnTo>
                      <a:pt x="599" y="588"/>
                    </a:lnTo>
                    <a:lnTo>
                      <a:pt x="635" y="566"/>
                    </a:lnTo>
                    <a:lnTo>
                      <a:pt x="672" y="542"/>
                    </a:lnTo>
                    <a:lnTo>
                      <a:pt x="672" y="1094"/>
                    </a:lnTo>
                    <a:lnTo>
                      <a:pt x="672" y="1094"/>
                    </a:lnTo>
                    <a:lnTo>
                      <a:pt x="673" y="1122"/>
                    </a:lnTo>
                    <a:lnTo>
                      <a:pt x="676" y="1148"/>
                    </a:lnTo>
                    <a:lnTo>
                      <a:pt x="683" y="1173"/>
                    </a:lnTo>
                    <a:lnTo>
                      <a:pt x="691" y="1197"/>
                    </a:lnTo>
                    <a:lnTo>
                      <a:pt x="691" y="1197"/>
                    </a:lnTo>
                    <a:lnTo>
                      <a:pt x="690" y="1209"/>
                    </a:lnTo>
                    <a:lnTo>
                      <a:pt x="690" y="1219"/>
                    </a:lnTo>
                    <a:lnTo>
                      <a:pt x="690" y="2540"/>
                    </a:lnTo>
                    <a:lnTo>
                      <a:pt x="690" y="2540"/>
                    </a:lnTo>
                    <a:lnTo>
                      <a:pt x="690" y="2557"/>
                    </a:lnTo>
                    <a:lnTo>
                      <a:pt x="692" y="2573"/>
                    </a:lnTo>
                    <a:lnTo>
                      <a:pt x="697" y="2589"/>
                    </a:lnTo>
                    <a:lnTo>
                      <a:pt x="703" y="2604"/>
                    </a:lnTo>
                    <a:lnTo>
                      <a:pt x="710" y="2618"/>
                    </a:lnTo>
                    <a:lnTo>
                      <a:pt x="718" y="2632"/>
                    </a:lnTo>
                    <a:lnTo>
                      <a:pt x="727" y="2644"/>
                    </a:lnTo>
                    <a:lnTo>
                      <a:pt x="737" y="2656"/>
                    </a:lnTo>
                    <a:lnTo>
                      <a:pt x="749" y="2666"/>
                    </a:lnTo>
                    <a:lnTo>
                      <a:pt x="761" y="2675"/>
                    </a:lnTo>
                    <a:lnTo>
                      <a:pt x="775" y="2683"/>
                    </a:lnTo>
                    <a:lnTo>
                      <a:pt x="790" y="2690"/>
                    </a:lnTo>
                    <a:lnTo>
                      <a:pt x="805" y="2696"/>
                    </a:lnTo>
                    <a:lnTo>
                      <a:pt x="819" y="2700"/>
                    </a:lnTo>
                    <a:lnTo>
                      <a:pt x="835" y="2703"/>
                    </a:lnTo>
                    <a:lnTo>
                      <a:pt x="853" y="2704"/>
                    </a:lnTo>
                    <a:lnTo>
                      <a:pt x="853" y="2704"/>
                    </a:lnTo>
                    <a:lnTo>
                      <a:pt x="869" y="2703"/>
                    </a:lnTo>
                    <a:lnTo>
                      <a:pt x="886" y="2700"/>
                    </a:lnTo>
                    <a:lnTo>
                      <a:pt x="901" y="2696"/>
                    </a:lnTo>
                    <a:lnTo>
                      <a:pt x="916" y="2690"/>
                    </a:lnTo>
                    <a:lnTo>
                      <a:pt x="930" y="2683"/>
                    </a:lnTo>
                    <a:lnTo>
                      <a:pt x="943" y="2675"/>
                    </a:lnTo>
                    <a:lnTo>
                      <a:pt x="956" y="2666"/>
                    </a:lnTo>
                    <a:lnTo>
                      <a:pt x="968" y="2656"/>
                    </a:lnTo>
                    <a:lnTo>
                      <a:pt x="978" y="2644"/>
                    </a:lnTo>
                    <a:lnTo>
                      <a:pt x="988" y="2632"/>
                    </a:lnTo>
                    <a:lnTo>
                      <a:pt x="996" y="2618"/>
                    </a:lnTo>
                    <a:lnTo>
                      <a:pt x="1002" y="2604"/>
                    </a:lnTo>
                    <a:lnTo>
                      <a:pt x="1008" y="2589"/>
                    </a:lnTo>
                    <a:lnTo>
                      <a:pt x="1012" y="2573"/>
                    </a:lnTo>
                    <a:lnTo>
                      <a:pt x="1014" y="2557"/>
                    </a:lnTo>
                    <a:lnTo>
                      <a:pt x="1015" y="2540"/>
                    </a:lnTo>
                    <a:lnTo>
                      <a:pt x="1015" y="1407"/>
                    </a:lnTo>
                    <a:lnTo>
                      <a:pt x="1015" y="1407"/>
                    </a:lnTo>
                    <a:lnTo>
                      <a:pt x="1035" y="1408"/>
                    </a:lnTo>
                    <a:lnTo>
                      <a:pt x="1035" y="1408"/>
                    </a:lnTo>
                    <a:lnTo>
                      <a:pt x="1038" y="1407"/>
                    </a:lnTo>
                    <a:lnTo>
                      <a:pt x="1038" y="2540"/>
                    </a:lnTo>
                    <a:lnTo>
                      <a:pt x="1038" y="2540"/>
                    </a:lnTo>
                    <a:lnTo>
                      <a:pt x="1039" y="2557"/>
                    </a:lnTo>
                    <a:lnTo>
                      <a:pt x="1041" y="2573"/>
                    </a:lnTo>
                    <a:lnTo>
                      <a:pt x="1046" y="2589"/>
                    </a:lnTo>
                    <a:lnTo>
                      <a:pt x="1051" y="2604"/>
                    </a:lnTo>
                    <a:lnTo>
                      <a:pt x="1057" y="2618"/>
                    </a:lnTo>
                    <a:lnTo>
                      <a:pt x="1067" y="2632"/>
                    </a:lnTo>
                    <a:lnTo>
                      <a:pt x="1076" y="2644"/>
                    </a:lnTo>
                    <a:lnTo>
                      <a:pt x="1086" y="2656"/>
                    </a:lnTo>
                    <a:lnTo>
                      <a:pt x="1097" y="2666"/>
                    </a:lnTo>
                    <a:lnTo>
                      <a:pt x="1110" y="2675"/>
                    </a:lnTo>
                    <a:lnTo>
                      <a:pt x="1124" y="2683"/>
                    </a:lnTo>
                    <a:lnTo>
                      <a:pt x="1137" y="2690"/>
                    </a:lnTo>
                    <a:lnTo>
                      <a:pt x="1152" y="2696"/>
                    </a:lnTo>
                    <a:lnTo>
                      <a:pt x="1168" y="2700"/>
                    </a:lnTo>
                    <a:lnTo>
                      <a:pt x="1184" y="2703"/>
                    </a:lnTo>
                    <a:lnTo>
                      <a:pt x="1202" y="2704"/>
                    </a:lnTo>
                    <a:lnTo>
                      <a:pt x="1202" y="2704"/>
                    </a:lnTo>
                    <a:lnTo>
                      <a:pt x="1202" y="2704"/>
                    </a:lnTo>
                    <a:lnTo>
                      <a:pt x="1218" y="2703"/>
                    </a:lnTo>
                    <a:lnTo>
                      <a:pt x="1234" y="2700"/>
                    </a:lnTo>
                    <a:lnTo>
                      <a:pt x="1250" y="2696"/>
                    </a:lnTo>
                    <a:lnTo>
                      <a:pt x="1264" y="2690"/>
                    </a:lnTo>
                    <a:lnTo>
                      <a:pt x="1278" y="2683"/>
                    </a:lnTo>
                    <a:lnTo>
                      <a:pt x="1292" y="2675"/>
                    </a:lnTo>
                    <a:lnTo>
                      <a:pt x="1304" y="2666"/>
                    </a:lnTo>
                    <a:lnTo>
                      <a:pt x="1316" y="2656"/>
                    </a:lnTo>
                    <a:lnTo>
                      <a:pt x="1326" y="2644"/>
                    </a:lnTo>
                    <a:lnTo>
                      <a:pt x="1337" y="2632"/>
                    </a:lnTo>
                    <a:lnTo>
                      <a:pt x="1345" y="2618"/>
                    </a:lnTo>
                    <a:lnTo>
                      <a:pt x="1351" y="2604"/>
                    </a:lnTo>
                    <a:lnTo>
                      <a:pt x="1357" y="2589"/>
                    </a:lnTo>
                    <a:lnTo>
                      <a:pt x="1361" y="2573"/>
                    </a:lnTo>
                    <a:lnTo>
                      <a:pt x="1363" y="2557"/>
                    </a:lnTo>
                    <a:lnTo>
                      <a:pt x="1364" y="2540"/>
                    </a:lnTo>
                    <a:lnTo>
                      <a:pt x="1364" y="1227"/>
                    </a:lnTo>
                    <a:lnTo>
                      <a:pt x="1364" y="1227"/>
                    </a:lnTo>
                    <a:lnTo>
                      <a:pt x="1372" y="1212"/>
                    </a:lnTo>
                    <a:lnTo>
                      <a:pt x="1378" y="1197"/>
                    </a:lnTo>
                    <a:lnTo>
                      <a:pt x="1383" y="1181"/>
                    </a:lnTo>
                    <a:lnTo>
                      <a:pt x="1389" y="1164"/>
                    </a:lnTo>
                    <a:lnTo>
                      <a:pt x="1393" y="1147"/>
                    </a:lnTo>
                    <a:lnTo>
                      <a:pt x="1395" y="1130"/>
                    </a:lnTo>
                    <a:lnTo>
                      <a:pt x="1397" y="1112"/>
                    </a:lnTo>
                    <a:lnTo>
                      <a:pt x="1397" y="1094"/>
                    </a:lnTo>
                    <a:lnTo>
                      <a:pt x="1397" y="651"/>
                    </a:lnTo>
                    <a:lnTo>
                      <a:pt x="1397" y="651"/>
                    </a:lnTo>
                    <a:lnTo>
                      <a:pt x="1409" y="697"/>
                    </a:lnTo>
                    <a:lnTo>
                      <a:pt x="1418" y="746"/>
                    </a:lnTo>
                    <a:lnTo>
                      <a:pt x="1426" y="800"/>
                    </a:lnTo>
                    <a:lnTo>
                      <a:pt x="1430" y="858"/>
                    </a:lnTo>
                    <a:lnTo>
                      <a:pt x="1433" y="920"/>
                    </a:lnTo>
                    <a:lnTo>
                      <a:pt x="1433" y="988"/>
                    </a:lnTo>
                    <a:lnTo>
                      <a:pt x="1431" y="1060"/>
                    </a:lnTo>
                    <a:lnTo>
                      <a:pt x="1426" y="1138"/>
                    </a:lnTo>
                    <a:lnTo>
                      <a:pt x="1426" y="1138"/>
                    </a:lnTo>
                    <a:lnTo>
                      <a:pt x="1426" y="1153"/>
                    </a:lnTo>
                    <a:lnTo>
                      <a:pt x="1427" y="1166"/>
                    </a:lnTo>
                    <a:lnTo>
                      <a:pt x="1429" y="1179"/>
                    </a:lnTo>
                    <a:lnTo>
                      <a:pt x="1433" y="1193"/>
                    </a:lnTo>
                    <a:lnTo>
                      <a:pt x="1437" y="1205"/>
                    </a:lnTo>
                    <a:lnTo>
                      <a:pt x="1443" y="1217"/>
                    </a:lnTo>
                    <a:lnTo>
                      <a:pt x="1451" y="1228"/>
                    </a:lnTo>
                    <a:lnTo>
                      <a:pt x="1459" y="1238"/>
                    </a:lnTo>
                    <a:lnTo>
                      <a:pt x="1468" y="1248"/>
                    </a:lnTo>
                    <a:lnTo>
                      <a:pt x="1477" y="1257"/>
                    </a:lnTo>
                    <a:lnTo>
                      <a:pt x="1489" y="1265"/>
                    </a:lnTo>
                    <a:lnTo>
                      <a:pt x="1500" y="1272"/>
                    </a:lnTo>
                    <a:lnTo>
                      <a:pt x="1513" y="1276"/>
                    </a:lnTo>
                    <a:lnTo>
                      <a:pt x="1525" y="1281"/>
                    </a:lnTo>
                    <a:lnTo>
                      <a:pt x="1539" y="1284"/>
                    </a:lnTo>
                    <a:lnTo>
                      <a:pt x="1553" y="1287"/>
                    </a:lnTo>
                    <a:lnTo>
                      <a:pt x="1553" y="1287"/>
                    </a:lnTo>
                    <a:lnTo>
                      <a:pt x="1563" y="1287"/>
                    </a:lnTo>
                    <a:lnTo>
                      <a:pt x="1563" y="1287"/>
                    </a:lnTo>
                    <a:lnTo>
                      <a:pt x="1577" y="1287"/>
                    </a:lnTo>
                    <a:lnTo>
                      <a:pt x="1589" y="1284"/>
                    </a:lnTo>
                    <a:lnTo>
                      <a:pt x="1602" y="1281"/>
                    </a:lnTo>
                    <a:lnTo>
                      <a:pt x="1615" y="1277"/>
                    </a:lnTo>
                    <a:lnTo>
                      <a:pt x="1626" y="1272"/>
                    </a:lnTo>
                    <a:lnTo>
                      <a:pt x="1636" y="1266"/>
                    </a:lnTo>
                    <a:lnTo>
                      <a:pt x="1647" y="1258"/>
                    </a:lnTo>
                    <a:lnTo>
                      <a:pt x="1657" y="1250"/>
                    </a:lnTo>
                    <a:lnTo>
                      <a:pt x="1666" y="1241"/>
                    </a:lnTo>
                    <a:lnTo>
                      <a:pt x="1674" y="1232"/>
                    </a:lnTo>
                    <a:lnTo>
                      <a:pt x="1681" y="1221"/>
                    </a:lnTo>
                    <a:lnTo>
                      <a:pt x="1687" y="1210"/>
                    </a:lnTo>
                    <a:lnTo>
                      <a:pt x="1692" y="1198"/>
                    </a:lnTo>
                    <a:lnTo>
                      <a:pt x="1696" y="1186"/>
                    </a:lnTo>
                    <a:lnTo>
                      <a:pt x="1699" y="1173"/>
                    </a:lnTo>
                    <a:lnTo>
                      <a:pt x="1700" y="1159"/>
                    </a:lnTo>
                    <a:lnTo>
                      <a:pt x="1700" y="1159"/>
                    </a:lnTo>
                    <a:lnTo>
                      <a:pt x="1705" y="1095"/>
                    </a:lnTo>
                    <a:lnTo>
                      <a:pt x="1707" y="1035"/>
                    </a:lnTo>
                    <a:lnTo>
                      <a:pt x="1708" y="976"/>
                    </a:lnTo>
                    <a:lnTo>
                      <a:pt x="1708" y="920"/>
                    </a:lnTo>
                    <a:lnTo>
                      <a:pt x="1706" y="865"/>
                    </a:lnTo>
                    <a:lnTo>
                      <a:pt x="1703" y="813"/>
                    </a:lnTo>
                    <a:lnTo>
                      <a:pt x="1698" y="764"/>
                    </a:lnTo>
                    <a:lnTo>
                      <a:pt x="1692" y="717"/>
                    </a:lnTo>
                    <a:lnTo>
                      <a:pt x="1685" y="672"/>
                    </a:lnTo>
                    <a:lnTo>
                      <a:pt x="1676" y="630"/>
                    </a:lnTo>
                    <a:lnTo>
                      <a:pt x="1667" y="589"/>
                    </a:lnTo>
                    <a:lnTo>
                      <a:pt x="1656" y="550"/>
                    </a:lnTo>
                    <a:lnTo>
                      <a:pt x="1644" y="512"/>
                    </a:lnTo>
                    <a:lnTo>
                      <a:pt x="1631" y="477"/>
                    </a:lnTo>
                    <a:lnTo>
                      <a:pt x="1617" y="443"/>
                    </a:lnTo>
                    <a:lnTo>
                      <a:pt x="1602" y="411"/>
                    </a:lnTo>
                    <a:lnTo>
                      <a:pt x="1586" y="380"/>
                    </a:lnTo>
                    <a:lnTo>
                      <a:pt x="1569" y="352"/>
                    </a:lnTo>
                    <a:lnTo>
                      <a:pt x="1552" y="324"/>
                    </a:lnTo>
                    <a:lnTo>
                      <a:pt x="1533" y="298"/>
                    </a:lnTo>
                    <a:lnTo>
                      <a:pt x="1514" y="274"/>
                    </a:lnTo>
                    <a:lnTo>
                      <a:pt x="1494" y="250"/>
                    </a:lnTo>
                    <a:lnTo>
                      <a:pt x="1474" y="227"/>
                    </a:lnTo>
                    <a:lnTo>
                      <a:pt x="1453" y="206"/>
                    </a:lnTo>
                    <a:lnTo>
                      <a:pt x="1431" y="186"/>
                    </a:lnTo>
                    <a:lnTo>
                      <a:pt x="1410" y="166"/>
                    </a:lnTo>
                    <a:lnTo>
                      <a:pt x="1387" y="148"/>
                    </a:lnTo>
                    <a:lnTo>
                      <a:pt x="1365" y="131"/>
                    </a:lnTo>
                    <a:lnTo>
                      <a:pt x="1341" y="113"/>
                    </a:lnTo>
                    <a:lnTo>
                      <a:pt x="1318" y="97"/>
                    </a:lnTo>
                    <a:lnTo>
                      <a:pt x="1270" y="66"/>
                    </a:lnTo>
                    <a:lnTo>
                      <a:pt x="1270" y="66"/>
                    </a:lnTo>
                    <a:lnTo>
                      <a:pt x="1270" y="66"/>
                    </a:lnTo>
                    <a:lnTo>
                      <a:pt x="1261" y="62"/>
                    </a:lnTo>
                    <a:lnTo>
                      <a:pt x="1252" y="57"/>
                    </a:lnTo>
                    <a:lnTo>
                      <a:pt x="1252" y="57"/>
                    </a:lnTo>
                    <a:lnTo>
                      <a:pt x="1237" y="48"/>
                    </a:lnTo>
                    <a:lnTo>
                      <a:pt x="1221" y="39"/>
                    </a:lnTo>
                    <a:lnTo>
                      <a:pt x="1206" y="31"/>
                    </a:lnTo>
                    <a:lnTo>
                      <a:pt x="1190" y="24"/>
                    </a:lnTo>
                    <a:lnTo>
                      <a:pt x="1173" y="17"/>
                    </a:lnTo>
                    <a:lnTo>
                      <a:pt x="1157" y="10"/>
                    </a:lnTo>
                    <a:lnTo>
                      <a:pt x="1140" y="6"/>
                    </a:lnTo>
                    <a:lnTo>
                      <a:pt x="1123" y="1"/>
                    </a:lnTo>
                    <a:lnTo>
                      <a:pt x="1035" y="89"/>
                    </a:lnTo>
                    <a:lnTo>
                      <a:pt x="949" y="0"/>
                    </a:lnTo>
                    <a:lnTo>
                      <a:pt x="949" y="0"/>
                    </a:lnTo>
                    <a:lnTo>
                      <a:pt x="948" y="0"/>
                    </a:lnTo>
                    <a:lnTo>
                      <a:pt x="948" y="0"/>
                    </a:lnTo>
                    <a:lnTo>
                      <a:pt x="930" y="5"/>
                    </a:lnTo>
                    <a:lnTo>
                      <a:pt x="913" y="10"/>
                    </a:lnTo>
                    <a:lnTo>
                      <a:pt x="896" y="16"/>
                    </a:lnTo>
                    <a:lnTo>
                      <a:pt x="880" y="23"/>
                    </a:lnTo>
                    <a:lnTo>
                      <a:pt x="863" y="31"/>
                    </a:lnTo>
                    <a:lnTo>
                      <a:pt x="847" y="39"/>
                    </a:lnTo>
                    <a:lnTo>
                      <a:pt x="831" y="48"/>
                    </a:lnTo>
                    <a:lnTo>
                      <a:pt x="816" y="58"/>
                    </a:lnTo>
                    <a:lnTo>
                      <a:pt x="816" y="58"/>
                    </a:lnTo>
                    <a:lnTo>
                      <a:pt x="807" y="63"/>
                    </a:lnTo>
                    <a:lnTo>
                      <a:pt x="797" y="68"/>
                    </a:lnTo>
                    <a:lnTo>
                      <a:pt x="787" y="73"/>
                    </a:lnTo>
                    <a:lnTo>
                      <a:pt x="779" y="81"/>
                    </a:lnTo>
                    <a:lnTo>
                      <a:pt x="779" y="81"/>
                    </a:lnTo>
                    <a:lnTo>
                      <a:pt x="725" y="131"/>
                    </a:lnTo>
                    <a:lnTo>
                      <a:pt x="672" y="179"/>
                    </a:lnTo>
                    <a:lnTo>
                      <a:pt x="672" y="179"/>
                    </a:lnTo>
                    <a:lnTo>
                      <a:pt x="600" y="245"/>
                    </a:lnTo>
                    <a:lnTo>
                      <a:pt x="567" y="273"/>
                    </a:lnTo>
                    <a:lnTo>
                      <a:pt x="537" y="298"/>
                    </a:lnTo>
                    <a:lnTo>
                      <a:pt x="508" y="320"/>
                    </a:lnTo>
                    <a:lnTo>
                      <a:pt x="481" y="338"/>
                    </a:lnTo>
                    <a:lnTo>
                      <a:pt x="453" y="354"/>
                    </a:lnTo>
                    <a:lnTo>
                      <a:pt x="441" y="360"/>
                    </a:lnTo>
                    <a:lnTo>
                      <a:pt x="428" y="365"/>
                    </a:lnTo>
                    <a:lnTo>
                      <a:pt x="415" y="370"/>
                    </a:lnTo>
                    <a:lnTo>
                      <a:pt x="402" y="375"/>
                    </a:lnTo>
                    <a:lnTo>
                      <a:pt x="389" y="377"/>
                    </a:lnTo>
                    <a:lnTo>
                      <a:pt x="377" y="379"/>
                    </a:lnTo>
                    <a:lnTo>
                      <a:pt x="363" y="380"/>
                    </a:lnTo>
                    <a:lnTo>
                      <a:pt x="349" y="381"/>
                    </a:lnTo>
                    <a:lnTo>
                      <a:pt x="337" y="381"/>
                    </a:lnTo>
                    <a:lnTo>
                      <a:pt x="322" y="379"/>
                    </a:lnTo>
                    <a:lnTo>
                      <a:pt x="308" y="378"/>
                    </a:lnTo>
                    <a:lnTo>
                      <a:pt x="293" y="375"/>
                    </a:lnTo>
                    <a:lnTo>
                      <a:pt x="278" y="371"/>
                    </a:lnTo>
                    <a:lnTo>
                      <a:pt x="264" y="367"/>
                    </a:lnTo>
                    <a:lnTo>
                      <a:pt x="231" y="355"/>
                    </a:lnTo>
                    <a:lnTo>
                      <a:pt x="196" y="340"/>
                    </a:lnTo>
                    <a:lnTo>
                      <a:pt x="196" y="340"/>
                    </a:lnTo>
                    <a:lnTo>
                      <a:pt x="186" y="336"/>
                    </a:lnTo>
                    <a:lnTo>
                      <a:pt x="174" y="332"/>
                    </a:lnTo>
                    <a:lnTo>
                      <a:pt x="164" y="329"/>
                    </a:lnTo>
                    <a:lnTo>
                      <a:pt x="153" y="328"/>
                    </a:lnTo>
                    <a:lnTo>
                      <a:pt x="141" y="326"/>
                    </a:lnTo>
                    <a:lnTo>
                      <a:pt x="130" y="326"/>
                    </a:lnTo>
                    <a:lnTo>
                      <a:pt x="119" y="328"/>
                    </a:lnTo>
                    <a:lnTo>
                      <a:pt x="108" y="330"/>
                    </a:lnTo>
                    <a:lnTo>
                      <a:pt x="98" y="333"/>
                    </a:lnTo>
                    <a:lnTo>
                      <a:pt x="87" y="337"/>
                    </a:lnTo>
                    <a:lnTo>
                      <a:pt x="77" y="341"/>
                    </a:lnTo>
                    <a:lnTo>
                      <a:pt x="68" y="346"/>
                    </a:lnTo>
                    <a:lnTo>
                      <a:pt x="58" y="353"/>
                    </a:lnTo>
                    <a:lnTo>
                      <a:pt x="50" y="360"/>
                    </a:lnTo>
                    <a:lnTo>
                      <a:pt x="42" y="367"/>
                    </a:lnTo>
                    <a:lnTo>
                      <a:pt x="34" y="376"/>
                    </a:lnTo>
                    <a:lnTo>
                      <a:pt x="8" y="418"/>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43" name="Freeform 18">
                <a:extLst>
                  <a:ext uri="{FF2B5EF4-FFF2-40B4-BE49-F238E27FC236}">
                    <a16:creationId xmlns:a16="http://schemas.microsoft.com/office/drawing/2014/main" id="{0E6E14F8-6E75-4D90-9B18-0906DA9B4CBC}"/>
                  </a:ext>
                </a:extLst>
              </p:cNvPr>
              <p:cNvSpPr>
                <a:spLocks/>
              </p:cNvSpPr>
              <p:nvPr/>
            </p:nvSpPr>
            <p:spPr bwMode="auto">
              <a:xfrm>
                <a:off x="4725132" y="1263608"/>
                <a:ext cx="20100" cy="79595"/>
              </a:xfrm>
              <a:custGeom>
                <a:avLst/>
                <a:gdLst>
                  <a:gd name="T0" fmla="*/ 88 w 173"/>
                  <a:gd name="T1" fmla="*/ 690 h 690"/>
                  <a:gd name="T2" fmla="*/ 85 w 173"/>
                  <a:gd name="T3" fmla="*/ 690 h 690"/>
                  <a:gd name="T4" fmla="*/ 0 w 173"/>
                  <a:gd name="T5" fmla="*/ 573 h 690"/>
                  <a:gd name="T6" fmla="*/ 85 w 173"/>
                  <a:gd name="T7" fmla="*/ 0 h 690"/>
                  <a:gd name="T8" fmla="*/ 88 w 173"/>
                  <a:gd name="T9" fmla="*/ 0 h 690"/>
                  <a:gd name="T10" fmla="*/ 173 w 173"/>
                  <a:gd name="T11" fmla="*/ 573 h 690"/>
                  <a:gd name="T12" fmla="*/ 88 w 173"/>
                  <a:gd name="T13" fmla="*/ 690 h 690"/>
                </a:gdLst>
                <a:ahLst/>
                <a:cxnLst>
                  <a:cxn ang="0">
                    <a:pos x="T0" y="T1"/>
                  </a:cxn>
                  <a:cxn ang="0">
                    <a:pos x="T2" y="T3"/>
                  </a:cxn>
                  <a:cxn ang="0">
                    <a:pos x="T4" y="T5"/>
                  </a:cxn>
                  <a:cxn ang="0">
                    <a:pos x="T6" y="T7"/>
                  </a:cxn>
                  <a:cxn ang="0">
                    <a:pos x="T8" y="T9"/>
                  </a:cxn>
                  <a:cxn ang="0">
                    <a:pos x="T10" y="T11"/>
                  </a:cxn>
                  <a:cxn ang="0">
                    <a:pos x="T12" y="T13"/>
                  </a:cxn>
                </a:cxnLst>
                <a:rect l="0" t="0" r="r" b="b"/>
                <a:pathLst>
                  <a:path w="173" h="690">
                    <a:moveTo>
                      <a:pt x="88" y="690"/>
                    </a:moveTo>
                    <a:lnTo>
                      <a:pt x="85" y="690"/>
                    </a:lnTo>
                    <a:lnTo>
                      <a:pt x="0" y="573"/>
                    </a:lnTo>
                    <a:lnTo>
                      <a:pt x="85" y="0"/>
                    </a:lnTo>
                    <a:lnTo>
                      <a:pt x="88" y="0"/>
                    </a:lnTo>
                    <a:lnTo>
                      <a:pt x="173" y="573"/>
                    </a:lnTo>
                    <a:lnTo>
                      <a:pt x="88" y="690"/>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44" name="Line 19">
                <a:extLst>
                  <a:ext uri="{FF2B5EF4-FFF2-40B4-BE49-F238E27FC236}">
                    <a16:creationId xmlns:a16="http://schemas.microsoft.com/office/drawing/2014/main" id="{4CD0D721-4CBF-4455-883F-691904FA6B63}"/>
                  </a:ext>
                </a:extLst>
              </p:cNvPr>
              <p:cNvSpPr>
                <a:spLocks noChangeShapeType="1"/>
              </p:cNvSpPr>
              <p:nvPr/>
            </p:nvSpPr>
            <p:spPr bwMode="auto">
              <a:xfrm>
                <a:off x="4734780" y="1343203"/>
                <a:ext cx="0" cy="0"/>
              </a:xfrm>
              <a:prstGeom prst="line">
                <a:avLst/>
              </a:prstGeom>
              <a:noFill/>
              <a:ln w="63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45" name="Rounded Rectangle 936">
                <a:extLst>
                  <a:ext uri="{FF2B5EF4-FFF2-40B4-BE49-F238E27FC236}">
                    <a16:creationId xmlns:a16="http://schemas.microsoft.com/office/drawing/2014/main" id="{B7FD3ADE-720D-4473-A4A6-BDFC74043284}"/>
                  </a:ext>
                </a:extLst>
              </p:cNvPr>
              <p:cNvSpPr/>
              <p:nvPr/>
            </p:nvSpPr>
            <p:spPr bwMode="gray">
              <a:xfrm>
                <a:off x="4694580" y="1431234"/>
                <a:ext cx="58678" cy="163243"/>
              </a:xfrm>
              <a:prstGeom prst="roundRect">
                <a:avLst/>
              </a:prstGeom>
              <a:solidFill>
                <a:srgbClr val="FFD23D"/>
              </a:solidFill>
              <a:ln w="9525" algn="ctr">
                <a:solidFill>
                  <a:schemeClr val="tx1">
                    <a:lumMod val="75000"/>
                    <a:lumOff val="25000"/>
                  </a:schemeClr>
                </a:solid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sp>
            <p:nvSpPr>
              <p:cNvPr id="846" name="Rounded Rectangle 935">
                <a:extLst>
                  <a:ext uri="{FF2B5EF4-FFF2-40B4-BE49-F238E27FC236}">
                    <a16:creationId xmlns:a16="http://schemas.microsoft.com/office/drawing/2014/main" id="{57BDB8A4-6D10-49B6-B42B-CF5F74A10B62}"/>
                  </a:ext>
                </a:extLst>
              </p:cNvPr>
              <p:cNvSpPr/>
              <p:nvPr/>
            </p:nvSpPr>
            <p:spPr bwMode="gray">
              <a:xfrm>
                <a:off x="4611602" y="1400256"/>
                <a:ext cx="219894" cy="57488"/>
              </a:xfrm>
              <a:prstGeom prst="roundRect">
                <a:avLst/>
              </a:prstGeom>
              <a:solidFill>
                <a:srgbClr val="FFD23D"/>
              </a:solidFill>
              <a:ln w="9525" algn="ctr">
                <a:solidFill>
                  <a:schemeClr val="tx1">
                    <a:lumMod val="65000"/>
                    <a:lumOff val="35000"/>
                  </a:schemeClr>
                </a:solid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sp>
          <p:nvSpPr>
            <p:cNvPr id="831" name="Rectangle 830">
              <a:extLst>
                <a:ext uri="{FF2B5EF4-FFF2-40B4-BE49-F238E27FC236}">
                  <a16:creationId xmlns:a16="http://schemas.microsoft.com/office/drawing/2014/main" id="{154FE32D-D446-48BB-8E63-0B79D5913693}"/>
                </a:ext>
              </a:extLst>
            </p:cNvPr>
            <p:cNvSpPr/>
            <p:nvPr/>
          </p:nvSpPr>
          <p:spPr>
            <a:xfrm>
              <a:off x="2900858" y="2973350"/>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Daily Standup</a:t>
              </a:r>
            </a:p>
          </p:txBody>
        </p:sp>
      </p:grpSp>
      <p:grpSp>
        <p:nvGrpSpPr>
          <p:cNvPr id="847" name="Group 846">
            <a:extLst>
              <a:ext uri="{FF2B5EF4-FFF2-40B4-BE49-F238E27FC236}">
                <a16:creationId xmlns:a16="http://schemas.microsoft.com/office/drawing/2014/main" id="{2CC526C5-4CED-48E9-9144-9BB39E457136}"/>
              </a:ext>
            </a:extLst>
          </p:cNvPr>
          <p:cNvGrpSpPr/>
          <p:nvPr/>
        </p:nvGrpSpPr>
        <p:grpSpPr>
          <a:xfrm>
            <a:off x="3676979" y="3561688"/>
            <a:ext cx="838958" cy="718707"/>
            <a:chOff x="493925" y="3709496"/>
            <a:chExt cx="1115908" cy="955961"/>
          </a:xfrm>
        </p:grpSpPr>
        <p:pic>
          <p:nvPicPr>
            <p:cNvPr id="848" name="Picture 847">
              <a:extLst>
                <a:ext uri="{FF2B5EF4-FFF2-40B4-BE49-F238E27FC236}">
                  <a16:creationId xmlns:a16="http://schemas.microsoft.com/office/drawing/2014/main" id="{E1754255-1D6C-4775-80B1-EB11A2EDE4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2493" y="3709496"/>
              <a:ext cx="480696" cy="467156"/>
            </a:xfrm>
            <a:prstGeom prst="rect">
              <a:avLst/>
            </a:prstGeom>
          </p:spPr>
        </p:pic>
        <p:sp>
          <p:nvSpPr>
            <p:cNvPr id="849" name="Rectangle 848">
              <a:extLst>
                <a:ext uri="{FF2B5EF4-FFF2-40B4-BE49-F238E27FC236}">
                  <a16:creationId xmlns:a16="http://schemas.microsoft.com/office/drawing/2014/main" id="{BEF8B360-EC75-4B64-A85A-2F56F1F1A844}"/>
                </a:ext>
              </a:extLst>
            </p:cNvPr>
            <p:cNvSpPr/>
            <p:nvPr/>
          </p:nvSpPr>
          <p:spPr>
            <a:xfrm>
              <a:off x="493925" y="4233658"/>
              <a:ext cx="1115908" cy="431799"/>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Product Backlog Refinement</a:t>
              </a:r>
            </a:p>
          </p:txBody>
        </p:sp>
      </p:grpSp>
      <p:grpSp>
        <p:nvGrpSpPr>
          <p:cNvPr id="850" name="Group 849">
            <a:extLst>
              <a:ext uri="{FF2B5EF4-FFF2-40B4-BE49-F238E27FC236}">
                <a16:creationId xmlns:a16="http://schemas.microsoft.com/office/drawing/2014/main" id="{01231A83-BBE4-4CCE-80E1-6540FD721DC2}"/>
              </a:ext>
            </a:extLst>
          </p:cNvPr>
          <p:cNvGrpSpPr/>
          <p:nvPr/>
        </p:nvGrpSpPr>
        <p:grpSpPr>
          <a:xfrm>
            <a:off x="3693118" y="2580258"/>
            <a:ext cx="838958" cy="641775"/>
            <a:chOff x="1696657" y="3657488"/>
            <a:chExt cx="1115908" cy="853632"/>
          </a:xfrm>
        </p:grpSpPr>
        <p:pic>
          <p:nvPicPr>
            <p:cNvPr id="851" name="Picture 850">
              <a:extLst>
                <a:ext uri="{FF2B5EF4-FFF2-40B4-BE49-F238E27FC236}">
                  <a16:creationId xmlns:a16="http://schemas.microsoft.com/office/drawing/2014/main" id="{A170F715-9022-4D32-89A1-DAD2A4C9C327}"/>
                </a:ext>
              </a:extLst>
            </p:cNvPr>
            <p:cNvPicPr>
              <a:picLocks noChangeAspect="1"/>
            </p:cNvPicPr>
            <p:nvPr/>
          </p:nvPicPr>
          <p:blipFill>
            <a:blip r:embed="rId6"/>
            <a:stretch>
              <a:fillRect/>
            </a:stretch>
          </p:blipFill>
          <p:spPr>
            <a:xfrm>
              <a:off x="2009262" y="3657488"/>
              <a:ext cx="528886" cy="519164"/>
            </a:xfrm>
            <a:prstGeom prst="rect">
              <a:avLst/>
            </a:prstGeom>
          </p:spPr>
        </p:pic>
        <p:sp>
          <p:nvSpPr>
            <p:cNvPr id="852" name="Rectangle 851">
              <a:extLst>
                <a:ext uri="{FF2B5EF4-FFF2-40B4-BE49-F238E27FC236}">
                  <a16:creationId xmlns:a16="http://schemas.microsoft.com/office/drawing/2014/main" id="{BBAAD0B6-192B-406F-9D46-0A5ADB6AA308}"/>
                </a:ext>
              </a:extLst>
            </p:cNvPr>
            <p:cNvSpPr/>
            <p:nvPr/>
          </p:nvSpPr>
          <p:spPr>
            <a:xfrm>
              <a:off x="1696657" y="4233657"/>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crum of Scrums</a:t>
              </a:r>
            </a:p>
          </p:txBody>
        </p:sp>
      </p:grpSp>
      <p:grpSp>
        <p:nvGrpSpPr>
          <p:cNvPr id="853" name="Group 852">
            <a:extLst>
              <a:ext uri="{FF2B5EF4-FFF2-40B4-BE49-F238E27FC236}">
                <a16:creationId xmlns:a16="http://schemas.microsoft.com/office/drawing/2014/main" id="{9F6FED6C-8402-4AA8-AE82-BD41C5910147}"/>
              </a:ext>
            </a:extLst>
          </p:cNvPr>
          <p:cNvGrpSpPr/>
          <p:nvPr/>
        </p:nvGrpSpPr>
        <p:grpSpPr>
          <a:xfrm>
            <a:off x="2840167" y="3583902"/>
            <a:ext cx="907008" cy="690524"/>
            <a:chOff x="2853427" y="3746127"/>
            <a:chExt cx="1206422" cy="918474"/>
          </a:xfrm>
        </p:grpSpPr>
        <p:grpSp>
          <p:nvGrpSpPr>
            <p:cNvPr id="854" name="Group 853">
              <a:extLst>
                <a:ext uri="{FF2B5EF4-FFF2-40B4-BE49-F238E27FC236}">
                  <a16:creationId xmlns:a16="http://schemas.microsoft.com/office/drawing/2014/main" id="{A62A06DD-E590-409B-98A8-15A211F13617}"/>
                </a:ext>
              </a:extLst>
            </p:cNvPr>
            <p:cNvGrpSpPr/>
            <p:nvPr/>
          </p:nvGrpSpPr>
          <p:grpSpPr>
            <a:xfrm>
              <a:off x="3180538" y="3746127"/>
              <a:ext cx="491646" cy="427058"/>
              <a:chOff x="4404171" y="2850321"/>
              <a:chExt cx="604307" cy="524919"/>
            </a:xfrm>
          </p:grpSpPr>
          <p:sp>
            <p:nvSpPr>
              <p:cNvPr id="856" name="Line 67">
                <a:extLst>
                  <a:ext uri="{FF2B5EF4-FFF2-40B4-BE49-F238E27FC236}">
                    <a16:creationId xmlns:a16="http://schemas.microsoft.com/office/drawing/2014/main" id="{CB9DC393-CA18-4B69-A499-706BFED15421}"/>
                  </a:ext>
                </a:extLst>
              </p:cNvPr>
              <p:cNvSpPr>
                <a:spLocks noChangeShapeType="1"/>
              </p:cNvSpPr>
              <p:nvPr/>
            </p:nvSpPr>
            <p:spPr bwMode="auto">
              <a:xfrm rot="8100000">
                <a:off x="4420834" y="305030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57" name="Line 69">
                <a:extLst>
                  <a:ext uri="{FF2B5EF4-FFF2-40B4-BE49-F238E27FC236}">
                    <a16:creationId xmlns:a16="http://schemas.microsoft.com/office/drawing/2014/main" id="{8F48CA6D-44BE-43C2-933E-EEEEA11B167D}"/>
                  </a:ext>
                </a:extLst>
              </p:cNvPr>
              <p:cNvSpPr>
                <a:spLocks noChangeShapeType="1"/>
              </p:cNvSpPr>
              <p:nvPr/>
            </p:nvSpPr>
            <p:spPr bwMode="auto">
              <a:xfrm rot="8100000">
                <a:off x="4732806" y="337524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58" name="Line 74">
                <a:extLst>
                  <a:ext uri="{FF2B5EF4-FFF2-40B4-BE49-F238E27FC236}">
                    <a16:creationId xmlns:a16="http://schemas.microsoft.com/office/drawing/2014/main" id="{CFFA4F3D-AEE4-4335-85A1-29C028D0596D}"/>
                  </a:ext>
                </a:extLst>
              </p:cNvPr>
              <p:cNvSpPr>
                <a:spLocks noChangeShapeType="1"/>
              </p:cNvSpPr>
              <p:nvPr/>
            </p:nvSpPr>
            <p:spPr bwMode="auto">
              <a:xfrm rot="8100000">
                <a:off x="4404171" y="306697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pic>
            <p:nvPicPr>
              <p:cNvPr id="859" name="Picture 858">
                <a:extLst>
                  <a:ext uri="{FF2B5EF4-FFF2-40B4-BE49-F238E27FC236}">
                    <a16:creationId xmlns:a16="http://schemas.microsoft.com/office/drawing/2014/main" id="{2BB8B1C9-EB26-4FA2-B8D9-41F881EA05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32652" y="2850321"/>
                <a:ext cx="575826" cy="485435"/>
              </a:xfrm>
              <a:prstGeom prst="rect">
                <a:avLst/>
              </a:prstGeom>
            </p:spPr>
          </p:pic>
          <p:sp>
            <p:nvSpPr>
              <p:cNvPr id="860" name="Freeform 53">
                <a:extLst>
                  <a:ext uri="{FF2B5EF4-FFF2-40B4-BE49-F238E27FC236}">
                    <a16:creationId xmlns:a16="http://schemas.microsoft.com/office/drawing/2014/main" id="{88203C56-519C-4959-B28F-D6FF9E724FAB}"/>
                  </a:ext>
                </a:extLst>
              </p:cNvPr>
              <p:cNvSpPr>
                <a:spLocks/>
              </p:cNvSpPr>
              <p:nvPr/>
            </p:nvSpPr>
            <p:spPr bwMode="auto">
              <a:xfrm>
                <a:off x="4690779" y="2860920"/>
                <a:ext cx="63373" cy="7415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F9B313"/>
              </a:solidFill>
              <a:ln>
                <a:noFill/>
              </a:ln>
            </p:spPr>
            <p:txBody>
              <a:bodyPr vert="horz" wrap="square" lIns="68746" tIns="34374" rIns="68746" bIns="34374" numCol="1" anchor="t" anchorCtr="0" compatLnSpc="1">
                <a:prstTxWarp prst="textNoShape">
                  <a:avLst/>
                </a:prstTxWarp>
              </a:bodyPr>
              <a:lstStyle/>
              <a:p>
                <a:endParaRPr lang="en-US" sz="1354" dirty="0"/>
              </a:p>
            </p:txBody>
          </p:sp>
          <p:sp>
            <p:nvSpPr>
              <p:cNvPr id="861" name="Freeform 53">
                <a:extLst>
                  <a:ext uri="{FF2B5EF4-FFF2-40B4-BE49-F238E27FC236}">
                    <a16:creationId xmlns:a16="http://schemas.microsoft.com/office/drawing/2014/main" id="{286B29EF-FDDF-4841-8E70-AFD4F14AFE61}"/>
                  </a:ext>
                </a:extLst>
              </p:cNvPr>
              <p:cNvSpPr>
                <a:spLocks/>
              </p:cNvSpPr>
              <p:nvPr/>
            </p:nvSpPr>
            <p:spPr bwMode="auto">
              <a:xfrm>
                <a:off x="4873162" y="2872367"/>
                <a:ext cx="82296" cy="9144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50CFE6"/>
              </a:solidFill>
              <a:ln>
                <a:solidFill>
                  <a:srgbClr val="53565A"/>
                </a:solidFill>
              </a:ln>
            </p:spPr>
            <p:txBody>
              <a:bodyPr vert="horz" wrap="square" lIns="68746" tIns="34374" rIns="68746" bIns="34374" numCol="1" anchor="t" anchorCtr="0" compatLnSpc="1">
                <a:prstTxWarp prst="textNoShape">
                  <a:avLst/>
                </a:prstTxWarp>
              </a:bodyPr>
              <a:lstStyle/>
              <a:p>
                <a:endParaRPr lang="en-US" sz="1354" dirty="0"/>
              </a:p>
            </p:txBody>
          </p:sp>
          <p:sp>
            <p:nvSpPr>
              <p:cNvPr id="862" name="Freeform 53">
                <a:extLst>
                  <a:ext uri="{FF2B5EF4-FFF2-40B4-BE49-F238E27FC236}">
                    <a16:creationId xmlns:a16="http://schemas.microsoft.com/office/drawing/2014/main" id="{338D622C-424F-4A0A-BD24-CD2D8C97E56B}"/>
                  </a:ext>
                </a:extLst>
              </p:cNvPr>
              <p:cNvSpPr>
                <a:spLocks/>
              </p:cNvSpPr>
              <p:nvPr/>
            </p:nvSpPr>
            <p:spPr bwMode="auto">
              <a:xfrm>
                <a:off x="4488426" y="2872367"/>
                <a:ext cx="82296" cy="9144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50CFE6"/>
              </a:solidFill>
              <a:ln>
                <a:solidFill>
                  <a:srgbClr val="53565A"/>
                </a:solidFill>
              </a:ln>
            </p:spPr>
            <p:txBody>
              <a:bodyPr vert="horz" wrap="square" lIns="68746" tIns="34374" rIns="68746" bIns="34374" numCol="1" anchor="t" anchorCtr="0" compatLnSpc="1">
                <a:prstTxWarp prst="textNoShape">
                  <a:avLst/>
                </a:prstTxWarp>
              </a:bodyPr>
              <a:lstStyle/>
              <a:p>
                <a:endParaRPr lang="en-US" sz="1354" dirty="0"/>
              </a:p>
            </p:txBody>
          </p:sp>
        </p:grpSp>
        <p:sp>
          <p:nvSpPr>
            <p:cNvPr id="855" name="Rectangle 854">
              <a:extLst>
                <a:ext uri="{FF2B5EF4-FFF2-40B4-BE49-F238E27FC236}">
                  <a16:creationId xmlns:a16="http://schemas.microsoft.com/office/drawing/2014/main" id="{13E06CF9-AD42-4F80-AA23-1DA22134993C}"/>
                </a:ext>
              </a:extLst>
            </p:cNvPr>
            <p:cNvSpPr/>
            <p:nvPr/>
          </p:nvSpPr>
          <p:spPr>
            <a:xfrm>
              <a:off x="2853427" y="4233658"/>
              <a:ext cx="1206422" cy="43094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print Retrospective</a:t>
              </a:r>
            </a:p>
          </p:txBody>
        </p:sp>
      </p:grpSp>
      <p:sp>
        <p:nvSpPr>
          <p:cNvPr id="4" name="Title 3">
            <a:extLst>
              <a:ext uri="{FF2B5EF4-FFF2-40B4-BE49-F238E27FC236}">
                <a16:creationId xmlns:a16="http://schemas.microsoft.com/office/drawing/2014/main" id="{E0AA82B5-9224-44EA-B623-9C5DEE603BFC}"/>
              </a:ext>
            </a:extLst>
          </p:cNvPr>
          <p:cNvSpPr>
            <a:spLocks noGrp="1"/>
          </p:cNvSpPr>
          <p:nvPr>
            <p:ph type="title"/>
          </p:nvPr>
        </p:nvSpPr>
        <p:spPr/>
        <p:txBody>
          <a:bodyPr/>
          <a:lstStyle/>
          <a:p>
            <a:r>
              <a:rPr lang="en-US" dirty="0"/>
              <a:t>We’ve covered, so far</a:t>
            </a:r>
          </a:p>
        </p:txBody>
      </p:sp>
      <p:sp>
        <p:nvSpPr>
          <p:cNvPr id="3" name="Text Placeholder 2">
            <a:extLst>
              <a:ext uri="{FF2B5EF4-FFF2-40B4-BE49-F238E27FC236}">
                <a16:creationId xmlns:a16="http://schemas.microsoft.com/office/drawing/2014/main" id="{5930608E-4186-4AD7-B5DD-711875F0EBD0}"/>
              </a:ext>
            </a:extLst>
          </p:cNvPr>
          <p:cNvSpPr>
            <a:spLocks noGrp="1"/>
          </p:cNvSpPr>
          <p:nvPr>
            <p:ph type="body" sz="quarter" idx="13"/>
          </p:nvPr>
        </p:nvSpPr>
        <p:spPr/>
        <p:txBody>
          <a:bodyPr/>
          <a:lstStyle/>
          <a:p>
            <a:r>
              <a:rPr lang="en-US" dirty="0"/>
              <a:t> </a:t>
            </a:r>
          </a:p>
        </p:txBody>
      </p:sp>
      <p:sp>
        <p:nvSpPr>
          <p:cNvPr id="417" name="Rectangle 416">
            <a:extLst>
              <a:ext uri="{FF2B5EF4-FFF2-40B4-BE49-F238E27FC236}">
                <a16:creationId xmlns:a16="http://schemas.microsoft.com/office/drawing/2014/main" id="{CC81284C-0ED3-42A8-AFB2-DF2B6ACF732E}"/>
              </a:ext>
            </a:extLst>
          </p:cNvPr>
          <p:cNvSpPr/>
          <p:nvPr/>
        </p:nvSpPr>
        <p:spPr bwMode="gray">
          <a:xfrm>
            <a:off x="4743367" y="2097962"/>
            <a:ext cx="2769009" cy="3229580"/>
          </a:xfrm>
          <a:prstGeom prst="rect">
            <a:avLst/>
          </a:prstGeom>
          <a:solidFill>
            <a:schemeClr val="bg1">
              <a:alpha val="80000"/>
            </a:schemeClr>
          </a:solidFill>
          <a:ln w="38100" algn="ctr">
            <a:solidFill>
              <a:srgbClr val="97999B"/>
            </a:solidFill>
            <a:miter lim="800000"/>
            <a:headEnd/>
            <a:tailEnd/>
          </a:ln>
          <a:effectLst/>
        </p:spPr>
        <p:txBody>
          <a:bodyPr wrap="square" lIns="28409" tIns="28409" rIns="28409" bIns="28409" rtlCol="0" anchor="t"/>
          <a:lstStyle/>
          <a:p>
            <a:pPr algn="ctr" defTabSz="623398">
              <a:lnSpc>
                <a:spcPct val="106000"/>
              </a:lnSpc>
            </a:pPr>
            <a:r>
              <a:rPr lang="en-US" sz="1053" b="1" dirty="0">
                <a:latin typeface="Verdana"/>
              </a:rPr>
              <a:t>3 Scrum Team roles</a:t>
            </a:r>
          </a:p>
        </p:txBody>
      </p:sp>
      <p:grpSp>
        <p:nvGrpSpPr>
          <p:cNvPr id="418" name="Group 417">
            <a:extLst>
              <a:ext uri="{FF2B5EF4-FFF2-40B4-BE49-F238E27FC236}">
                <a16:creationId xmlns:a16="http://schemas.microsoft.com/office/drawing/2014/main" id="{5FFC3856-F6AD-44C0-83F8-F5E6FDBDADB5}"/>
              </a:ext>
            </a:extLst>
          </p:cNvPr>
          <p:cNvGrpSpPr/>
          <p:nvPr/>
        </p:nvGrpSpPr>
        <p:grpSpPr>
          <a:xfrm>
            <a:off x="5043334" y="3427582"/>
            <a:ext cx="537071" cy="735244"/>
            <a:chOff x="8545699" y="784921"/>
            <a:chExt cx="478771" cy="655434"/>
          </a:xfrm>
        </p:grpSpPr>
        <p:sp>
          <p:nvSpPr>
            <p:cNvPr id="419" name="Rectangle 418">
              <a:extLst>
                <a:ext uri="{FF2B5EF4-FFF2-40B4-BE49-F238E27FC236}">
                  <a16:creationId xmlns:a16="http://schemas.microsoft.com/office/drawing/2014/main" id="{BE917925-D9C7-4642-8E68-4699609952FF}"/>
                </a:ext>
              </a:extLst>
            </p:cNvPr>
            <p:cNvSpPr/>
            <p:nvPr/>
          </p:nvSpPr>
          <p:spPr>
            <a:xfrm>
              <a:off x="8545699" y="1151534"/>
              <a:ext cx="478771" cy="288821"/>
            </a:xfrm>
            <a:prstGeom prst="rect">
              <a:avLst/>
            </a:prstGeom>
          </p:spPr>
          <p:txBody>
            <a:bodyPr wrap="square" lIns="0" rIns="0">
              <a:spAutoFit/>
            </a:bodyPr>
            <a:lstStyle/>
            <a:p>
              <a:pPr algn="ctr">
                <a:buClr>
                  <a:srgbClr val="62B5E5"/>
                </a:buClr>
              </a:pPr>
              <a:r>
                <a:rPr lang="en-US" sz="752" b="1" dirty="0">
                  <a:latin typeface="+mj-lt"/>
                  <a:ea typeface="Open Sans" panose="020B0606030504020204" pitchFamily="34" charset="0"/>
                  <a:cs typeface="Open Sans" panose="020B0606030504020204" pitchFamily="34" charset="0"/>
                </a:rPr>
                <a:t>Product</a:t>
              </a:r>
              <a:br>
                <a:rPr lang="en-US" sz="752" b="1" dirty="0">
                  <a:latin typeface="+mj-lt"/>
                  <a:ea typeface="Open Sans" panose="020B0606030504020204" pitchFamily="34" charset="0"/>
                  <a:cs typeface="Open Sans" panose="020B0606030504020204" pitchFamily="34" charset="0"/>
                </a:rPr>
              </a:br>
              <a:r>
                <a:rPr lang="en-US" sz="752" b="1" dirty="0">
                  <a:latin typeface="+mj-lt"/>
                  <a:ea typeface="Open Sans" panose="020B0606030504020204" pitchFamily="34" charset="0"/>
                  <a:cs typeface="Open Sans" panose="020B0606030504020204" pitchFamily="34" charset="0"/>
                </a:rPr>
                <a:t>owner</a:t>
              </a:r>
            </a:p>
          </p:txBody>
        </p:sp>
        <p:grpSp>
          <p:nvGrpSpPr>
            <p:cNvPr id="420" name="Group 419">
              <a:extLst>
                <a:ext uri="{FF2B5EF4-FFF2-40B4-BE49-F238E27FC236}">
                  <a16:creationId xmlns:a16="http://schemas.microsoft.com/office/drawing/2014/main" id="{0ADB71AE-399A-4C5E-A00C-AB09BFCB3FF1}"/>
                </a:ext>
              </a:extLst>
            </p:cNvPr>
            <p:cNvGrpSpPr/>
            <p:nvPr/>
          </p:nvGrpSpPr>
          <p:grpSpPr>
            <a:xfrm>
              <a:off x="8619128" y="784921"/>
              <a:ext cx="368776" cy="368777"/>
              <a:chOff x="8658291" y="478163"/>
              <a:chExt cx="368776" cy="368777"/>
            </a:xfrm>
          </p:grpSpPr>
          <p:grpSp>
            <p:nvGrpSpPr>
              <p:cNvPr id="421" name="Group 64">
                <a:extLst>
                  <a:ext uri="{FF2B5EF4-FFF2-40B4-BE49-F238E27FC236}">
                    <a16:creationId xmlns:a16="http://schemas.microsoft.com/office/drawing/2014/main" id="{2993C4A3-12D3-4860-ADCC-15DDC61BD7B2}"/>
                  </a:ext>
                </a:extLst>
              </p:cNvPr>
              <p:cNvGrpSpPr>
                <a:grpSpLocks noChangeAspect="1"/>
              </p:cNvGrpSpPr>
              <p:nvPr/>
            </p:nvGrpSpPr>
            <p:grpSpPr bwMode="auto">
              <a:xfrm rot="8100000">
                <a:off x="8658291" y="478163"/>
                <a:ext cx="368776" cy="368777"/>
                <a:chOff x="701" y="2170"/>
                <a:chExt cx="587" cy="587"/>
              </a:xfrm>
            </p:grpSpPr>
            <p:sp>
              <p:nvSpPr>
                <p:cNvPr id="432" name="Oval 65">
                  <a:extLst>
                    <a:ext uri="{FF2B5EF4-FFF2-40B4-BE49-F238E27FC236}">
                      <a16:creationId xmlns:a16="http://schemas.microsoft.com/office/drawing/2014/main" id="{E2C984B7-C9C4-4565-B9C5-954E27CCD941}"/>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33" name="Line 66">
                  <a:extLst>
                    <a:ext uri="{FF2B5EF4-FFF2-40B4-BE49-F238E27FC236}">
                      <a16:creationId xmlns:a16="http://schemas.microsoft.com/office/drawing/2014/main" id="{D7E351FF-D073-4975-8BCD-C5C10A57DA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34" name="Line 67">
                  <a:extLst>
                    <a:ext uri="{FF2B5EF4-FFF2-40B4-BE49-F238E27FC236}">
                      <a16:creationId xmlns:a16="http://schemas.microsoft.com/office/drawing/2014/main" id="{61AB9C2A-CC43-47CA-920E-A018A8561A7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35" name="Line 69">
                  <a:extLst>
                    <a:ext uri="{FF2B5EF4-FFF2-40B4-BE49-F238E27FC236}">
                      <a16:creationId xmlns:a16="http://schemas.microsoft.com/office/drawing/2014/main" id="{3EAB5318-A71C-49B0-8B0D-3A60A88C2073}"/>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36" name="Line 74">
                  <a:extLst>
                    <a:ext uri="{FF2B5EF4-FFF2-40B4-BE49-F238E27FC236}">
                      <a16:creationId xmlns:a16="http://schemas.microsoft.com/office/drawing/2014/main" id="{876D36B4-43E5-4904-8F8B-F89F75154F83}"/>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37" name="Freeform 78">
                  <a:extLst>
                    <a:ext uri="{FF2B5EF4-FFF2-40B4-BE49-F238E27FC236}">
                      <a16:creationId xmlns:a16="http://schemas.microsoft.com/office/drawing/2014/main" id="{84CCB894-3860-436A-A89D-45D104D3471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38" name="Freeform 80">
                  <a:extLst>
                    <a:ext uri="{FF2B5EF4-FFF2-40B4-BE49-F238E27FC236}">
                      <a16:creationId xmlns:a16="http://schemas.microsoft.com/office/drawing/2014/main" id="{A6DFDD0C-B0CB-4E65-BA41-3E68D713400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nvGrpSpPr>
              <p:cNvPr id="422" name="Group 421">
                <a:extLst>
                  <a:ext uri="{FF2B5EF4-FFF2-40B4-BE49-F238E27FC236}">
                    <a16:creationId xmlns:a16="http://schemas.microsoft.com/office/drawing/2014/main" id="{FB97568D-384C-4FB4-9784-42EC533B1945}"/>
                  </a:ext>
                </a:extLst>
              </p:cNvPr>
              <p:cNvGrpSpPr/>
              <p:nvPr/>
            </p:nvGrpSpPr>
            <p:grpSpPr>
              <a:xfrm>
                <a:off x="8749618" y="524463"/>
                <a:ext cx="136805" cy="278689"/>
                <a:chOff x="2806700" y="2803319"/>
                <a:chExt cx="433387" cy="882861"/>
              </a:xfrm>
            </p:grpSpPr>
            <p:grpSp>
              <p:nvGrpSpPr>
                <p:cNvPr id="423" name="Group 422">
                  <a:extLst>
                    <a:ext uri="{FF2B5EF4-FFF2-40B4-BE49-F238E27FC236}">
                      <a16:creationId xmlns:a16="http://schemas.microsoft.com/office/drawing/2014/main" id="{7C0C1140-43B0-4818-9C58-702CD87F34F6}"/>
                    </a:ext>
                  </a:extLst>
                </p:cNvPr>
                <p:cNvGrpSpPr>
                  <a:grpSpLocks noChangeAspect="1"/>
                </p:cNvGrpSpPr>
                <p:nvPr/>
              </p:nvGrpSpPr>
              <p:grpSpPr bwMode="auto">
                <a:xfrm>
                  <a:off x="2806700" y="3043242"/>
                  <a:ext cx="433387" cy="642938"/>
                  <a:chOff x="1768" y="1917"/>
                  <a:chExt cx="273" cy="405"/>
                </a:xfrm>
              </p:grpSpPr>
              <p:sp>
                <p:nvSpPr>
                  <p:cNvPr id="425" name="Freeform 52">
                    <a:extLst>
                      <a:ext uri="{FF2B5EF4-FFF2-40B4-BE49-F238E27FC236}">
                        <a16:creationId xmlns:a16="http://schemas.microsoft.com/office/drawing/2014/main" id="{AF361E0E-4868-4D5C-BF28-F31D0808F97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26" name="Line 54">
                    <a:extLst>
                      <a:ext uri="{FF2B5EF4-FFF2-40B4-BE49-F238E27FC236}">
                        <a16:creationId xmlns:a16="http://schemas.microsoft.com/office/drawing/2014/main" id="{5681852B-0D91-483E-884A-6EC0D5C2CCF0}"/>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27" name="Line 55">
                    <a:extLst>
                      <a:ext uri="{FF2B5EF4-FFF2-40B4-BE49-F238E27FC236}">
                        <a16:creationId xmlns:a16="http://schemas.microsoft.com/office/drawing/2014/main" id="{F8FF88A5-6612-46E7-A481-51053842F4F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28" name="Freeform 56">
                    <a:extLst>
                      <a:ext uri="{FF2B5EF4-FFF2-40B4-BE49-F238E27FC236}">
                        <a16:creationId xmlns:a16="http://schemas.microsoft.com/office/drawing/2014/main" id="{0DB8ADDD-2D6E-4C3B-A6AC-40B1C9D8A2EF}"/>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29" name="Line 57">
                    <a:extLst>
                      <a:ext uri="{FF2B5EF4-FFF2-40B4-BE49-F238E27FC236}">
                        <a16:creationId xmlns:a16="http://schemas.microsoft.com/office/drawing/2014/main" id="{9ED7F5C4-0790-4C4F-B40C-5BFA0398F507}"/>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30" name="Freeform 58">
                    <a:extLst>
                      <a:ext uri="{FF2B5EF4-FFF2-40B4-BE49-F238E27FC236}">
                        <a16:creationId xmlns:a16="http://schemas.microsoft.com/office/drawing/2014/main" id="{29A32990-091C-490C-8F18-4A6432BEDDFD}"/>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31" name="Rectangle 430">
                    <a:extLst>
                      <a:ext uri="{FF2B5EF4-FFF2-40B4-BE49-F238E27FC236}">
                        <a16:creationId xmlns:a16="http://schemas.microsoft.com/office/drawing/2014/main" id="{D1D9ABBA-3090-4B5B-B63B-F082CB803BE1}"/>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46752" tIns="23377" rIns="46752" bIns="23377" numCol="1" anchor="t" anchorCtr="0" compatLnSpc="1">
                    <a:prstTxWarp prst="textNoShape">
                      <a:avLst/>
                    </a:prstTxWarp>
                  </a:bodyPr>
                  <a:lstStyle/>
                  <a:p>
                    <a:endParaRPr lang="en-US" sz="1227" dirty="0"/>
                  </a:p>
                </p:txBody>
              </p:sp>
            </p:grpSp>
            <p:sp>
              <p:nvSpPr>
                <p:cNvPr id="424" name="Oval 423">
                  <a:extLst>
                    <a:ext uri="{FF2B5EF4-FFF2-40B4-BE49-F238E27FC236}">
                      <a16:creationId xmlns:a16="http://schemas.microsoft.com/office/drawing/2014/main" id="{D41B615E-094C-4634-AA96-87CCE0DC3524}"/>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grpSp>
        </p:grpSp>
      </p:grpSp>
      <p:grpSp>
        <p:nvGrpSpPr>
          <p:cNvPr id="439" name="Group 438">
            <a:extLst>
              <a:ext uri="{FF2B5EF4-FFF2-40B4-BE49-F238E27FC236}">
                <a16:creationId xmlns:a16="http://schemas.microsoft.com/office/drawing/2014/main" id="{915057DB-C7BB-4438-A06B-5676BCB79792}"/>
              </a:ext>
            </a:extLst>
          </p:cNvPr>
          <p:cNvGrpSpPr/>
          <p:nvPr/>
        </p:nvGrpSpPr>
        <p:grpSpPr>
          <a:xfrm>
            <a:off x="5743138" y="2441929"/>
            <a:ext cx="838958" cy="762862"/>
            <a:chOff x="8994581" y="422468"/>
            <a:chExt cx="747890" cy="680054"/>
          </a:xfrm>
        </p:grpSpPr>
        <p:grpSp>
          <p:nvGrpSpPr>
            <p:cNvPr id="440" name="Group 439">
              <a:extLst>
                <a:ext uri="{FF2B5EF4-FFF2-40B4-BE49-F238E27FC236}">
                  <a16:creationId xmlns:a16="http://schemas.microsoft.com/office/drawing/2014/main" id="{236D72B4-C09B-4E9B-B8C0-B1506D29F0A6}"/>
                </a:ext>
              </a:extLst>
            </p:cNvPr>
            <p:cNvGrpSpPr/>
            <p:nvPr/>
          </p:nvGrpSpPr>
          <p:grpSpPr>
            <a:xfrm>
              <a:off x="9125469" y="422468"/>
              <a:ext cx="473625" cy="473627"/>
              <a:chOff x="2866777" y="2597362"/>
              <a:chExt cx="473625" cy="473627"/>
            </a:xfrm>
          </p:grpSpPr>
          <p:grpSp>
            <p:nvGrpSpPr>
              <p:cNvPr id="442" name="Group 64">
                <a:extLst>
                  <a:ext uri="{FF2B5EF4-FFF2-40B4-BE49-F238E27FC236}">
                    <a16:creationId xmlns:a16="http://schemas.microsoft.com/office/drawing/2014/main" id="{C0889822-2F1E-4B36-8803-5A67E7259656}"/>
                  </a:ext>
                </a:extLst>
              </p:cNvPr>
              <p:cNvGrpSpPr>
                <a:grpSpLocks noChangeAspect="1"/>
              </p:cNvGrpSpPr>
              <p:nvPr/>
            </p:nvGrpSpPr>
            <p:grpSpPr bwMode="auto">
              <a:xfrm rot="8100000">
                <a:off x="2866777" y="2597362"/>
                <a:ext cx="473625" cy="473627"/>
                <a:chOff x="701" y="2170"/>
                <a:chExt cx="587" cy="587"/>
              </a:xfrm>
            </p:grpSpPr>
            <p:sp>
              <p:nvSpPr>
                <p:cNvPr id="474" name="Oval 65">
                  <a:extLst>
                    <a:ext uri="{FF2B5EF4-FFF2-40B4-BE49-F238E27FC236}">
                      <a16:creationId xmlns:a16="http://schemas.microsoft.com/office/drawing/2014/main" id="{68E8160B-8910-4A9D-9C42-CAC2F840152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75" name="Line 66">
                  <a:extLst>
                    <a:ext uri="{FF2B5EF4-FFF2-40B4-BE49-F238E27FC236}">
                      <a16:creationId xmlns:a16="http://schemas.microsoft.com/office/drawing/2014/main" id="{97EAED20-FBDD-4AD3-ADD0-0612906CA9B9}"/>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76" name="Line 67">
                  <a:extLst>
                    <a:ext uri="{FF2B5EF4-FFF2-40B4-BE49-F238E27FC236}">
                      <a16:creationId xmlns:a16="http://schemas.microsoft.com/office/drawing/2014/main" id="{786E3219-48F7-473E-A8F5-376A7083D97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77" name="Line 69">
                  <a:extLst>
                    <a:ext uri="{FF2B5EF4-FFF2-40B4-BE49-F238E27FC236}">
                      <a16:creationId xmlns:a16="http://schemas.microsoft.com/office/drawing/2014/main" id="{2092D8AA-B9B0-4AEA-A924-EBA300B411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78" name="Line 74">
                  <a:extLst>
                    <a:ext uri="{FF2B5EF4-FFF2-40B4-BE49-F238E27FC236}">
                      <a16:creationId xmlns:a16="http://schemas.microsoft.com/office/drawing/2014/main" id="{D7B14BB4-503D-446F-BB18-DAE702FE5A2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79" name="Freeform 78">
                  <a:extLst>
                    <a:ext uri="{FF2B5EF4-FFF2-40B4-BE49-F238E27FC236}">
                      <a16:creationId xmlns:a16="http://schemas.microsoft.com/office/drawing/2014/main" id="{FD8E30C4-8F74-411A-A79A-B5AB226097B5}"/>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80" name="Freeform 80">
                  <a:extLst>
                    <a:ext uri="{FF2B5EF4-FFF2-40B4-BE49-F238E27FC236}">
                      <a16:creationId xmlns:a16="http://schemas.microsoft.com/office/drawing/2014/main" id="{23BB6BA2-98B4-4962-85BF-7F2B7104463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nvGrpSpPr>
              <p:cNvPr id="443" name="Group 442">
                <a:extLst>
                  <a:ext uri="{FF2B5EF4-FFF2-40B4-BE49-F238E27FC236}">
                    <a16:creationId xmlns:a16="http://schemas.microsoft.com/office/drawing/2014/main" id="{0C3FFD16-CEB4-4EBF-8523-11A0FEB6EE57}"/>
                  </a:ext>
                </a:extLst>
              </p:cNvPr>
              <p:cNvGrpSpPr/>
              <p:nvPr/>
            </p:nvGrpSpPr>
            <p:grpSpPr>
              <a:xfrm>
                <a:off x="2923050" y="2665148"/>
                <a:ext cx="356509" cy="349884"/>
                <a:chOff x="468738" y="2241878"/>
                <a:chExt cx="1655483" cy="1624719"/>
              </a:xfrm>
            </p:grpSpPr>
            <p:sp>
              <p:nvSpPr>
                <p:cNvPr id="444" name="Freeform 5">
                  <a:extLst>
                    <a:ext uri="{FF2B5EF4-FFF2-40B4-BE49-F238E27FC236}">
                      <a16:creationId xmlns:a16="http://schemas.microsoft.com/office/drawing/2014/main" id="{1234AAF7-815B-4F4E-9285-8D7226E36997}"/>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45" name="Freeform 6">
                  <a:extLst>
                    <a:ext uri="{FF2B5EF4-FFF2-40B4-BE49-F238E27FC236}">
                      <a16:creationId xmlns:a16="http://schemas.microsoft.com/office/drawing/2014/main" id="{76A1F859-BD11-435F-B9D6-14F520450E5F}"/>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46" name="Line 7">
                  <a:extLst>
                    <a:ext uri="{FF2B5EF4-FFF2-40B4-BE49-F238E27FC236}">
                      <a16:creationId xmlns:a16="http://schemas.microsoft.com/office/drawing/2014/main" id="{EB8CEBA3-4866-49AE-B9C9-7AA1553170FC}"/>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47" name="Freeform 8">
                  <a:extLst>
                    <a:ext uri="{FF2B5EF4-FFF2-40B4-BE49-F238E27FC236}">
                      <a16:creationId xmlns:a16="http://schemas.microsoft.com/office/drawing/2014/main" id="{B4D6DEF7-F97C-4E1C-A97C-40FB2CB48121}"/>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48" name="Line 9">
                  <a:extLst>
                    <a:ext uri="{FF2B5EF4-FFF2-40B4-BE49-F238E27FC236}">
                      <a16:creationId xmlns:a16="http://schemas.microsoft.com/office/drawing/2014/main" id="{1015BDE8-0D3B-49CA-B38C-E684CD91481A}"/>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nvGrpSpPr>
                <p:cNvPr id="449" name="Group 448">
                  <a:extLst>
                    <a:ext uri="{FF2B5EF4-FFF2-40B4-BE49-F238E27FC236}">
                      <a16:creationId xmlns:a16="http://schemas.microsoft.com/office/drawing/2014/main" id="{0332C6F2-62ED-4EE8-8D50-DD4B36066EF3}"/>
                    </a:ext>
                  </a:extLst>
                </p:cNvPr>
                <p:cNvGrpSpPr/>
                <p:nvPr/>
              </p:nvGrpSpPr>
              <p:grpSpPr>
                <a:xfrm>
                  <a:off x="1207113" y="2241878"/>
                  <a:ext cx="178734" cy="348678"/>
                  <a:chOff x="1207113" y="2241878"/>
                  <a:chExt cx="178734" cy="348678"/>
                </a:xfrm>
              </p:grpSpPr>
              <p:sp>
                <p:nvSpPr>
                  <p:cNvPr id="472" name="Freeform 10">
                    <a:extLst>
                      <a:ext uri="{FF2B5EF4-FFF2-40B4-BE49-F238E27FC236}">
                        <a16:creationId xmlns:a16="http://schemas.microsoft.com/office/drawing/2014/main" id="{0DA2B75A-8266-4724-B26D-85210D0BC3D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73" name="Line 11">
                    <a:extLst>
                      <a:ext uri="{FF2B5EF4-FFF2-40B4-BE49-F238E27FC236}">
                        <a16:creationId xmlns:a16="http://schemas.microsoft.com/office/drawing/2014/main" id="{61979C95-E19C-4293-9D1E-59EADF94FE5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sp>
              <p:nvSpPr>
                <p:cNvPr id="450" name="Freeform 12">
                  <a:extLst>
                    <a:ext uri="{FF2B5EF4-FFF2-40B4-BE49-F238E27FC236}">
                      <a16:creationId xmlns:a16="http://schemas.microsoft.com/office/drawing/2014/main" id="{695EC46B-7372-4374-B638-65F169B7CD7C}"/>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51" name="Line 13">
                  <a:extLst>
                    <a:ext uri="{FF2B5EF4-FFF2-40B4-BE49-F238E27FC236}">
                      <a16:creationId xmlns:a16="http://schemas.microsoft.com/office/drawing/2014/main" id="{B5A01242-B26A-4747-9D7B-A1CABAC3BFBB}"/>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52" name="Freeform 14">
                  <a:extLst>
                    <a:ext uri="{FF2B5EF4-FFF2-40B4-BE49-F238E27FC236}">
                      <a16:creationId xmlns:a16="http://schemas.microsoft.com/office/drawing/2014/main" id="{626FEC89-D62B-4365-8334-F2FF118BAAA5}"/>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53" name="Line 15">
                  <a:extLst>
                    <a:ext uri="{FF2B5EF4-FFF2-40B4-BE49-F238E27FC236}">
                      <a16:creationId xmlns:a16="http://schemas.microsoft.com/office/drawing/2014/main" id="{15914F12-B3F8-4790-9FA4-FF13AF5D4416}"/>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54" name="Freeform 16">
                  <a:extLst>
                    <a:ext uri="{FF2B5EF4-FFF2-40B4-BE49-F238E27FC236}">
                      <a16:creationId xmlns:a16="http://schemas.microsoft.com/office/drawing/2014/main" id="{8844A061-7352-46BF-A1CF-06945FD03565}"/>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55" name="Line 17">
                  <a:extLst>
                    <a:ext uri="{FF2B5EF4-FFF2-40B4-BE49-F238E27FC236}">
                      <a16:creationId xmlns:a16="http://schemas.microsoft.com/office/drawing/2014/main" id="{66FA62A3-BCAB-487A-9B54-1761053FF47A}"/>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56" name="Freeform 18">
                  <a:extLst>
                    <a:ext uri="{FF2B5EF4-FFF2-40B4-BE49-F238E27FC236}">
                      <a16:creationId xmlns:a16="http://schemas.microsoft.com/office/drawing/2014/main" id="{E86E4C74-9EC1-4AAC-BCD0-48AC966CE54F}"/>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57" name="Line 19">
                  <a:extLst>
                    <a:ext uri="{FF2B5EF4-FFF2-40B4-BE49-F238E27FC236}">
                      <a16:creationId xmlns:a16="http://schemas.microsoft.com/office/drawing/2014/main" id="{F4F21BB3-E907-436F-9E9E-F926570B1716}"/>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58" name="Freeform 35">
                  <a:extLst>
                    <a:ext uri="{FF2B5EF4-FFF2-40B4-BE49-F238E27FC236}">
                      <a16:creationId xmlns:a16="http://schemas.microsoft.com/office/drawing/2014/main" id="{D48636E1-069F-4287-8F4D-982135B67C5E}"/>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59" name="Freeform 36">
                  <a:extLst>
                    <a:ext uri="{FF2B5EF4-FFF2-40B4-BE49-F238E27FC236}">
                      <a16:creationId xmlns:a16="http://schemas.microsoft.com/office/drawing/2014/main" id="{E3FDA20C-4A27-4B45-B4B7-E7D2DF383228}"/>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60" name="Freeform 37">
                  <a:extLst>
                    <a:ext uri="{FF2B5EF4-FFF2-40B4-BE49-F238E27FC236}">
                      <a16:creationId xmlns:a16="http://schemas.microsoft.com/office/drawing/2014/main" id="{6CC15A55-2865-4EE5-A1D5-302A562909BC}"/>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61" name="Freeform 38">
                  <a:extLst>
                    <a:ext uri="{FF2B5EF4-FFF2-40B4-BE49-F238E27FC236}">
                      <a16:creationId xmlns:a16="http://schemas.microsoft.com/office/drawing/2014/main" id="{D161197D-6DEA-467B-8E5F-FAF9B3E5E631}"/>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62" name="Freeform 39">
                  <a:extLst>
                    <a:ext uri="{FF2B5EF4-FFF2-40B4-BE49-F238E27FC236}">
                      <a16:creationId xmlns:a16="http://schemas.microsoft.com/office/drawing/2014/main" id="{43095F1A-E9CC-498E-892B-8E0F71B78AD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63" name="Freeform 40">
                  <a:extLst>
                    <a:ext uri="{FF2B5EF4-FFF2-40B4-BE49-F238E27FC236}">
                      <a16:creationId xmlns:a16="http://schemas.microsoft.com/office/drawing/2014/main" id="{4FC585AD-06C5-4D6A-BDCC-1F1DEC8C80D4}"/>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64" name="Freeform 41">
                  <a:extLst>
                    <a:ext uri="{FF2B5EF4-FFF2-40B4-BE49-F238E27FC236}">
                      <a16:creationId xmlns:a16="http://schemas.microsoft.com/office/drawing/2014/main" id="{D8F72521-60C8-469D-B0FD-D522EE9390D2}"/>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65" name="Line 42">
                  <a:extLst>
                    <a:ext uri="{FF2B5EF4-FFF2-40B4-BE49-F238E27FC236}">
                      <a16:creationId xmlns:a16="http://schemas.microsoft.com/office/drawing/2014/main" id="{3316CB4C-BBF4-41C0-BB4A-67F072E118FC}"/>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66" name="Freeform 43">
                  <a:extLst>
                    <a:ext uri="{FF2B5EF4-FFF2-40B4-BE49-F238E27FC236}">
                      <a16:creationId xmlns:a16="http://schemas.microsoft.com/office/drawing/2014/main" id="{8BD66742-5F44-4475-8926-8B1E8406C966}"/>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67" name="Freeform 44">
                  <a:extLst>
                    <a:ext uri="{FF2B5EF4-FFF2-40B4-BE49-F238E27FC236}">
                      <a16:creationId xmlns:a16="http://schemas.microsoft.com/office/drawing/2014/main" id="{6A3C19DA-F110-41E2-940C-544BD9CC6022}"/>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68" name="Freeform 45">
                  <a:extLst>
                    <a:ext uri="{FF2B5EF4-FFF2-40B4-BE49-F238E27FC236}">
                      <a16:creationId xmlns:a16="http://schemas.microsoft.com/office/drawing/2014/main" id="{A38FC775-4C01-4C0F-B593-3BDDE19B5D23}"/>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nvGrpSpPr>
                <p:cNvPr id="469" name="Group 468">
                  <a:extLst>
                    <a:ext uri="{FF2B5EF4-FFF2-40B4-BE49-F238E27FC236}">
                      <a16:creationId xmlns:a16="http://schemas.microsoft.com/office/drawing/2014/main" id="{ADB4DD8B-6BC0-4D19-AEAE-51F3E22C1EC4}"/>
                    </a:ext>
                  </a:extLst>
                </p:cNvPr>
                <p:cNvGrpSpPr/>
                <p:nvPr/>
              </p:nvGrpSpPr>
              <p:grpSpPr>
                <a:xfrm flipV="1">
                  <a:off x="1202047" y="3517919"/>
                  <a:ext cx="178734" cy="348678"/>
                  <a:chOff x="1207113" y="2241878"/>
                  <a:chExt cx="178734" cy="348678"/>
                </a:xfrm>
              </p:grpSpPr>
              <p:sp>
                <p:nvSpPr>
                  <p:cNvPr id="470" name="Freeform 10">
                    <a:extLst>
                      <a:ext uri="{FF2B5EF4-FFF2-40B4-BE49-F238E27FC236}">
                        <a16:creationId xmlns:a16="http://schemas.microsoft.com/office/drawing/2014/main" id="{7091776B-B039-41AF-9AC1-06142CFD690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71" name="Line 11">
                    <a:extLst>
                      <a:ext uri="{FF2B5EF4-FFF2-40B4-BE49-F238E27FC236}">
                        <a16:creationId xmlns:a16="http://schemas.microsoft.com/office/drawing/2014/main" id="{AFC58ECC-839D-4DE3-80BD-AE1FD84464D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grpSp>
        <p:sp>
          <p:nvSpPr>
            <p:cNvPr id="441" name="Rectangle 440">
              <a:extLst>
                <a:ext uri="{FF2B5EF4-FFF2-40B4-BE49-F238E27FC236}">
                  <a16:creationId xmlns:a16="http://schemas.microsoft.com/office/drawing/2014/main" id="{2E103109-1C14-44A8-9D46-88DEDD2A0AF0}"/>
                </a:ext>
              </a:extLst>
            </p:cNvPr>
            <p:cNvSpPr/>
            <p:nvPr/>
          </p:nvSpPr>
          <p:spPr>
            <a:xfrm>
              <a:off x="8994581" y="916564"/>
              <a:ext cx="747890" cy="185958"/>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crum Master</a:t>
              </a:r>
            </a:p>
          </p:txBody>
        </p:sp>
      </p:grpSp>
      <p:grpSp>
        <p:nvGrpSpPr>
          <p:cNvPr id="481" name="Group 480">
            <a:extLst>
              <a:ext uri="{FF2B5EF4-FFF2-40B4-BE49-F238E27FC236}">
                <a16:creationId xmlns:a16="http://schemas.microsoft.com/office/drawing/2014/main" id="{2676E9F5-2124-4C36-9D97-0C16F3A0D959}"/>
              </a:ext>
            </a:extLst>
          </p:cNvPr>
          <p:cNvGrpSpPr/>
          <p:nvPr/>
        </p:nvGrpSpPr>
        <p:grpSpPr>
          <a:xfrm>
            <a:off x="6382442" y="3434884"/>
            <a:ext cx="1044337" cy="760933"/>
            <a:chOff x="8052338" y="654428"/>
            <a:chExt cx="770246" cy="561223"/>
          </a:xfrm>
        </p:grpSpPr>
        <p:grpSp>
          <p:nvGrpSpPr>
            <p:cNvPr id="482" name="Group 481">
              <a:extLst>
                <a:ext uri="{FF2B5EF4-FFF2-40B4-BE49-F238E27FC236}">
                  <a16:creationId xmlns:a16="http://schemas.microsoft.com/office/drawing/2014/main" id="{BEC17FAB-07EA-41FD-8210-3EEFC8E9782D}"/>
                </a:ext>
              </a:extLst>
            </p:cNvPr>
            <p:cNvGrpSpPr/>
            <p:nvPr/>
          </p:nvGrpSpPr>
          <p:grpSpPr>
            <a:xfrm>
              <a:off x="8264916" y="654428"/>
              <a:ext cx="343857" cy="343859"/>
              <a:chOff x="3646311" y="2599143"/>
              <a:chExt cx="515816" cy="515818"/>
            </a:xfrm>
          </p:grpSpPr>
          <p:grpSp>
            <p:nvGrpSpPr>
              <p:cNvPr id="484" name="Group 64">
                <a:extLst>
                  <a:ext uri="{FF2B5EF4-FFF2-40B4-BE49-F238E27FC236}">
                    <a16:creationId xmlns:a16="http://schemas.microsoft.com/office/drawing/2014/main" id="{B4A9063F-9D9D-4CCB-A547-E16AA308A403}"/>
                  </a:ext>
                </a:extLst>
              </p:cNvPr>
              <p:cNvGrpSpPr>
                <a:grpSpLocks noChangeAspect="1"/>
              </p:cNvGrpSpPr>
              <p:nvPr/>
            </p:nvGrpSpPr>
            <p:grpSpPr bwMode="auto">
              <a:xfrm rot="8100000">
                <a:off x="3646311" y="2599143"/>
                <a:ext cx="515816" cy="515818"/>
                <a:chOff x="701" y="2170"/>
                <a:chExt cx="587" cy="587"/>
              </a:xfrm>
            </p:grpSpPr>
            <p:sp>
              <p:nvSpPr>
                <p:cNvPr id="499" name="Oval 65">
                  <a:extLst>
                    <a:ext uri="{FF2B5EF4-FFF2-40B4-BE49-F238E27FC236}">
                      <a16:creationId xmlns:a16="http://schemas.microsoft.com/office/drawing/2014/main" id="{1D1BFB82-AD0F-4EC2-B8BF-4C069CF14C8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500" name="Line 66">
                  <a:extLst>
                    <a:ext uri="{FF2B5EF4-FFF2-40B4-BE49-F238E27FC236}">
                      <a16:creationId xmlns:a16="http://schemas.microsoft.com/office/drawing/2014/main" id="{DBA9E14A-AABF-4D20-9604-981285ECF40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501" name="Line 67">
                  <a:extLst>
                    <a:ext uri="{FF2B5EF4-FFF2-40B4-BE49-F238E27FC236}">
                      <a16:creationId xmlns:a16="http://schemas.microsoft.com/office/drawing/2014/main" id="{7A8D993E-303F-40C8-8DCD-0C160524FD4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502" name="Line 69">
                  <a:extLst>
                    <a:ext uri="{FF2B5EF4-FFF2-40B4-BE49-F238E27FC236}">
                      <a16:creationId xmlns:a16="http://schemas.microsoft.com/office/drawing/2014/main" id="{5F143B33-1379-49C7-8E49-9F8256DCDEE2}"/>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503" name="Line 74">
                  <a:extLst>
                    <a:ext uri="{FF2B5EF4-FFF2-40B4-BE49-F238E27FC236}">
                      <a16:creationId xmlns:a16="http://schemas.microsoft.com/office/drawing/2014/main" id="{800814E6-344D-4592-BC3F-AB1554D94DE7}"/>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504" name="Freeform 78">
                  <a:extLst>
                    <a:ext uri="{FF2B5EF4-FFF2-40B4-BE49-F238E27FC236}">
                      <a16:creationId xmlns:a16="http://schemas.microsoft.com/office/drawing/2014/main" id="{A298C4DC-B041-4509-AD53-1316B1EBE53D}"/>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505" name="Freeform 80">
                  <a:extLst>
                    <a:ext uri="{FF2B5EF4-FFF2-40B4-BE49-F238E27FC236}">
                      <a16:creationId xmlns:a16="http://schemas.microsoft.com/office/drawing/2014/main" id="{47BFF915-08FB-41FA-94A5-C711175C0231}"/>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nvGrpSpPr>
              <p:cNvPr id="485" name="Group 484">
                <a:extLst>
                  <a:ext uri="{FF2B5EF4-FFF2-40B4-BE49-F238E27FC236}">
                    <a16:creationId xmlns:a16="http://schemas.microsoft.com/office/drawing/2014/main" id="{10934944-E573-49B3-8AD5-454CBCCA83CE}"/>
                  </a:ext>
                </a:extLst>
              </p:cNvPr>
              <p:cNvGrpSpPr/>
              <p:nvPr/>
            </p:nvGrpSpPr>
            <p:grpSpPr>
              <a:xfrm>
                <a:off x="3707533" y="2731244"/>
                <a:ext cx="389644" cy="289271"/>
                <a:chOff x="3707533" y="2731244"/>
                <a:chExt cx="389644" cy="289271"/>
              </a:xfrm>
            </p:grpSpPr>
            <p:sp>
              <p:nvSpPr>
                <p:cNvPr id="486" name="Freeform 33">
                  <a:extLst>
                    <a:ext uri="{FF2B5EF4-FFF2-40B4-BE49-F238E27FC236}">
                      <a16:creationId xmlns:a16="http://schemas.microsoft.com/office/drawing/2014/main" id="{C8498328-BAEF-41C9-A808-8AA5928B8A5E}"/>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87" name="Freeform 34">
                  <a:extLst>
                    <a:ext uri="{FF2B5EF4-FFF2-40B4-BE49-F238E27FC236}">
                      <a16:creationId xmlns:a16="http://schemas.microsoft.com/office/drawing/2014/main" id="{77A1079E-F794-42F2-8928-D0D2CF4E6C42}"/>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88" name="Freeform 37">
                  <a:extLst>
                    <a:ext uri="{FF2B5EF4-FFF2-40B4-BE49-F238E27FC236}">
                      <a16:creationId xmlns:a16="http://schemas.microsoft.com/office/drawing/2014/main" id="{0129E75C-39F8-4F1A-9104-BD108BC1B19D}"/>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89" name="Freeform 38">
                  <a:extLst>
                    <a:ext uri="{FF2B5EF4-FFF2-40B4-BE49-F238E27FC236}">
                      <a16:creationId xmlns:a16="http://schemas.microsoft.com/office/drawing/2014/main" id="{A2391648-FC97-494E-83F1-FBD701E115D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90" name="Freeform 32">
                  <a:extLst>
                    <a:ext uri="{FF2B5EF4-FFF2-40B4-BE49-F238E27FC236}">
                      <a16:creationId xmlns:a16="http://schemas.microsoft.com/office/drawing/2014/main" id="{81A21D79-C5ED-4CF6-93F0-012E9AEA0519}"/>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91" name="Freeform 35">
                  <a:extLst>
                    <a:ext uri="{FF2B5EF4-FFF2-40B4-BE49-F238E27FC236}">
                      <a16:creationId xmlns:a16="http://schemas.microsoft.com/office/drawing/2014/main" id="{514D6EF3-24CA-4C61-A930-AC9C636A417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92" name="Freeform 36">
                  <a:extLst>
                    <a:ext uri="{FF2B5EF4-FFF2-40B4-BE49-F238E27FC236}">
                      <a16:creationId xmlns:a16="http://schemas.microsoft.com/office/drawing/2014/main" id="{A441E096-D963-4B5D-9967-720BE6DB9184}"/>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93" name="Freeform 25">
                  <a:extLst>
                    <a:ext uri="{FF2B5EF4-FFF2-40B4-BE49-F238E27FC236}">
                      <a16:creationId xmlns:a16="http://schemas.microsoft.com/office/drawing/2014/main" id="{D6FED4CF-6C39-4F13-9266-6D3A4E4DE79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94" name="Freeform 39">
                  <a:extLst>
                    <a:ext uri="{FF2B5EF4-FFF2-40B4-BE49-F238E27FC236}">
                      <a16:creationId xmlns:a16="http://schemas.microsoft.com/office/drawing/2014/main" id="{63FEEF32-D9AD-43AB-A389-A82AA1B2685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95" name="Freeform 26">
                  <a:extLst>
                    <a:ext uri="{FF2B5EF4-FFF2-40B4-BE49-F238E27FC236}">
                      <a16:creationId xmlns:a16="http://schemas.microsoft.com/office/drawing/2014/main" id="{6744DB1D-3D46-41B6-89EE-E371B8706DB5}"/>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96" name="Rectangle 27">
                  <a:extLst>
                    <a:ext uri="{FF2B5EF4-FFF2-40B4-BE49-F238E27FC236}">
                      <a16:creationId xmlns:a16="http://schemas.microsoft.com/office/drawing/2014/main" id="{22E8A763-53C6-4DD4-AFAD-21393C097F4A}"/>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497" name="Line 29">
                  <a:extLst>
                    <a:ext uri="{FF2B5EF4-FFF2-40B4-BE49-F238E27FC236}">
                      <a16:creationId xmlns:a16="http://schemas.microsoft.com/office/drawing/2014/main" id="{3F609D1F-ECAD-4A1A-BE30-691B830F7F61}"/>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498" name="Line 31">
                  <a:extLst>
                    <a:ext uri="{FF2B5EF4-FFF2-40B4-BE49-F238E27FC236}">
                      <a16:creationId xmlns:a16="http://schemas.microsoft.com/office/drawing/2014/main" id="{A6803C7A-9527-49BD-8187-34EA24603B03}"/>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sp>
          <p:nvSpPr>
            <p:cNvPr id="483" name="Rectangle 482">
              <a:extLst>
                <a:ext uri="{FF2B5EF4-FFF2-40B4-BE49-F238E27FC236}">
                  <a16:creationId xmlns:a16="http://schemas.microsoft.com/office/drawing/2014/main" id="{B44F3C6A-ECB5-4640-9BD3-B552B87276AF}"/>
                </a:ext>
              </a:extLst>
            </p:cNvPr>
            <p:cNvSpPr/>
            <p:nvPr/>
          </p:nvSpPr>
          <p:spPr>
            <a:xfrm>
              <a:off x="8052338" y="976693"/>
              <a:ext cx="770246" cy="238958"/>
            </a:xfrm>
            <a:prstGeom prst="rect">
              <a:avLst/>
            </a:prstGeom>
          </p:spPr>
          <p:txBody>
            <a:bodyPr wrap="square">
              <a:spAutoFit/>
            </a:bodyPr>
            <a:lstStyle/>
            <a:p>
              <a:pPr algn="ctr">
                <a:buClr>
                  <a:srgbClr val="62B5E5"/>
                </a:buClr>
              </a:pPr>
              <a:r>
                <a:rPr lang="en-US" sz="752" b="1" dirty="0">
                  <a:latin typeface="+mj-lt"/>
                  <a:ea typeface="Open Sans" panose="020B0606030504020204" pitchFamily="34" charset="0"/>
                  <a:cs typeface="Open Sans" panose="020B0606030504020204" pitchFamily="34" charset="0"/>
                </a:rPr>
                <a:t>Development </a:t>
              </a:r>
              <a:br>
                <a:rPr lang="en-US" sz="752" b="1" dirty="0">
                  <a:latin typeface="+mj-lt"/>
                  <a:ea typeface="Open Sans" panose="020B0606030504020204" pitchFamily="34" charset="0"/>
                  <a:cs typeface="Open Sans" panose="020B0606030504020204" pitchFamily="34" charset="0"/>
                </a:rPr>
              </a:br>
              <a:r>
                <a:rPr lang="en-US" sz="752" b="1" dirty="0">
                  <a:latin typeface="+mj-lt"/>
                  <a:ea typeface="Open Sans" panose="020B0606030504020204" pitchFamily="34" charset="0"/>
                  <a:cs typeface="Open Sans" panose="020B0606030504020204" pitchFamily="34" charset="0"/>
                </a:rPr>
                <a:t>team</a:t>
              </a:r>
            </a:p>
          </p:txBody>
        </p:sp>
      </p:grpSp>
      <p:grpSp>
        <p:nvGrpSpPr>
          <p:cNvPr id="613" name="Group 612">
            <a:extLst>
              <a:ext uri="{FF2B5EF4-FFF2-40B4-BE49-F238E27FC236}">
                <a16:creationId xmlns:a16="http://schemas.microsoft.com/office/drawing/2014/main" id="{3E1B91AA-F730-4DD9-817D-9C93C2EA019B}"/>
              </a:ext>
            </a:extLst>
          </p:cNvPr>
          <p:cNvGrpSpPr/>
          <p:nvPr/>
        </p:nvGrpSpPr>
        <p:grpSpPr>
          <a:xfrm>
            <a:off x="9398746" y="2552587"/>
            <a:ext cx="838958" cy="636151"/>
            <a:chOff x="8121519" y="2538377"/>
            <a:chExt cx="1115908" cy="846152"/>
          </a:xfrm>
        </p:grpSpPr>
        <p:pic>
          <p:nvPicPr>
            <p:cNvPr id="614" name="Picture 613">
              <a:extLst>
                <a:ext uri="{FF2B5EF4-FFF2-40B4-BE49-F238E27FC236}">
                  <a16:creationId xmlns:a16="http://schemas.microsoft.com/office/drawing/2014/main" id="{962D07AD-EDA1-42E8-AAF3-E3EA58AA420B}"/>
                </a:ext>
              </a:extLst>
            </p:cNvPr>
            <p:cNvPicPr>
              <a:picLocks noChangeAspect="1"/>
            </p:cNvPicPr>
            <p:nvPr/>
          </p:nvPicPr>
          <p:blipFill>
            <a:blip r:embed="rId8"/>
            <a:stretch>
              <a:fillRect/>
            </a:stretch>
          </p:blipFill>
          <p:spPr>
            <a:xfrm>
              <a:off x="8387353" y="2538377"/>
              <a:ext cx="625322" cy="446658"/>
            </a:xfrm>
            <a:prstGeom prst="rect">
              <a:avLst/>
            </a:prstGeom>
          </p:spPr>
        </p:pic>
        <p:sp>
          <p:nvSpPr>
            <p:cNvPr id="615" name="Rectangle 614">
              <a:extLst>
                <a:ext uri="{FF2B5EF4-FFF2-40B4-BE49-F238E27FC236}">
                  <a16:creationId xmlns:a16="http://schemas.microsoft.com/office/drawing/2014/main" id="{C6D3F37A-3756-4EB5-B4BA-4ABFB60B47FF}"/>
                </a:ext>
              </a:extLst>
            </p:cNvPr>
            <p:cNvSpPr/>
            <p:nvPr/>
          </p:nvSpPr>
          <p:spPr>
            <a:xfrm>
              <a:off x="8121519" y="3107066"/>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Product Backlog </a:t>
              </a:r>
            </a:p>
          </p:txBody>
        </p:sp>
      </p:grpSp>
      <p:grpSp>
        <p:nvGrpSpPr>
          <p:cNvPr id="616" name="Group 615">
            <a:extLst>
              <a:ext uri="{FF2B5EF4-FFF2-40B4-BE49-F238E27FC236}">
                <a16:creationId xmlns:a16="http://schemas.microsoft.com/office/drawing/2014/main" id="{CB55294F-0459-4C15-9E0B-0F606859B1D1}"/>
              </a:ext>
            </a:extLst>
          </p:cNvPr>
          <p:cNvGrpSpPr/>
          <p:nvPr/>
        </p:nvGrpSpPr>
        <p:grpSpPr>
          <a:xfrm>
            <a:off x="7736070" y="3411742"/>
            <a:ext cx="838958" cy="659178"/>
            <a:chOff x="10657277" y="2438153"/>
            <a:chExt cx="1115908" cy="876781"/>
          </a:xfrm>
        </p:grpSpPr>
        <p:pic>
          <p:nvPicPr>
            <p:cNvPr id="617" name="Picture 616">
              <a:extLst>
                <a:ext uri="{FF2B5EF4-FFF2-40B4-BE49-F238E27FC236}">
                  <a16:creationId xmlns:a16="http://schemas.microsoft.com/office/drawing/2014/main" id="{26B95A4F-F354-487A-B2D8-AD02461D98F5}"/>
                </a:ext>
              </a:extLst>
            </p:cNvPr>
            <p:cNvPicPr>
              <a:picLocks noChangeAspect="1"/>
            </p:cNvPicPr>
            <p:nvPr/>
          </p:nvPicPr>
          <p:blipFill rotWithShape="1">
            <a:blip r:embed="rId9"/>
            <a:srcRect b="35370"/>
            <a:stretch/>
          </p:blipFill>
          <p:spPr>
            <a:xfrm>
              <a:off x="10747906" y="2438153"/>
              <a:ext cx="934650" cy="606484"/>
            </a:xfrm>
            <a:prstGeom prst="rect">
              <a:avLst/>
            </a:prstGeom>
          </p:spPr>
        </p:pic>
        <p:sp>
          <p:nvSpPr>
            <p:cNvPr id="618" name="Rectangle 617">
              <a:extLst>
                <a:ext uri="{FF2B5EF4-FFF2-40B4-BE49-F238E27FC236}">
                  <a16:creationId xmlns:a16="http://schemas.microsoft.com/office/drawing/2014/main" id="{480E00D7-1E00-46AE-A3D9-E94E999C92DB}"/>
                </a:ext>
              </a:extLst>
            </p:cNvPr>
            <p:cNvSpPr/>
            <p:nvPr/>
          </p:nvSpPr>
          <p:spPr>
            <a:xfrm>
              <a:off x="10657277" y="3037899"/>
              <a:ext cx="1115908" cy="277035"/>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Roadmap</a:t>
              </a:r>
            </a:p>
          </p:txBody>
        </p:sp>
      </p:grpSp>
      <p:grpSp>
        <p:nvGrpSpPr>
          <p:cNvPr id="2" name="Group 1">
            <a:extLst>
              <a:ext uri="{FF2B5EF4-FFF2-40B4-BE49-F238E27FC236}">
                <a16:creationId xmlns:a16="http://schemas.microsoft.com/office/drawing/2014/main" id="{38B3C4DE-4D47-4920-B94E-17544F2B6259}"/>
              </a:ext>
            </a:extLst>
          </p:cNvPr>
          <p:cNvGrpSpPr/>
          <p:nvPr/>
        </p:nvGrpSpPr>
        <p:grpSpPr>
          <a:xfrm>
            <a:off x="7680094" y="2506359"/>
            <a:ext cx="838958" cy="788145"/>
            <a:chOff x="8187941" y="2193055"/>
            <a:chExt cx="1115908" cy="1048321"/>
          </a:xfrm>
        </p:grpSpPr>
        <p:pic>
          <p:nvPicPr>
            <p:cNvPr id="700" name="Picture 699">
              <a:extLst>
                <a:ext uri="{FF2B5EF4-FFF2-40B4-BE49-F238E27FC236}">
                  <a16:creationId xmlns:a16="http://schemas.microsoft.com/office/drawing/2014/main" id="{3FE6904B-0F71-451B-8F64-9523E9E69488}"/>
                </a:ext>
              </a:extLst>
            </p:cNvPr>
            <p:cNvPicPr>
              <a:picLocks noChangeAspect="1"/>
            </p:cNvPicPr>
            <p:nvPr/>
          </p:nvPicPr>
          <p:blipFill rotWithShape="1">
            <a:blip r:embed="rId10"/>
            <a:srcRect b="25355"/>
            <a:stretch/>
          </p:blipFill>
          <p:spPr>
            <a:xfrm>
              <a:off x="8514866" y="2193055"/>
              <a:ext cx="481525" cy="689603"/>
            </a:xfrm>
            <a:prstGeom prst="rect">
              <a:avLst/>
            </a:prstGeom>
          </p:spPr>
        </p:pic>
        <p:sp>
          <p:nvSpPr>
            <p:cNvPr id="701" name="Rectangle 700">
              <a:extLst>
                <a:ext uri="{FF2B5EF4-FFF2-40B4-BE49-F238E27FC236}">
                  <a16:creationId xmlns:a16="http://schemas.microsoft.com/office/drawing/2014/main" id="{7820F0BB-A514-4745-B6A8-45C1DD03E3E5}"/>
                </a:ext>
              </a:extLst>
            </p:cNvPr>
            <p:cNvSpPr/>
            <p:nvPr/>
          </p:nvSpPr>
          <p:spPr>
            <a:xfrm>
              <a:off x="8187941" y="2964341"/>
              <a:ext cx="1115908" cy="277035"/>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DoD</a:t>
              </a:r>
            </a:p>
          </p:txBody>
        </p:sp>
      </p:grpSp>
      <p:grpSp>
        <p:nvGrpSpPr>
          <p:cNvPr id="5" name="Group 4">
            <a:extLst>
              <a:ext uri="{FF2B5EF4-FFF2-40B4-BE49-F238E27FC236}">
                <a16:creationId xmlns:a16="http://schemas.microsoft.com/office/drawing/2014/main" id="{CD4C2A11-7252-4DC9-8E15-5DBA8F64ECB0}"/>
              </a:ext>
            </a:extLst>
          </p:cNvPr>
          <p:cNvGrpSpPr/>
          <p:nvPr/>
        </p:nvGrpSpPr>
        <p:grpSpPr>
          <a:xfrm>
            <a:off x="8552538" y="2549047"/>
            <a:ext cx="838958" cy="745458"/>
            <a:chOff x="9348390" y="2249832"/>
            <a:chExt cx="1115908" cy="991543"/>
          </a:xfrm>
        </p:grpSpPr>
        <p:pic>
          <p:nvPicPr>
            <p:cNvPr id="699" name="Picture 698">
              <a:extLst>
                <a:ext uri="{FF2B5EF4-FFF2-40B4-BE49-F238E27FC236}">
                  <a16:creationId xmlns:a16="http://schemas.microsoft.com/office/drawing/2014/main" id="{1D46C991-4B34-4580-8606-73B2C651787E}"/>
                </a:ext>
              </a:extLst>
            </p:cNvPr>
            <p:cNvPicPr>
              <a:picLocks noChangeAspect="1"/>
            </p:cNvPicPr>
            <p:nvPr/>
          </p:nvPicPr>
          <p:blipFill rotWithShape="1">
            <a:blip r:embed="rId11"/>
            <a:srcRect b="25130"/>
            <a:stretch/>
          </p:blipFill>
          <p:spPr>
            <a:xfrm>
              <a:off x="9655656" y="2249832"/>
              <a:ext cx="492721" cy="679113"/>
            </a:xfrm>
            <a:prstGeom prst="rect">
              <a:avLst/>
            </a:prstGeom>
          </p:spPr>
        </p:pic>
        <p:sp>
          <p:nvSpPr>
            <p:cNvPr id="702" name="Rectangle 701">
              <a:extLst>
                <a:ext uri="{FF2B5EF4-FFF2-40B4-BE49-F238E27FC236}">
                  <a16:creationId xmlns:a16="http://schemas.microsoft.com/office/drawing/2014/main" id="{6A6D7321-7CFF-48F6-8E18-FE61DE5421D8}"/>
                </a:ext>
              </a:extLst>
            </p:cNvPr>
            <p:cNvSpPr/>
            <p:nvPr/>
          </p:nvSpPr>
          <p:spPr>
            <a:xfrm>
              <a:off x="9348390" y="2964340"/>
              <a:ext cx="1115908" cy="277035"/>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DoR</a:t>
              </a:r>
            </a:p>
          </p:txBody>
        </p:sp>
      </p:grpSp>
      <p:sp>
        <p:nvSpPr>
          <p:cNvPr id="822" name="Rectangle 821">
            <a:extLst>
              <a:ext uri="{FF2B5EF4-FFF2-40B4-BE49-F238E27FC236}">
                <a16:creationId xmlns:a16="http://schemas.microsoft.com/office/drawing/2014/main" id="{9D971465-0A9C-4E67-9E44-59FF7F15781D}"/>
              </a:ext>
            </a:extLst>
          </p:cNvPr>
          <p:cNvSpPr/>
          <p:nvPr/>
        </p:nvSpPr>
        <p:spPr bwMode="gray">
          <a:xfrm>
            <a:off x="1860408" y="2089938"/>
            <a:ext cx="2769009" cy="3229580"/>
          </a:xfrm>
          <a:prstGeom prst="rect">
            <a:avLst/>
          </a:prstGeom>
          <a:solidFill>
            <a:schemeClr val="bg1">
              <a:alpha val="80000"/>
            </a:schemeClr>
          </a:solidFill>
          <a:ln w="38100" algn="ctr">
            <a:solidFill>
              <a:srgbClr val="97999B"/>
            </a:solidFill>
            <a:miter lim="800000"/>
            <a:headEnd/>
            <a:tailEnd/>
          </a:ln>
          <a:effectLst/>
        </p:spPr>
        <p:txBody>
          <a:bodyPr wrap="square" lIns="28409" tIns="28409" rIns="28409" bIns="28409" rtlCol="0" anchor="t"/>
          <a:lstStyle/>
          <a:p>
            <a:pPr algn="ctr" defTabSz="623398">
              <a:lnSpc>
                <a:spcPct val="106000"/>
              </a:lnSpc>
            </a:pPr>
            <a:r>
              <a:rPr lang="en-US" sz="1053" b="1" dirty="0">
                <a:solidFill>
                  <a:schemeClr val="bg2"/>
                </a:solidFill>
                <a:latin typeface="Verdana"/>
              </a:rPr>
              <a:t>6 Ceremonies</a:t>
            </a:r>
          </a:p>
        </p:txBody>
      </p:sp>
    </p:spTree>
    <p:custDataLst>
      <p:tags r:id="rId1"/>
    </p:custDataLst>
    <p:extLst>
      <p:ext uri="{BB962C8B-B14F-4D97-AF65-F5344CB8AC3E}">
        <p14:creationId xmlns:p14="http://schemas.microsoft.com/office/powerpoint/2010/main" val="389730197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989F33C5-9FDC-40D5-A738-F3BADAE44741}"/>
              </a:ext>
            </a:extLst>
          </p:cNvPr>
          <p:cNvPicPr>
            <a:picLocks noChangeAspect="1"/>
          </p:cNvPicPr>
          <p:nvPr/>
        </p:nvPicPr>
        <p:blipFill>
          <a:blip r:embed="rId4">
            <a:biLevel thresh="50000"/>
          </a:blip>
          <a:stretch>
            <a:fillRect/>
          </a:stretch>
        </p:blipFill>
        <p:spPr>
          <a:xfrm>
            <a:off x="3712563" y="1040789"/>
            <a:ext cx="4789551" cy="4789551"/>
          </a:xfrm>
          <a:prstGeom prst="rect">
            <a:avLst/>
          </a:prstGeom>
        </p:spPr>
      </p:pic>
    </p:spTree>
    <p:custDataLst>
      <p:tags r:id="rId1"/>
    </p:custDataLst>
    <p:extLst>
      <p:ext uri="{BB962C8B-B14F-4D97-AF65-F5344CB8AC3E}">
        <p14:creationId xmlns:p14="http://schemas.microsoft.com/office/powerpoint/2010/main" val="240174690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dirty="0"/>
              <a:t>Sprinting: Conduct Sprint Planning</a:t>
            </a:r>
            <a:endParaRPr lang="en-US" dirty="0"/>
          </a:p>
        </p:txBody>
      </p:sp>
      <p:graphicFrame>
        <p:nvGraphicFramePr>
          <p:cNvPr id="2189" name="Table 2188">
            <a:extLst>
              <a:ext uri="{FF2B5EF4-FFF2-40B4-BE49-F238E27FC236}">
                <a16:creationId xmlns:a16="http://schemas.microsoft.com/office/drawing/2014/main" id="{F0E03C91-B69E-47A5-BFB5-55222D8F4D7C}"/>
              </a:ext>
            </a:extLst>
          </p:cNvPr>
          <p:cNvGraphicFramePr>
            <a:graphicFrameLocks noGrp="1"/>
          </p:cNvGraphicFramePr>
          <p:nvPr>
            <p:extLst>
              <p:ext uri="{D42A27DB-BD31-4B8C-83A1-F6EECF244321}">
                <p14:modId xmlns:p14="http://schemas.microsoft.com/office/powerpoint/2010/main" val="1915244160"/>
              </p:ext>
            </p:extLst>
          </p:nvPr>
        </p:nvGraphicFramePr>
        <p:xfrm>
          <a:off x="4180215" y="3297078"/>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190" name="Rectangle 2189">
            <a:extLst>
              <a:ext uri="{FF2B5EF4-FFF2-40B4-BE49-F238E27FC236}">
                <a16:creationId xmlns:a16="http://schemas.microsoft.com/office/drawing/2014/main" id="{5B242AB0-D087-45B9-991C-D144B01E7F0A}"/>
              </a:ext>
            </a:extLst>
          </p:cNvPr>
          <p:cNvSpPr>
            <a:spLocks/>
          </p:cNvSpPr>
          <p:nvPr/>
        </p:nvSpPr>
        <p:spPr bwMode="gray">
          <a:xfrm>
            <a:off x="9920415" y="1689529"/>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192" name="Table 2191">
            <a:extLst>
              <a:ext uri="{FF2B5EF4-FFF2-40B4-BE49-F238E27FC236}">
                <a16:creationId xmlns:a16="http://schemas.microsoft.com/office/drawing/2014/main" id="{2AC1EC88-3AC8-4154-AB0C-7952CEFF5CBB}"/>
              </a:ext>
            </a:extLst>
          </p:cNvPr>
          <p:cNvGraphicFramePr>
            <a:graphicFrameLocks noGrp="1"/>
          </p:cNvGraphicFramePr>
          <p:nvPr>
            <p:extLst>
              <p:ext uri="{D42A27DB-BD31-4B8C-83A1-F6EECF244321}">
                <p14:modId xmlns:p14="http://schemas.microsoft.com/office/powerpoint/2010/main" val="911892469"/>
              </p:ext>
            </p:extLst>
          </p:nvPr>
        </p:nvGraphicFramePr>
        <p:xfrm>
          <a:off x="470204" y="4578245"/>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544" name="Group 2543">
            <a:extLst>
              <a:ext uri="{FF2B5EF4-FFF2-40B4-BE49-F238E27FC236}">
                <a16:creationId xmlns:a16="http://schemas.microsoft.com/office/drawing/2014/main" id="{7CF70DB9-3C21-4F6A-A0D2-87A2EAFF679D}"/>
              </a:ext>
            </a:extLst>
          </p:cNvPr>
          <p:cNvGrpSpPr/>
          <p:nvPr/>
        </p:nvGrpSpPr>
        <p:grpSpPr>
          <a:xfrm>
            <a:off x="496680" y="1864299"/>
            <a:ext cx="1451488" cy="649270"/>
            <a:chOff x="1688915" y="1573673"/>
            <a:chExt cx="1455572" cy="651097"/>
          </a:xfrm>
        </p:grpSpPr>
        <p:sp>
          <p:nvSpPr>
            <p:cNvPr id="2545" name="Right Arrow 551">
              <a:extLst>
                <a:ext uri="{FF2B5EF4-FFF2-40B4-BE49-F238E27FC236}">
                  <a16:creationId xmlns:a16="http://schemas.microsoft.com/office/drawing/2014/main" id="{60716A56-708D-4D57-A035-5566C369D652}"/>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546" name="Group 2545">
              <a:extLst>
                <a:ext uri="{FF2B5EF4-FFF2-40B4-BE49-F238E27FC236}">
                  <a16:creationId xmlns:a16="http://schemas.microsoft.com/office/drawing/2014/main" id="{2A86400A-22B2-422F-88B6-A6CFA4435DE2}"/>
                </a:ext>
              </a:extLst>
            </p:cNvPr>
            <p:cNvGrpSpPr>
              <a:grpSpLocks/>
            </p:cNvGrpSpPr>
            <p:nvPr/>
          </p:nvGrpSpPr>
          <p:grpSpPr>
            <a:xfrm>
              <a:off x="1688915" y="1795002"/>
              <a:ext cx="418017" cy="418017"/>
              <a:chOff x="745985" y="4768134"/>
              <a:chExt cx="368776" cy="368777"/>
            </a:xfrm>
          </p:grpSpPr>
          <p:grpSp>
            <p:nvGrpSpPr>
              <p:cNvPr id="2610" name="Group 64">
                <a:extLst>
                  <a:ext uri="{FF2B5EF4-FFF2-40B4-BE49-F238E27FC236}">
                    <a16:creationId xmlns:a16="http://schemas.microsoft.com/office/drawing/2014/main" id="{37876098-F815-4A75-A3F5-8342895CBBEF}"/>
                  </a:ext>
                </a:extLst>
              </p:cNvPr>
              <p:cNvGrpSpPr>
                <a:grpSpLocks noChangeAspect="1"/>
              </p:cNvGrpSpPr>
              <p:nvPr/>
            </p:nvGrpSpPr>
            <p:grpSpPr bwMode="auto">
              <a:xfrm rot="8100000">
                <a:off x="745985" y="4768134"/>
                <a:ext cx="368776" cy="368777"/>
                <a:chOff x="701" y="2170"/>
                <a:chExt cx="587" cy="587"/>
              </a:xfrm>
            </p:grpSpPr>
            <p:sp>
              <p:nvSpPr>
                <p:cNvPr id="2621" name="Oval 65">
                  <a:extLst>
                    <a:ext uri="{FF2B5EF4-FFF2-40B4-BE49-F238E27FC236}">
                      <a16:creationId xmlns:a16="http://schemas.microsoft.com/office/drawing/2014/main" id="{2DF0D91C-2D49-46A4-8E67-9D5B89E66B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2" name="Line 66">
                  <a:extLst>
                    <a:ext uri="{FF2B5EF4-FFF2-40B4-BE49-F238E27FC236}">
                      <a16:creationId xmlns:a16="http://schemas.microsoft.com/office/drawing/2014/main" id="{54F40249-A4E6-4758-A6D0-B2E796EF826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3" name="Line 67">
                  <a:extLst>
                    <a:ext uri="{FF2B5EF4-FFF2-40B4-BE49-F238E27FC236}">
                      <a16:creationId xmlns:a16="http://schemas.microsoft.com/office/drawing/2014/main" id="{07CC7B68-631A-483D-B0A0-D20552A4A07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69">
                  <a:extLst>
                    <a:ext uri="{FF2B5EF4-FFF2-40B4-BE49-F238E27FC236}">
                      <a16:creationId xmlns:a16="http://schemas.microsoft.com/office/drawing/2014/main" id="{737AEDA1-E4DE-4651-93A7-CDF6E1C2D9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5" name="Line 74">
                  <a:extLst>
                    <a:ext uri="{FF2B5EF4-FFF2-40B4-BE49-F238E27FC236}">
                      <a16:creationId xmlns:a16="http://schemas.microsoft.com/office/drawing/2014/main" id="{E9A3B492-7197-464A-B9EB-B58BA964764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Freeform 78">
                  <a:extLst>
                    <a:ext uri="{FF2B5EF4-FFF2-40B4-BE49-F238E27FC236}">
                      <a16:creationId xmlns:a16="http://schemas.microsoft.com/office/drawing/2014/main" id="{2578CF9C-E829-48FA-AA33-AEA16D6FFD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7" name="Freeform 80">
                  <a:extLst>
                    <a:ext uri="{FF2B5EF4-FFF2-40B4-BE49-F238E27FC236}">
                      <a16:creationId xmlns:a16="http://schemas.microsoft.com/office/drawing/2014/main" id="{E9C922BB-A626-4ADB-B528-1CE3E09729D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11" name="Group 2610">
                <a:extLst>
                  <a:ext uri="{FF2B5EF4-FFF2-40B4-BE49-F238E27FC236}">
                    <a16:creationId xmlns:a16="http://schemas.microsoft.com/office/drawing/2014/main" id="{B05CA430-DBB2-4069-83F5-B0564A8088E4}"/>
                  </a:ext>
                </a:extLst>
              </p:cNvPr>
              <p:cNvGrpSpPr/>
              <p:nvPr/>
            </p:nvGrpSpPr>
            <p:grpSpPr>
              <a:xfrm>
                <a:off x="837312" y="4814434"/>
                <a:ext cx="136805" cy="278689"/>
                <a:chOff x="2806700" y="2803319"/>
                <a:chExt cx="433387" cy="882861"/>
              </a:xfrm>
            </p:grpSpPr>
            <p:grpSp>
              <p:nvGrpSpPr>
                <p:cNvPr id="2612" name="Group 2611">
                  <a:extLst>
                    <a:ext uri="{FF2B5EF4-FFF2-40B4-BE49-F238E27FC236}">
                      <a16:creationId xmlns:a16="http://schemas.microsoft.com/office/drawing/2014/main" id="{0EDC82F8-83D1-4536-A959-C2D2FD5273E9}"/>
                    </a:ext>
                  </a:extLst>
                </p:cNvPr>
                <p:cNvGrpSpPr>
                  <a:grpSpLocks noChangeAspect="1"/>
                </p:cNvGrpSpPr>
                <p:nvPr/>
              </p:nvGrpSpPr>
              <p:grpSpPr bwMode="auto">
                <a:xfrm>
                  <a:off x="2806700" y="3043242"/>
                  <a:ext cx="433387" cy="642938"/>
                  <a:chOff x="1768" y="1917"/>
                  <a:chExt cx="273" cy="405"/>
                </a:xfrm>
              </p:grpSpPr>
              <p:sp>
                <p:nvSpPr>
                  <p:cNvPr id="2614" name="Freeform 52">
                    <a:extLst>
                      <a:ext uri="{FF2B5EF4-FFF2-40B4-BE49-F238E27FC236}">
                        <a16:creationId xmlns:a16="http://schemas.microsoft.com/office/drawing/2014/main" id="{0BCE2018-B6C9-4D30-9121-A67C4EE2AB3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Line 54">
                    <a:extLst>
                      <a:ext uri="{FF2B5EF4-FFF2-40B4-BE49-F238E27FC236}">
                        <a16:creationId xmlns:a16="http://schemas.microsoft.com/office/drawing/2014/main" id="{EC581916-8210-4552-9CD2-6819AC9BAA7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6" name="Line 55">
                    <a:extLst>
                      <a:ext uri="{FF2B5EF4-FFF2-40B4-BE49-F238E27FC236}">
                        <a16:creationId xmlns:a16="http://schemas.microsoft.com/office/drawing/2014/main" id="{258D4DF1-6C6F-424D-9ED5-1E6427BB5C6D}"/>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56">
                    <a:extLst>
                      <a:ext uri="{FF2B5EF4-FFF2-40B4-BE49-F238E27FC236}">
                        <a16:creationId xmlns:a16="http://schemas.microsoft.com/office/drawing/2014/main" id="{EFC4BA31-C988-4E9F-BCA1-A5BE4DA774B7}"/>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57">
                    <a:extLst>
                      <a:ext uri="{FF2B5EF4-FFF2-40B4-BE49-F238E27FC236}">
                        <a16:creationId xmlns:a16="http://schemas.microsoft.com/office/drawing/2014/main" id="{60554008-CF73-4CB7-B029-7BB6BC69B4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58">
                    <a:extLst>
                      <a:ext uri="{FF2B5EF4-FFF2-40B4-BE49-F238E27FC236}">
                        <a16:creationId xmlns:a16="http://schemas.microsoft.com/office/drawing/2014/main" id="{8663360D-1E34-41B4-9F2E-AD0DC682F5E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Rectangle 2619">
                    <a:extLst>
                      <a:ext uri="{FF2B5EF4-FFF2-40B4-BE49-F238E27FC236}">
                        <a16:creationId xmlns:a16="http://schemas.microsoft.com/office/drawing/2014/main" id="{5B65E2D2-857D-40B6-8F41-EA1235FAE848}"/>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13" name="Oval 2612">
                  <a:extLst>
                    <a:ext uri="{FF2B5EF4-FFF2-40B4-BE49-F238E27FC236}">
                      <a16:creationId xmlns:a16="http://schemas.microsoft.com/office/drawing/2014/main" id="{B63520A8-B7C0-44DB-955E-5A06BF0CF4B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47" name="Group 2546">
              <a:extLst>
                <a:ext uri="{FF2B5EF4-FFF2-40B4-BE49-F238E27FC236}">
                  <a16:creationId xmlns:a16="http://schemas.microsoft.com/office/drawing/2014/main" id="{70E3FDAB-8078-4444-B685-4B8E2BB15BF0}"/>
                </a:ext>
              </a:extLst>
            </p:cNvPr>
            <p:cNvGrpSpPr>
              <a:grpSpLocks/>
            </p:cNvGrpSpPr>
            <p:nvPr/>
          </p:nvGrpSpPr>
          <p:grpSpPr>
            <a:xfrm>
              <a:off x="2196256" y="1795002"/>
              <a:ext cx="429139" cy="429142"/>
              <a:chOff x="1454941" y="4721722"/>
              <a:chExt cx="473625" cy="473627"/>
            </a:xfrm>
          </p:grpSpPr>
          <p:grpSp>
            <p:nvGrpSpPr>
              <p:cNvPr id="2571" name="Group 64">
                <a:extLst>
                  <a:ext uri="{FF2B5EF4-FFF2-40B4-BE49-F238E27FC236}">
                    <a16:creationId xmlns:a16="http://schemas.microsoft.com/office/drawing/2014/main" id="{B39C39E7-EA9F-4EBC-9AAB-F9883F63F91C}"/>
                  </a:ext>
                </a:extLst>
              </p:cNvPr>
              <p:cNvGrpSpPr>
                <a:grpSpLocks noChangeAspect="1"/>
              </p:cNvGrpSpPr>
              <p:nvPr/>
            </p:nvGrpSpPr>
            <p:grpSpPr bwMode="auto">
              <a:xfrm rot="8100000">
                <a:off x="1454941" y="4721722"/>
                <a:ext cx="473625" cy="473627"/>
                <a:chOff x="701" y="2170"/>
                <a:chExt cx="587" cy="587"/>
              </a:xfrm>
            </p:grpSpPr>
            <p:sp>
              <p:nvSpPr>
                <p:cNvPr id="2603" name="Oval 65">
                  <a:extLst>
                    <a:ext uri="{FF2B5EF4-FFF2-40B4-BE49-F238E27FC236}">
                      <a16:creationId xmlns:a16="http://schemas.microsoft.com/office/drawing/2014/main" id="{1741B508-5571-4D54-A0EB-547A9E77B78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04" name="Line 66">
                  <a:extLst>
                    <a:ext uri="{FF2B5EF4-FFF2-40B4-BE49-F238E27FC236}">
                      <a16:creationId xmlns:a16="http://schemas.microsoft.com/office/drawing/2014/main" id="{70676CEF-249F-420C-85A3-B991722F7A3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Line 67">
                  <a:extLst>
                    <a:ext uri="{FF2B5EF4-FFF2-40B4-BE49-F238E27FC236}">
                      <a16:creationId xmlns:a16="http://schemas.microsoft.com/office/drawing/2014/main" id="{1EF5F94B-E9B8-4900-A031-222A5CC2040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69">
                  <a:extLst>
                    <a:ext uri="{FF2B5EF4-FFF2-40B4-BE49-F238E27FC236}">
                      <a16:creationId xmlns:a16="http://schemas.microsoft.com/office/drawing/2014/main" id="{2BB013A3-42B7-4018-89D4-5C83D78682F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Line 74">
                  <a:extLst>
                    <a:ext uri="{FF2B5EF4-FFF2-40B4-BE49-F238E27FC236}">
                      <a16:creationId xmlns:a16="http://schemas.microsoft.com/office/drawing/2014/main" id="{00686483-DECD-45BF-9A77-564856213CC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Freeform 78">
                  <a:extLst>
                    <a:ext uri="{FF2B5EF4-FFF2-40B4-BE49-F238E27FC236}">
                      <a16:creationId xmlns:a16="http://schemas.microsoft.com/office/drawing/2014/main" id="{84F7DED2-E0F1-4DE4-A520-B0C26D9E750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80">
                  <a:extLst>
                    <a:ext uri="{FF2B5EF4-FFF2-40B4-BE49-F238E27FC236}">
                      <a16:creationId xmlns:a16="http://schemas.microsoft.com/office/drawing/2014/main" id="{039693EE-14A9-4591-B409-53500D914F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2" name="Group 2571">
                <a:extLst>
                  <a:ext uri="{FF2B5EF4-FFF2-40B4-BE49-F238E27FC236}">
                    <a16:creationId xmlns:a16="http://schemas.microsoft.com/office/drawing/2014/main" id="{89DDA1AB-DB1A-4F2A-A1F6-F55E86107FD2}"/>
                  </a:ext>
                </a:extLst>
              </p:cNvPr>
              <p:cNvGrpSpPr/>
              <p:nvPr/>
            </p:nvGrpSpPr>
            <p:grpSpPr>
              <a:xfrm>
                <a:off x="1511214" y="4789508"/>
                <a:ext cx="356509" cy="349884"/>
                <a:chOff x="468738" y="2241878"/>
                <a:chExt cx="1655483" cy="1624719"/>
              </a:xfrm>
            </p:grpSpPr>
            <p:sp>
              <p:nvSpPr>
                <p:cNvPr id="2573" name="Freeform 5">
                  <a:extLst>
                    <a:ext uri="{FF2B5EF4-FFF2-40B4-BE49-F238E27FC236}">
                      <a16:creationId xmlns:a16="http://schemas.microsoft.com/office/drawing/2014/main" id="{172B99D1-5F8D-43B0-A8CF-683A3625D04B}"/>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4" name="Freeform 6">
                  <a:extLst>
                    <a:ext uri="{FF2B5EF4-FFF2-40B4-BE49-F238E27FC236}">
                      <a16:creationId xmlns:a16="http://schemas.microsoft.com/office/drawing/2014/main" id="{F3FDED16-95F9-45A6-A5C2-AF3C7FBE84F6}"/>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5" name="Line 7">
                  <a:extLst>
                    <a:ext uri="{FF2B5EF4-FFF2-40B4-BE49-F238E27FC236}">
                      <a16:creationId xmlns:a16="http://schemas.microsoft.com/office/drawing/2014/main" id="{AAD0AA96-C242-4B23-8EFA-298E3BEDAA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8">
                  <a:extLst>
                    <a:ext uri="{FF2B5EF4-FFF2-40B4-BE49-F238E27FC236}">
                      <a16:creationId xmlns:a16="http://schemas.microsoft.com/office/drawing/2014/main" id="{65ACEBDE-EC2B-4A9C-8F9A-3E59E956386C}"/>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7" name="Line 9">
                  <a:extLst>
                    <a:ext uri="{FF2B5EF4-FFF2-40B4-BE49-F238E27FC236}">
                      <a16:creationId xmlns:a16="http://schemas.microsoft.com/office/drawing/2014/main" id="{FA37A858-97DB-4449-ACE8-3885E0019D9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78" name="Group 2577">
                  <a:extLst>
                    <a:ext uri="{FF2B5EF4-FFF2-40B4-BE49-F238E27FC236}">
                      <a16:creationId xmlns:a16="http://schemas.microsoft.com/office/drawing/2014/main" id="{79C5D445-41D4-40B0-AF1A-755E76DDC7B4}"/>
                    </a:ext>
                  </a:extLst>
                </p:cNvPr>
                <p:cNvGrpSpPr/>
                <p:nvPr/>
              </p:nvGrpSpPr>
              <p:grpSpPr>
                <a:xfrm>
                  <a:off x="1207113" y="2241878"/>
                  <a:ext cx="178734" cy="348678"/>
                  <a:chOff x="1207113" y="2241878"/>
                  <a:chExt cx="178734" cy="348678"/>
                </a:xfrm>
              </p:grpSpPr>
              <p:sp>
                <p:nvSpPr>
                  <p:cNvPr id="2601" name="Freeform 10">
                    <a:extLst>
                      <a:ext uri="{FF2B5EF4-FFF2-40B4-BE49-F238E27FC236}">
                        <a16:creationId xmlns:a16="http://schemas.microsoft.com/office/drawing/2014/main" id="{54AC54D8-9353-4873-A0D6-DA52C82071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2" name="Line 11">
                    <a:extLst>
                      <a:ext uri="{FF2B5EF4-FFF2-40B4-BE49-F238E27FC236}">
                        <a16:creationId xmlns:a16="http://schemas.microsoft.com/office/drawing/2014/main" id="{67538569-E1FB-43CB-8C4E-E50AB927A62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79" name="Freeform 12">
                  <a:extLst>
                    <a:ext uri="{FF2B5EF4-FFF2-40B4-BE49-F238E27FC236}">
                      <a16:creationId xmlns:a16="http://schemas.microsoft.com/office/drawing/2014/main" id="{23AB89EB-3C17-472E-A344-FA38E6EB684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0" name="Line 13">
                  <a:extLst>
                    <a:ext uri="{FF2B5EF4-FFF2-40B4-BE49-F238E27FC236}">
                      <a16:creationId xmlns:a16="http://schemas.microsoft.com/office/drawing/2014/main" id="{43C11C09-0BC9-4BFF-875F-ABE448A152D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14">
                  <a:extLst>
                    <a:ext uri="{FF2B5EF4-FFF2-40B4-BE49-F238E27FC236}">
                      <a16:creationId xmlns:a16="http://schemas.microsoft.com/office/drawing/2014/main" id="{F0F5FDC1-C77E-42C1-837C-FAF73023CF4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2" name="Line 15">
                  <a:extLst>
                    <a:ext uri="{FF2B5EF4-FFF2-40B4-BE49-F238E27FC236}">
                      <a16:creationId xmlns:a16="http://schemas.microsoft.com/office/drawing/2014/main" id="{D14B5AA4-719D-4159-8916-F2A1A34A91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16">
                  <a:extLst>
                    <a:ext uri="{FF2B5EF4-FFF2-40B4-BE49-F238E27FC236}">
                      <a16:creationId xmlns:a16="http://schemas.microsoft.com/office/drawing/2014/main" id="{F8FBC1AC-6574-47C3-8438-C023623B260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4" name="Line 17">
                  <a:extLst>
                    <a:ext uri="{FF2B5EF4-FFF2-40B4-BE49-F238E27FC236}">
                      <a16:creationId xmlns:a16="http://schemas.microsoft.com/office/drawing/2014/main" id="{08056CE5-759B-45BA-AD64-E8F92BBD2A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5" name="Freeform 18">
                  <a:extLst>
                    <a:ext uri="{FF2B5EF4-FFF2-40B4-BE49-F238E27FC236}">
                      <a16:creationId xmlns:a16="http://schemas.microsoft.com/office/drawing/2014/main" id="{6A51513C-BEE0-4282-A5DF-6205F1EA066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6" name="Line 19">
                  <a:extLst>
                    <a:ext uri="{FF2B5EF4-FFF2-40B4-BE49-F238E27FC236}">
                      <a16:creationId xmlns:a16="http://schemas.microsoft.com/office/drawing/2014/main" id="{AEAAE65E-5999-432E-9C21-5E4FB83DDEB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Freeform 35">
                  <a:extLst>
                    <a:ext uri="{FF2B5EF4-FFF2-40B4-BE49-F238E27FC236}">
                      <a16:creationId xmlns:a16="http://schemas.microsoft.com/office/drawing/2014/main" id="{905B05FD-7A7F-48F9-A413-495E4E3EF3B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8" name="Freeform 36">
                  <a:extLst>
                    <a:ext uri="{FF2B5EF4-FFF2-40B4-BE49-F238E27FC236}">
                      <a16:creationId xmlns:a16="http://schemas.microsoft.com/office/drawing/2014/main" id="{2921A0B4-2BEA-4CE2-8F22-3E172B32B81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9" name="Freeform 37">
                  <a:extLst>
                    <a:ext uri="{FF2B5EF4-FFF2-40B4-BE49-F238E27FC236}">
                      <a16:creationId xmlns:a16="http://schemas.microsoft.com/office/drawing/2014/main" id="{74FD599A-C4E5-4385-B21D-C11D5169B587}"/>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Freeform 38">
                  <a:extLst>
                    <a:ext uri="{FF2B5EF4-FFF2-40B4-BE49-F238E27FC236}">
                      <a16:creationId xmlns:a16="http://schemas.microsoft.com/office/drawing/2014/main" id="{8F85F175-9B1B-40F9-946C-DE9DDA6E8A4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1" name="Freeform 39">
                  <a:extLst>
                    <a:ext uri="{FF2B5EF4-FFF2-40B4-BE49-F238E27FC236}">
                      <a16:creationId xmlns:a16="http://schemas.microsoft.com/office/drawing/2014/main" id="{53790508-4459-4A51-8C21-80B6C72D01A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2" name="Freeform 40">
                  <a:extLst>
                    <a:ext uri="{FF2B5EF4-FFF2-40B4-BE49-F238E27FC236}">
                      <a16:creationId xmlns:a16="http://schemas.microsoft.com/office/drawing/2014/main" id="{E9E238AF-9ECF-452F-B6DB-E6DF88A9C969}"/>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41">
                  <a:extLst>
                    <a:ext uri="{FF2B5EF4-FFF2-40B4-BE49-F238E27FC236}">
                      <a16:creationId xmlns:a16="http://schemas.microsoft.com/office/drawing/2014/main" id="{D11F8F04-D95B-4398-934F-456924E564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Line 42">
                  <a:extLst>
                    <a:ext uri="{FF2B5EF4-FFF2-40B4-BE49-F238E27FC236}">
                      <a16:creationId xmlns:a16="http://schemas.microsoft.com/office/drawing/2014/main" id="{7CA960FB-560C-4E5A-8FE9-85E545A1B2C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5" name="Freeform 43">
                  <a:extLst>
                    <a:ext uri="{FF2B5EF4-FFF2-40B4-BE49-F238E27FC236}">
                      <a16:creationId xmlns:a16="http://schemas.microsoft.com/office/drawing/2014/main" id="{8352DF51-BA50-42A8-AAA7-896B47106C3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6" name="Freeform 44">
                  <a:extLst>
                    <a:ext uri="{FF2B5EF4-FFF2-40B4-BE49-F238E27FC236}">
                      <a16:creationId xmlns:a16="http://schemas.microsoft.com/office/drawing/2014/main" id="{BDD7E630-68FF-4E07-BB6A-C1149D795D9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7" name="Freeform 45">
                  <a:extLst>
                    <a:ext uri="{FF2B5EF4-FFF2-40B4-BE49-F238E27FC236}">
                      <a16:creationId xmlns:a16="http://schemas.microsoft.com/office/drawing/2014/main" id="{861BDD01-35EE-466A-B33F-9A1961BB3060}"/>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98" name="Group 2597">
                  <a:extLst>
                    <a:ext uri="{FF2B5EF4-FFF2-40B4-BE49-F238E27FC236}">
                      <a16:creationId xmlns:a16="http://schemas.microsoft.com/office/drawing/2014/main" id="{7B1758D7-BE5F-464F-BC14-3A269D9754BC}"/>
                    </a:ext>
                  </a:extLst>
                </p:cNvPr>
                <p:cNvGrpSpPr/>
                <p:nvPr/>
              </p:nvGrpSpPr>
              <p:grpSpPr>
                <a:xfrm flipV="1">
                  <a:off x="1202047" y="3517919"/>
                  <a:ext cx="178734" cy="348678"/>
                  <a:chOff x="1207113" y="2241878"/>
                  <a:chExt cx="178734" cy="348678"/>
                </a:xfrm>
              </p:grpSpPr>
              <p:sp>
                <p:nvSpPr>
                  <p:cNvPr id="2599" name="Freeform 10">
                    <a:extLst>
                      <a:ext uri="{FF2B5EF4-FFF2-40B4-BE49-F238E27FC236}">
                        <a16:creationId xmlns:a16="http://schemas.microsoft.com/office/drawing/2014/main" id="{019506FC-658D-4D9A-A18D-8059D37E15F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Line 11">
                    <a:extLst>
                      <a:ext uri="{FF2B5EF4-FFF2-40B4-BE49-F238E27FC236}">
                        <a16:creationId xmlns:a16="http://schemas.microsoft.com/office/drawing/2014/main" id="{99B84B6D-9AFF-4FEA-9FDC-B8BF3387F94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48" name="Group 2547">
              <a:extLst>
                <a:ext uri="{FF2B5EF4-FFF2-40B4-BE49-F238E27FC236}">
                  <a16:creationId xmlns:a16="http://schemas.microsoft.com/office/drawing/2014/main" id="{5EA11509-A1A4-44A6-A1A4-17F4B555AAC6}"/>
                </a:ext>
              </a:extLst>
            </p:cNvPr>
            <p:cNvGrpSpPr>
              <a:grpSpLocks/>
            </p:cNvGrpSpPr>
            <p:nvPr/>
          </p:nvGrpSpPr>
          <p:grpSpPr>
            <a:xfrm>
              <a:off x="2714719" y="1795002"/>
              <a:ext cx="429768" cy="429768"/>
              <a:chOff x="2268747" y="4723725"/>
              <a:chExt cx="415610" cy="415612"/>
            </a:xfrm>
          </p:grpSpPr>
          <p:grpSp>
            <p:nvGrpSpPr>
              <p:cNvPr id="2549" name="Group 64">
                <a:extLst>
                  <a:ext uri="{FF2B5EF4-FFF2-40B4-BE49-F238E27FC236}">
                    <a16:creationId xmlns:a16="http://schemas.microsoft.com/office/drawing/2014/main" id="{9994E78A-F8C7-4ECE-944A-E097AE751DB8}"/>
                  </a:ext>
                </a:extLst>
              </p:cNvPr>
              <p:cNvGrpSpPr>
                <a:grpSpLocks noChangeAspect="1"/>
              </p:cNvGrpSpPr>
              <p:nvPr/>
            </p:nvGrpSpPr>
            <p:grpSpPr bwMode="auto">
              <a:xfrm rot="8100000">
                <a:off x="2268747" y="4723725"/>
                <a:ext cx="415610" cy="415612"/>
                <a:chOff x="701" y="2170"/>
                <a:chExt cx="587" cy="587"/>
              </a:xfrm>
            </p:grpSpPr>
            <p:sp>
              <p:nvSpPr>
                <p:cNvPr id="2564" name="Oval 65">
                  <a:extLst>
                    <a:ext uri="{FF2B5EF4-FFF2-40B4-BE49-F238E27FC236}">
                      <a16:creationId xmlns:a16="http://schemas.microsoft.com/office/drawing/2014/main" id="{B0440BC5-094D-472D-B738-365BFF23A97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5" name="Line 66">
                  <a:extLst>
                    <a:ext uri="{FF2B5EF4-FFF2-40B4-BE49-F238E27FC236}">
                      <a16:creationId xmlns:a16="http://schemas.microsoft.com/office/drawing/2014/main" id="{2A47616E-CFA9-48B9-9249-5868F9E3FC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6" name="Line 67">
                  <a:extLst>
                    <a:ext uri="{FF2B5EF4-FFF2-40B4-BE49-F238E27FC236}">
                      <a16:creationId xmlns:a16="http://schemas.microsoft.com/office/drawing/2014/main" id="{F77ABEAB-5DBD-4EAF-8B07-2263A00DC3F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7" name="Line 69">
                  <a:extLst>
                    <a:ext uri="{FF2B5EF4-FFF2-40B4-BE49-F238E27FC236}">
                      <a16:creationId xmlns:a16="http://schemas.microsoft.com/office/drawing/2014/main" id="{DE510E65-BE79-46F0-B8B4-232037F6B76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8" name="Line 74">
                  <a:extLst>
                    <a:ext uri="{FF2B5EF4-FFF2-40B4-BE49-F238E27FC236}">
                      <a16:creationId xmlns:a16="http://schemas.microsoft.com/office/drawing/2014/main" id="{CD3FFEA8-D4AB-4078-A060-33DF4A788FE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9" name="Freeform 78">
                  <a:extLst>
                    <a:ext uri="{FF2B5EF4-FFF2-40B4-BE49-F238E27FC236}">
                      <a16:creationId xmlns:a16="http://schemas.microsoft.com/office/drawing/2014/main" id="{2EDC1EE5-42BD-4CDA-813D-5E6FB6792E2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0" name="Freeform 80">
                  <a:extLst>
                    <a:ext uri="{FF2B5EF4-FFF2-40B4-BE49-F238E27FC236}">
                      <a16:creationId xmlns:a16="http://schemas.microsoft.com/office/drawing/2014/main" id="{A5B3BECE-23D7-41D4-8D21-E529128AD14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50" name="Group 2549">
                <a:extLst>
                  <a:ext uri="{FF2B5EF4-FFF2-40B4-BE49-F238E27FC236}">
                    <a16:creationId xmlns:a16="http://schemas.microsoft.com/office/drawing/2014/main" id="{CDDC6E90-998A-4279-AA1D-88E0676C2A65}"/>
                  </a:ext>
                </a:extLst>
              </p:cNvPr>
              <p:cNvGrpSpPr/>
              <p:nvPr/>
            </p:nvGrpSpPr>
            <p:grpSpPr>
              <a:xfrm>
                <a:off x="2318076" y="4830163"/>
                <a:ext cx="313949" cy="233075"/>
                <a:chOff x="3707533" y="2731244"/>
                <a:chExt cx="389644" cy="289271"/>
              </a:xfrm>
            </p:grpSpPr>
            <p:sp>
              <p:nvSpPr>
                <p:cNvPr id="2551" name="Freeform 33">
                  <a:extLst>
                    <a:ext uri="{FF2B5EF4-FFF2-40B4-BE49-F238E27FC236}">
                      <a16:creationId xmlns:a16="http://schemas.microsoft.com/office/drawing/2014/main" id="{3E33581A-5603-47FA-8C77-22600BCDE6E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2" name="Freeform 34">
                  <a:extLst>
                    <a:ext uri="{FF2B5EF4-FFF2-40B4-BE49-F238E27FC236}">
                      <a16:creationId xmlns:a16="http://schemas.microsoft.com/office/drawing/2014/main" id="{ACDF47B3-1CA7-4271-867B-F114B297691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3" name="Freeform 37">
                  <a:extLst>
                    <a:ext uri="{FF2B5EF4-FFF2-40B4-BE49-F238E27FC236}">
                      <a16:creationId xmlns:a16="http://schemas.microsoft.com/office/drawing/2014/main" id="{B543CB0C-D03B-4720-A607-0FCD07E9D4B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4" name="Freeform 38">
                  <a:extLst>
                    <a:ext uri="{FF2B5EF4-FFF2-40B4-BE49-F238E27FC236}">
                      <a16:creationId xmlns:a16="http://schemas.microsoft.com/office/drawing/2014/main" id="{372AC087-985F-4869-B0F9-042502D250D4}"/>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5" name="Freeform 32">
                  <a:extLst>
                    <a:ext uri="{FF2B5EF4-FFF2-40B4-BE49-F238E27FC236}">
                      <a16:creationId xmlns:a16="http://schemas.microsoft.com/office/drawing/2014/main" id="{38C5052C-A37E-470F-B686-3D80031B8B8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6" name="Freeform 35">
                  <a:extLst>
                    <a:ext uri="{FF2B5EF4-FFF2-40B4-BE49-F238E27FC236}">
                      <a16:creationId xmlns:a16="http://schemas.microsoft.com/office/drawing/2014/main" id="{B2446279-1BCD-4191-8B55-C5D69A343EE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7" name="Freeform 36">
                  <a:extLst>
                    <a:ext uri="{FF2B5EF4-FFF2-40B4-BE49-F238E27FC236}">
                      <a16:creationId xmlns:a16="http://schemas.microsoft.com/office/drawing/2014/main" id="{C85BCDF6-D6D7-4002-A4B7-F17FFEAB5D3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8" name="Freeform 25">
                  <a:extLst>
                    <a:ext uri="{FF2B5EF4-FFF2-40B4-BE49-F238E27FC236}">
                      <a16:creationId xmlns:a16="http://schemas.microsoft.com/office/drawing/2014/main" id="{C36CC8CF-82FF-428E-BC50-3225F0505AF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9" name="Freeform 39">
                  <a:extLst>
                    <a:ext uri="{FF2B5EF4-FFF2-40B4-BE49-F238E27FC236}">
                      <a16:creationId xmlns:a16="http://schemas.microsoft.com/office/drawing/2014/main" id="{B9E1B1BD-9826-44F1-8BFA-FD3EE138DEA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0" name="Freeform 26">
                  <a:extLst>
                    <a:ext uri="{FF2B5EF4-FFF2-40B4-BE49-F238E27FC236}">
                      <a16:creationId xmlns:a16="http://schemas.microsoft.com/office/drawing/2014/main" id="{E70AECCB-A7E1-4AF4-AD81-97B4AD7E5A3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1" name="Rectangle 27">
                  <a:extLst>
                    <a:ext uri="{FF2B5EF4-FFF2-40B4-BE49-F238E27FC236}">
                      <a16:creationId xmlns:a16="http://schemas.microsoft.com/office/drawing/2014/main" id="{AE5DB8C7-52CD-4F4D-AD7D-713470DD0519}"/>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2" name="Line 29">
                  <a:extLst>
                    <a:ext uri="{FF2B5EF4-FFF2-40B4-BE49-F238E27FC236}">
                      <a16:creationId xmlns:a16="http://schemas.microsoft.com/office/drawing/2014/main" id="{C1EDC3FA-8CEB-4FB2-816D-A14C07043183}"/>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3" name="Line 31">
                  <a:extLst>
                    <a:ext uri="{FF2B5EF4-FFF2-40B4-BE49-F238E27FC236}">
                      <a16:creationId xmlns:a16="http://schemas.microsoft.com/office/drawing/2014/main" id="{2438B17F-954A-450B-8F24-DD7E7E7D6E0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3" name="Group 2">
            <a:extLst>
              <a:ext uri="{FF2B5EF4-FFF2-40B4-BE49-F238E27FC236}">
                <a16:creationId xmlns:a16="http://schemas.microsoft.com/office/drawing/2014/main" id="{F68ED92F-55F2-4796-B592-F951746241DD}"/>
              </a:ext>
            </a:extLst>
          </p:cNvPr>
          <p:cNvGrpSpPr/>
          <p:nvPr/>
        </p:nvGrpSpPr>
        <p:grpSpPr>
          <a:xfrm>
            <a:off x="1944832" y="1841990"/>
            <a:ext cx="1530261" cy="1365012"/>
            <a:chOff x="1943749" y="1841576"/>
            <a:chExt cx="1530660" cy="1365368"/>
          </a:xfrm>
        </p:grpSpPr>
        <p:grpSp>
          <p:nvGrpSpPr>
            <p:cNvPr id="2" name="Group 1">
              <a:extLst>
                <a:ext uri="{FF2B5EF4-FFF2-40B4-BE49-F238E27FC236}">
                  <a16:creationId xmlns:a16="http://schemas.microsoft.com/office/drawing/2014/main" id="{810E02F5-E91A-4A84-B614-26F7833E4F9E}"/>
                </a:ext>
              </a:extLst>
            </p:cNvPr>
            <p:cNvGrpSpPr/>
            <p:nvPr/>
          </p:nvGrpSpPr>
          <p:grpSpPr>
            <a:xfrm>
              <a:off x="1943749" y="2407608"/>
              <a:ext cx="1530660" cy="799336"/>
              <a:chOff x="1943749" y="2407608"/>
              <a:chExt cx="1530660" cy="799336"/>
            </a:xfrm>
          </p:grpSpPr>
          <p:cxnSp>
            <p:nvCxnSpPr>
              <p:cNvPr id="2812" name="Elbow Connector 558">
                <a:extLst>
                  <a:ext uri="{FF2B5EF4-FFF2-40B4-BE49-F238E27FC236}">
                    <a16:creationId xmlns:a16="http://schemas.microsoft.com/office/drawing/2014/main" id="{1935F575-87DC-442A-9CCD-6F852C78EB34}"/>
                  </a:ext>
                </a:extLst>
              </p:cNvPr>
              <p:cNvCxnSpPr>
                <a:cxnSpLocks/>
                <a:endCxn id="2814"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813" name="Elbow Connector 558">
                <a:extLst>
                  <a:ext uri="{FF2B5EF4-FFF2-40B4-BE49-F238E27FC236}">
                    <a16:creationId xmlns:a16="http://schemas.microsoft.com/office/drawing/2014/main" id="{37DBABF8-A9A5-45DD-953F-1B5BE29639BD}"/>
                  </a:ext>
                </a:extLst>
              </p:cNvPr>
              <p:cNvCxnSpPr>
                <a:cxnSpLocks/>
                <a:stCxn id="2814" idx="3"/>
                <a:endCxn id="2105" idx="1"/>
              </p:cNvCxnSpPr>
              <p:nvPr/>
            </p:nvCxnSpPr>
            <p:spPr>
              <a:xfrm flipV="1">
                <a:off x="2543277" y="2407608"/>
                <a:ext cx="931132" cy="374067"/>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814" name="Picture 2813">
                <a:extLst>
                  <a:ext uri="{FF2B5EF4-FFF2-40B4-BE49-F238E27FC236}">
                    <a16:creationId xmlns:a16="http://schemas.microsoft.com/office/drawing/2014/main" id="{B4B3FA98-B76F-474E-9F2A-47EBAD2A5D2E}"/>
                  </a:ext>
                </a:extLst>
              </p:cNvPr>
              <p:cNvPicPr>
                <a:picLocks noChangeAspect="1"/>
              </p:cNvPicPr>
              <p:nvPr/>
            </p:nvPicPr>
            <p:blipFill>
              <a:blip r:embed="rId4"/>
              <a:stretch>
                <a:fillRect/>
              </a:stretch>
            </p:blipFill>
            <p:spPr>
              <a:xfrm>
                <a:off x="2233500" y="2496539"/>
                <a:ext cx="309777" cy="570271"/>
              </a:xfrm>
              <a:prstGeom prst="rect">
                <a:avLst/>
              </a:prstGeom>
            </p:spPr>
          </p:pic>
        </p:grpSp>
        <p:pic>
          <p:nvPicPr>
            <p:cNvPr id="2815" name="Picture 2814">
              <a:extLst>
                <a:ext uri="{FF2B5EF4-FFF2-40B4-BE49-F238E27FC236}">
                  <a16:creationId xmlns:a16="http://schemas.microsoft.com/office/drawing/2014/main" id="{4A96C1DF-0971-4663-9F6A-90244601521F}"/>
                </a:ext>
              </a:extLst>
            </p:cNvPr>
            <p:cNvPicPr>
              <a:picLocks noChangeAspect="1"/>
            </p:cNvPicPr>
            <p:nvPr/>
          </p:nvPicPr>
          <p:blipFill>
            <a:blip r:embed="rId5"/>
            <a:stretch>
              <a:fillRect/>
            </a:stretch>
          </p:blipFill>
          <p:spPr>
            <a:xfrm>
              <a:off x="2231599" y="1841576"/>
              <a:ext cx="302738" cy="580832"/>
            </a:xfrm>
            <a:prstGeom prst="rect">
              <a:avLst/>
            </a:prstGeom>
          </p:spPr>
        </p:pic>
      </p:grpSp>
      <p:pic>
        <p:nvPicPr>
          <p:cNvPr id="2819" name="Picture 2818">
            <a:extLst>
              <a:ext uri="{FF2B5EF4-FFF2-40B4-BE49-F238E27FC236}">
                <a16:creationId xmlns:a16="http://schemas.microsoft.com/office/drawing/2014/main" id="{6544E938-61F0-46D9-A75C-4BF3D3484FA3}"/>
              </a:ext>
            </a:extLst>
          </p:cNvPr>
          <p:cNvPicPr>
            <a:picLocks noChangeAspect="1"/>
          </p:cNvPicPr>
          <p:nvPr/>
        </p:nvPicPr>
        <p:blipFill>
          <a:blip r:embed="rId6"/>
          <a:stretch>
            <a:fillRect/>
          </a:stretch>
        </p:blipFill>
        <p:spPr>
          <a:xfrm rot="19800000">
            <a:off x="421100" y="4657564"/>
            <a:ext cx="884802" cy="447298"/>
          </a:xfrm>
          <a:prstGeom prst="rect">
            <a:avLst/>
          </a:prstGeom>
        </p:spPr>
      </p:pic>
      <p:graphicFrame>
        <p:nvGraphicFramePr>
          <p:cNvPr id="2820" name="Table 2819">
            <a:extLst>
              <a:ext uri="{FF2B5EF4-FFF2-40B4-BE49-F238E27FC236}">
                <a16:creationId xmlns:a16="http://schemas.microsoft.com/office/drawing/2014/main" id="{89A8A12C-D536-4549-8896-ACAF02458597}"/>
              </a:ext>
            </a:extLst>
          </p:cNvPr>
          <p:cNvGraphicFramePr>
            <a:graphicFrameLocks noGrp="1"/>
          </p:cNvGraphicFramePr>
          <p:nvPr>
            <p:extLst>
              <p:ext uri="{D42A27DB-BD31-4B8C-83A1-F6EECF244321}">
                <p14:modId xmlns:p14="http://schemas.microsoft.com/office/powerpoint/2010/main" val="2706845803"/>
              </p:ext>
            </p:extLst>
          </p:nvPr>
        </p:nvGraphicFramePr>
        <p:xfrm>
          <a:off x="723088" y="3207003"/>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821" name="Group 2820">
            <a:extLst>
              <a:ext uri="{FF2B5EF4-FFF2-40B4-BE49-F238E27FC236}">
                <a16:creationId xmlns:a16="http://schemas.microsoft.com/office/drawing/2014/main" id="{1A72D80C-EC97-4590-90E5-A0435476FCFE}"/>
              </a:ext>
            </a:extLst>
          </p:cNvPr>
          <p:cNvGrpSpPr/>
          <p:nvPr/>
        </p:nvGrpSpPr>
        <p:grpSpPr>
          <a:xfrm>
            <a:off x="766965" y="3483750"/>
            <a:ext cx="381241" cy="766727"/>
            <a:chOff x="765576" y="3316088"/>
            <a:chExt cx="381340" cy="766927"/>
          </a:xfrm>
        </p:grpSpPr>
        <p:pic>
          <p:nvPicPr>
            <p:cNvPr id="2822" name="Picture 2821">
              <a:extLst>
                <a:ext uri="{FF2B5EF4-FFF2-40B4-BE49-F238E27FC236}">
                  <a16:creationId xmlns:a16="http://schemas.microsoft.com/office/drawing/2014/main" id="{FE11C917-2E55-4F7D-A2A1-2EFAB11CDE0C}"/>
                </a:ext>
              </a:extLst>
            </p:cNvPr>
            <p:cNvPicPr>
              <a:picLocks noChangeAspect="1"/>
            </p:cNvPicPr>
            <p:nvPr/>
          </p:nvPicPr>
          <p:blipFill>
            <a:blip r:embed="rId7"/>
            <a:stretch>
              <a:fillRect/>
            </a:stretch>
          </p:blipFill>
          <p:spPr>
            <a:xfrm flipH="1">
              <a:off x="765576" y="3316088"/>
              <a:ext cx="300182" cy="375226"/>
            </a:xfrm>
            <a:prstGeom prst="rect">
              <a:avLst/>
            </a:prstGeom>
          </p:spPr>
        </p:pic>
        <p:pic>
          <p:nvPicPr>
            <p:cNvPr id="2823" name="Picture 2822">
              <a:extLst>
                <a:ext uri="{FF2B5EF4-FFF2-40B4-BE49-F238E27FC236}">
                  <a16:creationId xmlns:a16="http://schemas.microsoft.com/office/drawing/2014/main" id="{17224878-9330-48F3-B403-329D12D003CF}"/>
                </a:ext>
              </a:extLst>
            </p:cNvPr>
            <p:cNvPicPr>
              <a:picLocks noChangeAspect="1"/>
            </p:cNvPicPr>
            <p:nvPr/>
          </p:nvPicPr>
          <p:blipFill>
            <a:blip r:embed="rId7"/>
            <a:stretch>
              <a:fillRect/>
            </a:stretch>
          </p:blipFill>
          <p:spPr>
            <a:xfrm flipH="1">
              <a:off x="806930" y="3496989"/>
              <a:ext cx="300182" cy="375226"/>
            </a:xfrm>
            <a:prstGeom prst="rect">
              <a:avLst/>
            </a:prstGeom>
          </p:spPr>
        </p:pic>
        <p:pic>
          <p:nvPicPr>
            <p:cNvPr id="2824" name="Picture 2823">
              <a:extLst>
                <a:ext uri="{FF2B5EF4-FFF2-40B4-BE49-F238E27FC236}">
                  <a16:creationId xmlns:a16="http://schemas.microsoft.com/office/drawing/2014/main" id="{852FF2A2-2767-4AFF-951E-8472461D8D9B}"/>
                </a:ext>
              </a:extLst>
            </p:cNvPr>
            <p:cNvPicPr>
              <a:picLocks noChangeAspect="1"/>
            </p:cNvPicPr>
            <p:nvPr/>
          </p:nvPicPr>
          <p:blipFill>
            <a:blip r:embed="rId7"/>
            <a:stretch>
              <a:fillRect/>
            </a:stretch>
          </p:blipFill>
          <p:spPr>
            <a:xfrm flipH="1">
              <a:off x="846734" y="3707789"/>
              <a:ext cx="300182" cy="375226"/>
            </a:xfrm>
            <a:prstGeom prst="rect">
              <a:avLst/>
            </a:prstGeom>
          </p:spPr>
        </p:pic>
      </p:grpSp>
      <p:sp>
        <p:nvSpPr>
          <p:cNvPr id="2825" name="Rectangle 2824">
            <a:extLst>
              <a:ext uri="{FF2B5EF4-FFF2-40B4-BE49-F238E27FC236}">
                <a16:creationId xmlns:a16="http://schemas.microsoft.com/office/drawing/2014/main" id="{5224E924-2468-41ED-95B1-F5004958C1BE}"/>
              </a:ext>
            </a:extLst>
          </p:cNvPr>
          <p:cNvSpPr>
            <a:spLocks/>
          </p:cNvSpPr>
          <p:nvPr/>
        </p:nvSpPr>
        <p:spPr bwMode="gray">
          <a:xfrm>
            <a:off x="392096" y="1689529"/>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5" name="Group 4">
            <a:extLst>
              <a:ext uri="{FF2B5EF4-FFF2-40B4-BE49-F238E27FC236}">
                <a16:creationId xmlns:a16="http://schemas.microsoft.com/office/drawing/2014/main" id="{5EEE3459-2DC7-42CE-BC3F-E8DC87CB15E6}"/>
              </a:ext>
            </a:extLst>
          </p:cNvPr>
          <p:cNvGrpSpPr/>
          <p:nvPr/>
        </p:nvGrpSpPr>
        <p:grpSpPr>
          <a:xfrm>
            <a:off x="3475092" y="1754090"/>
            <a:ext cx="3106888" cy="2174645"/>
            <a:chOff x="3474409" y="1753652"/>
            <a:chExt cx="3107697" cy="2175211"/>
          </a:xfrm>
        </p:grpSpPr>
        <p:sp>
          <p:nvSpPr>
            <p:cNvPr id="2191" name="Rectangle 2190">
              <a:extLst>
                <a:ext uri="{FF2B5EF4-FFF2-40B4-BE49-F238E27FC236}">
                  <a16:creationId xmlns:a16="http://schemas.microsoft.com/office/drawing/2014/main" id="{89D1F8BB-2ACD-46A8-BABB-497E2F300D91}"/>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4" name="Group 3">
              <a:extLst>
                <a:ext uri="{FF2B5EF4-FFF2-40B4-BE49-F238E27FC236}">
                  <a16:creationId xmlns:a16="http://schemas.microsoft.com/office/drawing/2014/main" id="{D07FDF92-4F18-4D73-938A-6E4D44CEEA44}"/>
                </a:ext>
              </a:extLst>
            </p:cNvPr>
            <p:cNvGrpSpPr/>
            <p:nvPr/>
          </p:nvGrpSpPr>
          <p:grpSpPr>
            <a:xfrm>
              <a:off x="3474409" y="1753652"/>
              <a:ext cx="3107697" cy="1338890"/>
              <a:chOff x="3474409" y="1753652"/>
              <a:chExt cx="3107697" cy="1338890"/>
            </a:xfrm>
          </p:grpSpPr>
          <p:sp>
            <p:nvSpPr>
              <p:cNvPr id="2105" name="Rectangle 2104">
                <a:extLst>
                  <a:ext uri="{FF2B5EF4-FFF2-40B4-BE49-F238E27FC236}">
                    <a16:creationId xmlns:a16="http://schemas.microsoft.com/office/drawing/2014/main" id="{44E516F3-313F-4914-B318-9AB1CD619BCC}"/>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106" name="Group 2105">
                <a:extLst>
                  <a:ext uri="{FF2B5EF4-FFF2-40B4-BE49-F238E27FC236}">
                    <a16:creationId xmlns:a16="http://schemas.microsoft.com/office/drawing/2014/main" id="{5AF1A57A-6041-40E5-95D8-3110D4631C73}"/>
                  </a:ext>
                </a:extLst>
              </p:cNvPr>
              <p:cNvGrpSpPr/>
              <p:nvPr/>
            </p:nvGrpSpPr>
            <p:grpSpPr>
              <a:xfrm>
                <a:off x="3504077" y="2398698"/>
                <a:ext cx="1559613" cy="693844"/>
                <a:chOff x="3512580" y="2236718"/>
                <a:chExt cx="1563594" cy="695615"/>
              </a:xfrm>
            </p:grpSpPr>
            <p:grpSp>
              <p:nvGrpSpPr>
                <p:cNvPr id="2107" name="Group 2106">
                  <a:extLst>
                    <a:ext uri="{FF2B5EF4-FFF2-40B4-BE49-F238E27FC236}">
                      <a16:creationId xmlns:a16="http://schemas.microsoft.com/office/drawing/2014/main" id="{3FAA8F21-0B40-4BFE-ABF3-D6F66711CD94}"/>
                    </a:ext>
                  </a:extLst>
                </p:cNvPr>
                <p:cNvGrpSpPr>
                  <a:grpSpLocks/>
                </p:cNvGrpSpPr>
                <p:nvPr/>
              </p:nvGrpSpPr>
              <p:grpSpPr>
                <a:xfrm>
                  <a:off x="3512580" y="2240647"/>
                  <a:ext cx="418017" cy="418017"/>
                  <a:chOff x="745985" y="4768134"/>
                  <a:chExt cx="368776" cy="368777"/>
                </a:xfrm>
              </p:grpSpPr>
              <p:grpSp>
                <p:nvGrpSpPr>
                  <p:cNvPr id="2171" name="Group 64">
                    <a:extLst>
                      <a:ext uri="{FF2B5EF4-FFF2-40B4-BE49-F238E27FC236}">
                        <a16:creationId xmlns:a16="http://schemas.microsoft.com/office/drawing/2014/main" id="{38EC354A-5F5B-414D-9BE2-F680719CDB0D}"/>
                      </a:ext>
                    </a:extLst>
                  </p:cNvPr>
                  <p:cNvGrpSpPr>
                    <a:grpSpLocks noChangeAspect="1"/>
                  </p:cNvGrpSpPr>
                  <p:nvPr/>
                </p:nvGrpSpPr>
                <p:grpSpPr bwMode="auto">
                  <a:xfrm rot="8100000">
                    <a:off x="745985" y="4768134"/>
                    <a:ext cx="368776" cy="368777"/>
                    <a:chOff x="701" y="2170"/>
                    <a:chExt cx="587" cy="587"/>
                  </a:xfrm>
                </p:grpSpPr>
                <p:sp>
                  <p:nvSpPr>
                    <p:cNvPr id="2182" name="Oval 65">
                      <a:extLst>
                        <a:ext uri="{FF2B5EF4-FFF2-40B4-BE49-F238E27FC236}">
                          <a16:creationId xmlns:a16="http://schemas.microsoft.com/office/drawing/2014/main" id="{E48D45F4-2D4B-4F31-90D7-988033BE94A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3" name="Line 66">
                      <a:extLst>
                        <a:ext uri="{FF2B5EF4-FFF2-40B4-BE49-F238E27FC236}">
                          <a16:creationId xmlns:a16="http://schemas.microsoft.com/office/drawing/2014/main" id="{17980589-1B20-462C-9FD7-541129E1D23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7">
                      <a:extLst>
                        <a:ext uri="{FF2B5EF4-FFF2-40B4-BE49-F238E27FC236}">
                          <a16:creationId xmlns:a16="http://schemas.microsoft.com/office/drawing/2014/main" id="{08F6E583-99D8-4EFD-917A-22B56D6A3AF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69">
                      <a:extLst>
                        <a:ext uri="{FF2B5EF4-FFF2-40B4-BE49-F238E27FC236}">
                          <a16:creationId xmlns:a16="http://schemas.microsoft.com/office/drawing/2014/main" id="{F84751FB-D875-443B-B9F1-00A506F2C9B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Line 74">
                      <a:extLst>
                        <a:ext uri="{FF2B5EF4-FFF2-40B4-BE49-F238E27FC236}">
                          <a16:creationId xmlns:a16="http://schemas.microsoft.com/office/drawing/2014/main" id="{8980D920-70AF-4C24-A8A5-A29A9D314CB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78">
                      <a:extLst>
                        <a:ext uri="{FF2B5EF4-FFF2-40B4-BE49-F238E27FC236}">
                          <a16:creationId xmlns:a16="http://schemas.microsoft.com/office/drawing/2014/main" id="{7278A439-704A-41CA-80D3-8832931F3B3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8" name="Freeform 80">
                      <a:extLst>
                        <a:ext uri="{FF2B5EF4-FFF2-40B4-BE49-F238E27FC236}">
                          <a16:creationId xmlns:a16="http://schemas.microsoft.com/office/drawing/2014/main" id="{4407C87D-B2E5-428A-B68F-9BEE53F202D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72" name="Group 2171">
                    <a:extLst>
                      <a:ext uri="{FF2B5EF4-FFF2-40B4-BE49-F238E27FC236}">
                        <a16:creationId xmlns:a16="http://schemas.microsoft.com/office/drawing/2014/main" id="{AF84420C-E4A9-4F8C-9324-06623783D1A5}"/>
                      </a:ext>
                    </a:extLst>
                  </p:cNvPr>
                  <p:cNvGrpSpPr/>
                  <p:nvPr/>
                </p:nvGrpSpPr>
                <p:grpSpPr>
                  <a:xfrm>
                    <a:off x="837312" y="4814434"/>
                    <a:ext cx="136805" cy="278689"/>
                    <a:chOff x="2806700" y="2803319"/>
                    <a:chExt cx="433387" cy="882861"/>
                  </a:xfrm>
                </p:grpSpPr>
                <p:grpSp>
                  <p:nvGrpSpPr>
                    <p:cNvPr id="2173" name="Group 2172">
                      <a:extLst>
                        <a:ext uri="{FF2B5EF4-FFF2-40B4-BE49-F238E27FC236}">
                          <a16:creationId xmlns:a16="http://schemas.microsoft.com/office/drawing/2014/main" id="{A5E697F8-92AC-4BD0-9129-C67AF64A3869}"/>
                        </a:ext>
                      </a:extLst>
                    </p:cNvPr>
                    <p:cNvGrpSpPr>
                      <a:grpSpLocks noChangeAspect="1"/>
                    </p:cNvGrpSpPr>
                    <p:nvPr/>
                  </p:nvGrpSpPr>
                  <p:grpSpPr bwMode="auto">
                    <a:xfrm>
                      <a:off x="2806700" y="3043242"/>
                      <a:ext cx="433387" cy="642938"/>
                      <a:chOff x="1768" y="1917"/>
                      <a:chExt cx="273" cy="405"/>
                    </a:xfrm>
                  </p:grpSpPr>
                  <p:sp>
                    <p:nvSpPr>
                      <p:cNvPr id="2175" name="Freeform 52">
                        <a:extLst>
                          <a:ext uri="{FF2B5EF4-FFF2-40B4-BE49-F238E27FC236}">
                            <a16:creationId xmlns:a16="http://schemas.microsoft.com/office/drawing/2014/main" id="{C449D0F1-569C-42BE-B5E1-518BB0764D5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Line 54">
                        <a:extLst>
                          <a:ext uri="{FF2B5EF4-FFF2-40B4-BE49-F238E27FC236}">
                            <a16:creationId xmlns:a16="http://schemas.microsoft.com/office/drawing/2014/main" id="{4D088C09-DDB8-43AA-952A-CA9724EC801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7" name="Line 55">
                        <a:extLst>
                          <a:ext uri="{FF2B5EF4-FFF2-40B4-BE49-F238E27FC236}">
                            <a16:creationId xmlns:a16="http://schemas.microsoft.com/office/drawing/2014/main" id="{A7A5D080-91B1-406C-B744-3E56686F247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8" name="Freeform 56">
                        <a:extLst>
                          <a:ext uri="{FF2B5EF4-FFF2-40B4-BE49-F238E27FC236}">
                            <a16:creationId xmlns:a16="http://schemas.microsoft.com/office/drawing/2014/main" id="{2D15C026-04EE-4121-9FF3-3195568DE13D}"/>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9" name="Line 57">
                        <a:extLst>
                          <a:ext uri="{FF2B5EF4-FFF2-40B4-BE49-F238E27FC236}">
                            <a16:creationId xmlns:a16="http://schemas.microsoft.com/office/drawing/2014/main" id="{225C9A12-C9E9-43F5-B14C-4A90A9ECFC3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Freeform 58">
                        <a:extLst>
                          <a:ext uri="{FF2B5EF4-FFF2-40B4-BE49-F238E27FC236}">
                            <a16:creationId xmlns:a16="http://schemas.microsoft.com/office/drawing/2014/main" id="{4EDD10A5-C468-4686-802A-FAF24DE2F2A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1" name="Rectangle 2180">
                        <a:extLst>
                          <a:ext uri="{FF2B5EF4-FFF2-40B4-BE49-F238E27FC236}">
                            <a16:creationId xmlns:a16="http://schemas.microsoft.com/office/drawing/2014/main" id="{5606A2F7-2BC4-41E7-A55B-553E73182730}"/>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174" name="Oval 2173">
                      <a:extLst>
                        <a:ext uri="{FF2B5EF4-FFF2-40B4-BE49-F238E27FC236}">
                          <a16:creationId xmlns:a16="http://schemas.microsoft.com/office/drawing/2014/main" id="{09ACAF1E-A7C8-4DB3-BBC4-2010ACA3D51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08" name="Group 2107">
                  <a:extLst>
                    <a:ext uri="{FF2B5EF4-FFF2-40B4-BE49-F238E27FC236}">
                      <a16:creationId xmlns:a16="http://schemas.microsoft.com/office/drawing/2014/main" id="{792DAFCB-C935-451B-B203-1C3F9D9170FF}"/>
                    </a:ext>
                  </a:extLst>
                </p:cNvPr>
                <p:cNvGrpSpPr>
                  <a:grpSpLocks/>
                </p:cNvGrpSpPr>
                <p:nvPr/>
              </p:nvGrpSpPr>
              <p:grpSpPr>
                <a:xfrm>
                  <a:off x="3989965" y="2395465"/>
                  <a:ext cx="536865" cy="536868"/>
                  <a:chOff x="1454941" y="4721722"/>
                  <a:chExt cx="473625" cy="473627"/>
                </a:xfrm>
              </p:grpSpPr>
              <p:grpSp>
                <p:nvGrpSpPr>
                  <p:cNvPr id="2132" name="Group 64">
                    <a:extLst>
                      <a:ext uri="{FF2B5EF4-FFF2-40B4-BE49-F238E27FC236}">
                        <a16:creationId xmlns:a16="http://schemas.microsoft.com/office/drawing/2014/main" id="{95FC00C3-E804-45A7-A377-AD11BF922982}"/>
                      </a:ext>
                    </a:extLst>
                  </p:cNvPr>
                  <p:cNvGrpSpPr>
                    <a:grpSpLocks noChangeAspect="1"/>
                  </p:cNvGrpSpPr>
                  <p:nvPr/>
                </p:nvGrpSpPr>
                <p:grpSpPr bwMode="auto">
                  <a:xfrm rot="8100000">
                    <a:off x="1454941" y="4721722"/>
                    <a:ext cx="473625" cy="473627"/>
                    <a:chOff x="701" y="2170"/>
                    <a:chExt cx="587" cy="587"/>
                  </a:xfrm>
                </p:grpSpPr>
                <p:sp>
                  <p:nvSpPr>
                    <p:cNvPr id="2164" name="Oval 65">
                      <a:extLst>
                        <a:ext uri="{FF2B5EF4-FFF2-40B4-BE49-F238E27FC236}">
                          <a16:creationId xmlns:a16="http://schemas.microsoft.com/office/drawing/2014/main" id="{EACF8D5C-608F-48E7-B074-B183F86E0A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5" name="Line 66">
                      <a:extLst>
                        <a:ext uri="{FF2B5EF4-FFF2-40B4-BE49-F238E27FC236}">
                          <a16:creationId xmlns:a16="http://schemas.microsoft.com/office/drawing/2014/main" id="{1F6A04EB-1B9D-4A53-BB4E-BE0BBD531D9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6" name="Line 67">
                      <a:extLst>
                        <a:ext uri="{FF2B5EF4-FFF2-40B4-BE49-F238E27FC236}">
                          <a16:creationId xmlns:a16="http://schemas.microsoft.com/office/drawing/2014/main" id="{7EBB1F3F-FBFC-44BA-B0D6-3EE0FD2D410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7" name="Line 69">
                      <a:extLst>
                        <a:ext uri="{FF2B5EF4-FFF2-40B4-BE49-F238E27FC236}">
                          <a16:creationId xmlns:a16="http://schemas.microsoft.com/office/drawing/2014/main" id="{F20ADE09-C140-4F3C-AE4C-A9786262BDD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8" name="Line 74">
                      <a:extLst>
                        <a:ext uri="{FF2B5EF4-FFF2-40B4-BE49-F238E27FC236}">
                          <a16:creationId xmlns:a16="http://schemas.microsoft.com/office/drawing/2014/main" id="{CE1C09F1-0967-4544-8899-A5768B0B4F2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78">
                      <a:extLst>
                        <a:ext uri="{FF2B5EF4-FFF2-40B4-BE49-F238E27FC236}">
                          <a16:creationId xmlns:a16="http://schemas.microsoft.com/office/drawing/2014/main" id="{56EB5BCF-13D1-4C3D-BE9D-3872A5AE096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80">
                      <a:extLst>
                        <a:ext uri="{FF2B5EF4-FFF2-40B4-BE49-F238E27FC236}">
                          <a16:creationId xmlns:a16="http://schemas.microsoft.com/office/drawing/2014/main" id="{7CCAB085-C2B9-460B-BA69-B4D5776216D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33" name="Group 2132">
                    <a:extLst>
                      <a:ext uri="{FF2B5EF4-FFF2-40B4-BE49-F238E27FC236}">
                        <a16:creationId xmlns:a16="http://schemas.microsoft.com/office/drawing/2014/main" id="{2D4DB5BA-3D87-4D38-81F4-383C4020368B}"/>
                      </a:ext>
                    </a:extLst>
                  </p:cNvPr>
                  <p:cNvGrpSpPr/>
                  <p:nvPr/>
                </p:nvGrpSpPr>
                <p:grpSpPr>
                  <a:xfrm>
                    <a:off x="1511214" y="4789508"/>
                    <a:ext cx="356509" cy="349884"/>
                    <a:chOff x="468738" y="2241878"/>
                    <a:chExt cx="1655483" cy="1624719"/>
                  </a:xfrm>
                </p:grpSpPr>
                <p:sp>
                  <p:nvSpPr>
                    <p:cNvPr id="2134" name="Freeform 5">
                      <a:extLst>
                        <a:ext uri="{FF2B5EF4-FFF2-40B4-BE49-F238E27FC236}">
                          <a16:creationId xmlns:a16="http://schemas.microsoft.com/office/drawing/2014/main" id="{AD3029D4-64CC-47C2-B1C4-D8ED8754387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6">
                      <a:extLst>
                        <a:ext uri="{FF2B5EF4-FFF2-40B4-BE49-F238E27FC236}">
                          <a16:creationId xmlns:a16="http://schemas.microsoft.com/office/drawing/2014/main" id="{B5BFE621-131C-4D52-9439-80C4EC959B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Line 7">
                      <a:extLst>
                        <a:ext uri="{FF2B5EF4-FFF2-40B4-BE49-F238E27FC236}">
                          <a16:creationId xmlns:a16="http://schemas.microsoft.com/office/drawing/2014/main" id="{BB28B918-CD33-43C8-879C-64C3265172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8">
                      <a:extLst>
                        <a:ext uri="{FF2B5EF4-FFF2-40B4-BE49-F238E27FC236}">
                          <a16:creationId xmlns:a16="http://schemas.microsoft.com/office/drawing/2014/main" id="{B2F90028-D1CD-4003-860F-9380A5C2844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8" name="Line 9">
                      <a:extLst>
                        <a:ext uri="{FF2B5EF4-FFF2-40B4-BE49-F238E27FC236}">
                          <a16:creationId xmlns:a16="http://schemas.microsoft.com/office/drawing/2014/main" id="{D7D524DB-5ED9-4BEC-BD8E-345DBDE0EA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39" name="Group 2138">
                      <a:extLst>
                        <a:ext uri="{FF2B5EF4-FFF2-40B4-BE49-F238E27FC236}">
                          <a16:creationId xmlns:a16="http://schemas.microsoft.com/office/drawing/2014/main" id="{22510D73-D663-4E1A-9845-701E923B6979}"/>
                        </a:ext>
                      </a:extLst>
                    </p:cNvPr>
                    <p:cNvGrpSpPr/>
                    <p:nvPr/>
                  </p:nvGrpSpPr>
                  <p:grpSpPr>
                    <a:xfrm>
                      <a:off x="1207113" y="2241878"/>
                      <a:ext cx="178734" cy="348678"/>
                      <a:chOff x="1207113" y="2241878"/>
                      <a:chExt cx="178734" cy="348678"/>
                    </a:xfrm>
                  </p:grpSpPr>
                  <p:sp>
                    <p:nvSpPr>
                      <p:cNvPr id="2162" name="Freeform 10">
                        <a:extLst>
                          <a:ext uri="{FF2B5EF4-FFF2-40B4-BE49-F238E27FC236}">
                            <a16:creationId xmlns:a16="http://schemas.microsoft.com/office/drawing/2014/main" id="{6EFEEAC3-1634-423B-A959-6E7830384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3" name="Line 11">
                        <a:extLst>
                          <a:ext uri="{FF2B5EF4-FFF2-40B4-BE49-F238E27FC236}">
                            <a16:creationId xmlns:a16="http://schemas.microsoft.com/office/drawing/2014/main" id="{8F45FDBF-0115-45E1-9B55-D71F0010094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40" name="Freeform 12">
                      <a:extLst>
                        <a:ext uri="{FF2B5EF4-FFF2-40B4-BE49-F238E27FC236}">
                          <a16:creationId xmlns:a16="http://schemas.microsoft.com/office/drawing/2014/main" id="{3C495552-3098-4661-BDFD-B955DD6BCB1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13">
                      <a:extLst>
                        <a:ext uri="{FF2B5EF4-FFF2-40B4-BE49-F238E27FC236}">
                          <a16:creationId xmlns:a16="http://schemas.microsoft.com/office/drawing/2014/main" id="{ECD214C7-EACD-4229-9560-F610FE81A74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14">
                      <a:extLst>
                        <a:ext uri="{FF2B5EF4-FFF2-40B4-BE49-F238E27FC236}">
                          <a16:creationId xmlns:a16="http://schemas.microsoft.com/office/drawing/2014/main" id="{B4CDA5FF-6B69-415F-ADAB-F765E69E2C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Line 15">
                      <a:extLst>
                        <a:ext uri="{FF2B5EF4-FFF2-40B4-BE49-F238E27FC236}">
                          <a16:creationId xmlns:a16="http://schemas.microsoft.com/office/drawing/2014/main" id="{05E8653C-22F0-4581-A223-FEED3790531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16">
                      <a:extLst>
                        <a:ext uri="{FF2B5EF4-FFF2-40B4-BE49-F238E27FC236}">
                          <a16:creationId xmlns:a16="http://schemas.microsoft.com/office/drawing/2014/main" id="{80E39A21-A447-4749-943A-F7C93F46E12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5" name="Line 17">
                      <a:extLst>
                        <a:ext uri="{FF2B5EF4-FFF2-40B4-BE49-F238E27FC236}">
                          <a16:creationId xmlns:a16="http://schemas.microsoft.com/office/drawing/2014/main" id="{83312F89-1163-44C1-AE9E-FC31ABFC0208}"/>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6" name="Freeform 18">
                      <a:extLst>
                        <a:ext uri="{FF2B5EF4-FFF2-40B4-BE49-F238E27FC236}">
                          <a16:creationId xmlns:a16="http://schemas.microsoft.com/office/drawing/2014/main" id="{2F1608BA-2BDB-4E5F-AB8F-D06BB95AEB6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9">
                      <a:extLst>
                        <a:ext uri="{FF2B5EF4-FFF2-40B4-BE49-F238E27FC236}">
                          <a16:creationId xmlns:a16="http://schemas.microsoft.com/office/drawing/2014/main" id="{1CF28B91-606F-47BB-8755-7C9F19B86E1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8" name="Freeform 35">
                      <a:extLst>
                        <a:ext uri="{FF2B5EF4-FFF2-40B4-BE49-F238E27FC236}">
                          <a16:creationId xmlns:a16="http://schemas.microsoft.com/office/drawing/2014/main" id="{0D9FC22C-6B97-4EA5-A232-FBADFB8B1072}"/>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9" name="Freeform 36">
                      <a:extLst>
                        <a:ext uri="{FF2B5EF4-FFF2-40B4-BE49-F238E27FC236}">
                          <a16:creationId xmlns:a16="http://schemas.microsoft.com/office/drawing/2014/main" id="{2280C96F-7F21-4E0E-8D7B-080AE874B62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0" name="Freeform 37">
                      <a:extLst>
                        <a:ext uri="{FF2B5EF4-FFF2-40B4-BE49-F238E27FC236}">
                          <a16:creationId xmlns:a16="http://schemas.microsoft.com/office/drawing/2014/main" id="{208BDDF9-9F22-4BE0-B5C5-C73D78961BE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1" name="Freeform 38">
                      <a:extLst>
                        <a:ext uri="{FF2B5EF4-FFF2-40B4-BE49-F238E27FC236}">
                          <a16:creationId xmlns:a16="http://schemas.microsoft.com/office/drawing/2014/main" id="{8F240DD0-ACA1-4935-8CAD-EBB363D9A10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2" name="Freeform 39">
                      <a:extLst>
                        <a:ext uri="{FF2B5EF4-FFF2-40B4-BE49-F238E27FC236}">
                          <a16:creationId xmlns:a16="http://schemas.microsoft.com/office/drawing/2014/main" id="{431E5ABE-687E-4F2C-A695-BA8B469E494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3" name="Freeform 40">
                      <a:extLst>
                        <a:ext uri="{FF2B5EF4-FFF2-40B4-BE49-F238E27FC236}">
                          <a16:creationId xmlns:a16="http://schemas.microsoft.com/office/drawing/2014/main" id="{C770EBE2-7126-4073-9654-A1DCC6FD2EE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4" name="Freeform 41">
                      <a:extLst>
                        <a:ext uri="{FF2B5EF4-FFF2-40B4-BE49-F238E27FC236}">
                          <a16:creationId xmlns:a16="http://schemas.microsoft.com/office/drawing/2014/main" id="{ECE5DD8B-DAF3-41D3-B6B2-8B48854F1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Line 42">
                      <a:extLst>
                        <a:ext uri="{FF2B5EF4-FFF2-40B4-BE49-F238E27FC236}">
                          <a16:creationId xmlns:a16="http://schemas.microsoft.com/office/drawing/2014/main" id="{D85E7B62-8E0C-40C5-B75A-8D5B4D07F08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43">
                      <a:extLst>
                        <a:ext uri="{FF2B5EF4-FFF2-40B4-BE49-F238E27FC236}">
                          <a16:creationId xmlns:a16="http://schemas.microsoft.com/office/drawing/2014/main" id="{F750F8AA-167B-49D8-8200-E25925C7C5A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7" name="Freeform 44">
                      <a:extLst>
                        <a:ext uri="{FF2B5EF4-FFF2-40B4-BE49-F238E27FC236}">
                          <a16:creationId xmlns:a16="http://schemas.microsoft.com/office/drawing/2014/main" id="{26A05AF0-E552-4E8A-8650-8F2D50EB62BE}"/>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8" name="Freeform 45">
                      <a:extLst>
                        <a:ext uri="{FF2B5EF4-FFF2-40B4-BE49-F238E27FC236}">
                          <a16:creationId xmlns:a16="http://schemas.microsoft.com/office/drawing/2014/main" id="{90A305AF-DC97-4D53-A390-B839E25094CC}"/>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59" name="Group 2158">
                      <a:extLst>
                        <a:ext uri="{FF2B5EF4-FFF2-40B4-BE49-F238E27FC236}">
                          <a16:creationId xmlns:a16="http://schemas.microsoft.com/office/drawing/2014/main" id="{16EBB8D7-590F-405B-AC14-9407C90A88BE}"/>
                        </a:ext>
                      </a:extLst>
                    </p:cNvPr>
                    <p:cNvGrpSpPr/>
                    <p:nvPr/>
                  </p:nvGrpSpPr>
                  <p:grpSpPr>
                    <a:xfrm flipV="1">
                      <a:off x="1202047" y="3517919"/>
                      <a:ext cx="178734" cy="348678"/>
                      <a:chOff x="1207113" y="2241878"/>
                      <a:chExt cx="178734" cy="348678"/>
                    </a:xfrm>
                  </p:grpSpPr>
                  <p:sp>
                    <p:nvSpPr>
                      <p:cNvPr id="2160" name="Freeform 10">
                        <a:extLst>
                          <a:ext uri="{FF2B5EF4-FFF2-40B4-BE49-F238E27FC236}">
                            <a16:creationId xmlns:a16="http://schemas.microsoft.com/office/drawing/2014/main" id="{0260155B-1A8C-4AC0-B5E4-EA605B4CCA8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1" name="Line 11">
                        <a:extLst>
                          <a:ext uri="{FF2B5EF4-FFF2-40B4-BE49-F238E27FC236}">
                            <a16:creationId xmlns:a16="http://schemas.microsoft.com/office/drawing/2014/main" id="{FD8CD03B-2BD9-44F1-9372-51F29A34087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09" name="Group 2108">
                  <a:extLst>
                    <a:ext uri="{FF2B5EF4-FFF2-40B4-BE49-F238E27FC236}">
                      <a16:creationId xmlns:a16="http://schemas.microsoft.com/office/drawing/2014/main" id="{F743C01D-A412-4502-B453-0E322E740488}"/>
                    </a:ext>
                  </a:extLst>
                </p:cNvPr>
                <p:cNvGrpSpPr>
                  <a:grpSpLocks/>
                </p:cNvGrpSpPr>
                <p:nvPr/>
              </p:nvGrpSpPr>
              <p:grpSpPr>
                <a:xfrm>
                  <a:off x="4605070" y="2236718"/>
                  <a:ext cx="471104" cy="471107"/>
                  <a:chOff x="2268747" y="4723725"/>
                  <a:chExt cx="415610" cy="415612"/>
                </a:xfrm>
              </p:grpSpPr>
              <p:grpSp>
                <p:nvGrpSpPr>
                  <p:cNvPr id="2110" name="Group 64">
                    <a:extLst>
                      <a:ext uri="{FF2B5EF4-FFF2-40B4-BE49-F238E27FC236}">
                        <a16:creationId xmlns:a16="http://schemas.microsoft.com/office/drawing/2014/main" id="{3ED6BA51-88C4-475D-8CAE-3A4E1CE80C92}"/>
                      </a:ext>
                    </a:extLst>
                  </p:cNvPr>
                  <p:cNvGrpSpPr>
                    <a:grpSpLocks noChangeAspect="1"/>
                  </p:cNvGrpSpPr>
                  <p:nvPr/>
                </p:nvGrpSpPr>
                <p:grpSpPr bwMode="auto">
                  <a:xfrm rot="8100000">
                    <a:off x="2268747" y="4723725"/>
                    <a:ext cx="415610" cy="415612"/>
                    <a:chOff x="701" y="2170"/>
                    <a:chExt cx="587" cy="587"/>
                  </a:xfrm>
                </p:grpSpPr>
                <p:sp>
                  <p:nvSpPr>
                    <p:cNvPr id="2125" name="Oval 65">
                      <a:extLst>
                        <a:ext uri="{FF2B5EF4-FFF2-40B4-BE49-F238E27FC236}">
                          <a16:creationId xmlns:a16="http://schemas.microsoft.com/office/drawing/2014/main" id="{3F488B35-08AC-4424-88EE-CFC42A9905E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6" name="Line 66">
                      <a:extLst>
                        <a:ext uri="{FF2B5EF4-FFF2-40B4-BE49-F238E27FC236}">
                          <a16:creationId xmlns:a16="http://schemas.microsoft.com/office/drawing/2014/main" id="{E6EEE647-50EC-466A-9CED-4EBA5BAAF6A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67">
                      <a:extLst>
                        <a:ext uri="{FF2B5EF4-FFF2-40B4-BE49-F238E27FC236}">
                          <a16:creationId xmlns:a16="http://schemas.microsoft.com/office/drawing/2014/main" id="{D279D004-E98F-487A-BBC8-DF988B5B044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Line 69">
                      <a:extLst>
                        <a:ext uri="{FF2B5EF4-FFF2-40B4-BE49-F238E27FC236}">
                          <a16:creationId xmlns:a16="http://schemas.microsoft.com/office/drawing/2014/main" id="{0F201E97-2DE5-4039-8A87-56466A0473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74">
                      <a:extLst>
                        <a:ext uri="{FF2B5EF4-FFF2-40B4-BE49-F238E27FC236}">
                          <a16:creationId xmlns:a16="http://schemas.microsoft.com/office/drawing/2014/main" id="{35691D03-9390-4324-8F43-D5A21341F7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78">
                      <a:extLst>
                        <a:ext uri="{FF2B5EF4-FFF2-40B4-BE49-F238E27FC236}">
                          <a16:creationId xmlns:a16="http://schemas.microsoft.com/office/drawing/2014/main" id="{B1E74084-BDAB-40C6-9B50-F0C5FCC255D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Freeform 80">
                      <a:extLst>
                        <a:ext uri="{FF2B5EF4-FFF2-40B4-BE49-F238E27FC236}">
                          <a16:creationId xmlns:a16="http://schemas.microsoft.com/office/drawing/2014/main" id="{B05E470F-89A9-431A-9AD0-683F759B5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1" name="Group 2110">
                    <a:extLst>
                      <a:ext uri="{FF2B5EF4-FFF2-40B4-BE49-F238E27FC236}">
                        <a16:creationId xmlns:a16="http://schemas.microsoft.com/office/drawing/2014/main" id="{9CBA07D6-2EC5-4BE0-8326-6F02B874729E}"/>
                      </a:ext>
                    </a:extLst>
                  </p:cNvPr>
                  <p:cNvGrpSpPr/>
                  <p:nvPr/>
                </p:nvGrpSpPr>
                <p:grpSpPr>
                  <a:xfrm>
                    <a:off x="2318076" y="4830163"/>
                    <a:ext cx="313949" cy="233075"/>
                    <a:chOff x="3707533" y="2731244"/>
                    <a:chExt cx="389644" cy="289271"/>
                  </a:xfrm>
                </p:grpSpPr>
                <p:sp>
                  <p:nvSpPr>
                    <p:cNvPr id="2112" name="Freeform 33">
                      <a:extLst>
                        <a:ext uri="{FF2B5EF4-FFF2-40B4-BE49-F238E27FC236}">
                          <a16:creationId xmlns:a16="http://schemas.microsoft.com/office/drawing/2014/main" id="{C428139F-5A6B-4BA0-A0B1-5076AAFF743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3" name="Freeform 34">
                      <a:extLst>
                        <a:ext uri="{FF2B5EF4-FFF2-40B4-BE49-F238E27FC236}">
                          <a16:creationId xmlns:a16="http://schemas.microsoft.com/office/drawing/2014/main" id="{9F0DD76B-86BA-436E-98AA-27F8CA5AB0EF}"/>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4" name="Freeform 37">
                      <a:extLst>
                        <a:ext uri="{FF2B5EF4-FFF2-40B4-BE49-F238E27FC236}">
                          <a16:creationId xmlns:a16="http://schemas.microsoft.com/office/drawing/2014/main" id="{328E1ECE-0B47-40FF-ADC8-52A869AD539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5" name="Freeform 38">
                      <a:extLst>
                        <a:ext uri="{FF2B5EF4-FFF2-40B4-BE49-F238E27FC236}">
                          <a16:creationId xmlns:a16="http://schemas.microsoft.com/office/drawing/2014/main" id="{FBC1A354-40E6-4BA7-A7FC-12DFA0ED8DF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32">
                      <a:extLst>
                        <a:ext uri="{FF2B5EF4-FFF2-40B4-BE49-F238E27FC236}">
                          <a16:creationId xmlns:a16="http://schemas.microsoft.com/office/drawing/2014/main" id="{44A20234-6690-46A4-AF7F-55903773AB65}"/>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35">
                      <a:extLst>
                        <a:ext uri="{FF2B5EF4-FFF2-40B4-BE49-F238E27FC236}">
                          <a16:creationId xmlns:a16="http://schemas.microsoft.com/office/drawing/2014/main" id="{E8FFE7C3-81CC-46D2-A00F-E52399A2758E}"/>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8" name="Freeform 36">
                      <a:extLst>
                        <a:ext uri="{FF2B5EF4-FFF2-40B4-BE49-F238E27FC236}">
                          <a16:creationId xmlns:a16="http://schemas.microsoft.com/office/drawing/2014/main" id="{80451F71-A3E1-4C02-A56E-4B6B9C65B39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9" name="Freeform 25">
                      <a:extLst>
                        <a:ext uri="{FF2B5EF4-FFF2-40B4-BE49-F238E27FC236}">
                          <a16:creationId xmlns:a16="http://schemas.microsoft.com/office/drawing/2014/main" id="{79CCFFCF-160C-44C1-98F6-600F7AEF940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0" name="Freeform 39">
                      <a:extLst>
                        <a:ext uri="{FF2B5EF4-FFF2-40B4-BE49-F238E27FC236}">
                          <a16:creationId xmlns:a16="http://schemas.microsoft.com/office/drawing/2014/main" id="{96C9F0EB-878A-4903-9840-A01FC702A21C}"/>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26">
                      <a:extLst>
                        <a:ext uri="{FF2B5EF4-FFF2-40B4-BE49-F238E27FC236}">
                          <a16:creationId xmlns:a16="http://schemas.microsoft.com/office/drawing/2014/main" id="{96D32403-D861-4D9C-BCAB-F0E3CBF48F8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2" name="Rectangle 27">
                      <a:extLst>
                        <a:ext uri="{FF2B5EF4-FFF2-40B4-BE49-F238E27FC236}">
                          <a16:creationId xmlns:a16="http://schemas.microsoft.com/office/drawing/2014/main" id="{C3B97169-9DC7-44F5-8846-86615CCD4FEB}"/>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3" name="Line 29">
                      <a:extLst>
                        <a:ext uri="{FF2B5EF4-FFF2-40B4-BE49-F238E27FC236}">
                          <a16:creationId xmlns:a16="http://schemas.microsoft.com/office/drawing/2014/main" id="{064DEB77-4693-426F-9A52-6172A03002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31">
                      <a:extLst>
                        <a:ext uri="{FF2B5EF4-FFF2-40B4-BE49-F238E27FC236}">
                          <a16:creationId xmlns:a16="http://schemas.microsoft.com/office/drawing/2014/main" id="{B5D17F89-315F-44FC-A2F6-8C02B4CAB390}"/>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6" name="Group 2825">
                <a:extLst>
                  <a:ext uri="{FF2B5EF4-FFF2-40B4-BE49-F238E27FC236}">
                    <a16:creationId xmlns:a16="http://schemas.microsoft.com/office/drawing/2014/main" id="{10B0253C-5C94-429F-BBF1-611BB03ABB88}"/>
                  </a:ext>
                </a:extLst>
              </p:cNvPr>
              <p:cNvGrpSpPr/>
              <p:nvPr/>
            </p:nvGrpSpPr>
            <p:grpSpPr>
              <a:xfrm>
                <a:off x="5261891" y="1974470"/>
                <a:ext cx="1115908" cy="967814"/>
                <a:chOff x="7338624" y="178556"/>
                <a:chExt cx="1115908" cy="967814"/>
              </a:xfrm>
            </p:grpSpPr>
            <p:grpSp>
              <p:nvGrpSpPr>
                <p:cNvPr id="2827" name="Group 2826">
                  <a:extLst>
                    <a:ext uri="{FF2B5EF4-FFF2-40B4-BE49-F238E27FC236}">
                      <a16:creationId xmlns:a16="http://schemas.microsoft.com/office/drawing/2014/main" id="{E28F05B0-9772-44E3-B5B8-58C6DAC79255}"/>
                    </a:ext>
                  </a:extLst>
                </p:cNvPr>
                <p:cNvGrpSpPr/>
                <p:nvPr/>
              </p:nvGrpSpPr>
              <p:grpSpPr>
                <a:xfrm flipH="1">
                  <a:off x="7603032" y="178556"/>
                  <a:ext cx="524442" cy="697246"/>
                  <a:chOff x="8607957" y="605299"/>
                  <a:chExt cx="2806962" cy="3731864"/>
                </a:xfrm>
              </p:grpSpPr>
              <p:sp>
                <p:nvSpPr>
                  <p:cNvPr id="2829" name="iBar:31/138">
                    <a:extLst>
                      <a:ext uri="{FF2B5EF4-FFF2-40B4-BE49-F238E27FC236}">
                        <a16:creationId xmlns:a16="http://schemas.microsoft.com/office/drawing/2014/main" id="{76083AC9-51FA-4E2F-83DF-C02B81FEC2E0}"/>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0" name="Rectangle 2829">
                    <a:extLst>
                      <a:ext uri="{FF2B5EF4-FFF2-40B4-BE49-F238E27FC236}">
                        <a16:creationId xmlns:a16="http://schemas.microsoft.com/office/drawing/2014/main" id="{E6C84DCD-DA8A-456D-AF0E-EF979749E31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31" name="Group 2830">
                    <a:extLst>
                      <a:ext uri="{FF2B5EF4-FFF2-40B4-BE49-F238E27FC236}">
                        <a16:creationId xmlns:a16="http://schemas.microsoft.com/office/drawing/2014/main" id="{1AB2D2B6-42E6-45AE-A96E-238D173DB770}"/>
                      </a:ext>
                    </a:extLst>
                  </p:cNvPr>
                  <p:cNvGrpSpPr/>
                  <p:nvPr/>
                </p:nvGrpSpPr>
                <p:grpSpPr>
                  <a:xfrm>
                    <a:off x="8776645" y="2392984"/>
                    <a:ext cx="2463737" cy="1844316"/>
                    <a:chOff x="8566719" y="2617154"/>
                    <a:chExt cx="2463737" cy="1844316"/>
                  </a:xfrm>
                </p:grpSpPr>
                <p:sp>
                  <p:nvSpPr>
                    <p:cNvPr id="2845" name="Rectangle 2844">
                      <a:extLst>
                        <a:ext uri="{FF2B5EF4-FFF2-40B4-BE49-F238E27FC236}">
                          <a16:creationId xmlns:a16="http://schemas.microsoft.com/office/drawing/2014/main" id="{96505904-8AB3-48C5-B8E0-5633CA83587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6" name="Group 2845">
                      <a:extLst>
                        <a:ext uri="{FF2B5EF4-FFF2-40B4-BE49-F238E27FC236}">
                          <a16:creationId xmlns:a16="http://schemas.microsoft.com/office/drawing/2014/main" id="{0757CA4A-A2A4-4482-8ED7-6ABA1D868BBE}"/>
                        </a:ext>
                      </a:extLst>
                    </p:cNvPr>
                    <p:cNvGrpSpPr/>
                    <p:nvPr/>
                  </p:nvGrpSpPr>
                  <p:grpSpPr>
                    <a:xfrm>
                      <a:off x="8720849" y="2791577"/>
                      <a:ext cx="2190282" cy="1669893"/>
                      <a:chOff x="5195358" y="4591383"/>
                      <a:chExt cx="1906459" cy="1380076"/>
                    </a:xfrm>
                  </p:grpSpPr>
                  <p:grpSp>
                    <p:nvGrpSpPr>
                      <p:cNvPr id="2847" name="Group 2846">
                        <a:extLst>
                          <a:ext uri="{FF2B5EF4-FFF2-40B4-BE49-F238E27FC236}">
                            <a16:creationId xmlns:a16="http://schemas.microsoft.com/office/drawing/2014/main" id="{BF629DC0-DE9F-4F1C-AFA9-FD31D01C65DD}"/>
                          </a:ext>
                        </a:extLst>
                      </p:cNvPr>
                      <p:cNvGrpSpPr/>
                      <p:nvPr/>
                    </p:nvGrpSpPr>
                    <p:grpSpPr>
                      <a:xfrm>
                        <a:off x="5195358" y="4591383"/>
                        <a:ext cx="1020183" cy="1224086"/>
                        <a:chOff x="10650533" y="3663550"/>
                        <a:chExt cx="575867" cy="836067"/>
                      </a:xfrm>
                    </p:grpSpPr>
                    <p:grpSp>
                      <p:nvGrpSpPr>
                        <p:cNvPr id="2849" name="Group 2848">
                          <a:extLst>
                            <a:ext uri="{FF2B5EF4-FFF2-40B4-BE49-F238E27FC236}">
                              <a16:creationId xmlns:a16="http://schemas.microsoft.com/office/drawing/2014/main" id="{BB98506A-FA0C-4492-9504-F1365ACE114B}"/>
                            </a:ext>
                          </a:extLst>
                        </p:cNvPr>
                        <p:cNvGrpSpPr/>
                        <p:nvPr/>
                      </p:nvGrpSpPr>
                      <p:grpSpPr>
                        <a:xfrm>
                          <a:off x="10650533" y="3663550"/>
                          <a:ext cx="575867" cy="728623"/>
                          <a:chOff x="5717961" y="2827338"/>
                          <a:chExt cx="282576" cy="387350"/>
                        </a:xfrm>
                      </p:grpSpPr>
                      <p:sp>
                        <p:nvSpPr>
                          <p:cNvPr id="2851" name="Freeform 1754">
                            <a:extLst>
                              <a:ext uri="{FF2B5EF4-FFF2-40B4-BE49-F238E27FC236}">
                                <a16:creationId xmlns:a16="http://schemas.microsoft.com/office/drawing/2014/main" id="{29A43FEB-3397-4D64-8742-218DE128F717}"/>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2" name="Freeform 1755">
                            <a:extLst>
                              <a:ext uri="{FF2B5EF4-FFF2-40B4-BE49-F238E27FC236}">
                                <a16:creationId xmlns:a16="http://schemas.microsoft.com/office/drawing/2014/main" id="{4CA2087B-D49F-46EC-AE28-3B14506FD4B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53" name="Freeform 1756">
                            <a:extLst>
                              <a:ext uri="{FF2B5EF4-FFF2-40B4-BE49-F238E27FC236}">
                                <a16:creationId xmlns:a16="http://schemas.microsoft.com/office/drawing/2014/main" id="{C8403C95-BCEE-465E-ADAC-A020457D09BE}"/>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4" name="Freeform 1757">
                            <a:extLst>
                              <a:ext uri="{FF2B5EF4-FFF2-40B4-BE49-F238E27FC236}">
                                <a16:creationId xmlns:a16="http://schemas.microsoft.com/office/drawing/2014/main" id="{2561EC10-7056-4F74-8284-A8C753A830C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5" name="Freeform 1758">
                            <a:extLst>
                              <a:ext uri="{FF2B5EF4-FFF2-40B4-BE49-F238E27FC236}">
                                <a16:creationId xmlns:a16="http://schemas.microsoft.com/office/drawing/2014/main" id="{931576A2-EA44-463F-A03A-911B6FC5D780}"/>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50" name="TextBox 2849">
                          <a:extLst>
                            <a:ext uri="{FF2B5EF4-FFF2-40B4-BE49-F238E27FC236}">
                              <a16:creationId xmlns:a16="http://schemas.microsoft.com/office/drawing/2014/main" id="{3D98CFE1-0FD4-4645-87E5-09E842BBE60A}"/>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48" name="TextBox 2847">
                        <a:extLst>
                          <a:ext uri="{FF2B5EF4-FFF2-40B4-BE49-F238E27FC236}">
                            <a16:creationId xmlns:a16="http://schemas.microsoft.com/office/drawing/2014/main" id="{89484070-167C-403C-8732-0E81C207859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32" name="Group 2831">
                    <a:extLst>
                      <a:ext uri="{FF2B5EF4-FFF2-40B4-BE49-F238E27FC236}">
                        <a16:creationId xmlns:a16="http://schemas.microsoft.com/office/drawing/2014/main" id="{8B11732F-9CC2-42EE-AB66-BE2E5101BD37}"/>
                      </a:ext>
                    </a:extLst>
                  </p:cNvPr>
                  <p:cNvGrpSpPr/>
                  <p:nvPr/>
                </p:nvGrpSpPr>
                <p:grpSpPr>
                  <a:xfrm>
                    <a:off x="9538998" y="605299"/>
                    <a:ext cx="944881" cy="858986"/>
                    <a:chOff x="3369813" y="4950013"/>
                    <a:chExt cx="440826" cy="400751"/>
                  </a:xfrm>
                </p:grpSpPr>
                <p:sp>
                  <p:nvSpPr>
                    <p:cNvPr id="2841" name="Oval 2840">
                      <a:extLst>
                        <a:ext uri="{FF2B5EF4-FFF2-40B4-BE49-F238E27FC236}">
                          <a16:creationId xmlns:a16="http://schemas.microsoft.com/office/drawing/2014/main" id="{AA81403E-440E-46C0-8AAD-EAF0C5501D0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2" name="Group 226">
                      <a:extLst>
                        <a:ext uri="{FF2B5EF4-FFF2-40B4-BE49-F238E27FC236}">
                          <a16:creationId xmlns:a16="http://schemas.microsoft.com/office/drawing/2014/main" id="{565B5CAF-270F-478D-B29E-678341F504CA}"/>
                        </a:ext>
                      </a:extLst>
                    </p:cNvPr>
                    <p:cNvGrpSpPr>
                      <a:grpSpLocks noChangeAspect="1"/>
                    </p:cNvGrpSpPr>
                    <p:nvPr/>
                  </p:nvGrpSpPr>
                  <p:grpSpPr bwMode="auto">
                    <a:xfrm>
                      <a:off x="3437467" y="4997630"/>
                      <a:ext cx="305517" cy="305517"/>
                      <a:chOff x="5048" y="783"/>
                      <a:chExt cx="340" cy="340"/>
                    </a:xfrm>
                    <a:solidFill>
                      <a:schemeClr val="bg1"/>
                    </a:solidFill>
                  </p:grpSpPr>
                  <p:sp>
                    <p:nvSpPr>
                      <p:cNvPr id="2843" name="Freeform 227">
                        <a:extLst>
                          <a:ext uri="{FF2B5EF4-FFF2-40B4-BE49-F238E27FC236}">
                            <a16:creationId xmlns:a16="http://schemas.microsoft.com/office/drawing/2014/main" id="{366C18A2-9552-40A8-9B31-D9E6E6F42751}"/>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44" name="Freeform 228">
                        <a:extLst>
                          <a:ext uri="{FF2B5EF4-FFF2-40B4-BE49-F238E27FC236}">
                            <a16:creationId xmlns:a16="http://schemas.microsoft.com/office/drawing/2014/main" id="{21FD642E-B72D-4CA8-9986-89D6870F3588}"/>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33" name="Straight Connector 2832">
                    <a:extLst>
                      <a:ext uri="{FF2B5EF4-FFF2-40B4-BE49-F238E27FC236}">
                        <a16:creationId xmlns:a16="http://schemas.microsoft.com/office/drawing/2014/main" id="{383E3174-9BB6-4919-9467-9F8C351AA09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4" name="Straight Connector 2833">
                    <a:extLst>
                      <a:ext uri="{FF2B5EF4-FFF2-40B4-BE49-F238E27FC236}">
                        <a16:creationId xmlns:a16="http://schemas.microsoft.com/office/drawing/2014/main" id="{F9B7EB99-914D-41FC-AF5A-F90C88EDD6CC}"/>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5" name="Straight Connector 2834">
                    <a:extLst>
                      <a:ext uri="{FF2B5EF4-FFF2-40B4-BE49-F238E27FC236}">
                        <a16:creationId xmlns:a16="http://schemas.microsoft.com/office/drawing/2014/main" id="{BC2B2B6B-849E-4DD8-8550-64D70B59D3B9}"/>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6" name="Straight Connector 2835">
                    <a:extLst>
                      <a:ext uri="{FF2B5EF4-FFF2-40B4-BE49-F238E27FC236}">
                        <a16:creationId xmlns:a16="http://schemas.microsoft.com/office/drawing/2014/main" id="{A48ADA09-496D-45B9-96E9-D85E34A3C95D}"/>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7" name="Straight Connector 2836">
                    <a:extLst>
                      <a:ext uri="{FF2B5EF4-FFF2-40B4-BE49-F238E27FC236}">
                        <a16:creationId xmlns:a16="http://schemas.microsoft.com/office/drawing/2014/main" id="{DC4DBB82-431A-4CE8-8A16-3D69C3A21B9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8" name="Straight Connector 2837">
                    <a:extLst>
                      <a:ext uri="{FF2B5EF4-FFF2-40B4-BE49-F238E27FC236}">
                        <a16:creationId xmlns:a16="http://schemas.microsoft.com/office/drawing/2014/main" id="{A16B99CE-E9EE-4DAB-8AE5-A5F1DC8559CC}"/>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9" name="Straight Connector 2838">
                    <a:extLst>
                      <a:ext uri="{FF2B5EF4-FFF2-40B4-BE49-F238E27FC236}">
                        <a16:creationId xmlns:a16="http://schemas.microsoft.com/office/drawing/2014/main" id="{DCCDAB6B-C5CD-4CBF-8E38-210CB00383F7}"/>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0" name="Straight Connector 2839">
                    <a:extLst>
                      <a:ext uri="{FF2B5EF4-FFF2-40B4-BE49-F238E27FC236}">
                        <a16:creationId xmlns:a16="http://schemas.microsoft.com/office/drawing/2014/main" id="{A296BF29-EB62-4597-8850-8C45C724A659}"/>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28" name="Rectangle 2827">
                  <a:extLst>
                    <a:ext uri="{FF2B5EF4-FFF2-40B4-BE49-F238E27FC236}">
                      <a16:creationId xmlns:a16="http://schemas.microsoft.com/office/drawing/2014/main" id="{F06BBE9B-80D6-4DEE-92CB-5CB4F1CBF1C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856" name="Group 2855">
                <a:extLst>
                  <a:ext uri="{FF2B5EF4-FFF2-40B4-BE49-F238E27FC236}">
                    <a16:creationId xmlns:a16="http://schemas.microsoft.com/office/drawing/2014/main" id="{39FBE55D-3B31-4558-AA6D-C82DF7F5AB12}"/>
                  </a:ext>
                </a:extLst>
              </p:cNvPr>
              <p:cNvGrpSpPr/>
              <p:nvPr/>
            </p:nvGrpSpPr>
            <p:grpSpPr>
              <a:xfrm>
                <a:off x="6189282" y="2207036"/>
                <a:ext cx="309777" cy="570271"/>
                <a:chOff x="6298183" y="258138"/>
                <a:chExt cx="309777" cy="570271"/>
              </a:xfrm>
            </p:grpSpPr>
            <p:pic>
              <p:nvPicPr>
                <p:cNvPr id="2857" name="Picture 2856">
                  <a:extLst>
                    <a:ext uri="{FF2B5EF4-FFF2-40B4-BE49-F238E27FC236}">
                      <a16:creationId xmlns:a16="http://schemas.microsoft.com/office/drawing/2014/main" id="{4BBE49CE-786F-4672-A5CA-941B8AF71A9F}"/>
                    </a:ext>
                  </a:extLst>
                </p:cNvPr>
                <p:cNvPicPr>
                  <a:picLocks noChangeAspect="1"/>
                </p:cNvPicPr>
                <p:nvPr/>
              </p:nvPicPr>
              <p:blipFill>
                <a:blip r:embed="rId4"/>
                <a:stretch>
                  <a:fillRect/>
                </a:stretch>
              </p:blipFill>
              <p:spPr>
                <a:xfrm>
                  <a:off x="6298183" y="258138"/>
                  <a:ext cx="309777" cy="570271"/>
                </a:xfrm>
                <a:prstGeom prst="rect">
                  <a:avLst/>
                </a:prstGeom>
              </p:spPr>
            </p:pic>
            <p:sp>
              <p:nvSpPr>
                <p:cNvPr id="2858" name="Freeform 152">
                  <a:extLst>
                    <a:ext uri="{FF2B5EF4-FFF2-40B4-BE49-F238E27FC236}">
                      <a16:creationId xmlns:a16="http://schemas.microsoft.com/office/drawing/2014/main" id="{E3CD1546-4807-4BEC-AEFD-4BC1E9269A7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859" name="Rectangle 2858">
            <a:extLst>
              <a:ext uri="{FF2B5EF4-FFF2-40B4-BE49-F238E27FC236}">
                <a16:creationId xmlns:a16="http://schemas.microsoft.com/office/drawing/2014/main" id="{68B15680-A55E-47F6-8D5C-D956EDAD387E}"/>
              </a:ext>
            </a:extLst>
          </p:cNvPr>
          <p:cNvSpPr>
            <a:spLocks/>
          </p:cNvSpPr>
          <p:nvPr/>
        </p:nvSpPr>
        <p:spPr bwMode="gray">
          <a:xfrm>
            <a:off x="3378079" y="1689529"/>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860" name="Group 2859">
            <a:extLst>
              <a:ext uri="{FF2B5EF4-FFF2-40B4-BE49-F238E27FC236}">
                <a16:creationId xmlns:a16="http://schemas.microsoft.com/office/drawing/2014/main" id="{8469F45A-26BD-4B2C-B9E7-6A5F332A7359}"/>
              </a:ext>
            </a:extLst>
          </p:cNvPr>
          <p:cNvGrpSpPr/>
          <p:nvPr/>
        </p:nvGrpSpPr>
        <p:grpSpPr>
          <a:xfrm>
            <a:off x="412748" y="1219432"/>
            <a:ext cx="11430427" cy="561479"/>
            <a:chOff x="347472" y="1051180"/>
            <a:chExt cx="11667743" cy="561625"/>
          </a:xfrm>
        </p:grpSpPr>
        <p:grpSp>
          <p:nvGrpSpPr>
            <p:cNvPr id="2861" name="Group 2860">
              <a:extLst>
                <a:ext uri="{FF2B5EF4-FFF2-40B4-BE49-F238E27FC236}">
                  <a16:creationId xmlns:a16="http://schemas.microsoft.com/office/drawing/2014/main" id="{4C8E5E70-E4D0-4028-8B01-CF3D9E25E7CD}"/>
                </a:ext>
              </a:extLst>
            </p:cNvPr>
            <p:cNvGrpSpPr/>
            <p:nvPr/>
          </p:nvGrpSpPr>
          <p:grpSpPr>
            <a:xfrm>
              <a:off x="347472" y="1051180"/>
              <a:ext cx="11667743" cy="561625"/>
              <a:chOff x="347472" y="1051180"/>
              <a:chExt cx="11667743" cy="561625"/>
            </a:xfrm>
          </p:grpSpPr>
          <p:grpSp>
            <p:nvGrpSpPr>
              <p:cNvPr id="2863" name="Group 2862">
                <a:extLst>
                  <a:ext uri="{FF2B5EF4-FFF2-40B4-BE49-F238E27FC236}">
                    <a16:creationId xmlns:a16="http://schemas.microsoft.com/office/drawing/2014/main" id="{19B053B6-D501-46E8-8324-28B2181F54E8}"/>
                  </a:ext>
                </a:extLst>
              </p:cNvPr>
              <p:cNvGrpSpPr/>
              <p:nvPr/>
            </p:nvGrpSpPr>
            <p:grpSpPr>
              <a:xfrm>
                <a:off x="347472" y="1154250"/>
                <a:ext cx="11667743" cy="458555"/>
                <a:chOff x="390609" y="1132914"/>
                <a:chExt cx="11511569" cy="458555"/>
              </a:xfrm>
            </p:grpSpPr>
            <p:sp>
              <p:nvSpPr>
                <p:cNvPr id="2865" name="Rectangle: Rounded Corners 2864">
                  <a:extLst>
                    <a:ext uri="{FF2B5EF4-FFF2-40B4-BE49-F238E27FC236}">
                      <a16:creationId xmlns:a16="http://schemas.microsoft.com/office/drawing/2014/main" id="{C0ECC67F-0257-4ADE-8214-7AF66289F9D4}"/>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66" name="Rectangle 2865">
                  <a:extLst>
                    <a:ext uri="{FF2B5EF4-FFF2-40B4-BE49-F238E27FC236}">
                      <a16:creationId xmlns:a16="http://schemas.microsoft.com/office/drawing/2014/main" id="{31A4B2A4-CB38-47F9-918B-83E5241FED48}"/>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867" name="Rectangle 2866">
                  <a:extLst>
                    <a:ext uri="{FF2B5EF4-FFF2-40B4-BE49-F238E27FC236}">
                      <a16:creationId xmlns:a16="http://schemas.microsoft.com/office/drawing/2014/main" id="{D4656027-3B78-4CB3-A1A2-D6BB2C320FF7}"/>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868" name="Rectangle 2867">
                  <a:extLst>
                    <a:ext uri="{FF2B5EF4-FFF2-40B4-BE49-F238E27FC236}">
                      <a16:creationId xmlns:a16="http://schemas.microsoft.com/office/drawing/2014/main" id="{C98E7147-5C83-4907-A983-19382A05947B}"/>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869" name="Isosceles Triangle 2868">
                  <a:extLst>
                    <a:ext uri="{FF2B5EF4-FFF2-40B4-BE49-F238E27FC236}">
                      <a16:creationId xmlns:a16="http://schemas.microsoft.com/office/drawing/2014/main" id="{377B7AEF-DD5C-407A-BC96-22FE913B1FDF}"/>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70" name="Isosceles Triangle 2869">
                  <a:extLst>
                    <a:ext uri="{FF2B5EF4-FFF2-40B4-BE49-F238E27FC236}">
                      <a16:creationId xmlns:a16="http://schemas.microsoft.com/office/drawing/2014/main" id="{9E20B44C-313C-46AE-B0F0-4AB18A509ADA}"/>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4" name="Isosceles Triangle 2863">
                <a:extLst>
                  <a:ext uri="{FF2B5EF4-FFF2-40B4-BE49-F238E27FC236}">
                    <a16:creationId xmlns:a16="http://schemas.microsoft.com/office/drawing/2014/main" id="{A841C7DD-F4A1-4DCA-8EFD-70E365D590F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2" name="Isosceles Triangle 2861">
              <a:extLst>
                <a:ext uri="{FF2B5EF4-FFF2-40B4-BE49-F238E27FC236}">
                  <a16:creationId xmlns:a16="http://schemas.microsoft.com/office/drawing/2014/main" id="{6C5E3EB9-EC10-4A5A-BE32-40C4AD1E2BB9}"/>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Tree>
    <p:custDataLst>
      <p:tags r:id="rId1"/>
    </p:custDataLst>
    <p:extLst>
      <p:ext uri="{BB962C8B-B14F-4D97-AF65-F5344CB8AC3E}">
        <p14:creationId xmlns:p14="http://schemas.microsoft.com/office/powerpoint/2010/main" val="116436954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dirty="0"/>
              <a:t>Sprinting: Conduct Daily Standup</a:t>
            </a:r>
            <a:endParaRPr lang="en-US" dirty="0"/>
          </a:p>
        </p:txBody>
      </p:sp>
      <p:graphicFrame>
        <p:nvGraphicFramePr>
          <p:cNvPr id="2189" name="Table 2188">
            <a:extLst>
              <a:ext uri="{FF2B5EF4-FFF2-40B4-BE49-F238E27FC236}">
                <a16:creationId xmlns:a16="http://schemas.microsoft.com/office/drawing/2014/main" id="{F0E03C91-B69E-47A5-BFB5-55222D8F4D7C}"/>
              </a:ext>
            </a:extLst>
          </p:cNvPr>
          <p:cNvGraphicFramePr>
            <a:graphicFrameLocks noGrp="1"/>
          </p:cNvGraphicFramePr>
          <p:nvPr>
            <p:extLst>
              <p:ext uri="{D42A27DB-BD31-4B8C-83A1-F6EECF244321}">
                <p14:modId xmlns:p14="http://schemas.microsoft.com/office/powerpoint/2010/main" val="3185268174"/>
              </p:ext>
            </p:extLst>
          </p:nvPr>
        </p:nvGraphicFramePr>
        <p:xfrm>
          <a:off x="4180215" y="3297078"/>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190" name="Rectangle 2189">
            <a:extLst>
              <a:ext uri="{FF2B5EF4-FFF2-40B4-BE49-F238E27FC236}">
                <a16:creationId xmlns:a16="http://schemas.microsoft.com/office/drawing/2014/main" id="{5B242AB0-D087-45B9-991C-D144B01E7F0A}"/>
              </a:ext>
            </a:extLst>
          </p:cNvPr>
          <p:cNvSpPr>
            <a:spLocks/>
          </p:cNvSpPr>
          <p:nvPr/>
        </p:nvSpPr>
        <p:spPr bwMode="gray">
          <a:xfrm>
            <a:off x="9920415" y="1689529"/>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192" name="Table 2191">
            <a:extLst>
              <a:ext uri="{FF2B5EF4-FFF2-40B4-BE49-F238E27FC236}">
                <a16:creationId xmlns:a16="http://schemas.microsoft.com/office/drawing/2014/main" id="{2AC1EC88-3AC8-4154-AB0C-7952CEFF5CBB}"/>
              </a:ext>
            </a:extLst>
          </p:cNvPr>
          <p:cNvGraphicFramePr>
            <a:graphicFrameLocks noGrp="1"/>
          </p:cNvGraphicFramePr>
          <p:nvPr>
            <p:extLst>
              <p:ext uri="{D42A27DB-BD31-4B8C-83A1-F6EECF244321}">
                <p14:modId xmlns:p14="http://schemas.microsoft.com/office/powerpoint/2010/main" val="968965199"/>
              </p:ext>
            </p:extLst>
          </p:nvPr>
        </p:nvGraphicFramePr>
        <p:xfrm>
          <a:off x="470204" y="4578245"/>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544" name="Group 2543">
            <a:extLst>
              <a:ext uri="{FF2B5EF4-FFF2-40B4-BE49-F238E27FC236}">
                <a16:creationId xmlns:a16="http://schemas.microsoft.com/office/drawing/2014/main" id="{7CF70DB9-3C21-4F6A-A0D2-87A2EAFF679D}"/>
              </a:ext>
            </a:extLst>
          </p:cNvPr>
          <p:cNvGrpSpPr/>
          <p:nvPr/>
        </p:nvGrpSpPr>
        <p:grpSpPr>
          <a:xfrm>
            <a:off x="496680" y="1864299"/>
            <a:ext cx="1451488" cy="649270"/>
            <a:chOff x="1688915" y="1573673"/>
            <a:chExt cx="1455572" cy="651097"/>
          </a:xfrm>
        </p:grpSpPr>
        <p:sp>
          <p:nvSpPr>
            <p:cNvPr id="2545" name="Right Arrow 551">
              <a:extLst>
                <a:ext uri="{FF2B5EF4-FFF2-40B4-BE49-F238E27FC236}">
                  <a16:creationId xmlns:a16="http://schemas.microsoft.com/office/drawing/2014/main" id="{60716A56-708D-4D57-A035-5566C369D652}"/>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546" name="Group 2545">
              <a:extLst>
                <a:ext uri="{FF2B5EF4-FFF2-40B4-BE49-F238E27FC236}">
                  <a16:creationId xmlns:a16="http://schemas.microsoft.com/office/drawing/2014/main" id="{2A86400A-22B2-422F-88B6-A6CFA4435DE2}"/>
                </a:ext>
              </a:extLst>
            </p:cNvPr>
            <p:cNvGrpSpPr>
              <a:grpSpLocks/>
            </p:cNvGrpSpPr>
            <p:nvPr/>
          </p:nvGrpSpPr>
          <p:grpSpPr>
            <a:xfrm>
              <a:off x="1688915" y="1795002"/>
              <a:ext cx="418017" cy="418017"/>
              <a:chOff x="745985" y="4768134"/>
              <a:chExt cx="368776" cy="368777"/>
            </a:xfrm>
          </p:grpSpPr>
          <p:grpSp>
            <p:nvGrpSpPr>
              <p:cNvPr id="2610" name="Group 64">
                <a:extLst>
                  <a:ext uri="{FF2B5EF4-FFF2-40B4-BE49-F238E27FC236}">
                    <a16:creationId xmlns:a16="http://schemas.microsoft.com/office/drawing/2014/main" id="{37876098-F815-4A75-A3F5-8342895CBBEF}"/>
                  </a:ext>
                </a:extLst>
              </p:cNvPr>
              <p:cNvGrpSpPr>
                <a:grpSpLocks noChangeAspect="1"/>
              </p:cNvGrpSpPr>
              <p:nvPr/>
            </p:nvGrpSpPr>
            <p:grpSpPr bwMode="auto">
              <a:xfrm rot="8100000">
                <a:off x="745985" y="4768134"/>
                <a:ext cx="368776" cy="368777"/>
                <a:chOff x="701" y="2170"/>
                <a:chExt cx="587" cy="587"/>
              </a:xfrm>
            </p:grpSpPr>
            <p:sp>
              <p:nvSpPr>
                <p:cNvPr id="2621" name="Oval 65">
                  <a:extLst>
                    <a:ext uri="{FF2B5EF4-FFF2-40B4-BE49-F238E27FC236}">
                      <a16:creationId xmlns:a16="http://schemas.microsoft.com/office/drawing/2014/main" id="{2DF0D91C-2D49-46A4-8E67-9D5B89E66B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2" name="Line 66">
                  <a:extLst>
                    <a:ext uri="{FF2B5EF4-FFF2-40B4-BE49-F238E27FC236}">
                      <a16:creationId xmlns:a16="http://schemas.microsoft.com/office/drawing/2014/main" id="{54F40249-A4E6-4758-A6D0-B2E796EF826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3" name="Line 67">
                  <a:extLst>
                    <a:ext uri="{FF2B5EF4-FFF2-40B4-BE49-F238E27FC236}">
                      <a16:creationId xmlns:a16="http://schemas.microsoft.com/office/drawing/2014/main" id="{07CC7B68-631A-483D-B0A0-D20552A4A07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69">
                  <a:extLst>
                    <a:ext uri="{FF2B5EF4-FFF2-40B4-BE49-F238E27FC236}">
                      <a16:creationId xmlns:a16="http://schemas.microsoft.com/office/drawing/2014/main" id="{737AEDA1-E4DE-4651-93A7-CDF6E1C2D9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5" name="Line 74">
                  <a:extLst>
                    <a:ext uri="{FF2B5EF4-FFF2-40B4-BE49-F238E27FC236}">
                      <a16:creationId xmlns:a16="http://schemas.microsoft.com/office/drawing/2014/main" id="{E9A3B492-7197-464A-B9EB-B58BA964764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Freeform 78">
                  <a:extLst>
                    <a:ext uri="{FF2B5EF4-FFF2-40B4-BE49-F238E27FC236}">
                      <a16:creationId xmlns:a16="http://schemas.microsoft.com/office/drawing/2014/main" id="{2578CF9C-E829-48FA-AA33-AEA16D6FFD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7" name="Freeform 80">
                  <a:extLst>
                    <a:ext uri="{FF2B5EF4-FFF2-40B4-BE49-F238E27FC236}">
                      <a16:creationId xmlns:a16="http://schemas.microsoft.com/office/drawing/2014/main" id="{E9C922BB-A626-4ADB-B528-1CE3E09729D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11" name="Group 2610">
                <a:extLst>
                  <a:ext uri="{FF2B5EF4-FFF2-40B4-BE49-F238E27FC236}">
                    <a16:creationId xmlns:a16="http://schemas.microsoft.com/office/drawing/2014/main" id="{B05CA430-DBB2-4069-83F5-B0564A8088E4}"/>
                  </a:ext>
                </a:extLst>
              </p:cNvPr>
              <p:cNvGrpSpPr/>
              <p:nvPr/>
            </p:nvGrpSpPr>
            <p:grpSpPr>
              <a:xfrm>
                <a:off x="837312" y="4814434"/>
                <a:ext cx="136805" cy="278689"/>
                <a:chOff x="2806700" y="2803319"/>
                <a:chExt cx="433387" cy="882861"/>
              </a:xfrm>
            </p:grpSpPr>
            <p:grpSp>
              <p:nvGrpSpPr>
                <p:cNvPr id="2612" name="Group 2611">
                  <a:extLst>
                    <a:ext uri="{FF2B5EF4-FFF2-40B4-BE49-F238E27FC236}">
                      <a16:creationId xmlns:a16="http://schemas.microsoft.com/office/drawing/2014/main" id="{0EDC82F8-83D1-4536-A959-C2D2FD5273E9}"/>
                    </a:ext>
                  </a:extLst>
                </p:cNvPr>
                <p:cNvGrpSpPr>
                  <a:grpSpLocks noChangeAspect="1"/>
                </p:cNvGrpSpPr>
                <p:nvPr/>
              </p:nvGrpSpPr>
              <p:grpSpPr bwMode="auto">
                <a:xfrm>
                  <a:off x="2806700" y="3043242"/>
                  <a:ext cx="433387" cy="642938"/>
                  <a:chOff x="1768" y="1917"/>
                  <a:chExt cx="273" cy="405"/>
                </a:xfrm>
              </p:grpSpPr>
              <p:sp>
                <p:nvSpPr>
                  <p:cNvPr id="2614" name="Freeform 52">
                    <a:extLst>
                      <a:ext uri="{FF2B5EF4-FFF2-40B4-BE49-F238E27FC236}">
                        <a16:creationId xmlns:a16="http://schemas.microsoft.com/office/drawing/2014/main" id="{0BCE2018-B6C9-4D30-9121-A67C4EE2AB3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Line 54">
                    <a:extLst>
                      <a:ext uri="{FF2B5EF4-FFF2-40B4-BE49-F238E27FC236}">
                        <a16:creationId xmlns:a16="http://schemas.microsoft.com/office/drawing/2014/main" id="{EC581916-8210-4552-9CD2-6819AC9BAA7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6" name="Line 55">
                    <a:extLst>
                      <a:ext uri="{FF2B5EF4-FFF2-40B4-BE49-F238E27FC236}">
                        <a16:creationId xmlns:a16="http://schemas.microsoft.com/office/drawing/2014/main" id="{258D4DF1-6C6F-424D-9ED5-1E6427BB5C6D}"/>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56">
                    <a:extLst>
                      <a:ext uri="{FF2B5EF4-FFF2-40B4-BE49-F238E27FC236}">
                        <a16:creationId xmlns:a16="http://schemas.microsoft.com/office/drawing/2014/main" id="{EFC4BA31-C988-4E9F-BCA1-A5BE4DA774B7}"/>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57">
                    <a:extLst>
                      <a:ext uri="{FF2B5EF4-FFF2-40B4-BE49-F238E27FC236}">
                        <a16:creationId xmlns:a16="http://schemas.microsoft.com/office/drawing/2014/main" id="{60554008-CF73-4CB7-B029-7BB6BC69B4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58">
                    <a:extLst>
                      <a:ext uri="{FF2B5EF4-FFF2-40B4-BE49-F238E27FC236}">
                        <a16:creationId xmlns:a16="http://schemas.microsoft.com/office/drawing/2014/main" id="{8663360D-1E34-41B4-9F2E-AD0DC682F5E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Rectangle 2619">
                    <a:extLst>
                      <a:ext uri="{FF2B5EF4-FFF2-40B4-BE49-F238E27FC236}">
                        <a16:creationId xmlns:a16="http://schemas.microsoft.com/office/drawing/2014/main" id="{5B65E2D2-857D-40B6-8F41-EA1235FAE848}"/>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13" name="Oval 2612">
                  <a:extLst>
                    <a:ext uri="{FF2B5EF4-FFF2-40B4-BE49-F238E27FC236}">
                      <a16:creationId xmlns:a16="http://schemas.microsoft.com/office/drawing/2014/main" id="{B63520A8-B7C0-44DB-955E-5A06BF0CF4B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47" name="Group 2546">
              <a:extLst>
                <a:ext uri="{FF2B5EF4-FFF2-40B4-BE49-F238E27FC236}">
                  <a16:creationId xmlns:a16="http://schemas.microsoft.com/office/drawing/2014/main" id="{70E3FDAB-8078-4444-B685-4B8E2BB15BF0}"/>
                </a:ext>
              </a:extLst>
            </p:cNvPr>
            <p:cNvGrpSpPr>
              <a:grpSpLocks/>
            </p:cNvGrpSpPr>
            <p:nvPr/>
          </p:nvGrpSpPr>
          <p:grpSpPr>
            <a:xfrm>
              <a:off x="2196256" y="1795002"/>
              <a:ext cx="429139" cy="429142"/>
              <a:chOff x="1454941" y="4721722"/>
              <a:chExt cx="473625" cy="473627"/>
            </a:xfrm>
          </p:grpSpPr>
          <p:grpSp>
            <p:nvGrpSpPr>
              <p:cNvPr id="2571" name="Group 64">
                <a:extLst>
                  <a:ext uri="{FF2B5EF4-FFF2-40B4-BE49-F238E27FC236}">
                    <a16:creationId xmlns:a16="http://schemas.microsoft.com/office/drawing/2014/main" id="{B39C39E7-EA9F-4EBC-9AAB-F9883F63F91C}"/>
                  </a:ext>
                </a:extLst>
              </p:cNvPr>
              <p:cNvGrpSpPr>
                <a:grpSpLocks noChangeAspect="1"/>
              </p:cNvGrpSpPr>
              <p:nvPr/>
            </p:nvGrpSpPr>
            <p:grpSpPr bwMode="auto">
              <a:xfrm rot="8100000">
                <a:off x="1454941" y="4721722"/>
                <a:ext cx="473625" cy="473627"/>
                <a:chOff x="701" y="2170"/>
                <a:chExt cx="587" cy="587"/>
              </a:xfrm>
            </p:grpSpPr>
            <p:sp>
              <p:nvSpPr>
                <p:cNvPr id="2603" name="Oval 65">
                  <a:extLst>
                    <a:ext uri="{FF2B5EF4-FFF2-40B4-BE49-F238E27FC236}">
                      <a16:creationId xmlns:a16="http://schemas.microsoft.com/office/drawing/2014/main" id="{1741B508-5571-4D54-A0EB-547A9E77B78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04" name="Line 66">
                  <a:extLst>
                    <a:ext uri="{FF2B5EF4-FFF2-40B4-BE49-F238E27FC236}">
                      <a16:creationId xmlns:a16="http://schemas.microsoft.com/office/drawing/2014/main" id="{70676CEF-249F-420C-85A3-B991722F7A3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Line 67">
                  <a:extLst>
                    <a:ext uri="{FF2B5EF4-FFF2-40B4-BE49-F238E27FC236}">
                      <a16:creationId xmlns:a16="http://schemas.microsoft.com/office/drawing/2014/main" id="{1EF5F94B-E9B8-4900-A031-222A5CC2040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69">
                  <a:extLst>
                    <a:ext uri="{FF2B5EF4-FFF2-40B4-BE49-F238E27FC236}">
                      <a16:creationId xmlns:a16="http://schemas.microsoft.com/office/drawing/2014/main" id="{2BB013A3-42B7-4018-89D4-5C83D78682F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Line 74">
                  <a:extLst>
                    <a:ext uri="{FF2B5EF4-FFF2-40B4-BE49-F238E27FC236}">
                      <a16:creationId xmlns:a16="http://schemas.microsoft.com/office/drawing/2014/main" id="{00686483-DECD-45BF-9A77-564856213CC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Freeform 78">
                  <a:extLst>
                    <a:ext uri="{FF2B5EF4-FFF2-40B4-BE49-F238E27FC236}">
                      <a16:creationId xmlns:a16="http://schemas.microsoft.com/office/drawing/2014/main" id="{84F7DED2-E0F1-4DE4-A520-B0C26D9E750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80">
                  <a:extLst>
                    <a:ext uri="{FF2B5EF4-FFF2-40B4-BE49-F238E27FC236}">
                      <a16:creationId xmlns:a16="http://schemas.microsoft.com/office/drawing/2014/main" id="{039693EE-14A9-4591-B409-53500D914F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2" name="Group 2571">
                <a:extLst>
                  <a:ext uri="{FF2B5EF4-FFF2-40B4-BE49-F238E27FC236}">
                    <a16:creationId xmlns:a16="http://schemas.microsoft.com/office/drawing/2014/main" id="{89DDA1AB-DB1A-4F2A-A1F6-F55E86107FD2}"/>
                  </a:ext>
                </a:extLst>
              </p:cNvPr>
              <p:cNvGrpSpPr/>
              <p:nvPr/>
            </p:nvGrpSpPr>
            <p:grpSpPr>
              <a:xfrm>
                <a:off x="1511214" y="4789508"/>
                <a:ext cx="356509" cy="349884"/>
                <a:chOff x="468738" y="2241878"/>
                <a:chExt cx="1655483" cy="1624719"/>
              </a:xfrm>
            </p:grpSpPr>
            <p:sp>
              <p:nvSpPr>
                <p:cNvPr id="2573" name="Freeform 5">
                  <a:extLst>
                    <a:ext uri="{FF2B5EF4-FFF2-40B4-BE49-F238E27FC236}">
                      <a16:creationId xmlns:a16="http://schemas.microsoft.com/office/drawing/2014/main" id="{172B99D1-5F8D-43B0-A8CF-683A3625D04B}"/>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4" name="Freeform 6">
                  <a:extLst>
                    <a:ext uri="{FF2B5EF4-FFF2-40B4-BE49-F238E27FC236}">
                      <a16:creationId xmlns:a16="http://schemas.microsoft.com/office/drawing/2014/main" id="{F3FDED16-95F9-45A6-A5C2-AF3C7FBE84F6}"/>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5" name="Line 7">
                  <a:extLst>
                    <a:ext uri="{FF2B5EF4-FFF2-40B4-BE49-F238E27FC236}">
                      <a16:creationId xmlns:a16="http://schemas.microsoft.com/office/drawing/2014/main" id="{AAD0AA96-C242-4B23-8EFA-298E3BEDAA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8">
                  <a:extLst>
                    <a:ext uri="{FF2B5EF4-FFF2-40B4-BE49-F238E27FC236}">
                      <a16:creationId xmlns:a16="http://schemas.microsoft.com/office/drawing/2014/main" id="{65ACEBDE-EC2B-4A9C-8F9A-3E59E956386C}"/>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7" name="Line 9">
                  <a:extLst>
                    <a:ext uri="{FF2B5EF4-FFF2-40B4-BE49-F238E27FC236}">
                      <a16:creationId xmlns:a16="http://schemas.microsoft.com/office/drawing/2014/main" id="{FA37A858-97DB-4449-ACE8-3885E0019D9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78" name="Group 2577">
                  <a:extLst>
                    <a:ext uri="{FF2B5EF4-FFF2-40B4-BE49-F238E27FC236}">
                      <a16:creationId xmlns:a16="http://schemas.microsoft.com/office/drawing/2014/main" id="{79C5D445-41D4-40B0-AF1A-755E76DDC7B4}"/>
                    </a:ext>
                  </a:extLst>
                </p:cNvPr>
                <p:cNvGrpSpPr/>
                <p:nvPr/>
              </p:nvGrpSpPr>
              <p:grpSpPr>
                <a:xfrm>
                  <a:off x="1207113" y="2241878"/>
                  <a:ext cx="178734" cy="348678"/>
                  <a:chOff x="1207113" y="2241878"/>
                  <a:chExt cx="178734" cy="348678"/>
                </a:xfrm>
              </p:grpSpPr>
              <p:sp>
                <p:nvSpPr>
                  <p:cNvPr id="2601" name="Freeform 10">
                    <a:extLst>
                      <a:ext uri="{FF2B5EF4-FFF2-40B4-BE49-F238E27FC236}">
                        <a16:creationId xmlns:a16="http://schemas.microsoft.com/office/drawing/2014/main" id="{54AC54D8-9353-4873-A0D6-DA52C82071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2" name="Line 11">
                    <a:extLst>
                      <a:ext uri="{FF2B5EF4-FFF2-40B4-BE49-F238E27FC236}">
                        <a16:creationId xmlns:a16="http://schemas.microsoft.com/office/drawing/2014/main" id="{67538569-E1FB-43CB-8C4E-E50AB927A62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79" name="Freeform 12">
                  <a:extLst>
                    <a:ext uri="{FF2B5EF4-FFF2-40B4-BE49-F238E27FC236}">
                      <a16:creationId xmlns:a16="http://schemas.microsoft.com/office/drawing/2014/main" id="{23AB89EB-3C17-472E-A344-FA38E6EB684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0" name="Line 13">
                  <a:extLst>
                    <a:ext uri="{FF2B5EF4-FFF2-40B4-BE49-F238E27FC236}">
                      <a16:creationId xmlns:a16="http://schemas.microsoft.com/office/drawing/2014/main" id="{43C11C09-0BC9-4BFF-875F-ABE448A152D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14">
                  <a:extLst>
                    <a:ext uri="{FF2B5EF4-FFF2-40B4-BE49-F238E27FC236}">
                      <a16:creationId xmlns:a16="http://schemas.microsoft.com/office/drawing/2014/main" id="{F0F5FDC1-C77E-42C1-837C-FAF73023CF4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2" name="Line 15">
                  <a:extLst>
                    <a:ext uri="{FF2B5EF4-FFF2-40B4-BE49-F238E27FC236}">
                      <a16:creationId xmlns:a16="http://schemas.microsoft.com/office/drawing/2014/main" id="{D14B5AA4-719D-4159-8916-F2A1A34A91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16">
                  <a:extLst>
                    <a:ext uri="{FF2B5EF4-FFF2-40B4-BE49-F238E27FC236}">
                      <a16:creationId xmlns:a16="http://schemas.microsoft.com/office/drawing/2014/main" id="{F8FBC1AC-6574-47C3-8438-C023623B260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4" name="Line 17">
                  <a:extLst>
                    <a:ext uri="{FF2B5EF4-FFF2-40B4-BE49-F238E27FC236}">
                      <a16:creationId xmlns:a16="http://schemas.microsoft.com/office/drawing/2014/main" id="{08056CE5-759B-45BA-AD64-E8F92BBD2A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5" name="Freeform 18">
                  <a:extLst>
                    <a:ext uri="{FF2B5EF4-FFF2-40B4-BE49-F238E27FC236}">
                      <a16:creationId xmlns:a16="http://schemas.microsoft.com/office/drawing/2014/main" id="{6A51513C-BEE0-4282-A5DF-6205F1EA066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6" name="Line 19">
                  <a:extLst>
                    <a:ext uri="{FF2B5EF4-FFF2-40B4-BE49-F238E27FC236}">
                      <a16:creationId xmlns:a16="http://schemas.microsoft.com/office/drawing/2014/main" id="{AEAAE65E-5999-432E-9C21-5E4FB83DDEB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Freeform 35">
                  <a:extLst>
                    <a:ext uri="{FF2B5EF4-FFF2-40B4-BE49-F238E27FC236}">
                      <a16:creationId xmlns:a16="http://schemas.microsoft.com/office/drawing/2014/main" id="{905B05FD-7A7F-48F9-A413-495E4E3EF3B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8" name="Freeform 36">
                  <a:extLst>
                    <a:ext uri="{FF2B5EF4-FFF2-40B4-BE49-F238E27FC236}">
                      <a16:creationId xmlns:a16="http://schemas.microsoft.com/office/drawing/2014/main" id="{2921A0B4-2BEA-4CE2-8F22-3E172B32B81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9" name="Freeform 37">
                  <a:extLst>
                    <a:ext uri="{FF2B5EF4-FFF2-40B4-BE49-F238E27FC236}">
                      <a16:creationId xmlns:a16="http://schemas.microsoft.com/office/drawing/2014/main" id="{74FD599A-C4E5-4385-B21D-C11D5169B587}"/>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Freeform 38">
                  <a:extLst>
                    <a:ext uri="{FF2B5EF4-FFF2-40B4-BE49-F238E27FC236}">
                      <a16:creationId xmlns:a16="http://schemas.microsoft.com/office/drawing/2014/main" id="{8F85F175-9B1B-40F9-946C-DE9DDA6E8A4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1" name="Freeform 39">
                  <a:extLst>
                    <a:ext uri="{FF2B5EF4-FFF2-40B4-BE49-F238E27FC236}">
                      <a16:creationId xmlns:a16="http://schemas.microsoft.com/office/drawing/2014/main" id="{53790508-4459-4A51-8C21-80B6C72D01A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2" name="Freeform 40">
                  <a:extLst>
                    <a:ext uri="{FF2B5EF4-FFF2-40B4-BE49-F238E27FC236}">
                      <a16:creationId xmlns:a16="http://schemas.microsoft.com/office/drawing/2014/main" id="{E9E238AF-9ECF-452F-B6DB-E6DF88A9C969}"/>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41">
                  <a:extLst>
                    <a:ext uri="{FF2B5EF4-FFF2-40B4-BE49-F238E27FC236}">
                      <a16:creationId xmlns:a16="http://schemas.microsoft.com/office/drawing/2014/main" id="{D11F8F04-D95B-4398-934F-456924E564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Line 42">
                  <a:extLst>
                    <a:ext uri="{FF2B5EF4-FFF2-40B4-BE49-F238E27FC236}">
                      <a16:creationId xmlns:a16="http://schemas.microsoft.com/office/drawing/2014/main" id="{7CA960FB-560C-4E5A-8FE9-85E545A1B2C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5" name="Freeform 43">
                  <a:extLst>
                    <a:ext uri="{FF2B5EF4-FFF2-40B4-BE49-F238E27FC236}">
                      <a16:creationId xmlns:a16="http://schemas.microsoft.com/office/drawing/2014/main" id="{8352DF51-BA50-42A8-AAA7-896B47106C3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6" name="Freeform 44">
                  <a:extLst>
                    <a:ext uri="{FF2B5EF4-FFF2-40B4-BE49-F238E27FC236}">
                      <a16:creationId xmlns:a16="http://schemas.microsoft.com/office/drawing/2014/main" id="{BDD7E630-68FF-4E07-BB6A-C1149D795D9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7" name="Freeform 45">
                  <a:extLst>
                    <a:ext uri="{FF2B5EF4-FFF2-40B4-BE49-F238E27FC236}">
                      <a16:creationId xmlns:a16="http://schemas.microsoft.com/office/drawing/2014/main" id="{861BDD01-35EE-466A-B33F-9A1961BB3060}"/>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98" name="Group 2597">
                  <a:extLst>
                    <a:ext uri="{FF2B5EF4-FFF2-40B4-BE49-F238E27FC236}">
                      <a16:creationId xmlns:a16="http://schemas.microsoft.com/office/drawing/2014/main" id="{7B1758D7-BE5F-464F-BC14-3A269D9754BC}"/>
                    </a:ext>
                  </a:extLst>
                </p:cNvPr>
                <p:cNvGrpSpPr/>
                <p:nvPr/>
              </p:nvGrpSpPr>
              <p:grpSpPr>
                <a:xfrm flipV="1">
                  <a:off x="1202047" y="3517919"/>
                  <a:ext cx="178734" cy="348678"/>
                  <a:chOff x="1207113" y="2241878"/>
                  <a:chExt cx="178734" cy="348678"/>
                </a:xfrm>
              </p:grpSpPr>
              <p:sp>
                <p:nvSpPr>
                  <p:cNvPr id="2599" name="Freeform 10">
                    <a:extLst>
                      <a:ext uri="{FF2B5EF4-FFF2-40B4-BE49-F238E27FC236}">
                        <a16:creationId xmlns:a16="http://schemas.microsoft.com/office/drawing/2014/main" id="{019506FC-658D-4D9A-A18D-8059D37E15F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Line 11">
                    <a:extLst>
                      <a:ext uri="{FF2B5EF4-FFF2-40B4-BE49-F238E27FC236}">
                        <a16:creationId xmlns:a16="http://schemas.microsoft.com/office/drawing/2014/main" id="{99B84B6D-9AFF-4FEA-9FDC-B8BF3387F94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48" name="Group 2547">
              <a:extLst>
                <a:ext uri="{FF2B5EF4-FFF2-40B4-BE49-F238E27FC236}">
                  <a16:creationId xmlns:a16="http://schemas.microsoft.com/office/drawing/2014/main" id="{5EA11509-A1A4-44A6-A1A4-17F4B555AAC6}"/>
                </a:ext>
              </a:extLst>
            </p:cNvPr>
            <p:cNvGrpSpPr>
              <a:grpSpLocks/>
            </p:cNvGrpSpPr>
            <p:nvPr/>
          </p:nvGrpSpPr>
          <p:grpSpPr>
            <a:xfrm>
              <a:off x="2714719" y="1795002"/>
              <a:ext cx="429768" cy="429768"/>
              <a:chOff x="2268747" y="4723725"/>
              <a:chExt cx="415610" cy="415612"/>
            </a:xfrm>
          </p:grpSpPr>
          <p:grpSp>
            <p:nvGrpSpPr>
              <p:cNvPr id="2549" name="Group 64">
                <a:extLst>
                  <a:ext uri="{FF2B5EF4-FFF2-40B4-BE49-F238E27FC236}">
                    <a16:creationId xmlns:a16="http://schemas.microsoft.com/office/drawing/2014/main" id="{9994E78A-F8C7-4ECE-944A-E097AE751DB8}"/>
                  </a:ext>
                </a:extLst>
              </p:cNvPr>
              <p:cNvGrpSpPr>
                <a:grpSpLocks noChangeAspect="1"/>
              </p:cNvGrpSpPr>
              <p:nvPr/>
            </p:nvGrpSpPr>
            <p:grpSpPr bwMode="auto">
              <a:xfrm rot="8100000">
                <a:off x="2268747" y="4723725"/>
                <a:ext cx="415610" cy="415612"/>
                <a:chOff x="701" y="2170"/>
                <a:chExt cx="587" cy="587"/>
              </a:xfrm>
            </p:grpSpPr>
            <p:sp>
              <p:nvSpPr>
                <p:cNvPr id="2564" name="Oval 65">
                  <a:extLst>
                    <a:ext uri="{FF2B5EF4-FFF2-40B4-BE49-F238E27FC236}">
                      <a16:creationId xmlns:a16="http://schemas.microsoft.com/office/drawing/2014/main" id="{B0440BC5-094D-472D-B738-365BFF23A97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5" name="Line 66">
                  <a:extLst>
                    <a:ext uri="{FF2B5EF4-FFF2-40B4-BE49-F238E27FC236}">
                      <a16:creationId xmlns:a16="http://schemas.microsoft.com/office/drawing/2014/main" id="{2A47616E-CFA9-48B9-9249-5868F9E3FC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6" name="Line 67">
                  <a:extLst>
                    <a:ext uri="{FF2B5EF4-FFF2-40B4-BE49-F238E27FC236}">
                      <a16:creationId xmlns:a16="http://schemas.microsoft.com/office/drawing/2014/main" id="{F77ABEAB-5DBD-4EAF-8B07-2263A00DC3F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7" name="Line 69">
                  <a:extLst>
                    <a:ext uri="{FF2B5EF4-FFF2-40B4-BE49-F238E27FC236}">
                      <a16:creationId xmlns:a16="http://schemas.microsoft.com/office/drawing/2014/main" id="{DE510E65-BE79-46F0-B8B4-232037F6B76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8" name="Line 74">
                  <a:extLst>
                    <a:ext uri="{FF2B5EF4-FFF2-40B4-BE49-F238E27FC236}">
                      <a16:creationId xmlns:a16="http://schemas.microsoft.com/office/drawing/2014/main" id="{CD3FFEA8-D4AB-4078-A060-33DF4A788FE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9" name="Freeform 78">
                  <a:extLst>
                    <a:ext uri="{FF2B5EF4-FFF2-40B4-BE49-F238E27FC236}">
                      <a16:creationId xmlns:a16="http://schemas.microsoft.com/office/drawing/2014/main" id="{2EDC1EE5-42BD-4CDA-813D-5E6FB6792E2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0" name="Freeform 80">
                  <a:extLst>
                    <a:ext uri="{FF2B5EF4-FFF2-40B4-BE49-F238E27FC236}">
                      <a16:creationId xmlns:a16="http://schemas.microsoft.com/office/drawing/2014/main" id="{A5B3BECE-23D7-41D4-8D21-E529128AD14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50" name="Group 2549">
                <a:extLst>
                  <a:ext uri="{FF2B5EF4-FFF2-40B4-BE49-F238E27FC236}">
                    <a16:creationId xmlns:a16="http://schemas.microsoft.com/office/drawing/2014/main" id="{CDDC6E90-998A-4279-AA1D-88E0676C2A65}"/>
                  </a:ext>
                </a:extLst>
              </p:cNvPr>
              <p:cNvGrpSpPr/>
              <p:nvPr/>
            </p:nvGrpSpPr>
            <p:grpSpPr>
              <a:xfrm>
                <a:off x="2318076" y="4830163"/>
                <a:ext cx="313949" cy="233075"/>
                <a:chOff x="3707533" y="2731244"/>
                <a:chExt cx="389644" cy="289271"/>
              </a:xfrm>
            </p:grpSpPr>
            <p:sp>
              <p:nvSpPr>
                <p:cNvPr id="2551" name="Freeform 33">
                  <a:extLst>
                    <a:ext uri="{FF2B5EF4-FFF2-40B4-BE49-F238E27FC236}">
                      <a16:creationId xmlns:a16="http://schemas.microsoft.com/office/drawing/2014/main" id="{3E33581A-5603-47FA-8C77-22600BCDE6E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2" name="Freeform 34">
                  <a:extLst>
                    <a:ext uri="{FF2B5EF4-FFF2-40B4-BE49-F238E27FC236}">
                      <a16:creationId xmlns:a16="http://schemas.microsoft.com/office/drawing/2014/main" id="{ACDF47B3-1CA7-4271-867B-F114B297691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3" name="Freeform 37">
                  <a:extLst>
                    <a:ext uri="{FF2B5EF4-FFF2-40B4-BE49-F238E27FC236}">
                      <a16:creationId xmlns:a16="http://schemas.microsoft.com/office/drawing/2014/main" id="{B543CB0C-D03B-4720-A607-0FCD07E9D4B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4" name="Freeform 38">
                  <a:extLst>
                    <a:ext uri="{FF2B5EF4-FFF2-40B4-BE49-F238E27FC236}">
                      <a16:creationId xmlns:a16="http://schemas.microsoft.com/office/drawing/2014/main" id="{372AC087-985F-4869-B0F9-042502D250D4}"/>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5" name="Freeform 32">
                  <a:extLst>
                    <a:ext uri="{FF2B5EF4-FFF2-40B4-BE49-F238E27FC236}">
                      <a16:creationId xmlns:a16="http://schemas.microsoft.com/office/drawing/2014/main" id="{38C5052C-A37E-470F-B686-3D80031B8B8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6" name="Freeform 35">
                  <a:extLst>
                    <a:ext uri="{FF2B5EF4-FFF2-40B4-BE49-F238E27FC236}">
                      <a16:creationId xmlns:a16="http://schemas.microsoft.com/office/drawing/2014/main" id="{B2446279-1BCD-4191-8B55-C5D69A343EE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7" name="Freeform 36">
                  <a:extLst>
                    <a:ext uri="{FF2B5EF4-FFF2-40B4-BE49-F238E27FC236}">
                      <a16:creationId xmlns:a16="http://schemas.microsoft.com/office/drawing/2014/main" id="{C85BCDF6-D6D7-4002-A4B7-F17FFEAB5D3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8" name="Freeform 25">
                  <a:extLst>
                    <a:ext uri="{FF2B5EF4-FFF2-40B4-BE49-F238E27FC236}">
                      <a16:creationId xmlns:a16="http://schemas.microsoft.com/office/drawing/2014/main" id="{C36CC8CF-82FF-428E-BC50-3225F0505AF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9" name="Freeform 39">
                  <a:extLst>
                    <a:ext uri="{FF2B5EF4-FFF2-40B4-BE49-F238E27FC236}">
                      <a16:creationId xmlns:a16="http://schemas.microsoft.com/office/drawing/2014/main" id="{B9E1B1BD-9826-44F1-8BFA-FD3EE138DEA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0" name="Freeform 26">
                  <a:extLst>
                    <a:ext uri="{FF2B5EF4-FFF2-40B4-BE49-F238E27FC236}">
                      <a16:creationId xmlns:a16="http://schemas.microsoft.com/office/drawing/2014/main" id="{E70AECCB-A7E1-4AF4-AD81-97B4AD7E5A3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1" name="Rectangle 27">
                  <a:extLst>
                    <a:ext uri="{FF2B5EF4-FFF2-40B4-BE49-F238E27FC236}">
                      <a16:creationId xmlns:a16="http://schemas.microsoft.com/office/drawing/2014/main" id="{AE5DB8C7-52CD-4F4D-AD7D-713470DD0519}"/>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2" name="Line 29">
                  <a:extLst>
                    <a:ext uri="{FF2B5EF4-FFF2-40B4-BE49-F238E27FC236}">
                      <a16:creationId xmlns:a16="http://schemas.microsoft.com/office/drawing/2014/main" id="{C1EDC3FA-8CEB-4FB2-816D-A14C07043183}"/>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3" name="Line 31">
                  <a:extLst>
                    <a:ext uri="{FF2B5EF4-FFF2-40B4-BE49-F238E27FC236}">
                      <a16:creationId xmlns:a16="http://schemas.microsoft.com/office/drawing/2014/main" id="{2438B17F-954A-450B-8F24-DD7E7E7D6E0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15" name="Group 14">
            <a:extLst>
              <a:ext uri="{FF2B5EF4-FFF2-40B4-BE49-F238E27FC236}">
                <a16:creationId xmlns:a16="http://schemas.microsoft.com/office/drawing/2014/main" id="{A3D36A2B-F5C4-4D01-9709-E1957D7DC38A}"/>
              </a:ext>
            </a:extLst>
          </p:cNvPr>
          <p:cNvGrpSpPr/>
          <p:nvPr/>
        </p:nvGrpSpPr>
        <p:grpSpPr>
          <a:xfrm>
            <a:off x="3481621" y="3615964"/>
            <a:ext cx="4581486" cy="2892141"/>
            <a:chOff x="3480940" y="3616012"/>
            <a:chExt cx="4582679" cy="2892894"/>
          </a:xfrm>
        </p:grpSpPr>
        <p:grpSp>
          <p:nvGrpSpPr>
            <p:cNvPr id="7" name="Group 6">
              <a:extLst>
                <a:ext uri="{FF2B5EF4-FFF2-40B4-BE49-F238E27FC236}">
                  <a16:creationId xmlns:a16="http://schemas.microsoft.com/office/drawing/2014/main" id="{692D072B-49CC-4303-8CF2-3D45E20D9312}"/>
                </a:ext>
              </a:extLst>
            </p:cNvPr>
            <p:cNvGrpSpPr/>
            <p:nvPr/>
          </p:nvGrpSpPr>
          <p:grpSpPr>
            <a:xfrm>
              <a:off x="3480940" y="4590574"/>
              <a:ext cx="2021522" cy="1918332"/>
              <a:chOff x="3480940" y="4590574"/>
              <a:chExt cx="2021522" cy="1918332"/>
            </a:xfrm>
          </p:grpSpPr>
          <p:grpSp>
            <p:nvGrpSpPr>
              <p:cNvPr id="2018" name="Group 2017">
                <a:extLst>
                  <a:ext uri="{FF2B5EF4-FFF2-40B4-BE49-F238E27FC236}">
                    <a16:creationId xmlns:a16="http://schemas.microsoft.com/office/drawing/2014/main" id="{56540839-72CD-4906-AEB0-E18EC5A846B9}"/>
                  </a:ext>
                </a:extLst>
              </p:cNvPr>
              <p:cNvGrpSpPr/>
              <p:nvPr/>
            </p:nvGrpSpPr>
            <p:grpSpPr>
              <a:xfrm>
                <a:off x="3480940" y="4590574"/>
                <a:ext cx="2021522" cy="1918332"/>
                <a:chOff x="3489383" y="4562005"/>
                <a:chExt cx="2026683" cy="1923229"/>
              </a:xfrm>
            </p:grpSpPr>
            <p:sp>
              <p:nvSpPr>
                <p:cNvPr id="2019" name="Rectangle 2018">
                  <a:extLst>
                    <a:ext uri="{FF2B5EF4-FFF2-40B4-BE49-F238E27FC236}">
                      <a16:creationId xmlns:a16="http://schemas.microsoft.com/office/drawing/2014/main" id="{748B31C8-D114-4F7B-AF23-309F82F6A9F1}"/>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020" name="Picture 2019">
                  <a:extLst>
                    <a:ext uri="{FF2B5EF4-FFF2-40B4-BE49-F238E27FC236}">
                      <a16:creationId xmlns:a16="http://schemas.microsoft.com/office/drawing/2014/main" id="{29BBB789-058D-4185-8ABF-BA11CF4AA1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021" name="Rectangle 2020">
                  <a:extLst>
                    <a:ext uri="{FF2B5EF4-FFF2-40B4-BE49-F238E27FC236}">
                      <a16:creationId xmlns:a16="http://schemas.microsoft.com/office/drawing/2014/main" id="{19403D70-F06C-4607-9A22-DBDF11EF45BA}"/>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022" name="Group 2021">
                  <a:extLst>
                    <a:ext uri="{FF2B5EF4-FFF2-40B4-BE49-F238E27FC236}">
                      <a16:creationId xmlns:a16="http://schemas.microsoft.com/office/drawing/2014/main" id="{FDD675A8-B8D0-4448-A656-3949DF642096}"/>
                    </a:ext>
                  </a:extLst>
                </p:cNvPr>
                <p:cNvGrpSpPr/>
                <p:nvPr/>
              </p:nvGrpSpPr>
              <p:grpSpPr>
                <a:xfrm>
                  <a:off x="4439956" y="4676083"/>
                  <a:ext cx="1030675" cy="846880"/>
                  <a:chOff x="10800033" y="2297897"/>
                  <a:chExt cx="1600558" cy="1315140"/>
                </a:xfrm>
              </p:grpSpPr>
              <p:grpSp>
                <p:nvGrpSpPr>
                  <p:cNvPr id="2023" name="Group 2022">
                    <a:extLst>
                      <a:ext uri="{FF2B5EF4-FFF2-40B4-BE49-F238E27FC236}">
                        <a16:creationId xmlns:a16="http://schemas.microsoft.com/office/drawing/2014/main" id="{1D61E89D-80B4-4262-AD4B-4F1EFBD7F33F}"/>
                      </a:ext>
                    </a:extLst>
                  </p:cNvPr>
                  <p:cNvGrpSpPr>
                    <a:grpSpLocks/>
                  </p:cNvGrpSpPr>
                  <p:nvPr/>
                </p:nvGrpSpPr>
                <p:grpSpPr>
                  <a:xfrm>
                    <a:off x="10800033" y="2339037"/>
                    <a:ext cx="613092" cy="613092"/>
                    <a:chOff x="745985" y="4768134"/>
                    <a:chExt cx="368776" cy="368777"/>
                  </a:xfrm>
                </p:grpSpPr>
                <p:grpSp>
                  <p:nvGrpSpPr>
                    <p:cNvPr id="2087" name="Group 64">
                      <a:extLst>
                        <a:ext uri="{FF2B5EF4-FFF2-40B4-BE49-F238E27FC236}">
                          <a16:creationId xmlns:a16="http://schemas.microsoft.com/office/drawing/2014/main" id="{01E48BE4-E577-4DA7-A7DA-D47F81E40EA8}"/>
                        </a:ext>
                      </a:extLst>
                    </p:cNvPr>
                    <p:cNvGrpSpPr>
                      <a:grpSpLocks noChangeAspect="1"/>
                    </p:cNvGrpSpPr>
                    <p:nvPr/>
                  </p:nvGrpSpPr>
                  <p:grpSpPr bwMode="auto">
                    <a:xfrm rot="8100000">
                      <a:off x="745985" y="4768134"/>
                      <a:ext cx="368776" cy="368777"/>
                      <a:chOff x="701" y="2170"/>
                      <a:chExt cx="587" cy="587"/>
                    </a:xfrm>
                  </p:grpSpPr>
                  <p:sp>
                    <p:nvSpPr>
                      <p:cNvPr id="2098" name="Oval 65">
                        <a:extLst>
                          <a:ext uri="{FF2B5EF4-FFF2-40B4-BE49-F238E27FC236}">
                            <a16:creationId xmlns:a16="http://schemas.microsoft.com/office/drawing/2014/main" id="{0A886081-F1D0-4AEB-9041-0464331AAF2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Line 66">
                        <a:extLst>
                          <a:ext uri="{FF2B5EF4-FFF2-40B4-BE49-F238E27FC236}">
                            <a16:creationId xmlns:a16="http://schemas.microsoft.com/office/drawing/2014/main" id="{C2E285F7-F1EF-42B3-A7C4-9FB0D6ED700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0" name="Line 67">
                        <a:extLst>
                          <a:ext uri="{FF2B5EF4-FFF2-40B4-BE49-F238E27FC236}">
                            <a16:creationId xmlns:a16="http://schemas.microsoft.com/office/drawing/2014/main" id="{0E350AB0-6D10-4606-B539-2CA4EC77E00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1" name="Line 69">
                        <a:extLst>
                          <a:ext uri="{FF2B5EF4-FFF2-40B4-BE49-F238E27FC236}">
                            <a16:creationId xmlns:a16="http://schemas.microsoft.com/office/drawing/2014/main" id="{7F69DCC6-831C-4C0A-83DB-10573EFA410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2" name="Line 74">
                        <a:extLst>
                          <a:ext uri="{FF2B5EF4-FFF2-40B4-BE49-F238E27FC236}">
                            <a16:creationId xmlns:a16="http://schemas.microsoft.com/office/drawing/2014/main" id="{A945B4C0-A0A8-4357-BDCC-600F0584749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78">
                        <a:extLst>
                          <a:ext uri="{FF2B5EF4-FFF2-40B4-BE49-F238E27FC236}">
                            <a16:creationId xmlns:a16="http://schemas.microsoft.com/office/drawing/2014/main" id="{83080771-497A-49B6-9DD8-EC246B91EE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80">
                        <a:extLst>
                          <a:ext uri="{FF2B5EF4-FFF2-40B4-BE49-F238E27FC236}">
                            <a16:creationId xmlns:a16="http://schemas.microsoft.com/office/drawing/2014/main" id="{35116DAD-749B-45B8-9C86-0FA72B3638F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88" name="Group 2087">
                      <a:extLst>
                        <a:ext uri="{FF2B5EF4-FFF2-40B4-BE49-F238E27FC236}">
                          <a16:creationId xmlns:a16="http://schemas.microsoft.com/office/drawing/2014/main" id="{37B1DD8D-1211-492D-8E3E-883D25B35A83}"/>
                        </a:ext>
                      </a:extLst>
                    </p:cNvPr>
                    <p:cNvGrpSpPr/>
                    <p:nvPr/>
                  </p:nvGrpSpPr>
                  <p:grpSpPr>
                    <a:xfrm>
                      <a:off x="837312" y="4814434"/>
                      <a:ext cx="136805" cy="278689"/>
                      <a:chOff x="2806700" y="2803319"/>
                      <a:chExt cx="433387" cy="882861"/>
                    </a:xfrm>
                  </p:grpSpPr>
                  <p:grpSp>
                    <p:nvGrpSpPr>
                      <p:cNvPr id="2089" name="Group 2088">
                        <a:extLst>
                          <a:ext uri="{FF2B5EF4-FFF2-40B4-BE49-F238E27FC236}">
                            <a16:creationId xmlns:a16="http://schemas.microsoft.com/office/drawing/2014/main" id="{3A754CC2-FAD8-46DE-A50F-546C90D392FC}"/>
                          </a:ext>
                        </a:extLst>
                      </p:cNvPr>
                      <p:cNvGrpSpPr>
                        <a:grpSpLocks noChangeAspect="1"/>
                      </p:cNvGrpSpPr>
                      <p:nvPr/>
                    </p:nvGrpSpPr>
                    <p:grpSpPr bwMode="auto">
                      <a:xfrm>
                        <a:off x="2806700" y="3043242"/>
                        <a:ext cx="433387" cy="642938"/>
                        <a:chOff x="1768" y="1917"/>
                        <a:chExt cx="273" cy="405"/>
                      </a:xfrm>
                    </p:grpSpPr>
                    <p:sp>
                      <p:nvSpPr>
                        <p:cNvPr id="2091" name="Freeform 52">
                          <a:extLst>
                            <a:ext uri="{FF2B5EF4-FFF2-40B4-BE49-F238E27FC236}">
                              <a16:creationId xmlns:a16="http://schemas.microsoft.com/office/drawing/2014/main" id="{C242132A-76D3-438C-AC96-5DB53EFA2BA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2" name="Line 54">
                          <a:extLst>
                            <a:ext uri="{FF2B5EF4-FFF2-40B4-BE49-F238E27FC236}">
                              <a16:creationId xmlns:a16="http://schemas.microsoft.com/office/drawing/2014/main" id="{D462B0C0-A26C-408D-B7F4-25FC0A46FCF6}"/>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3" name="Line 55">
                          <a:extLst>
                            <a:ext uri="{FF2B5EF4-FFF2-40B4-BE49-F238E27FC236}">
                              <a16:creationId xmlns:a16="http://schemas.microsoft.com/office/drawing/2014/main" id="{36CE7D36-8D4E-4E7D-B44E-37EF507C2CFA}"/>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4" name="Freeform 56">
                          <a:extLst>
                            <a:ext uri="{FF2B5EF4-FFF2-40B4-BE49-F238E27FC236}">
                              <a16:creationId xmlns:a16="http://schemas.microsoft.com/office/drawing/2014/main" id="{08EF9AB4-BEA6-467D-A1D8-F77DE6A94B9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5" name="Line 57">
                          <a:extLst>
                            <a:ext uri="{FF2B5EF4-FFF2-40B4-BE49-F238E27FC236}">
                              <a16:creationId xmlns:a16="http://schemas.microsoft.com/office/drawing/2014/main" id="{CF6AEC22-0767-467A-81AD-C0DFD9A4AA36}"/>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6" name="Freeform 58">
                          <a:extLst>
                            <a:ext uri="{FF2B5EF4-FFF2-40B4-BE49-F238E27FC236}">
                              <a16:creationId xmlns:a16="http://schemas.microsoft.com/office/drawing/2014/main" id="{C2604C23-AD38-4566-BAD3-47B5EA86390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7" name="Rectangle 2096">
                          <a:extLst>
                            <a:ext uri="{FF2B5EF4-FFF2-40B4-BE49-F238E27FC236}">
                              <a16:creationId xmlns:a16="http://schemas.microsoft.com/office/drawing/2014/main" id="{8509A289-0E67-4A94-8BC5-CE91EA04DF7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090" name="Oval 2089">
                        <a:extLst>
                          <a:ext uri="{FF2B5EF4-FFF2-40B4-BE49-F238E27FC236}">
                            <a16:creationId xmlns:a16="http://schemas.microsoft.com/office/drawing/2014/main" id="{F0A3E300-0A0E-4060-8DDB-B6EBA012D9C7}"/>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024" name="Group 2023">
                    <a:extLst>
                      <a:ext uri="{FF2B5EF4-FFF2-40B4-BE49-F238E27FC236}">
                        <a16:creationId xmlns:a16="http://schemas.microsoft.com/office/drawing/2014/main" id="{DE0B9681-3DED-44E4-9627-E0B541A48C40}"/>
                      </a:ext>
                    </a:extLst>
                  </p:cNvPr>
                  <p:cNvGrpSpPr>
                    <a:grpSpLocks/>
                  </p:cNvGrpSpPr>
                  <p:nvPr/>
                </p:nvGrpSpPr>
                <p:grpSpPr>
                  <a:xfrm>
                    <a:off x="11166615" y="2825631"/>
                    <a:ext cx="787402" cy="787406"/>
                    <a:chOff x="1454941" y="4721722"/>
                    <a:chExt cx="473625" cy="473627"/>
                  </a:xfrm>
                </p:grpSpPr>
                <p:grpSp>
                  <p:nvGrpSpPr>
                    <p:cNvPr id="2048" name="Group 64">
                      <a:extLst>
                        <a:ext uri="{FF2B5EF4-FFF2-40B4-BE49-F238E27FC236}">
                          <a16:creationId xmlns:a16="http://schemas.microsoft.com/office/drawing/2014/main" id="{72DB5D0F-8955-442F-AE53-3D14F7805B61}"/>
                        </a:ext>
                      </a:extLst>
                    </p:cNvPr>
                    <p:cNvGrpSpPr>
                      <a:grpSpLocks noChangeAspect="1"/>
                    </p:cNvGrpSpPr>
                    <p:nvPr/>
                  </p:nvGrpSpPr>
                  <p:grpSpPr bwMode="auto">
                    <a:xfrm rot="8100000">
                      <a:off x="1454941" y="4721722"/>
                      <a:ext cx="473625" cy="473627"/>
                      <a:chOff x="701" y="2170"/>
                      <a:chExt cx="587" cy="587"/>
                    </a:xfrm>
                  </p:grpSpPr>
                  <p:sp>
                    <p:nvSpPr>
                      <p:cNvPr id="2080" name="Oval 65">
                        <a:extLst>
                          <a:ext uri="{FF2B5EF4-FFF2-40B4-BE49-F238E27FC236}">
                            <a16:creationId xmlns:a16="http://schemas.microsoft.com/office/drawing/2014/main" id="{ACE6D71E-9A7F-44F5-9810-DDC2B399078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81" name="Line 66">
                        <a:extLst>
                          <a:ext uri="{FF2B5EF4-FFF2-40B4-BE49-F238E27FC236}">
                            <a16:creationId xmlns:a16="http://schemas.microsoft.com/office/drawing/2014/main" id="{764A254C-EFAA-4983-9208-C93B7A14743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2" name="Line 67">
                        <a:extLst>
                          <a:ext uri="{FF2B5EF4-FFF2-40B4-BE49-F238E27FC236}">
                            <a16:creationId xmlns:a16="http://schemas.microsoft.com/office/drawing/2014/main" id="{93EADFD0-1ECF-4DD6-B959-0DE85C07259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3" name="Line 69">
                        <a:extLst>
                          <a:ext uri="{FF2B5EF4-FFF2-40B4-BE49-F238E27FC236}">
                            <a16:creationId xmlns:a16="http://schemas.microsoft.com/office/drawing/2014/main" id="{FC151A07-1A6D-489C-8F94-96192C8AF74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4" name="Line 74">
                        <a:extLst>
                          <a:ext uri="{FF2B5EF4-FFF2-40B4-BE49-F238E27FC236}">
                            <a16:creationId xmlns:a16="http://schemas.microsoft.com/office/drawing/2014/main" id="{56564724-9B6C-41A6-A179-CC0E3D81C6D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5" name="Freeform 78">
                        <a:extLst>
                          <a:ext uri="{FF2B5EF4-FFF2-40B4-BE49-F238E27FC236}">
                            <a16:creationId xmlns:a16="http://schemas.microsoft.com/office/drawing/2014/main" id="{8A75B03E-65C6-414B-83C9-15BB05C9A5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6" name="Freeform 80">
                        <a:extLst>
                          <a:ext uri="{FF2B5EF4-FFF2-40B4-BE49-F238E27FC236}">
                            <a16:creationId xmlns:a16="http://schemas.microsoft.com/office/drawing/2014/main" id="{6036BA97-74E3-4525-95A2-587018FBD06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49" name="Group 2048">
                      <a:extLst>
                        <a:ext uri="{FF2B5EF4-FFF2-40B4-BE49-F238E27FC236}">
                          <a16:creationId xmlns:a16="http://schemas.microsoft.com/office/drawing/2014/main" id="{8D9F6327-0B0B-485A-8EC5-F862A7E69C50}"/>
                        </a:ext>
                      </a:extLst>
                    </p:cNvPr>
                    <p:cNvGrpSpPr/>
                    <p:nvPr/>
                  </p:nvGrpSpPr>
                  <p:grpSpPr>
                    <a:xfrm>
                      <a:off x="1511214" y="4789508"/>
                      <a:ext cx="356509" cy="349884"/>
                      <a:chOff x="468738" y="2241878"/>
                      <a:chExt cx="1655483" cy="1624719"/>
                    </a:xfrm>
                  </p:grpSpPr>
                  <p:sp>
                    <p:nvSpPr>
                      <p:cNvPr id="2050" name="Freeform 5">
                        <a:extLst>
                          <a:ext uri="{FF2B5EF4-FFF2-40B4-BE49-F238E27FC236}">
                            <a16:creationId xmlns:a16="http://schemas.microsoft.com/office/drawing/2014/main" id="{8458A5E1-1B47-42D6-B27E-97B06E861C41}"/>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51" name="Freeform 6">
                        <a:extLst>
                          <a:ext uri="{FF2B5EF4-FFF2-40B4-BE49-F238E27FC236}">
                            <a16:creationId xmlns:a16="http://schemas.microsoft.com/office/drawing/2014/main" id="{5E623E06-E501-49AC-B639-E48CD049790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2" name="Line 7">
                        <a:extLst>
                          <a:ext uri="{FF2B5EF4-FFF2-40B4-BE49-F238E27FC236}">
                            <a16:creationId xmlns:a16="http://schemas.microsoft.com/office/drawing/2014/main" id="{8A8AEB48-8EA2-4AE9-A410-03E59D7B8A9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3" name="Freeform 8">
                        <a:extLst>
                          <a:ext uri="{FF2B5EF4-FFF2-40B4-BE49-F238E27FC236}">
                            <a16:creationId xmlns:a16="http://schemas.microsoft.com/office/drawing/2014/main" id="{DA15DEDE-44A2-46BA-91D5-8160FF5EC2E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4" name="Line 9">
                        <a:extLst>
                          <a:ext uri="{FF2B5EF4-FFF2-40B4-BE49-F238E27FC236}">
                            <a16:creationId xmlns:a16="http://schemas.microsoft.com/office/drawing/2014/main" id="{017EFE93-47AA-43AE-B2CC-D9295B6A9F99}"/>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55" name="Group 2054">
                        <a:extLst>
                          <a:ext uri="{FF2B5EF4-FFF2-40B4-BE49-F238E27FC236}">
                            <a16:creationId xmlns:a16="http://schemas.microsoft.com/office/drawing/2014/main" id="{084D1A28-0222-46DD-8E24-FFB39B1A73D9}"/>
                          </a:ext>
                        </a:extLst>
                      </p:cNvPr>
                      <p:cNvGrpSpPr/>
                      <p:nvPr/>
                    </p:nvGrpSpPr>
                    <p:grpSpPr>
                      <a:xfrm>
                        <a:off x="1207113" y="2241878"/>
                        <a:ext cx="178734" cy="348678"/>
                        <a:chOff x="1207113" y="2241878"/>
                        <a:chExt cx="178734" cy="348678"/>
                      </a:xfrm>
                    </p:grpSpPr>
                    <p:sp>
                      <p:nvSpPr>
                        <p:cNvPr id="2078" name="Freeform 10">
                          <a:extLst>
                            <a:ext uri="{FF2B5EF4-FFF2-40B4-BE49-F238E27FC236}">
                              <a16:creationId xmlns:a16="http://schemas.microsoft.com/office/drawing/2014/main" id="{A6C5B11D-8CDC-4FCE-8BD2-323816C319E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9" name="Line 11">
                          <a:extLst>
                            <a:ext uri="{FF2B5EF4-FFF2-40B4-BE49-F238E27FC236}">
                              <a16:creationId xmlns:a16="http://schemas.microsoft.com/office/drawing/2014/main" id="{C71CB6D2-F664-402E-9A23-8E043C87299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056" name="Freeform 12">
                        <a:extLst>
                          <a:ext uri="{FF2B5EF4-FFF2-40B4-BE49-F238E27FC236}">
                            <a16:creationId xmlns:a16="http://schemas.microsoft.com/office/drawing/2014/main" id="{71AF4565-F1DB-4FAA-ACBD-3BE44EDF480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7" name="Line 13">
                        <a:extLst>
                          <a:ext uri="{FF2B5EF4-FFF2-40B4-BE49-F238E27FC236}">
                            <a16:creationId xmlns:a16="http://schemas.microsoft.com/office/drawing/2014/main" id="{FCB036DD-2C22-45DF-89C6-21107DB7F46B}"/>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8" name="Freeform 14">
                        <a:extLst>
                          <a:ext uri="{FF2B5EF4-FFF2-40B4-BE49-F238E27FC236}">
                            <a16:creationId xmlns:a16="http://schemas.microsoft.com/office/drawing/2014/main" id="{ED66D134-CDCF-48B3-BA53-AABFBE5C14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9" name="Line 15">
                        <a:extLst>
                          <a:ext uri="{FF2B5EF4-FFF2-40B4-BE49-F238E27FC236}">
                            <a16:creationId xmlns:a16="http://schemas.microsoft.com/office/drawing/2014/main" id="{954244E4-308D-4F88-9DCF-7194D2801C8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0" name="Freeform 16">
                        <a:extLst>
                          <a:ext uri="{FF2B5EF4-FFF2-40B4-BE49-F238E27FC236}">
                            <a16:creationId xmlns:a16="http://schemas.microsoft.com/office/drawing/2014/main" id="{3F85E511-5E10-48E6-9EBC-83EB630E9B4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1" name="Line 17">
                        <a:extLst>
                          <a:ext uri="{FF2B5EF4-FFF2-40B4-BE49-F238E27FC236}">
                            <a16:creationId xmlns:a16="http://schemas.microsoft.com/office/drawing/2014/main" id="{6B909ABD-1595-4AD4-BC0B-DEC69383D0BC}"/>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2" name="Freeform 18">
                        <a:extLst>
                          <a:ext uri="{FF2B5EF4-FFF2-40B4-BE49-F238E27FC236}">
                            <a16:creationId xmlns:a16="http://schemas.microsoft.com/office/drawing/2014/main" id="{BDCEB189-E1A3-4F61-BE87-F10D87B2710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3" name="Line 19">
                        <a:extLst>
                          <a:ext uri="{FF2B5EF4-FFF2-40B4-BE49-F238E27FC236}">
                            <a16:creationId xmlns:a16="http://schemas.microsoft.com/office/drawing/2014/main" id="{A5801A50-A158-4B52-9E77-FF89C2D442E6}"/>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4" name="Freeform 35">
                        <a:extLst>
                          <a:ext uri="{FF2B5EF4-FFF2-40B4-BE49-F238E27FC236}">
                            <a16:creationId xmlns:a16="http://schemas.microsoft.com/office/drawing/2014/main" id="{A2A5B366-8854-45C4-8BEC-9E9F76CBAEF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5" name="Freeform 36">
                        <a:extLst>
                          <a:ext uri="{FF2B5EF4-FFF2-40B4-BE49-F238E27FC236}">
                            <a16:creationId xmlns:a16="http://schemas.microsoft.com/office/drawing/2014/main" id="{A9959492-14F1-4A2E-AE94-E9959B0345D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6" name="Freeform 37">
                        <a:extLst>
                          <a:ext uri="{FF2B5EF4-FFF2-40B4-BE49-F238E27FC236}">
                            <a16:creationId xmlns:a16="http://schemas.microsoft.com/office/drawing/2014/main" id="{5ED0F6C4-9257-4A26-82FD-6DA64DCDF93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7" name="Freeform 38">
                        <a:extLst>
                          <a:ext uri="{FF2B5EF4-FFF2-40B4-BE49-F238E27FC236}">
                            <a16:creationId xmlns:a16="http://schemas.microsoft.com/office/drawing/2014/main" id="{E6D4C4DE-85DA-4348-BAF1-FBDF5CB75BA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8" name="Freeform 39">
                        <a:extLst>
                          <a:ext uri="{FF2B5EF4-FFF2-40B4-BE49-F238E27FC236}">
                            <a16:creationId xmlns:a16="http://schemas.microsoft.com/office/drawing/2014/main" id="{A53B7A6D-CB31-4EE8-9E58-AC8FFE6CA5C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9" name="Freeform 40">
                        <a:extLst>
                          <a:ext uri="{FF2B5EF4-FFF2-40B4-BE49-F238E27FC236}">
                            <a16:creationId xmlns:a16="http://schemas.microsoft.com/office/drawing/2014/main" id="{090B3AC6-1F4F-43CF-9E4E-C4AB75FB265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0" name="Freeform 41">
                        <a:extLst>
                          <a:ext uri="{FF2B5EF4-FFF2-40B4-BE49-F238E27FC236}">
                            <a16:creationId xmlns:a16="http://schemas.microsoft.com/office/drawing/2014/main" id="{D01F9AD9-90A1-4084-857D-6A0CE0A59B96}"/>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1" name="Line 42">
                        <a:extLst>
                          <a:ext uri="{FF2B5EF4-FFF2-40B4-BE49-F238E27FC236}">
                            <a16:creationId xmlns:a16="http://schemas.microsoft.com/office/drawing/2014/main" id="{1B200E90-00C5-4D47-8EDC-739CE998E99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2" name="Freeform 43">
                        <a:extLst>
                          <a:ext uri="{FF2B5EF4-FFF2-40B4-BE49-F238E27FC236}">
                            <a16:creationId xmlns:a16="http://schemas.microsoft.com/office/drawing/2014/main" id="{57AC4181-E6DE-496C-8CC6-59006C184E4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3" name="Freeform 44">
                        <a:extLst>
                          <a:ext uri="{FF2B5EF4-FFF2-40B4-BE49-F238E27FC236}">
                            <a16:creationId xmlns:a16="http://schemas.microsoft.com/office/drawing/2014/main" id="{79C99E03-D11E-40AF-96F5-7947612FECB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4" name="Freeform 45">
                        <a:extLst>
                          <a:ext uri="{FF2B5EF4-FFF2-40B4-BE49-F238E27FC236}">
                            <a16:creationId xmlns:a16="http://schemas.microsoft.com/office/drawing/2014/main" id="{5317F08E-B27F-4FEC-BF2A-B6314519682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75" name="Group 2074">
                        <a:extLst>
                          <a:ext uri="{FF2B5EF4-FFF2-40B4-BE49-F238E27FC236}">
                            <a16:creationId xmlns:a16="http://schemas.microsoft.com/office/drawing/2014/main" id="{B2BECC28-D7C9-486B-B602-A81655E18478}"/>
                          </a:ext>
                        </a:extLst>
                      </p:cNvPr>
                      <p:cNvGrpSpPr/>
                      <p:nvPr/>
                    </p:nvGrpSpPr>
                    <p:grpSpPr>
                      <a:xfrm flipV="1">
                        <a:off x="1202047" y="3517919"/>
                        <a:ext cx="178734" cy="348678"/>
                        <a:chOff x="1207113" y="2241878"/>
                        <a:chExt cx="178734" cy="348678"/>
                      </a:xfrm>
                    </p:grpSpPr>
                    <p:sp>
                      <p:nvSpPr>
                        <p:cNvPr id="2076" name="Freeform 10">
                          <a:extLst>
                            <a:ext uri="{FF2B5EF4-FFF2-40B4-BE49-F238E27FC236}">
                              <a16:creationId xmlns:a16="http://schemas.microsoft.com/office/drawing/2014/main" id="{E98405F1-35EE-4CF6-B642-4093736BC42E}"/>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7" name="Line 11">
                          <a:extLst>
                            <a:ext uri="{FF2B5EF4-FFF2-40B4-BE49-F238E27FC236}">
                              <a16:creationId xmlns:a16="http://schemas.microsoft.com/office/drawing/2014/main" id="{368D9ED1-B092-4360-B4B0-D9D564B307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25" name="Group 2024">
                    <a:extLst>
                      <a:ext uri="{FF2B5EF4-FFF2-40B4-BE49-F238E27FC236}">
                        <a16:creationId xmlns:a16="http://schemas.microsoft.com/office/drawing/2014/main" id="{B037B739-0AC6-483D-9CD6-C23CB322CDCF}"/>
                      </a:ext>
                    </a:extLst>
                  </p:cNvPr>
                  <p:cNvGrpSpPr>
                    <a:grpSpLocks/>
                  </p:cNvGrpSpPr>
                  <p:nvPr/>
                </p:nvGrpSpPr>
                <p:grpSpPr>
                  <a:xfrm>
                    <a:off x="11709639" y="2297897"/>
                    <a:ext cx="690952" cy="690956"/>
                    <a:chOff x="2268747" y="4723725"/>
                    <a:chExt cx="415610" cy="415612"/>
                  </a:xfrm>
                </p:grpSpPr>
                <p:grpSp>
                  <p:nvGrpSpPr>
                    <p:cNvPr id="2026" name="Group 64">
                      <a:extLst>
                        <a:ext uri="{FF2B5EF4-FFF2-40B4-BE49-F238E27FC236}">
                          <a16:creationId xmlns:a16="http://schemas.microsoft.com/office/drawing/2014/main" id="{08D7E938-A413-4450-A19B-6A75A5009960}"/>
                        </a:ext>
                      </a:extLst>
                    </p:cNvPr>
                    <p:cNvGrpSpPr>
                      <a:grpSpLocks noChangeAspect="1"/>
                    </p:cNvGrpSpPr>
                    <p:nvPr/>
                  </p:nvGrpSpPr>
                  <p:grpSpPr bwMode="auto">
                    <a:xfrm rot="8100000">
                      <a:off x="2268747" y="4723725"/>
                      <a:ext cx="415610" cy="415612"/>
                      <a:chOff x="701" y="2170"/>
                      <a:chExt cx="587" cy="587"/>
                    </a:xfrm>
                  </p:grpSpPr>
                  <p:sp>
                    <p:nvSpPr>
                      <p:cNvPr id="2041" name="Oval 65">
                        <a:extLst>
                          <a:ext uri="{FF2B5EF4-FFF2-40B4-BE49-F238E27FC236}">
                            <a16:creationId xmlns:a16="http://schemas.microsoft.com/office/drawing/2014/main" id="{C0044DE8-339A-40BF-8511-55ED3339CF1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2" name="Line 66">
                        <a:extLst>
                          <a:ext uri="{FF2B5EF4-FFF2-40B4-BE49-F238E27FC236}">
                            <a16:creationId xmlns:a16="http://schemas.microsoft.com/office/drawing/2014/main" id="{E104734A-91B5-4854-B5E4-46A8B4BE5A5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3" name="Line 67">
                        <a:extLst>
                          <a:ext uri="{FF2B5EF4-FFF2-40B4-BE49-F238E27FC236}">
                            <a16:creationId xmlns:a16="http://schemas.microsoft.com/office/drawing/2014/main" id="{F8A00DAE-6A81-4FD7-8577-2A690D709D8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4" name="Line 69">
                        <a:extLst>
                          <a:ext uri="{FF2B5EF4-FFF2-40B4-BE49-F238E27FC236}">
                            <a16:creationId xmlns:a16="http://schemas.microsoft.com/office/drawing/2014/main" id="{E959F45C-F50B-48A5-ACAD-A8FD159609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5" name="Line 74">
                        <a:extLst>
                          <a:ext uri="{FF2B5EF4-FFF2-40B4-BE49-F238E27FC236}">
                            <a16:creationId xmlns:a16="http://schemas.microsoft.com/office/drawing/2014/main" id="{F7A415D4-892E-415D-B52D-4C31737AE6E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6" name="Freeform 78">
                        <a:extLst>
                          <a:ext uri="{FF2B5EF4-FFF2-40B4-BE49-F238E27FC236}">
                            <a16:creationId xmlns:a16="http://schemas.microsoft.com/office/drawing/2014/main" id="{24F79AE3-20DF-4F7B-84B6-6B1B62693B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7" name="Freeform 80">
                        <a:extLst>
                          <a:ext uri="{FF2B5EF4-FFF2-40B4-BE49-F238E27FC236}">
                            <a16:creationId xmlns:a16="http://schemas.microsoft.com/office/drawing/2014/main" id="{DC56F3FF-10DF-4FFC-9360-29442B3474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27" name="Group 2026">
                      <a:extLst>
                        <a:ext uri="{FF2B5EF4-FFF2-40B4-BE49-F238E27FC236}">
                          <a16:creationId xmlns:a16="http://schemas.microsoft.com/office/drawing/2014/main" id="{0E2DCCB4-C702-40DD-A4A1-69BC491A0C03}"/>
                        </a:ext>
                      </a:extLst>
                    </p:cNvPr>
                    <p:cNvGrpSpPr/>
                    <p:nvPr/>
                  </p:nvGrpSpPr>
                  <p:grpSpPr>
                    <a:xfrm>
                      <a:off x="2318076" y="4830163"/>
                      <a:ext cx="313949" cy="233075"/>
                      <a:chOff x="3707533" y="2731244"/>
                      <a:chExt cx="389644" cy="289271"/>
                    </a:xfrm>
                  </p:grpSpPr>
                  <p:sp>
                    <p:nvSpPr>
                      <p:cNvPr id="2028" name="Freeform 33">
                        <a:extLst>
                          <a:ext uri="{FF2B5EF4-FFF2-40B4-BE49-F238E27FC236}">
                            <a16:creationId xmlns:a16="http://schemas.microsoft.com/office/drawing/2014/main" id="{E8B2C79B-4AF1-4A44-A176-891EBCF127A3}"/>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29" name="Freeform 34">
                        <a:extLst>
                          <a:ext uri="{FF2B5EF4-FFF2-40B4-BE49-F238E27FC236}">
                            <a16:creationId xmlns:a16="http://schemas.microsoft.com/office/drawing/2014/main" id="{2B2340E6-B3CE-41D4-93E8-10F66EC1C005}"/>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0" name="Freeform 37">
                        <a:extLst>
                          <a:ext uri="{FF2B5EF4-FFF2-40B4-BE49-F238E27FC236}">
                            <a16:creationId xmlns:a16="http://schemas.microsoft.com/office/drawing/2014/main" id="{70FD9DBD-3EEE-4081-A7C5-623B318DEB6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1" name="Freeform 38">
                        <a:extLst>
                          <a:ext uri="{FF2B5EF4-FFF2-40B4-BE49-F238E27FC236}">
                            <a16:creationId xmlns:a16="http://schemas.microsoft.com/office/drawing/2014/main" id="{6B638651-29FF-47DA-A9EE-190AE460256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2" name="Freeform 32">
                        <a:extLst>
                          <a:ext uri="{FF2B5EF4-FFF2-40B4-BE49-F238E27FC236}">
                            <a16:creationId xmlns:a16="http://schemas.microsoft.com/office/drawing/2014/main" id="{52509299-95E6-477F-B2CE-5C495EFB222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3" name="Freeform 35">
                        <a:extLst>
                          <a:ext uri="{FF2B5EF4-FFF2-40B4-BE49-F238E27FC236}">
                            <a16:creationId xmlns:a16="http://schemas.microsoft.com/office/drawing/2014/main" id="{9D4A156B-550E-40AC-9F3C-1A59E40AD25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4" name="Freeform 36">
                        <a:extLst>
                          <a:ext uri="{FF2B5EF4-FFF2-40B4-BE49-F238E27FC236}">
                            <a16:creationId xmlns:a16="http://schemas.microsoft.com/office/drawing/2014/main" id="{0784B5FD-53DC-459C-9501-0DF1AD18B886}"/>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5" name="Freeform 25">
                        <a:extLst>
                          <a:ext uri="{FF2B5EF4-FFF2-40B4-BE49-F238E27FC236}">
                            <a16:creationId xmlns:a16="http://schemas.microsoft.com/office/drawing/2014/main" id="{063F9560-0D59-42B4-936E-5534763842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6" name="Freeform 39">
                        <a:extLst>
                          <a:ext uri="{FF2B5EF4-FFF2-40B4-BE49-F238E27FC236}">
                            <a16:creationId xmlns:a16="http://schemas.microsoft.com/office/drawing/2014/main" id="{6B294804-F521-46BA-87D4-E7C21805090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7" name="Freeform 26">
                        <a:extLst>
                          <a:ext uri="{FF2B5EF4-FFF2-40B4-BE49-F238E27FC236}">
                            <a16:creationId xmlns:a16="http://schemas.microsoft.com/office/drawing/2014/main" id="{4716EE93-6A1A-44B5-9DA4-72D5176B1770}"/>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8" name="Rectangle 27">
                        <a:extLst>
                          <a:ext uri="{FF2B5EF4-FFF2-40B4-BE49-F238E27FC236}">
                            <a16:creationId xmlns:a16="http://schemas.microsoft.com/office/drawing/2014/main" id="{4E146FFA-8A46-4665-AF88-43ADE3D3650D}"/>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9" name="Line 29">
                        <a:extLst>
                          <a:ext uri="{FF2B5EF4-FFF2-40B4-BE49-F238E27FC236}">
                            <a16:creationId xmlns:a16="http://schemas.microsoft.com/office/drawing/2014/main" id="{ECD43F80-7F01-4A04-AF12-F87ADD6E93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0" name="Line 31">
                        <a:extLst>
                          <a:ext uri="{FF2B5EF4-FFF2-40B4-BE49-F238E27FC236}">
                            <a16:creationId xmlns:a16="http://schemas.microsoft.com/office/drawing/2014/main" id="{494C1B5D-1A30-411F-B0DF-EFA8E546997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423" name="Group 2422">
                <a:extLst>
                  <a:ext uri="{FF2B5EF4-FFF2-40B4-BE49-F238E27FC236}">
                    <a16:creationId xmlns:a16="http://schemas.microsoft.com/office/drawing/2014/main" id="{0861F88F-F86B-4256-871A-619833B675D8}"/>
                  </a:ext>
                </a:extLst>
              </p:cNvPr>
              <p:cNvGrpSpPr/>
              <p:nvPr/>
            </p:nvGrpSpPr>
            <p:grpSpPr>
              <a:xfrm>
                <a:off x="3584215" y="5655005"/>
                <a:ext cx="1001118" cy="830281"/>
                <a:chOff x="3592922" y="5629153"/>
                <a:chExt cx="1003674" cy="832401"/>
              </a:xfrm>
            </p:grpSpPr>
            <p:pic>
              <p:nvPicPr>
                <p:cNvPr id="2424" name="Picture 1">
                  <a:extLst>
                    <a:ext uri="{FF2B5EF4-FFF2-40B4-BE49-F238E27FC236}">
                      <a16:creationId xmlns:a16="http://schemas.microsoft.com/office/drawing/2014/main" id="{2F855582-806F-4F4C-9E3E-ACC2A6B1559B}"/>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5" name="Rectangle 2424">
                  <a:extLst>
                    <a:ext uri="{FF2B5EF4-FFF2-40B4-BE49-F238E27FC236}">
                      <a16:creationId xmlns:a16="http://schemas.microsoft.com/office/drawing/2014/main" id="{46CEBEB8-20DE-4256-87A0-C6931B3E059E}"/>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802" name="Group 2801">
              <a:extLst>
                <a:ext uri="{FF2B5EF4-FFF2-40B4-BE49-F238E27FC236}">
                  <a16:creationId xmlns:a16="http://schemas.microsoft.com/office/drawing/2014/main" id="{B42686BC-04B1-4420-A0D9-BB8E0B6F4E1B}"/>
                </a:ext>
              </a:extLst>
            </p:cNvPr>
            <p:cNvGrpSpPr/>
            <p:nvPr/>
          </p:nvGrpSpPr>
          <p:grpSpPr>
            <a:xfrm>
              <a:off x="4527697" y="3616012"/>
              <a:ext cx="3535922" cy="312851"/>
              <a:chOff x="4538813" y="3457139"/>
              <a:chExt cx="3544948" cy="313650"/>
            </a:xfrm>
          </p:grpSpPr>
          <p:grpSp>
            <p:nvGrpSpPr>
              <p:cNvPr id="2803" name="Group 2802">
                <a:extLst>
                  <a:ext uri="{FF2B5EF4-FFF2-40B4-BE49-F238E27FC236}">
                    <a16:creationId xmlns:a16="http://schemas.microsoft.com/office/drawing/2014/main" id="{042C71BF-029D-49A1-8571-D8CA13FE0977}"/>
                  </a:ext>
                </a:extLst>
              </p:cNvPr>
              <p:cNvGrpSpPr/>
              <p:nvPr/>
            </p:nvGrpSpPr>
            <p:grpSpPr>
              <a:xfrm>
                <a:off x="4538813" y="3463012"/>
                <a:ext cx="3544948" cy="307777"/>
                <a:chOff x="4538813" y="3463012"/>
                <a:chExt cx="3544948" cy="307777"/>
              </a:xfrm>
            </p:grpSpPr>
            <p:sp>
              <p:nvSpPr>
                <p:cNvPr id="2805" name="Rectangle 2804">
                  <a:extLst>
                    <a:ext uri="{FF2B5EF4-FFF2-40B4-BE49-F238E27FC236}">
                      <a16:creationId xmlns:a16="http://schemas.microsoft.com/office/drawing/2014/main" id="{75C3E363-1F35-489E-BA74-0A779425B25C}"/>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6" name="Rectangle 2805">
                  <a:extLst>
                    <a:ext uri="{FF2B5EF4-FFF2-40B4-BE49-F238E27FC236}">
                      <a16:creationId xmlns:a16="http://schemas.microsoft.com/office/drawing/2014/main" id="{BD535703-7C60-48C0-A6F3-77B1BC346C9F}"/>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7" name="Rectangle 2806">
                  <a:extLst>
                    <a:ext uri="{FF2B5EF4-FFF2-40B4-BE49-F238E27FC236}">
                      <a16:creationId xmlns:a16="http://schemas.microsoft.com/office/drawing/2014/main" id="{47F71A10-A782-443A-8CBD-936E26C964D4}"/>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8" name="Rectangle 2807">
                  <a:extLst>
                    <a:ext uri="{FF2B5EF4-FFF2-40B4-BE49-F238E27FC236}">
                      <a16:creationId xmlns:a16="http://schemas.microsoft.com/office/drawing/2014/main" id="{08AC8244-6710-4675-8737-487150EB8633}"/>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9" name="Rectangle 2808">
                  <a:extLst>
                    <a:ext uri="{FF2B5EF4-FFF2-40B4-BE49-F238E27FC236}">
                      <a16:creationId xmlns:a16="http://schemas.microsoft.com/office/drawing/2014/main" id="{09A7514C-CF6A-4EB5-97F3-2B004132D70A}"/>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0" name="Rectangle 2809">
                  <a:extLst>
                    <a:ext uri="{FF2B5EF4-FFF2-40B4-BE49-F238E27FC236}">
                      <a16:creationId xmlns:a16="http://schemas.microsoft.com/office/drawing/2014/main" id="{D4BE4497-2EE1-4340-9A22-F07D1EEA1094}"/>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1" name="Rectangle 2810">
                  <a:extLst>
                    <a:ext uri="{FF2B5EF4-FFF2-40B4-BE49-F238E27FC236}">
                      <a16:creationId xmlns:a16="http://schemas.microsoft.com/office/drawing/2014/main" id="{AC1A6B11-647E-4E78-9141-5AB1BDC7AC86}"/>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804" name="Rectangle 2803">
                <a:extLst>
                  <a:ext uri="{FF2B5EF4-FFF2-40B4-BE49-F238E27FC236}">
                    <a16:creationId xmlns:a16="http://schemas.microsoft.com/office/drawing/2014/main" id="{84BE1BCD-92F1-4234-892B-3E3E3EB97326}"/>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3" name="Group 2">
            <a:extLst>
              <a:ext uri="{FF2B5EF4-FFF2-40B4-BE49-F238E27FC236}">
                <a16:creationId xmlns:a16="http://schemas.microsoft.com/office/drawing/2014/main" id="{F68ED92F-55F2-4796-B592-F951746241DD}"/>
              </a:ext>
            </a:extLst>
          </p:cNvPr>
          <p:cNvGrpSpPr/>
          <p:nvPr/>
        </p:nvGrpSpPr>
        <p:grpSpPr>
          <a:xfrm>
            <a:off x="1944832" y="1841990"/>
            <a:ext cx="1530261" cy="1365012"/>
            <a:chOff x="1943749" y="1841576"/>
            <a:chExt cx="1530660" cy="1365368"/>
          </a:xfrm>
        </p:grpSpPr>
        <p:grpSp>
          <p:nvGrpSpPr>
            <p:cNvPr id="2" name="Group 1">
              <a:extLst>
                <a:ext uri="{FF2B5EF4-FFF2-40B4-BE49-F238E27FC236}">
                  <a16:creationId xmlns:a16="http://schemas.microsoft.com/office/drawing/2014/main" id="{810E02F5-E91A-4A84-B614-26F7833E4F9E}"/>
                </a:ext>
              </a:extLst>
            </p:cNvPr>
            <p:cNvGrpSpPr/>
            <p:nvPr/>
          </p:nvGrpSpPr>
          <p:grpSpPr>
            <a:xfrm>
              <a:off x="1943749" y="2407608"/>
              <a:ext cx="1530660" cy="799336"/>
              <a:chOff x="1943749" y="2407608"/>
              <a:chExt cx="1530660" cy="799336"/>
            </a:xfrm>
          </p:grpSpPr>
          <p:cxnSp>
            <p:nvCxnSpPr>
              <p:cNvPr id="2812" name="Elbow Connector 558">
                <a:extLst>
                  <a:ext uri="{FF2B5EF4-FFF2-40B4-BE49-F238E27FC236}">
                    <a16:creationId xmlns:a16="http://schemas.microsoft.com/office/drawing/2014/main" id="{1935F575-87DC-442A-9CCD-6F852C78EB34}"/>
                  </a:ext>
                </a:extLst>
              </p:cNvPr>
              <p:cNvCxnSpPr>
                <a:cxnSpLocks/>
                <a:endCxn id="2814"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813" name="Elbow Connector 558">
                <a:extLst>
                  <a:ext uri="{FF2B5EF4-FFF2-40B4-BE49-F238E27FC236}">
                    <a16:creationId xmlns:a16="http://schemas.microsoft.com/office/drawing/2014/main" id="{37DBABF8-A9A5-45DD-953F-1B5BE29639BD}"/>
                  </a:ext>
                </a:extLst>
              </p:cNvPr>
              <p:cNvCxnSpPr>
                <a:cxnSpLocks/>
                <a:stCxn id="2814" idx="3"/>
                <a:endCxn id="2105" idx="1"/>
              </p:cNvCxnSpPr>
              <p:nvPr/>
            </p:nvCxnSpPr>
            <p:spPr>
              <a:xfrm flipV="1">
                <a:off x="2543277" y="2407608"/>
                <a:ext cx="931132" cy="374067"/>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814" name="Picture 2813">
                <a:extLst>
                  <a:ext uri="{FF2B5EF4-FFF2-40B4-BE49-F238E27FC236}">
                    <a16:creationId xmlns:a16="http://schemas.microsoft.com/office/drawing/2014/main" id="{B4B3FA98-B76F-474E-9F2A-47EBAD2A5D2E}"/>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815" name="Picture 2814">
              <a:extLst>
                <a:ext uri="{FF2B5EF4-FFF2-40B4-BE49-F238E27FC236}">
                  <a16:creationId xmlns:a16="http://schemas.microsoft.com/office/drawing/2014/main" id="{4A96C1DF-0971-4663-9F6A-90244601521F}"/>
                </a:ext>
              </a:extLst>
            </p:cNvPr>
            <p:cNvPicPr>
              <a:picLocks noChangeAspect="1"/>
            </p:cNvPicPr>
            <p:nvPr/>
          </p:nvPicPr>
          <p:blipFill>
            <a:blip r:embed="rId7"/>
            <a:stretch>
              <a:fillRect/>
            </a:stretch>
          </p:blipFill>
          <p:spPr>
            <a:xfrm>
              <a:off x="2231599" y="1841576"/>
              <a:ext cx="302738" cy="580832"/>
            </a:xfrm>
            <a:prstGeom prst="rect">
              <a:avLst/>
            </a:prstGeom>
          </p:spPr>
        </p:pic>
      </p:grpSp>
      <p:pic>
        <p:nvPicPr>
          <p:cNvPr id="2819" name="Picture 2818">
            <a:extLst>
              <a:ext uri="{FF2B5EF4-FFF2-40B4-BE49-F238E27FC236}">
                <a16:creationId xmlns:a16="http://schemas.microsoft.com/office/drawing/2014/main" id="{6544E938-61F0-46D9-A75C-4BF3D3484FA3}"/>
              </a:ext>
            </a:extLst>
          </p:cNvPr>
          <p:cNvPicPr>
            <a:picLocks noChangeAspect="1"/>
          </p:cNvPicPr>
          <p:nvPr/>
        </p:nvPicPr>
        <p:blipFill>
          <a:blip r:embed="rId8"/>
          <a:stretch>
            <a:fillRect/>
          </a:stretch>
        </p:blipFill>
        <p:spPr>
          <a:xfrm rot="19800000">
            <a:off x="421100" y="4657564"/>
            <a:ext cx="884802" cy="447298"/>
          </a:xfrm>
          <a:prstGeom prst="rect">
            <a:avLst/>
          </a:prstGeom>
        </p:spPr>
      </p:pic>
      <p:graphicFrame>
        <p:nvGraphicFramePr>
          <p:cNvPr id="2820" name="Table 2819">
            <a:extLst>
              <a:ext uri="{FF2B5EF4-FFF2-40B4-BE49-F238E27FC236}">
                <a16:creationId xmlns:a16="http://schemas.microsoft.com/office/drawing/2014/main" id="{89A8A12C-D536-4549-8896-ACAF02458597}"/>
              </a:ext>
            </a:extLst>
          </p:cNvPr>
          <p:cNvGraphicFramePr>
            <a:graphicFrameLocks noGrp="1"/>
          </p:cNvGraphicFramePr>
          <p:nvPr>
            <p:extLst>
              <p:ext uri="{D42A27DB-BD31-4B8C-83A1-F6EECF244321}">
                <p14:modId xmlns:p14="http://schemas.microsoft.com/office/powerpoint/2010/main" val="3326521741"/>
              </p:ext>
            </p:extLst>
          </p:nvPr>
        </p:nvGraphicFramePr>
        <p:xfrm>
          <a:off x="723088" y="3207003"/>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821" name="Group 2820">
            <a:extLst>
              <a:ext uri="{FF2B5EF4-FFF2-40B4-BE49-F238E27FC236}">
                <a16:creationId xmlns:a16="http://schemas.microsoft.com/office/drawing/2014/main" id="{1A72D80C-EC97-4590-90E5-A0435476FCFE}"/>
              </a:ext>
            </a:extLst>
          </p:cNvPr>
          <p:cNvGrpSpPr/>
          <p:nvPr/>
        </p:nvGrpSpPr>
        <p:grpSpPr>
          <a:xfrm>
            <a:off x="766965" y="3483750"/>
            <a:ext cx="381241" cy="766727"/>
            <a:chOff x="765576" y="3316088"/>
            <a:chExt cx="381340" cy="766927"/>
          </a:xfrm>
        </p:grpSpPr>
        <p:pic>
          <p:nvPicPr>
            <p:cNvPr id="2822" name="Picture 2821">
              <a:extLst>
                <a:ext uri="{FF2B5EF4-FFF2-40B4-BE49-F238E27FC236}">
                  <a16:creationId xmlns:a16="http://schemas.microsoft.com/office/drawing/2014/main" id="{FE11C917-2E55-4F7D-A2A1-2EFAB11CDE0C}"/>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823" name="Picture 2822">
              <a:extLst>
                <a:ext uri="{FF2B5EF4-FFF2-40B4-BE49-F238E27FC236}">
                  <a16:creationId xmlns:a16="http://schemas.microsoft.com/office/drawing/2014/main" id="{17224878-9330-48F3-B403-329D12D003CF}"/>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824" name="Picture 2823">
              <a:extLst>
                <a:ext uri="{FF2B5EF4-FFF2-40B4-BE49-F238E27FC236}">
                  <a16:creationId xmlns:a16="http://schemas.microsoft.com/office/drawing/2014/main" id="{852FF2A2-2767-4AFF-951E-8472461D8D9B}"/>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825" name="Rectangle 2824">
            <a:extLst>
              <a:ext uri="{FF2B5EF4-FFF2-40B4-BE49-F238E27FC236}">
                <a16:creationId xmlns:a16="http://schemas.microsoft.com/office/drawing/2014/main" id="{5224E924-2468-41ED-95B1-F5004958C1BE}"/>
              </a:ext>
            </a:extLst>
          </p:cNvPr>
          <p:cNvSpPr>
            <a:spLocks/>
          </p:cNvSpPr>
          <p:nvPr/>
        </p:nvSpPr>
        <p:spPr bwMode="gray">
          <a:xfrm>
            <a:off x="392096" y="1689529"/>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5" name="Group 4">
            <a:extLst>
              <a:ext uri="{FF2B5EF4-FFF2-40B4-BE49-F238E27FC236}">
                <a16:creationId xmlns:a16="http://schemas.microsoft.com/office/drawing/2014/main" id="{5EEE3459-2DC7-42CE-BC3F-E8DC87CB15E6}"/>
              </a:ext>
            </a:extLst>
          </p:cNvPr>
          <p:cNvGrpSpPr/>
          <p:nvPr/>
        </p:nvGrpSpPr>
        <p:grpSpPr>
          <a:xfrm>
            <a:off x="3475092" y="1754090"/>
            <a:ext cx="3106888" cy="2174645"/>
            <a:chOff x="3474409" y="1753652"/>
            <a:chExt cx="3107697" cy="2175211"/>
          </a:xfrm>
        </p:grpSpPr>
        <p:sp>
          <p:nvSpPr>
            <p:cNvPr id="2191" name="Rectangle 2190">
              <a:extLst>
                <a:ext uri="{FF2B5EF4-FFF2-40B4-BE49-F238E27FC236}">
                  <a16:creationId xmlns:a16="http://schemas.microsoft.com/office/drawing/2014/main" id="{89D1F8BB-2ACD-46A8-BABB-497E2F300D91}"/>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4" name="Group 3">
              <a:extLst>
                <a:ext uri="{FF2B5EF4-FFF2-40B4-BE49-F238E27FC236}">
                  <a16:creationId xmlns:a16="http://schemas.microsoft.com/office/drawing/2014/main" id="{D07FDF92-4F18-4D73-938A-6E4D44CEEA44}"/>
                </a:ext>
              </a:extLst>
            </p:cNvPr>
            <p:cNvGrpSpPr/>
            <p:nvPr/>
          </p:nvGrpSpPr>
          <p:grpSpPr>
            <a:xfrm>
              <a:off x="3474409" y="1753652"/>
              <a:ext cx="3107697" cy="1338890"/>
              <a:chOff x="3474409" y="1753652"/>
              <a:chExt cx="3107697" cy="1338890"/>
            </a:xfrm>
          </p:grpSpPr>
          <p:sp>
            <p:nvSpPr>
              <p:cNvPr id="2105" name="Rectangle 2104">
                <a:extLst>
                  <a:ext uri="{FF2B5EF4-FFF2-40B4-BE49-F238E27FC236}">
                    <a16:creationId xmlns:a16="http://schemas.microsoft.com/office/drawing/2014/main" id="{44E516F3-313F-4914-B318-9AB1CD619BCC}"/>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106" name="Group 2105">
                <a:extLst>
                  <a:ext uri="{FF2B5EF4-FFF2-40B4-BE49-F238E27FC236}">
                    <a16:creationId xmlns:a16="http://schemas.microsoft.com/office/drawing/2014/main" id="{5AF1A57A-6041-40E5-95D8-3110D4631C73}"/>
                  </a:ext>
                </a:extLst>
              </p:cNvPr>
              <p:cNvGrpSpPr/>
              <p:nvPr/>
            </p:nvGrpSpPr>
            <p:grpSpPr>
              <a:xfrm>
                <a:off x="3504077" y="2398698"/>
                <a:ext cx="1559613" cy="693844"/>
                <a:chOff x="3512580" y="2236718"/>
                <a:chExt cx="1563594" cy="695615"/>
              </a:xfrm>
            </p:grpSpPr>
            <p:grpSp>
              <p:nvGrpSpPr>
                <p:cNvPr id="2107" name="Group 2106">
                  <a:extLst>
                    <a:ext uri="{FF2B5EF4-FFF2-40B4-BE49-F238E27FC236}">
                      <a16:creationId xmlns:a16="http://schemas.microsoft.com/office/drawing/2014/main" id="{3FAA8F21-0B40-4BFE-ABF3-D6F66711CD94}"/>
                    </a:ext>
                  </a:extLst>
                </p:cNvPr>
                <p:cNvGrpSpPr>
                  <a:grpSpLocks/>
                </p:cNvGrpSpPr>
                <p:nvPr/>
              </p:nvGrpSpPr>
              <p:grpSpPr>
                <a:xfrm>
                  <a:off x="3512580" y="2240647"/>
                  <a:ext cx="418017" cy="418017"/>
                  <a:chOff x="745985" y="4768134"/>
                  <a:chExt cx="368776" cy="368777"/>
                </a:xfrm>
              </p:grpSpPr>
              <p:grpSp>
                <p:nvGrpSpPr>
                  <p:cNvPr id="2171" name="Group 64">
                    <a:extLst>
                      <a:ext uri="{FF2B5EF4-FFF2-40B4-BE49-F238E27FC236}">
                        <a16:creationId xmlns:a16="http://schemas.microsoft.com/office/drawing/2014/main" id="{38EC354A-5F5B-414D-9BE2-F680719CDB0D}"/>
                      </a:ext>
                    </a:extLst>
                  </p:cNvPr>
                  <p:cNvGrpSpPr>
                    <a:grpSpLocks noChangeAspect="1"/>
                  </p:cNvGrpSpPr>
                  <p:nvPr/>
                </p:nvGrpSpPr>
                <p:grpSpPr bwMode="auto">
                  <a:xfrm rot="8100000">
                    <a:off x="745985" y="4768134"/>
                    <a:ext cx="368776" cy="368777"/>
                    <a:chOff x="701" y="2170"/>
                    <a:chExt cx="587" cy="587"/>
                  </a:xfrm>
                </p:grpSpPr>
                <p:sp>
                  <p:nvSpPr>
                    <p:cNvPr id="2182" name="Oval 65">
                      <a:extLst>
                        <a:ext uri="{FF2B5EF4-FFF2-40B4-BE49-F238E27FC236}">
                          <a16:creationId xmlns:a16="http://schemas.microsoft.com/office/drawing/2014/main" id="{E48D45F4-2D4B-4F31-90D7-988033BE94A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3" name="Line 66">
                      <a:extLst>
                        <a:ext uri="{FF2B5EF4-FFF2-40B4-BE49-F238E27FC236}">
                          <a16:creationId xmlns:a16="http://schemas.microsoft.com/office/drawing/2014/main" id="{17980589-1B20-462C-9FD7-541129E1D23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7">
                      <a:extLst>
                        <a:ext uri="{FF2B5EF4-FFF2-40B4-BE49-F238E27FC236}">
                          <a16:creationId xmlns:a16="http://schemas.microsoft.com/office/drawing/2014/main" id="{08F6E583-99D8-4EFD-917A-22B56D6A3AF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69">
                      <a:extLst>
                        <a:ext uri="{FF2B5EF4-FFF2-40B4-BE49-F238E27FC236}">
                          <a16:creationId xmlns:a16="http://schemas.microsoft.com/office/drawing/2014/main" id="{F84751FB-D875-443B-B9F1-00A506F2C9B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Line 74">
                      <a:extLst>
                        <a:ext uri="{FF2B5EF4-FFF2-40B4-BE49-F238E27FC236}">
                          <a16:creationId xmlns:a16="http://schemas.microsoft.com/office/drawing/2014/main" id="{8980D920-70AF-4C24-A8A5-A29A9D314CB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78">
                      <a:extLst>
                        <a:ext uri="{FF2B5EF4-FFF2-40B4-BE49-F238E27FC236}">
                          <a16:creationId xmlns:a16="http://schemas.microsoft.com/office/drawing/2014/main" id="{7278A439-704A-41CA-80D3-8832931F3B3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8" name="Freeform 80">
                      <a:extLst>
                        <a:ext uri="{FF2B5EF4-FFF2-40B4-BE49-F238E27FC236}">
                          <a16:creationId xmlns:a16="http://schemas.microsoft.com/office/drawing/2014/main" id="{4407C87D-B2E5-428A-B68F-9BEE53F202D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72" name="Group 2171">
                    <a:extLst>
                      <a:ext uri="{FF2B5EF4-FFF2-40B4-BE49-F238E27FC236}">
                        <a16:creationId xmlns:a16="http://schemas.microsoft.com/office/drawing/2014/main" id="{AF84420C-E4A9-4F8C-9324-06623783D1A5}"/>
                      </a:ext>
                    </a:extLst>
                  </p:cNvPr>
                  <p:cNvGrpSpPr/>
                  <p:nvPr/>
                </p:nvGrpSpPr>
                <p:grpSpPr>
                  <a:xfrm>
                    <a:off x="837312" y="4814434"/>
                    <a:ext cx="136805" cy="278689"/>
                    <a:chOff x="2806700" y="2803319"/>
                    <a:chExt cx="433387" cy="882861"/>
                  </a:xfrm>
                </p:grpSpPr>
                <p:grpSp>
                  <p:nvGrpSpPr>
                    <p:cNvPr id="2173" name="Group 2172">
                      <a:extLst>
                        <a:ext uri="{FF2B5EF4-FFF2-40B4-BE49-F238E27FC236}">
                          <a16:creationId xmlns:a16="http://schemas.microsoft.com/office/drawing/2014/main" id="{A5E697F8-92AC-4BD0-9129-C67AF64A3869}"/>
                        </a:ext>
                      </a:extLst>
                    </p:cNvPr>
                    <p:cNvGrpSpPr>
                      <a:grpSpLocks noChangeAspect="1"/>
                    </p:cNvGrpSpPr>
                    <p:nvPr/>
                  </p:nvGrpSpPr>
                  <p:grpSpPr bwMode="auto">
                    <a:xfrm>
                      <a:off x="2806700" y="3043242"/>
                      <a:ext cx="433387" cy="642938"/>
                      <a:chOff x="1768" y="1917"/>
                      <a:chExt cx="273" cy="405"/>
                    </a:xfrm>
                  </p:grpSpPr>
                  <p:sp>
                    <p:nvSpPr>
                      <p:cNvPr id="2175" name="Freeform 52">
                        <a:extLst>
                          <a:ext uri="{FF2B5EF4-FFF2-40B4-BE49-F238E27FC236}">
                            <a16:creationId xmlns:a16="http://schemas.microsoft.com/office/drawing/2014/main" id="{C449D0F1-569C-42BE-B5E1-518BB0764D5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Line 54">
                        <a:extLst>
                          <a:ext uri="{FF2B5EF4-FFF2-40B4-BE49-F238E27FC236}">
                            <a16:creationId xmlns:a16="http://schemas.microsoft.com/office/drawing/2014/main" id="{4D088C09-DDB8-43AA-952A-CA9724EC801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7" name="Line 55">
                        <a:extLst>
                          <a:ext uri="{FF2B5EF4-FFF2-40B4-BE49-F238E27FC236}">
                            <a16:creationId xmlns:a16="http://schemas.microsoft.com/office/drawing/2014/main" id="{A7A5D080-91B1-406C-B744-3E56686F247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8" name="Freeform 56">
                        <a:extLst>
                          <a:ext uri="{FF2B5EF4-FFF2-40B4-BE49-F238E27FC236}">
                            <a16:creationId xmlns:a16="http://schemas.microsoft.com/office/drawing/2014/main" id="{2D15C026-04EE-4121-9FF3-3195568DE13D}"/>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9" name="Line 57">
                        <a:extLst>
                          <a:ext uri="{FF2B5EF4-FFF2-40B4-BE49-F238E27FC236}">
                            <a16:creationId xmlns:a16="http://schemas.microsoft.com/office/drawing/2014/main" id="{225C9A12-C9E9-43F5-B14C-4A90A9ECFC3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Freeform 58">
                        <a:extLst>
                          <a:ext uri="{FF2B5EF4-FFF2-40B4-BE49-F238E27FC236}">
                            <a16:creationId xmlns:a16="http://schemas.microsoft.com/office/drawing/2014/main" id="{4EDD10A5-C468-4686-802A-FAF24DE2F2A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1" name="Rectangle 2180">
                        <a:extLst>
                          <a:ext uri="{FF2B5EF4-FFF2-40B4-BE49-F238E27FC236}">
                            <a16:creationId xmlns:a16="http://schemas.microsoft.com/office/drawing/2014/main" id="{5606A2F7-2BC4-41E7-A55B-553E73182730}"/>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174" name="Oval 2173">
                      <a:extLst>
                        <a:ext uri="{FF2B5EF4-FFF2-40B4-BE49-F238E27FC236}">
                          <a16:creationId xmlns:a16="http://schemas.microsoft.com/office/drawing/2014/main" id="{09ACAF1E-A7C8-4DB3-BBC4-2010ACA3D51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08" name="Group 2107">
                  <a:extLst>
                    <a:ext uri="{FF2B5EF4-FFF2-40B4-BE49-F238E27FC236}">
                      <a16:creationId xmlns:a16="http://schemas.microsoft.com/office/drawing/2014/main" id="{792DAFCB-C935-451B-B203-1C3F9D9170FF}"/>
                    </a:ext>
                  </a:extLst>
                </p:cNvPr>
                <p:cNvGrpSpPr>
                  <a:grpSpLocks/>
                </p:cNvGrpSpPr>
                <p:nvPr/>
              </p:nvGrpSpPr>
              <p:grpSpPr>
                <a:xfrm>
                  <a:off x="3989965" y="2395465"/>
                  <a:ext cx="536865" cy="536868"/>
                  <a:chOff x="1454941" y="4721722"/>
                  <a:chExt cx="473625" cy="473627"/>
                </a:xfrm>
              </p:grpSpPr>
              <p:grpSp>
                <p:nvGrpSpPr>
                  <p:cNvPr id="2132" name="Group 64">
                    <a:extLst>
                      <a:ext uri="{FF2B5EF4-FFF2-40B4-BE49-F238E27FC236}">
                        <a16:creationId xmlns:a16="http://schemas.microsoft.com/office/drawing/2014/main" id="{95FC00C3-E804-45A7-A377-AD11BF922982}"/>
                      </a:ext>
                    </a:extLst>
                  </p:cNvPr>
                  <p:cNvGrpSpPr>
                    <a:grpSpLocks noChangeAspect="1"/>
                  </p:cNvGrpSpPr>
                  <p:nvPr/>
                </p:nvGrpSpPr>
                <p:grpSpPr bwMode="auto">
                  <a:xfrm rot="8100000">
                    <a:off x="1454941" y="4721722"/>
                    <a:ext cx="473625" cy="473627"/>
                    <a:chOff x="701" y="2170"/>
                    <a:chExt cx="587" cy="587"/>
                  </a:xfrm>
                </p:grpSpPr>
                <p:sp>
                  <p:nvSpPr>
                    <p:cNvPr id="2164" name="Oval 65">
                      <a:extLst>
                        <a:ext uri="{FF2B5EF4-FFF2-40B4-BE49-F238E27FC236}">
                          <a16:creationId xmlns:a16="http://schemas.microsoft.com/office/drawing/2014/main" id="{EACF8D5C-608F-48E7-B074-B183F86E0A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5" name="Line 66">
                      <a:extLst>
                        <a:ext uri="{FF2B5EF4-FFF2-40B4-BE49-F238E27FC236}">
                          <a16:creationId xmlns:a16="http://schemas.microsoft.com/office/drawing/2014/main" id="{1F6A04EB-1B9D-4A53-BB4E-BE0BBD531D9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6" name="Line 67">
                      <a:extLst>
                        <a:ext uri="{FF2B5EF4-FFF2-40B4-BE49-F238E27FC236}">
                          <a16:creationId xmlns:a16="http://schemas.microsoft.com/office/drawing/2014/main" id="{7EBB1F3F-FBFC-44BA-B0D6-3EE0FD2D410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7" name="Line 69">
                      <a:extLst>
                        <a:ext uri="{FF2B5EF4-FFF2-40B4-BE49-F238E27FC236}">
                          <a16:creationId xmlns:a16="http://schemas.microsoft.com/office/drawing/2014/main" id="{F20ADE09-C140-4F3C-AE4C-A9786262BDD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8" name="Line 74">
                      <a:extLst>
                        <a:ext uri="{FF2B5EF4-FFF2-40B4-BE49-F238E27FC236}">
                          <a16:creationId xmlns:a16="http://schemas.microsoft.com/office/drawing/2014/main" id="{CE1C09F1-0967-4544-8899-A5768B0B4F2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78">
                      <a:extLst>
                        <a:ext uri="{FF2B5EF4-FFF2-40B4-BE49-F238E27FC236}">
                          <a16:creationId xmlns:a16="http://schemas.microsoft.com/office/drawing/2014/main" id="{56EB5BCF-13D1-4C3D-BE9D-3872A5AE096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80">
                      <a:extLst>
                        <a:ext uri="{FF2B5EF4-FFF2-40B4-BE49-F238E27FC236}">
                          <a16:creationId xmlns:a16="http://schemas.microsoft.com/office/drawing/2014/main" id="{7CCAB085-C2B9-460B-BA69-B4D5776216D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33" name="Group 2132">
                    <a:extLst>
                      <a:ext uri="{FF2B5EF4-FFF2-40B4-BE49-F238E27FC236}">
                        <a16:creationId xmlns:a16="http://schemas.microsoft.com/office/drawing/2014/main" id="{2D4DB5BA-3D87-4D38-81F4-383C4020368B}"/>
                      </a:ext>
                    </a:extLst>
                  </p:cNvPr>
                  <p:cNvGrpSpPr/>
                  <p:nvPr/>
                </p:nvGrpSpPr>
                <p:grpSpPr>
                  <a:xfrm>
                    <a:off x="1511214" y="4789508"/>
                    <a:ext cx="356509" cy="349884"/>
                    <a:chOff x="468738" y="2241878"/>
                    <a:chExt cx="1655483" cy="1624719"/>
                  </a:xfrm>
                </p:grpSpPr>
                <p:sp>
                  <p:nvSpPr>
                    <p:cNvPr id="2134" name="Freeform 5">
                      <a:extLst>
                        <a:ext uri="{FF2B5EF4-FFF2-40B4-BE49-F238E27FC236}">
                          <a16:creationId xmlns:a16="http://schemas.microsoft.com/office/drawing/2014/main" id="{AD3029D4-64CC-47C2-B1C4-D8ED8754387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6">
                      <a:extLst>
                        <a:ext uri="{FF2B5EF4-FFF2-40B4-BE49-F238E27FC236}">
                          <a16:creationId xmlns:a16="http://schemas.microsoft.com/office/drawing/2014/main" id="{B5BFE621-131C-4D52-9439-80C4EC959B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Line 7">
                      <a:extLst>
                        <a:ext uri="{FF2B5EF4-FFF2-40B4-BE49-F238E27FC236}">
                          <a16:creationId xmlns:a16="http://schemas.microsoft.com/office/drawing/2014/main" id="{BB28B918-CD33-43C8-879C-64C3265172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8">
                      <a:extLst>
                        <a:ext uri="{FF2B5EF4-FFF2-40B4-BE49-F238E27FC236}">
                          <a16:creationId xmlns:a16="http://schemas.microsoft.com/office/drawing/2014/main" id="{B2F90028-D1CD-4003-860F-9380A5C2844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8" name="Line 9">
                      <a:extLst>
                        <a:ext uri="{FF2B5EF4-FFF2-40B4-BE49-F238E27FC236}">
                          <a16:creationId xmlns:a16="http://schemas.microsoft.com/office/drawing/2014/main" id="{D7D524DB-5ED9-4BEC-BD8E-345DBDE0EA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39" name="Group 2138">
                      <a:extLst>
                        <a:ext uri="{FF2B5EF4-FFF2-40B4-BE49-F238E27FC236}">
                          <a16:creationId xmlns:a16="http://schemas.microsoft.com/office/drawing/2014/main" id="{22510D73-D663-4E1A-9845-701E923B6979}"/>
                        </a:ext>
                      </a:extLst>
                    </p:cNvPr>
                    <p:cNvGrpSpPr/>
                    <p:nvPr/>
                  </p:nvGrpSpPr>
                  <p:grpSpPr>
                    <a:xfrm>
                      <a:off x="1207113" y="2241878"/>
                      <a:ext cx="178734" cy="348678"/>
                      <a:chOff x="1207113" y="2241878"/>
                      <a:chExt cx="178734" cy="348678"/>
                    </a:xfrm>
                  </p:grpSpPr>
                  <p:sp>
                    <p:nvSpPr>
                      <p:cNvPr id="2162" name="Freeform 10">
                        <a:extLst>
                          <a:ext uri="{FF2B5EF4-FFF2-40B4-BE49-F238E27FC236}">
                            <a16:creationId xmlns:a16="http://schemas.microsoft.com/office/drawing/2014/main" id="{6EFEEAC3-1634-423B-A959-6E7830384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3" name="Line 11">
                        <a:extLst>
                          <a:ext uri="{FF2B5EF4-FFF2-40B4-BE49-F238E27FC236}">
                            <a16:creationId xmlns:a16="http://schemas.microsoft.com/office/drawing/2014/main" id="{8F45FDBF-0115-45E1-9B55-D71F0010094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40" name="Freeform 12">
                      <a:extLst>
                        <a:ext uri="{FF2B5EF4-FFF2-40B4-BE49-F238E27FC236}">
                          <a16:creationId xmlns:a16="http://schemas.microsoft.com/office/drawing/2014/main" id="{3C495552-3098-4661-BDFD-B955DD6BCB1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13">
                      <a:extLst>
                        <a:ext uri="{FF2B5EF4-FFF2-40B4-BE49-F238E27FC236}">
                          <a16:creationId xmlns:a16="http://schemas.microsoft.com/office/drawing/2014/main" id="{ECD214C7-EACD-4229-9560-F610FE81A74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14">
                      <a:extLst>
                        <a:ext uri="{FF2B5EF4-FFF2-40B4-BE49-F238E27FC236}">
                          <a16:creationId xmlns:a16="http://schemas.microsoft.com/office/drawing/2014/main" id="{B4CDA5FF-6B69-415F-ADAB-F765E69E2C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Line 15">
                      <a:extLst>
                        <a:ext uri="{FF2B5EF4-FFF2-40B4-BE49-F238E27FC236}">
                          <a16:creationId xmlns:a16="http://schemas.microsoft.com/office/drawing/2014/main" id="{05E8653C-22F0-4581-A223-FEED3790531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16">
                      <a:extLst>
                        <a:ext uri="{FF2B5EF4-FFF2-40B4-BE49-F238E27FC236}">
                          <a16:creationId xmlns:a16="http://schemas.microsoft.com/office/drawing/2014/main" id="{80E39A21-A447-4749-943A-F7C93F46E12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5" name="Line 17">
                      <a:extLst>
                        <a:ext uri="{FF2B5EF4-FFF2-40B4-BE49-F238E27FC236}">
                          <a16:creationId xmlns:a16="http://schemas.microsoft.com/office/drawing/2014/main" id="{83312F89-1163-44C1-AE9E-FC31ABFC0208}"/>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6" name="Freeform 18">
                      <a:extLst>
                        <a:ext uri="{FF2B5EF4-FFF2-40B4-BE49-F238E27FC236}">
                          <a16:creationId xmlns:a16="http://schemas.microsoft.com/office/drawing/2014/main" id="{2F1608BA-2BDB-4E5F-AB8F-D06BB95AEB6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9">
                      <a:extLst>
                        <a:ext uri="{FF2B5EF4-FFF2-40B4-BE49-F238E27FC236}">
                          <a16:creationId xmlns:a16="http://schemas.microsoft.com/office/drawing/2014/main" id="{1CF28B91-606F-47BB-8755-7C9F19B86E1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8" name="Freeform 35">
                      <a:extLst>
                        <a:ext uri="{FF2B5EF4-FFF2-40B4-BE49-F238E27FC236}">
                          <a16:creationId xmlns:a16="http://schemas.microsoft.com/office/drawing/2014/main" id="{0D9FC22C-6B97-4EA5-A232-FBADFB8B1072}"/>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9" name="Freeform 36">
                      <a:extLst>
                        <a:ext uri="{FF2B5EF4-FFF2-40B4-BE49-F238E27FC236}">
                          <a16:creationId xmlns:a16="http://schemas.microsoft.com/office/drawing/2014/main" id="{2280C96F-7F21-4E0E-8D7B-080AE874B62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0" name="Freeform 37">
                      <a:extLst>
                        <a:ext uri="{FF2B5EF4-FFF2-40B4-BE49-F238E27FC236}">
                          <a16:creationId xmlns:a16="http://schemas.microsoft.com/office/drawing/2014/main" id="{208BDDF9-9F22-4BE0-B5C5-C73D78961BE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1" name="Freeform 38">
                      <a:extLst>
                        <a:ext uri="{FF2B5EF4-FFF2-40B4-BE49-F238E27FC236}">
                          <a16:creationId xmlns:a16="http://schemas.microsoft.com/office/drawing/2014/main" id="{8F240DD0-ACA1-4935-8CAD-EBB363D9A10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2" name="Freeform 39">
                      <a:extLst>
                        <a:ext uri="{FF2B5EF4-FFF2-40B4-BE49-F238E27FC236}">
                          <a16:creationId xmlns:a16="http://schemas.microsoft.com/office/drawing/2014/main" id="{431E5ABE-687E-4F2C-A695-BA8B469E494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3" name="Freeform 40">
                      <a:extLst>
                        <a:ext uri="{FF2B5EF4-FFF2-40B4-BE49-F238E27FC236}">
                          <a16:creationId xmlns:a16="http://schemas.microsoft.com/office/drawing/2014/main" id="{C770EBE2-7126-4073-9654-A1DCC6FD2EE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4" name="Freeform 41">
                      <a:extLst>
                        <a:ext uri="{FF2B5EF4-FFF2-40B4-BE49-F238E27FC236}">
                          <a16:creationId xmlns:a16="http://schemas.microsoft.com/office/drawing/2014/main" id="{ECE5DD8B-DAF3-41D3-B6B2-8B48854F1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Line 42">
                      <a:extLst>
                        <a:ext uri="{FF2B5EF4-FFF2-40B4-BE49-F238E27FC236}">
                          <a16:creationId xmlns:a16="http://schemas.microsoft.com/office/drawing/2014/main" id="{D85E7B62-8E0C-40C5-B75A-8D5B4D07F08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43">
                      <a:extLst>
                        <a:ext uri="{FF2B5EF4-FFF2-40B4-BE49-F238E27FC236}">
                          <a16:creationId xmlns:a16="http://schemas.microsoft.com/office/drawing/2014/main" id="{F750F8AA-167B-49D8-8200-E25925C7C5A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7" name="Freeform 44">
                      <a:extLst>
                        <a:ext uri="{FF2B5EF4-FFF2-40B4-BE49-F238E27FC236}">
                          <a16:creationId xmlns:a16="http://schemas.microsoft.com/office/drawing/2014/main" id="{26A05AF0-E552-4E8A-8650-8F2D50EB62BE}"/>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8" name="Freeform 45">
                      <a:extLst>
                        <a:ext uri="{FF2B5EF4-FFF2-40B4-BE49-F238E27FC236}">
                          <a16:creationId xmlns:a16="http://schemas.microsoft.com/office/drawing/2014/main" id="{90A305AF-DC97-4D53-A390-B839E25094CC}"/>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59" name="Group 2158">
                      <a:extLst>
                        <a:ext uri="{FF2B5EF4-FFF2-40B4-BE49-F238E27FC236}">
                          <a16:creationId xmlns:a16="http://schemas.microsoft.com/office/drawing/2014/main" id="{16EBB8D7-590F-405B-AC14-9407C90A88BE}"/>
                        </a:ext>
                      </a:extLst>
                    </p:cNvPr>
                    <p:cNvGrpSpPr/>
                    <p:nvPr/>
                  </p:nvGrpSpPr>
                  <p:grpSpPr>
                    <a:xfrm flipV="1">
                      <a:off x="1202047" y="3517919"/>
                      <a:ext cx="178734" cy="348678"/>
                      <a:chOff x="1207113" y="2241878"/>
                      <a:chExt cx="178734" cy="348678"/>
                    </a:xfrm>
                  </p:grpSpPr>
                  <p:sp>
                    <p:nvSpPr>
                      <p:cNvPr id="2160" name="Freeform 10">
                        <a:extLst>
                          <a:ext uri="{FF2B5EF4-FFF2-40B4-BE49-F238E27FC236}">
                            <a16:creationId xmlns:a16="http://schemas.microsoft.com/office/drawing/2014/main" id="{0260155B-1A8C-4AC0-B5E4-EA605B4CCA8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1" name="Line 11">
                        <a:extLst>
                          <a:ext uri="{FF2B5EF4-FFF2-40B4-BE49-F238E27FC236}">
                            <a16:creationId xmlns:a16="http://schemas.microsoft.com/office/drawing/2014/main" id="{FD8CD03B-2BD9-44F1-9372-51F29A34087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09" name="Group 2108">
                  <a:extLst>
                    <a:ext uri="{FF2B5EF4-FFF2-40B4-BE49-F238E27FC236}">
                      <a16:creationId xmlns:a16="http://schemas.microsoft.com/office/drawing/2014/main" id="{F743C01D-A412-4502-B453-0E322E740488}"/>
                    </a:ext>
                  </a:extLst>
                </p:cNvPr>
                <p:cNvGrpSpPr>
                  <a:grpSpLocks/>
                </p:cNvGrpSpPr>
                <p:nvPr/>
              </p:nvGrpSpPr>
              <p:grpSpPr>
                <a:xfrm>
                  <a:off x="4605070" y="2236718"/>
                  <a:ext cx="471104" cy="471107"/>
                  <a:chOff x="2268747" y="4723725"/>
                  <a:chExt cx="415610" cy="415612"/>
                </a:xfrm>
              </p:grpSpPr>
              <p:grpSp>
                <p:nvGrpSpPr>
                  <p:cNvPr id="2110" name="Group 64">
                    <a:extLst>
                      <a:ext uri="{FF2B5EF4-FFF2-40B4-BE49-F238E27FC236}">
                        <a16:creationId xmlns:a16="http://schemas.microsoft.com/office/drawing/2014/main" id="{3ED6BA51-88C4-475D-8CAE-3A4E1CE80C92}"/>
                      </a:ext>
                    </a:extLst>
                  </p:cNvPr>
                  <p:cNvGrpSpPr>
                    <a:grpSpLocks noChangeAspect="1"/>
                  </p:cNvGrpSpPr>
                  <p:nvPr/>
                </p:nvGrpSpPr>
                <p:grpSpPr bwMode="auto">
                  <a:xfrm rot="8100000">
                    <a:off x="2268747" y="4723725"/>
                    <a:ext cx="415610" cy="415612"/>
                    <a:chOff x="701" y="2170"/>
                    <a:chExt cx="587" cy="587"/>
                  </a:xfrm>
                </p:grpSpPr>
                <p:sp>
                  <p:nvSpPr>
                    <p:cNvPr id="2125" name="Oval 65">
                      <a:extLst>
                        <a:ext uri="{FF2B5EF4-FFF2-40B4-BE49-F238E27FC236}">
                          <a16:creationId xmlns:a16="http://schemas.microsoft.com/office/drawing/2014/main" id="{3F488B35-08AC-4424-88EE-CFC42A9905E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6" name="Line 66">
                      <a:extLst>
                        <a:ext uri="{FF2B5EF4-FFF2-40B4-BE49-F238E27FC236}">
                          <a16:creationId xmlns:a16="http://schemas.microsoft.com/office/drawing/2014/main" id="{E6EEE647-50EC-466A-9CED-4EBA5BAAF6A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67">
                      <a:extLst>
                        <a:ext uri="{FF2B5EF4-FFF2-40B4-BE49-F238E27FC236}">
                          <a16:creationId xmlns:a16="http://schemas.microsoft.com/office/drawing/2014/main" id="{D279D004-E98F-487A-BBC8-DF988B5B044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Line 69">
                      <a:extLst>
                        <a:ext uri="{FF2B5EF4-FFF2-40B4-BE49-F238E27FC236}">
                          <a16:creationId xmlns:a16="http://schemas.microsoft.com/office/drawing/2014/main" id="{0F201E97-2DE5-4039-8A87-56466A0473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74">
                      <a:extLst>
                        <a:ext uri="{FF2B5EF4-FFF2-40B4-BE49-F238E27FC236}">
                          <a16:creationId xmlns:a16="http://schemas.microsoft.com/office/drawing/2014/main" id="{35691D03-9390-4324-8F43-D5A21341F7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78">
                      <a:extLst>
                        <a:ext uri="{FF2B5EF4-FFF2-40B4-BE49-F238E27FC236}">
                          <a16:creationId xmlns:a16="http://schemas.microsoft.com/office/drawing/2014/main" id="{B1E74084-BDAB-40C6-9B50-F0C5FCC255D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Freeform 80">
                      <a:extLst>
                        <a:ext uri="{FF2B5EF4-FFF2-40B4-BE49-F238E27FC236}">
                          <a16:creationId xmlns:a16="http://schemas.microsoft.com/office/drawing/2014/main" id="{B05E470F-89A9-431A-9AD0-683F759B5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1" name="Group 2110">
                    <a:extLst>
                      <a:ext uri="{FF2B5EF4-FFF2-40B4-BE49-F238E27FC236}">
                        <a16:creationId xmlns:a16="http://schemas.microsoft.com/office/drawing/2014/main" id="{9CBA07D6-2EC5-4BE0-8326-6F02B874729E}"/>
                      </a:ext>
                    </a:extLst>
                  </p:cNvPr>
                  <p:cNvGrpSpPr/>
                  <p:nvPr/>
                </p:nvGrpSpPr>
                <p:grpSpPr>
                  <a:xfrm>
                    <a:off x="2318076" y="4830163"/>
                    <a:ext cx="313949" cy="233075"/>
                    <a:chOff x="3707533" y="2731244"/>
                    <a:chExt cx="389644" cy="289271"/>
                  </a:xfrm>
                </p:grpSpPr>
                <p:sp>
                  <p:nvSpPr>
                    <p:cNvPr id="2112" name="Freeform 33">
                      <a:extLst>
                        <a:ext uri="{FF2B5EF4-FFF2-40B4-BE49-F238E27FC236}">
                          <a16:creationId xmlns:a16="http://schemas.microsoft.com/office/drawing/2014/main" id="{C428139F-5A6B-4BA0-A0B1-5076AAFF743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3" name="Freeform 34">
                      <a:extLst>
                        <a:ext uri="{FF2B5EF4-FFF2-40B4-BE49-F238E27FC236}">
                          <a16:creationId xmlns:a16="http://schemas.microsoft.com/office/drawing/2014/main" id="{9F0DD76B-86BA-436E-98AA-27F8CA5AB0EF}"/>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4" name="Freeform 37">
                      <a:extLst>
                        <a:ext uri="{FF2B5EF4-FFF2-40B4-BE49-F238E27FC236}">
                          <a16:creationId xmlns:a16="http://schemas.microsoft.com/office/drawing/2014/main" id="{328E1ECE-0B47-40FF-ADC8-52A869AD539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5" name="Freeform 38">
                      <a:extLst>
                        <a:ext uri="{FF2B5EF4-FFF2-40B4-BE49-F238E27FC236}">
                          <a16:creationId xmlns:a16="http://schemas.microsoft.com/office/drawing/2014/main" id="{FBC1A354-40E6-4BA7-A7FC-12DFA0ED8DF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32">
                      <a:extLst>
                        <a:ext uri="{FF2B5EF4-FFF2-40B4-BE49-F238E27FC236}">
                          <a16:creationId xmlns:a16="http://schemas.microsoft.com/office/drawing/2014/main" id="{44A20234-6690-46A4-AF7F-55903773AB65}"/>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35">
                      <a:extLst>
                        <a:ext uri="{FF2B5EF4-FFF2-40B4-BE49-F238E27FC236}">
                          <a16:creationId xmlns:a16="http://schemas.microsoft.com/office/drawing/2014/main" id="{E8FFE7C3-81CC-46D2-A00F-E52399A2758E}"/>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8" name="Freeform 36">
                      <a:extLst>
                        <a:ext uri="{FF2B5EF4-FFF2-40B4-BE49-F238E27FC236}">
                          <a16:creationId xmlns:a16="http://schemas.microsoft.com/office/drawing/2014/main" id="{80451F71-A3E1-4C02-A56E-4B6B9C65B39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9" name="Freeform 25">
                      <a:extLst>
                        <a:ext uri="{FF2B5EF4-FFF2-40B4-BE49-F238E27FC236}">
                          <a16:creationId xmlns:a16="http://schemas.microsoft.com/office/drawing/2014/main" id="{79CCFFCF-160C-44C1-98F6-600F7AEF940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0" name="Freeform 39">
                      <a:extLst>
                        <a:ext uri="{FF2B5EF4-FFF2-40B4-BE49-F238E27FC236}">
                          <a16:creationId xmlns:a16="http://schemas.microsoft.com/office/drawing/2014/main" id="{96C9F0EB-878A-4903-9840-A01FC702A21C}"/>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26">
                      <a:extLst>
                        <a:ext uri="{FF2B5EF4-FFF2-40B4-BE49-F238E27FC236}">
                          <a16:creationId xmlns:a16="http://schemas.microsoft.com/office/drawing/2014/main" id="{96D32403-D861-4D9C-BCAB-F0E3CBF48F8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2" name="Rectangle 27">
                      <a:extLst>
                        <a:ext uri="{FF2B5EF4-FFF2-40B4-BE49-F238E27FC236}">
                          <a16:creationId xmlns:a16="http://schemas.microsoft.com/office/drawing/2014/main" id="{C3B97169-9DC7-44F5-8846-86615CCD4FEB}"/>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3" name="Line 29">
                      <a:extLst>
                        <a:ext uri="{FF2B5EF4-FFF2-40B4-BE49-F238E27FC236}">
                          <a16:creationId xmlns:a16="http://schemas.microsoft.com/office/drawing/2014/main" id="{064DEB77-4693-426F-9A52-6172A03002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31">
                      <a:extLst>
                        <a:ext uri="{FF2B5EF4-FFF2-40B4-BE49-F238E27FC236}">
                          <a16:creationId xmlns:a16="http://schemas.microsoft.com/office/drawing/2014/main" id="{B5D17F89-315F-44FC-A2F6-8C02B4CAB390}"/>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6" name="Group 2825">
                <a:extLst>
                  <a:ext uri="{FF2B5EF4-FFF2-40B4-BE49-F238E27FC236}">
                    <a16:creationId xmlns:a16="http://schemas.microsoft.com/office/drawing/2014/main" id="{10B0253C-5C94-429F-BBF1-611BB03ABB88}"/>
                  </a:ext>
                </a:extLst>
              </p:cNvPr>
              <p:cNvGrpSpPr/>
              <p:nvPr/>
            </p:nvGrpSpPr>
            <p:grpSpPr>
              <a:xfrm>
                <a:off x="5261891" y="1974470"/>
                <a:ext cx="1115908" cy="967814"/>
                <a:chOff x="7338624" y="178556"/>
                <a:chExt cx="1115908" cy="967814"/>
              </a:xfrm>
            </p:grpSpPr>
            <p:grpSp>
              <p:nvGrpSpPr>
                <p:cNvPr id="2827" name="Group 2826">
                  <a:extLst>
                    <a:ext uri="{FF2B5EF4-FFF2-40B4-BE49-F238E27FC236}">
                      <a16:creationId xmlns:a16="http://schemas.microsoft.com/office/drawing/2014/main" id="{E28F05B0-9772-44E3-B5B8-58C6DAC79255}"/>
                    </a:ext>
                  </a:extLst>
                </p:cNvPr>
                <p:cNvGrpSpPr/>
                <p:nvPr/>
              </p:nvGrpSpPr>
              <p:grpSpPr>
                <a:xfrm flipH="1">
                  <a:off x="7603032" y="178556"/>
                  <a:ext cx="524442" cy="697246"/>
                  <a:chOff x="8607957" y="605299"/>
                  <a:chExt cx="2806962" cy="3731864"/>
                </a:xfrm>
              </p:grpSpPr>
              <p:sp>
                <p:nvSpPr>
                  <p:cNvPr id="2829" name="iBar:31/138">
                    <a:extLst>
                      <a:ext uri="{FF2B5EF4-FFF2-40B4-BE49-F238E27FC236}">
                        <a16:creationId xmlns:a16="http://schemas.microsoft.com/office/drawing/2014/main" id="{76083AC9-51FA-4E2F-83DF-C02B81FEC2E0}"/>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0" name="Rectangle 2829">
                    <a:extLst>
                      <a:ext uri="{FF2B5EF4-FFF2-40B4-BE49-F238E27FC236}">
                        <a16:creationId xmlns:a16="http://schemas.microsoft.com/office/drawing/2014/main" id="{E6C84DCD-DA8A-456D-AF0E-EF979749E31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31" name="Group 2830">
                    <a:extLst>
                      <a:ext uri="{FF2B5EF4-FFF2-40B4-BE49-F238E27FC236}">
                        <a16:creationId xmlns:a16="http://schemas.microsoft.com/office/drawing/2014/main" id="{1AB2D2B6-42E6-45AE-A96E-238D173DB770}"/>
                      </a:ext>
                    </a:extLst>
                  </p:cNvPr>
                  <p:cNvGrpSpPr/>
                  <p:nvPr/>
                </p:nvGrpSpPr>
                <p:grpSpPr>
                  <a:xfrm>
                    <a:off x="8776645" y="2392984"/>
                    <a:ext cx="2463737" cy="1844316"/>
                    <a:chOff x="8566719" y="2617154"/>
                    <a:chExt cx="2463737" cy="1844316"/>
                  </a:xfrm>
                </p:grpSpPr>
                <p:sp>
                  <p:nvSpPr>
                    <p:cNvPr id="2845" name="Rectangle 2844">
                      <a:extLst>
                        <a:ext uri="{FF2B5EF4-FFF2-40B4-BE49-F238E27FC236}">
                          <a16:creationId xmlns:a16="http://schemas.microsoft.com/office/drawing/2014/main" id="{96505904-8AB3-48C5-B8E0-5633CA83587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6" name="Group 2845">
                      <a:extLst>
                        <a:ext uri="{FF2B5EF4-FFF2-40B4-BE49-F238E27FC236}">
                          <a16:creationId xmlns:a16="http://schemas.microsoft.com/office/drawing/2014/main" id="{0757CA4A-A2A4-4482-8ED7-6ABA1D868BBE}"/>
                        </a:ext>
                      </a:extLst>
                    </p:cNvPr>
                    <p:cNvGrpSpPr/>
                    <p:nvPr/>
                  </p:nvGrpSpPr>
                  <p:grpSpPr>
                    <a:xfrm>
                      <a:off x="8720849" y="2791577"/>
                      <a:ext cx="2190282" cy="1669893"/>
                      <a:chOff x="5195358" y="4591383"/>
                      <a:chExt cx="1906459" cy="1380076"/>
                    </a:xfrm>
                  </p:grpSpPr>
                  <p:grpSp>
                    <p:nvGrpSpPr>
                      <p:cNvPr id="2847" name="Group 2846">
                        <a:extLst>
                          <a:ext uri="{FF2B5EF4-FFF2-40B4-BE49-F238E27FC236}">
                            <a16:creationId xmlns:a16="http://schemas.microsoft.com/office/drawing/2014/main" id="{BF629DC0-DE9F-4F1C-AFA9-FD31D01C65DD}"/>
                          </a:ext>
                        </a:extLst>
                      </p:cNvPr>
                      <p:cNvGrpSpPr/>
                      <p:nvPr/>
                    </p:nvGrpSpPr>
                    <p:grpSpPr>
                      <a:xfrm>
                        <a:off x="5195358" y="4591383"/>
                        <a:ext cx="1020183" cy="1224086"/>
                        <a:chOff x="10650533" y="3663550"/>
                        <a:chExt cx="575867" cy="836067"/>
                      </a:xfrm>
                    </p:grpSpPr>
                    <p:grpSp>
                      <p:nvGrpSpPr>
                        <p:cNvPr id="2849" name="Group 2848">
                          <a:extLst>
                            <a:ext uri="{FF2B5EF4-FFF2-40B4-BE49-F238E27FC236}">
                              <a16:creationId xmlns:a16="http://schemas.microsoft.com/office/drawing/2014/main" id="{BB98506A-FA0C-4492-9504-F1365ACE114B}"/>
                            </a:ext>
                          </a:extLst>
                        </p:cNvPr>
                        <p:cNvGrpSpPr/>
                        <p:nvPr/>
                      </p:nvGrpSpPr>
                      <p:grpSpPr>
                        <a:xfrm>
                          <a:off x="10650533" y="3663550"/>
                          <a:ext cx="575867" cy="728623"/>
                          <a:chOff x="5717961" y="2827338"/>
                          <a:chExt cx="282576" cy="387350"/>
                        </a:xfrm>
                      </p:grpSpPr>
                      <p:sp>
                        <p:nvSpPr>
                          <p:cNvPr id="2851" name="Freeform 1754">
                            <a:extLst>
                              <a:ext uri="{FF2B5EF4-FFF2-40B4-BE49-F238E27FC236}">
                                <a16:creationId xmlns:a16="http://schemas.microsoft.com/office/drawing/2014/main" id="{29A43FEB-3397-4D64-8742-218DE128F717}"/>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2" name="Freeform 1755">
                            <a:extLst>
                              <a:ext uri="{FF2B5EF4-FFF2-40B4-BE49-F238E27FC236}">
                                <a16:creationId xmlns:a16="http://schemas.microsoft.com/office/drawing/2014/main" id="{4CA2087B-D49F-46EC-AE28-3B14506FD4B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53" name="Freeform 1756">
                            <a:extLst>
                              <a:ext uri="{FF2B5EF4-FFF2-40B4-BE49-F238E27FC236}">
                                <a16:creationId xmlns:a16="http://schemas.microsoft.com/office/drawing/2014/main" id="{C8403C95-BCEE-465E-ADAC-A020457D09BE}"/>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4" name="Freeform 1757">
                            <a:extLst>
                              <a:ext uri="{FF2B5EF4-FFF2-40B4-BE49-F238E27FC236}">
                                <a16:creationId xmlns:a16="http://schemas.microsoft.com/office/drawing/2014/main" id="{2561EC10-7056-4F74-8284-A8C753A830C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5" name="Freeform 1758">
                            <a:extLst>
                              <a:ext uri="{FF2B5EF4-FFF2-40B4-BE49-F238E27FC236}">
                                <a16:creationId xmlns:a16="http://schemas.microsoft.com/office/drawing/2014/main" id="{931576A2-EA44-463F-A03A-911B6FC5D780}"/>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50" name="TextBox 2849">
                          <a:extLst>
                            <a:ext uri="{FF2B5EF4-FFF2-40B4-BE49-F238E27FC236}">
                              <a16:creationId xmlns:a16="http://schemas.microsoft.com/office/drawing/2014/main" id="{3D98CFE1-0FD4-4645-87E5-09E842BBE60A}"/>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48" name="TextBox 2847">
                        <a:extLst>
                          <a:ext uri="{FF2B5EF4-FFF2-40B4-BE49-F238E27FC236}">
                            <a16:creationId xmlns:a16="http://schemas.microsoft.com/office/drawing/2014/main" id="{89484070-167C-403C-8732-0E81C207859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32" name="Group 2831">
                    <a:extLst>
                      <a:ext uri="{FF2B5EF4-FFF2-40B4-BE49-F238E27FC236}">
                        <a16:creationId xmlns:a16="http://schemas.microsoft.com/office/drawing/2014/main" id="{8B11732F-9CC2-42EE-AB66-BE2E5101BD37}"/>
                      </a:ext>
                    </a:extLst>
                  </p:cNvPr>
                  <p:cNvGrpSpPr/>
                  <p:nvPr/>
                </p:nvGrpSpPr>
                <p:grpSpPr>
                  <a:xfrm>
                    <a:off x="9538998" y="605299"/>
                    <a:ext cx="944881" cy="858986"/>
                    <a:chOff x="3369813" y="4950013"/>
                    <a:chExt cx="440826" cy="400751"/>
                  </a:xfrm>
                </p:grpSpPr>
                <p:sp>
                  <p:nvSpPr>
                    <p:cNvPr id="2841" name="Oval 2840">
                      <a:extLst>
                        <a:ext uri="{FF2B5EF4-FFF2-40B4-BE49-F238E27FC236}">
                          <a16:creationId xmlns:a16="http://schemas.microsoft.com/office/drawing/2014/main" id="{AA81403E-440E-46C0-8AAD-EAF0C5501D0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2" name="Group 226">
                      <a:extLst>
                        <a:ext uri="{FF2B5EF4-FFF2-40B4-BE49-F238E27FC236}">
                          <a16:creationId xmlns:a16="http://schemas.microsoft.com/office/drawing/2014/main" id="{565B5CAF-270F-478D-B29E-678341F504CA}"/>
                        </a:ext>
                      </a:extLst>
                    </p:cNvPr>
                    <p:cNvGrpSpPr>
                      <a:grpSpLocks noChangeAspect="1"/>
                    </p:cNvGrpSpPr>
                    <p:nvPr/>
                  </p:nvGrpSpPr>
                  <p:grpSpPr bwMode="auto">
                    <a:xfrm>
                      <a:off x="3437467" y="4997630"/>
                      <a:ext cx="305517" cy="305517"/>
                      <a:chOff x="5048" y="783"/>
                      <a:chExt cx="340" cy="340"/>
                    </a:xfrm>
                    <a:solidFill>
                      <a:schemeClr val="bg1"/>
                    </a:solidFill>
                  </p:grpSpPr>
                  <p:sp>
                    <p:nvSpPr>
                      <p:cNvPr id="2843" name="Freeform 227">
                        <a:extLst>
                          <a:ext uri="{FF2B5EF4-FFF2-40B4-BE49-F238E27FC236}">
                            <a16:creationId xmlns:a16="http://schemas.microsoft.com/office/drawing/2014/main" id="{366C18A2-9552-40A8-9B31-D9E6E6F42751}"/>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44" name="Freeform 228">
                        <a:extLst>
                          <a:ext uri="{FF2B5EF4-FFF2-40B4-BE49-F238E27FC236}">
                            <a16:creationId xmlns:a16="http://schemas.microsoft.com/office/drawing/2014/main" id="{21FD642E-B72D-4CA8-9986-89D6870F3588}"/>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33" name="Straight Connector 2832">
                    <a:extLst>
                      <a:ext uri="{FF2B5EF4-FFF2-40B4-BE49-F238E27FC236}">
                        <a16:creationId xmlns:a16="http://schemas.microsoft.com/office/drawing/2014/main" id="{383E3174-9BB6-4919-9467-9F8C351AA09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4" name="Straight Connector 2833">
                    <a:extLst>
                      <a:ext uri="{FF2B5EF4-FFF2-40B4-BE49-F238E27FC236}">
                        <a16:creationId xmlns:a16="http://schemas.microsoft.com/office/drawing/2014/main" id="{F9B7EB99-914D-41FC-AF5A-F90C88EDD6CC}"/>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5" name="Straight Connector 2834">
                    <a:extLst>
                      <a:ext uri="{FF2B5EF4-FFF2-40B4-BE49-F238E27FC236}">
                        <a16:creationId xmlns:a16="http://schemas.microsoft.com/office/drawing/2014/main" id="{BC2B2B6B-849E-4DD8-8550-64D70B59D3B9}"/>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6" name="Straight Connector 2835">
                    <a:extLst>
                      <a:ext uri="{FF2B5EF4-FFF2-40B4-BE49-F238E27FC236}">
                        <a16:creationId xmlns:a16="http://schemas.microsoft.com/office/drawing/2014/main" id="{A48ADA09-496D-45B9-96E9-D85E34A3C95D}"/>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7" name="Straight Connector 2836">
                    <a:extLst>
                      <a:ext uri="{FF2B5EF4-FFF2-40B4-BE49-F238E27FC236}">
                        <a16:creationId xmlns:a16="http://schemas.microsoft.com/office/drawing/2014/main" id="{DC4DBB82-431A-4CE8-8A16-3D69C3A21B9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8" name="Straight Connector 2837">
                    <a:extLst>
                      <a:ext uri="{FF2B5EF4-FFF2-40B4-BE49-F238E27FC236}">
                        <a16:creationId xmlns:a16="http://schemas.microsoft.com/office/drawing/2014/main" id="{A16B99CE-E9EE-4DAB-8AE5-A5F1DC8559CC}"/>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9" name="Straight Connector 2838">
                    <a:extLst>
                      <a:ext uri="{FF2B5EF4-FFF2-40B4-BE49-F238E27FC236}">
                        <a16:creationId xmlns:a16="http://schemas.microsoft.com/office/drawing/2014/main" id="{DCCDAB6B-C5CD-4CBF-8E38-210CB00383F7}"/>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0" name="Straight Connector 2839">
                    <a:extLst>
                      <a:ext uri="{FF2B5EF4-FFF2-40B4-BE49-F238E27FC236}">
                        <a16:creationId xmlns:a16="http://schemas.microsoft.com/office/drawing/2014/main" id="{A296BF29-EB62-4597-8850-8C45C724A659}"/>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28" name="Rectangle 2827">
                  <a:extLst>
                    <a:ext uri="{FF2B5EF4-FFF2-40B4-BE49-F238E27FC236}">
                      <a16:creationId xmlns:a16="http://schemas.microsoft.com/office/drawing/2014/main" id="{F06BBE9B-80D6-4DEE-92CB-5CB4F1CBF1C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856" name="Group 2855">
                <a:extLst>
                  <a:ext uri="{FF2B5EF4-FFF2-40B4-BE49-F238E27FC236}">
                    <a16:creationId xmlns:a16="http://schemas.microsoft.com/office/drawing/2014/main" id="{39FBE55D-3B31-4558-AA6D-C82DF7F5AB12}"/>
                  </a:ext>
                </a:extLst>
              </p:cNvPr>
              <p:cNvGrpSpPr/>
              <p:nvPr/>
            </p:nvGrpSpPr>
            <p:grpSpPr>
              <a:xfrm>
                <a:off x="6189282" y="2207036"/>
                <a:ext cx="309777" cy="570271"/>
                <a:chOff x="6298183" y="258138"/>
                <a:chExt cx="309777" cy="570271"/>
              </a:xfrm>
            </p:grpSpPr>
            <p:pic>
              <p:nvPicPr>
                <p:cNvPr id="2857" name="Picture 2856">
                  <a:extLst>
                    <a:ext uri="{FF2B5EF4-FFF2-40B4-BE49-F238E27FC236}">
                      <a16:creationId xmlns:a16="http://schemas.microsoft.com/office/drawing/2014/main" id="{4BBE49CE-786F-4672-A5CA-941B8AF71A9F}"/>
                    </a:ext>
                  </a:extLst>
                </p:cNvPr>
                <p:cNvPicPr>
                  <a:picLocks noChangeAspect="1"/>
                </p:cNvPicPr>
                <p:nvPr/>
              </p:nvPicPr>
              <p:blipFill>
                <a:blip r:embed="rId6"/>
                <a:stretch>
                  <a:fillRect/>
                </a:stretch>
              </p:blipFill>
              <p:spPr>
                <a:xfrm>
                  <a:off x="6298183" y="258138"/>
                  <a:ext cx="309777" cy="570271"/>
                </a:xfrm>
                <a:prstGeom prst="rect">
                  <a:avLst/>
                </a:prstGeom>
              </p:spPr>
            </p:pic>
            <p:sp>
              <p:nvSpPr>
                <p:cNvPr id="2858" name="Freeform 152">
                  <a:extLst>
                    <a:ext uri="{FF2B5EF4-FFF2-40B4-BE49-F238E27FC236}">
                      <a16:creationId xmlns:a16="http://schemas.microsoft.com/office/drawing/2014/main" id="{E3CD1546-4807-4BEC-AEFD-4BC1E9269A7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859" name="Rectangle 2858">
            <a:extLst>
              <a:ext uri="{FF2B5EF4-FFF2-40B4-BE49-F238E27FC236}">
                <a16:creationId xmlns:a16="http://schemas.microsoft.com/office/drawing/2014/main" id="{68B15680-A55E-47F6-8D5C-D956EDAD387E}"/>
              </a:ext>
            </a:extLst>
          </p:cNvPr>
          <p:cNvSpPr>
            <a:spLocks/>
          </p:cNvSpPr>
          <p:nvPr/>
        </p:nvSpPr>
        <p:spPr bwMode="gray">
          <a:xfrm>
            <a:off x="3378079" y="1689529"/>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860" name="Group 2859">
            <a:extLst>
              <a:ext uri="{FF2B5EF4-FFF2-40B4-BE49-F238E27FC236}">
                <a16:creationId xmlns:a16="http://schemas.microsoft.com/office/drawing/2014/main" id="{8469F45A-26BD-4B2C-B9E7-6A5F332A7359}"/>
              </a:ext>
            </a:extLst>
          </p:cNvPr>
          <p:cNvGrpSpPr/>
          <p:nvPr/>
        </p:nvGrpSpPr>
        <p:grpSpPr>
          <a:xfrm>
            <a:off x="412748" y="1219432"/>
            <a:ext cx="11430427" cy="561479"/>
            <a:chOff x="347472" y="1051180"/>
            <a:chExt cx="11667743" cy="561625"/>
          </a:xfrm>
        </p:grpSpPr>
        <p:grpSp>
          <p:nvGrpSpPr>
            <p:cNvPr id="2861" name="Group 2860">
              <a:extLst>
                <a:ext uri="{FF2B5EF4-FFF2-40B4-BE49-F238E27FC236}">
                  <a16:creationId xmlns:a16="http://schemas.microsoft.com/office/drawing/2014/main" id="{4C8E5E70-E4D0-4028-8B01-CF3D9E25E7CD}"/>
                </a:ext>
              </a:extLst>
            </p:cNvPr>
            <p:cNvGrpSpPr/>
            <p:nvPr/>
          </p:nvGrpSpPr>
          <p:grpSpPr>
            <a:xfrm>
              <a:off x="347472" y="1051180"/>
              <a:ext cx="11667743" cy="561625"/>
              <a:chOff x="347472" y="1051180"/>
              <a:chExt cx="11667743" cy="561625"/>
            </a:xfrm>
          </p:grpSpPr>
          <p:grpSp>
            <p:nvGrpSpPr>
              <p:cNvPr id="2863" name="Group 2862">
                <a:extLst>
                  <a:ext uri="{FF2B5EF4-FFF2-40B4-BE49-F238E27FC236}">
                    <a16:creationId xmlns:a16="http://schemas.microsoft.com/office/drawing/2014/main" id="{19B053B6-D501-46E8-8324-28B2181F54E8}"/>
                  </a:ext>
                </a:extLst>
              </p:cNvPr>
              <p:cNvGrpSpPr/>
              <p:nvPr/>
            </p:nvGrpSpPr>
            <p:grpSpPr>
              <a:xfrm>
                <a:off x="347472" y="1154250"/>
                <a:ext cx="11667743" cy="458555"/>
                <a:chOff x="390609" y="1132914"/>
                <a:chExt cx="11511569" cy="458555"/>
              </a:xfrm>
            </p:grpSpPr>
            <p:sp>
              <p:nvSpPr>
                <p:cNvPr id="2865" name="Rectangle: Rounded Corners 2864">
                  <a:extLst>
                    <a:ext uri="{FF2B5EF4-FFF2-40B4-BE49-F238E27FC236}">
                      <a16:creationId xmlns:a16="http://schemas.microsoft.com/office/drawing/2014/main" id="{C0ECC67F-0257-4ADE-8214-7AF66289F9D4}"/>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66" name="Rectangle 2865">
                  <a:extLst>
                    <a:ext uri="{FF2B5EF4-FFF2-40B4-BE49-F238E27FC236}">
                      <a16:creationId xmlns:a16="http://schemas.microsoft.com/office/drawing/2014/main" id="{31A4B2A4-CB38-47F9-918B-83E5241FED48}"/>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867" name="Rectangle 2866">
                  <a:extLst>
                    <a:ext uri="{FF2B5EF4-FFF2-40B4-BE49-F238E27FC236}">
                      <a16:creationId xmlns:a16="http://schemas.microsoft.com/office/drawing/2014/main" id="{D4656027-3B78-4CB3-A1A2-D6BB2C320FF7}"/>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868" name="Rectangle 2867">
                  <a:extLst>
                    <a:ext uri="{FF2B5EF4-FFF2-40B4-BE49-F238E27FC236}">
                      <a16:creationId xmlns:a16="http://schemas.microsoft.com/office/drawing/2014/main" id="{C98E7147-5C83-4907-A983-19382A05947B}"/>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869" name="Isosceles Triangle 2868">
                  <a:extLst>
                    <a:ext uri="{FF2B5EF4-FFF2-40B4-BE49-F238E27FC236}">
                      <a16:creationId xmlns:a16="http://schemas.microsoft.com/office/drawing/2014/main" id="{377B7AEF-DD5C-407A-BC96-22FE913B1FDF}"/>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70" name="Isosceles Triangle 2869">
                  <a:extLst>
                    <a:ext uri="{FF2B5EF4-FFF2-40B4-BE49-F238E27FC236}">
                      <a16:creationId xmlns:a16="http://schemas.microsoft.com/office/drawing/2014/main" id="{9E20B44C-313C-46AE-B0F0-4AB18A509ADA}"/>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4" name="Isosceles Triangle 2863">
                <a:extLst>
                  <a:ext uri="{FF2B5EF4-FFF2-40B4-BE49-F238E27FC236}">
                    <a16:creationId xmlns:a16="http://schemas.microsoft.com/office/drawing/2014/main" id="{A841C7DD-F4A1-4DCA-8EFD-70E365D590F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2" name="Isosceles Triangle 2861">
              <a:extLst>
                <a:ext uri="{FF2B5EF4-FFF2-40B4-BE49-F238E27FC236}">
                  <a16:creationId xmlns:a16="http://schemas.microsoft.com/office/drawing/2014/main" id="{6C5E3EB9-EC10-4A5A-BE32-40C4AD1E2BB9}"/>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Tree>
    <p:custDataLst>
      <p:tags r:id="rId1"/>
    </p:custDataLst>
    <p:extLst>
      <p:ext uri="{BB962C8B-B14F-4D97-AF65-F5344CB8AC3E}">
        <p14:creationId xmlns:p14="http://schemas.microsoft.com/office/powerpoint/2010/main" val="78197532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dirty="0"/>
              <a:t>Sprinting: Refine Product Backlog</a:t>
            </a:r>
            <a:endParaRPr lang="en-US" dirty="0"/>
          </a:p>
        </p:txBody>
      </p:sp>
      <p:graphicFrame>
        <p:nvGraphicFramePr>
          <p:cNvPr id="2189" name="Table 2188">
            <a:extLst>
              <a:ext uri="{FF2B5EF4-FFF2-40B4-BE49-F238E27FC236}">
                <a16:creationId xmlns:a16="http://schemas.microsoft.com/office/drawing/2014/main" id="{F0E03C91-B69E-47A5-BFB5-55222D8F4D7C}"/>
              </a:ext>
            </a:extLst>
          </p:cNvPr>
          <p:cNvGraphicFramePr>
            <a:graphicFrameLocks noGrp="1"/>
          </p:cNvGraphicFramePr>
          <p:nvPr/>
        </p:nvGraphicFramePr>
        <p:xfrm>
          <a:off x="4180215" y="3297078"/>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190" name="Rectangle 2189">
            <a:extLst>
              <a:ext uri="{FF2B5EF4-FFF2-40B4-BE49-F238E27FC236}">
                <a16:creationId xmlns:a16="http://schemas.microsoft.com/office/drawing/2014/main" id="{5B242AB0-D087-45B9-991C-D144B01E7F0A}"/>
              </a:ext>
            </a:extLst>
          </p:cNvPr>
          <p:cNvSpPr>
            <a:spLocks/>
          </p:cNvSpPr>
          <p:nvPr/>
        </p:nvSpPr>
        <p:spPr bwMode="gray">
          <a:xfrm>
            <a:off x="9920415" y="1689529"/>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192" name="Table 2191">
            <a:extLst>
              <a:ext uri="{FF2B5EF4-FFF2-40B4-BE49-F238E27FC236}">
                <a16:creationId xmlns:a16="http://schemas.microsoft.com/office/drawing/2014/main" id="{2AC1EC88-3AC8-4154-AB0C-7952CEFF5CBB}"/>
              </a:ext>
            </a:extLst>
          </p:cNvPr>
          <p:cNvGraphicFramePr>
            <a:graphicFrameLocks noGrp="1"/>
          </p:cNvGraphicFramePr>
          <p:nvPr/>
        </p:nvGraphicFramePr>
        <p:xfrm>
          <a:off x="470204" y="4578245"/>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1" name="Group 20">
            <a:extLst>
              <a:ext uri="{FF2B5EF4-FFF2-40B4-BE49-F238E27FC236}">
                <a16:creationId xmlns:a16="http://schemas.microsoft.com/office/drawing/2014/main" id="{E0FFFACC-468F-4412-AE49-ACAE9C7DF27C}"/>
              </a:ext>
            </a:extLst>
          </p:cNvPr>
          <p:cNvGrpSpPr/>
          <p:nvPr/>
        </p:nvGrpSpPr>
        <p:grpSpPr>
          <a:xfrm>
            <a:off x="5338229" y="3985905"/>
            <a:ext cx="4367346" cy="2539218"/>
            <a:chOff x="5338031" y="3986050"/>
            <a:chExt cx="4368484" cy="2539879"/>
          </a:xfrm>
        </p:grpSpPr>
        <p:grpSp>
          <p:nvGrpSpPr>
            <p:cNvPr id="2337" name="Group 2336">
              <a:extLst>
                <a:ext uri="{FF2B5EF4-FFF2-40B4-BE49-F238E27FC236}">
                  <a16:creationId xmlns:a16="http://schemas.microsoft.com/office/drawing/2014/main" id="{DDA94247-6C21-47BD-8890-27617C827EBD}"/>
                </a:ext>
              </a:extLst>
            </p:cNvPr>
            <p:cNvGrpSpPr/>
            <p:nvPr/>
          </p:nvGrpSpPr>
          <p:grpSpPr>
            <a:xfrm>
              <a:off x="6626435" y="3986050"/>
              <a:ext cx="3080080" cy="2539879"/>
              <a:chOff x="6642908" y="3955938"/>
              <a:chExt cx="3087943" cy="2546363"/>
            </a:xfrm>
          </p:grpSpPr>
          <p:sp>
            <p:nvSpPr>
              <p:cNvPr id="2338" name="Rectangle 2337">
                <a:extLst>
                  <a:ext uri="{FF2B5EF4-FFF2-40B4-BE49-F238E27FC236}">
                    <a16:creationId xmlns:a16="http://schemas.microsoft.com/office/drawing/2014/main" id="{A7B93953-84E2-40F4-93F9-ABD28544EE3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339" name="Group 2338">
                <a:extLst>
                  <a:ext uri="{FF2B5EF4-FFF2-40B4-BE49-F238E27FC236}">
                    <a16:creationId xmlns:a16="http://schemas.microsoft.com/office/drawing/2014/main" id="{8EBD560F-D7D0-41D2-91A0-A393A0E9F35B}"/>
                  </a:ext>
                </a:extLst>
              </p:cNvPr>
              <p:cNvGrpSpPr/>
              <p:nvPr/>
            </p:nvGrpSpPr>
            <p:grpSpPr>
              <a:xfrm>
                <a:off x="8222643" y="5655421"/>
                <a:ext cx="1030675" cy="846880"/>
                <a:chOff x="10800033" y="2297897"/>
                <a:chExt cx="1600558" cy="1315140"/>
              </a:xfrm>
            </p:grpSpPr>
            <p:grpSp>
              <p:nvGrpSpPr>
                <p:cNvPr id="2341" name="Group 2340">
                  <a:extLst>
                    <a:ext uri="{FF2B5EF4-FFF2-40B4-BE49-F238E27FC236}">
                      <a16:creationId xmlns:a16="http://schemas.microsoft.com/office/drawing/2014/main" id="{AC94F9E1-FBAF-41DB-BEF3-9C11C4CFF810}"/>
                    </a:ext>
                  </a:extLst>
                </p:cNvPr>
                <p:cNvGrpSpPr>
                  <a:grpSpLocks/>
                </p:cNvGrpSpPr>
                <p:nvPr/>
              </p:nvGrpSpPr>
              <p:grpSpPr>
                <a:xfrm>
                  <a:off x="10800033" y="2339037"/>
                  <a:ext cx="613092" cy="613092"/>
                  <a:chOff x="745985" y="4768134"/>
                  <a:chExt cx="368776" cy="368777"/>
                </a:xfrm>
              </p:grpSpPr>
              <p:grpSp>
                <p:nvGrpSpPr>
                  <p:cNvPr id="2405" name="Group 64">
                    <a:extLst>
                      <a:ext uri="{FF2B5EF4-FFF2-40B4-BE49-F238E27FC236}">
                        <a16:creationId xmlns:a16="http://schemas.microsoft.com/office/drawing/2014/main" id="{2D467CFE-327F-4C11-8F98-67E4589F53EB}"/>
                      </a:ext>
                    </a:extLst>
                  </p:cNvPr>
                  <p:cNvGrpSpPr>
                    <a:grpSpLocks noChangeAspect="1"/>
                  </p:cNvGrpSpPr>
                  <p:nvPr/>
                </p:nvGrpSpPr>
                <p:grpSpPr bwMode="auto">
                  <a:xfrm rot="8100000">
                    <a:off x="745985" y="4768134"/>
                    <a:ext cx="368776" cy="368777"/>
                    <a:chOff x="701" y="2170"/>
                    <a:chExt cx="587" cy="587"/>
                  </a:xfrm>
                </p:grpSpPr>
                <p:sp>
                  <p:nvSpPr>
                    <p:cNvPr id="2416" name="Oval 65">
                      <a:extLst>
                        <a:ext uri="{FF2B5EF4-FFF2-40B4-BE49-F238E27FC236}">
                          <a16:creationId xmlns:a16="http://schemas.microsoft.com/office/drawing/2014/main" id="{ED0F215B-BA8F-408F-BF8C-FA3F6EFA154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7" name="Line 66">
                      <a:extLst>
                        <a:ext uri="{FF2B5EF4-FFF2-40B4-BE49-F238E27FC236}">
                          <a16:creationId xmlns:a16="http://schemas.microsoft.com/office/drawing/2014/main" id="{1F8CD18C-E8E8-459C-AD51-26757D53317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Line 67">
                      <a:extLst>
                        <a:ext uri="{FF2B5EF4-FFF2-40B4-BE49-F238E27FC236}">
                          <a16:creationId xmlns:a16="http://schemas.microsoft.com/office/drawing/2014/main" id="{DD463698-E1B2-4255-847B-A436D2B5AC1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Line 69">
                      <a:extLst>
                        <a:ext uri="{FF2B5EF4-FFF2-40B4-BE49-F238E27FC236}">
                          <a16:creationId xmlns:a16="http://schemas.microsoft.com/office/drawing/2014/main" id="{B0314370-C385-4F54-B179-55D915F8ABD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Line 74">
                      <a:extLst>
                        <a:ext uri="{FF2B5EF4-FFF2-40B4-BE49-F238E27FC236}">
                          <a16:creationId xmlns:a16="http://schemas.microsoft.com/office/drawing/2014/main" id="{CE969C45-AC61-45CD-BF5A-1B7472E30E2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78">
                      <a:extLst>
                        <a:ext uri="{FF2B5EF4-FFF2-40B4-BE49-F238E27FC236}">
                          <a16:creationId xmlns:a16="http://schemas.microsoft.com/office/drawing/2014/main" id="{7DDFE362-3C90-499D-AFEE-8DF46024377D}"/>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80">
                      <a:extLst>
                        <a:ext uri="{FF2B5EF4-FFF2-40B4-BE49-F238E27FC236}">
                          <a16:creationId xmlns:a16="http://schemas.microsoft.com/office/drawing/2014/main" id="{43213219-1909-4E43-AF35-9ABE9D9A903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06" name="Group 2405">
                    <a:extLst>
                      <a:ext uri="{FF2B5EF4-FFF2-40B4-BE49-F238E27FC236}">
                        <a16:creationId xmlns:a16="http://schemas.microsoft.com/office/drawing/2014/main" id="{A18EEDD0-E7A1-42F6-B034-2DD7587C985A}"/>
                      </a:ext>
                    </a:extLst>
                  </p:cNvPr>
                  <p:cNvGrpSpPr/>
                  <p:nvPr/>
                </p:nvGrpSpPr>
                <p:grpSpPr>
                  <a:xfrm>
                    <a:off x="837312" y="4814434"/>
                    <a:ext cx="136805" cy="278689"/>
                    <a:chOff x="2806700" y="2803319"/>
                    <a:chExt cx="433387" cy="882861"/>
                  </a:xfrm>
                </p:grpSpPr>
                <p:grpSp>
                  <p:nvGrpSpPr>
                    <p:cNvPr id="2407" name="Group 2406">
                      <a:extLst>
                        <a:ext uri="{FF2B5EF4-FFF2-40B4-BE49-F238E27FC236}">
                          <a16:creationId xmlns:a16="http://schemas.microsoft.com/office/drawing/2014/main" id="{2A89FE14-587D-4D2E-BA45-6DE7BA51FF28}"/>
                        </a:ext>
                      </a:extLst>
                    </p:cNvPr>
                    <p:cNvGrpSpPr>
                      <a:grpSpLocks noChangeAspect="1"/>
                    </p:cNvGrpSpPr>
                    <p:nvPr/>
                  </p:nvGrpSpPr>
                  <p:grpSpPr bwMode="auto">
                    <a:xfrm>
                      <a:off x="2806700" y="3043242"/>
                      <a:ext cx="433387" cy="642938"/>
                      <a:chOff x="1768" y="1917"/>
                      <a:chExt cx="273" cy="405"/>
                    </a:xfrm>
                  </p:grpSpPr>
                  <p:sp>
                    <p:nvSpPr>
                      <p:cNvPr id="2409" name="Freeform 52">
                        <a:extLst>
                          <a:ext uri="{FF2B5EF4-FFF2-40B4-BE49-F238E27FC236}">
                            <a16:creationId xmlns:a16="http://schemas.microsoft.com/office/drawing/2014/main" id="{95CD2D06-24F8-4449-9951-6BD7EBAE1AAB}"/>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0" name="Line 54">
                        <a:extLst>
                          <a:ext uri="{FF2B5EF4-FFF2-40B4-BE49-F238E27FC236}">
                            <a16:creationId xmlns:a16="http://schemas.microsoft.com/office/drawing/2014/main" id="{1A539A6E-3242-484B-8613-6F2BA665639C}"/>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Line 55">
                        <a:extLst>
                          <a:ext uri="{FF2B5EF4-FFF2-40B4-BE49-F238E27FC236}">
                            <a16:creationId xmlns:a16="http://schemas.microsoft.com/office/drawing/2014/main" id="{CDABBCFE-228A-48EF-AD10-4DFBD675AF5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56">
                        <a:extLst>
                          <a:ext uri="{FF2B5EF4-FFF2-40B4-BE49-F238E27FC236}">
                            <a16:creationId xmlns:a16="http://schemas.microsoft.com/office/drawing/2014/main" id="{444D8612-3446-4481-891A-621EE811D71C}"/>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Line 57">
                        <a:extLst>
                          <a:ext uri="{FF2B5EF4-FFF2-40B4-BE49-F238E27FC236}">
                            <a16:creationId xmlns:a16="http://schemas.microsoft.com/office/drawing/2014/main" id="{68EC78A2-36FF-47FA-9EFC-0F52E307B26F}"/>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58">
                        <a:extLst>
                          <a:ext uri="{FF2B5EF4-FFF2-40B4-BE49-F238E27FC236}">
                            <a16:creationId xmlns:a16="http://schemas.microsoft.com/office/drawing/2014/main" id="{AFE44C6B-E778-4641-AA4D-415A808CB891}"/>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Rectangle 2414">
                        <a:extLst>
                          <a:ext uri="{FF2B5EF4-FFF2-40B4-BE49-F238E27FC236}">
                            <a16:creationId xmlns:a16="http://schemas.microsoft.com/office/drawing/2014/main" id="{20614383-BF9F-49D7-9A9C-282CFE73CEE7}"/>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408" name="Oval 2407">
                      <a:extLst>
                        <a:ext uri="{FF2B5EF4-FFF2-40B4-BE49-F238E27FC236}">
                          <a16:creationId xmlns:a16="http://schemas.microsoft.com/office/drawing/2014/main" id="{7DD6504C-6A76-4898-A418-811D7A7F346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42" name="Group 2341">
                  <a:extLst>
                    <a:ext uri="{FF2B5EF4-FFF2-40B4-BE49-F238E27FC236}">
                      <a16:creationId xmlns:a16="http://schemas.microsoft.com/office/drawing/2014/main" id="{7862826A-9D36-468A-AB87-67D1C10C33F3}"/>
                    </a:ext>
                  </a:extLst>
                </p:cNvPr>
                <p:cNvGrpSpPr>
                  <a:grpSpLocks/>
                </p:cNvGrpSpPr>
                <p:nvPr/>
              </p:nvGrpSpPr>
              <p:grpSpPr>
                <a:xfrm>
                  <a:off x="11166615" y="2825631"/>
                  <a:ext cx="787402" cy="787406"/>
                  <a:chOff x="1454941" y="4721722"/>
                  <a:chExt cx="473625" cy="473627"/>
                </a:xfrm>
              </p:grpSpPr>
              <p:grpSp>
                <p:nvGrpSpPr>
                  <p:cNvPr id="2366" name="Group 64">
                    <a:extLst>
                      <a:ext uri="{FF2B5EF4-FFF2-40B4-BE49-F238E27FC236}">
                        <a16:creationId xmlns:a16="http://schemas.microsoft.com/office/drawing/2014/main" id="{6D8D3179-A03D-4140-A35D-9ED871DEE497}"/>
                      </a:ext>
                    </a:extLst>
                  </p:cNvPr>
                  <p:cNvGrpSpPr>
                    <a:grpSpLocks noChangeAspect="1"/>
                  </p:cNvGrpSpPr>
                  <p:nvPr/>
                </p:nvGrpSpPr>
                <p:grpSpPr bwMode="auto">
                  <a:xfrm rot="8100000">
                    <a:off x="1454941" y="4721722"/>
                    <a:ext cx="473625" cy="473627"/>
                    <a:chOff x="701" y="2170"/>
                    <a:chExt cx="587" cy="587"/>
                  </a:xfrm>
                </p:grpSpPr>
                <p:sp>
                  <p:nvSpPr>
                    <p:cNvPr id="2398" name="Oval 65">
                      <a:extLst>
                        <a:ext uri="{FF2B5EF4-FFF2-40B4-BE49-F238E27FC236}">
                          <a16:creationId xmlns:a16="http://schemas.microsoft.com/office/drawing/2014/main" id="{A9C2940D-ADE4-4B5C-9D2F-CE7D925DDBE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9" name="Line 66">
                      <a:extLst>
                        <a:ext uri="{FF2B5EF4-FFF2-40B4-BE49-F238E27FC236}">
                          <a16:creationId xmlns:a16="http://schemas.microsoft.com/office/drawing/2014/main" id="{1083C9EE-F127-4DE3-918F-A3CA43958F0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0" name="Line 67">
                      <a:extLst>
                        <a:ext uri="{FF2B5EF4-FFF2-40B4-BE49-F238E27FC236}">
                          <a16:creationId xmlns:a16="http://schemas.microsoft.com/office/drawing/2014/main" id="{9E15F4CB-1172-4731-91B9-D33A02D874E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1" name="Line 69">
                      <a:extLst>
                        <a:ext uri="{FF2B5EF4-FFF2-40B4-BE49-F238E27FC236}">
                          <a16:creationId xmlns:a16="http://schemas.microsoft.com/office/drawing/2014/main" id="{9B8C72DA-58C4-42C5-B9CB-ADA3C34E94F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2" name="Line 74">
                      <a:extLst>
                        <a:ext uri="{FF2B5EF4-FFF2-40B4-BE49-F238E27FC236}">
                          <a16:creationId xmlns:a16="http://schemas.microsoft.com/office/drawing/2014/main" id="{6A1C3B98-9F28-4D4C-A627-B93893FC94C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78">
                      <a:extLst>
                        <a:ext uri="{FF2B5EF4-FFF2-40B4-BE49-F238E27FC236}">
                          <a16:creationId xmlns:a16="http://schemas.microsoft.com/office/drawing/2014/main" id="{20E1F880-8D77-47DC-90B2-33E26040C38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4" name="Freeform 80">
                      <a:extLst>
                        <a:ext uri="{FF2B5EF4-FFF2-40B4-BE49-F238E27FC236}">
                          <a16:creationId xmlns:a16="http://schemas.microsoft.com/office/drawing/2014/main" id="{61247636-7F48-4A31-95CC-1F25BEB816F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67" name="Group 2366">
                    <a:extLst>
                      <a:ext uri="{FF2B5EF4-FFF2-40B4-BE49-F238E27FC236}">
                        <a16:creationId xmlns:a16="http://schemas.microsoft.com/office/drawing/2014/main" id="{7CA603DC-2CB3-4457-BC06-9D9C66995682}"/>
                      </a:ext>
                    </a:extLst>
                  </p:cNvPr>
                  <p:cNvGrpSpPr/>
                  <p:nvPr/>
                </p:nvGrpSpPr>
                <p:grpSpPr>
                  <a:xfrm>
                    <a:off x="1511214" y="4789508"/>
                    <a:ext cx="356509" cy="349884"/>
                    <a:chOff x="468738" y="2241878"/>
                    <a:chExt cx="1655483" cy="1624719"/>
                  </a:xfrm>
                </p:grpSpPr>
                <p:sp>
                  <p:nvSpPr>
                    <p:cNvPr id="2368" name="Freeform 5">
                      <a:extLst>
                        <a:ext uri="{FF2B5EF4-FFF2-40B4-BE49-F238E27FC236}">
                          <a16:creationId xmlns:a16="http://schemas.microsoft.com/office/drawing/2014/main" id="{ADC07B4E-EB60-437D-B88B-7D6F7BAB9233}"/>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Freeform 6">
                      <a:extLst>
                        <a:ext uri="{FF2B5EF4-FFF2-40B4-BE49-F238E27FC236}">
                          <a16:creationId xmlns:a16="http://schemas.microsoft.com/office/drawing/2014/main" id="{4DB7CFF2-1361-40F5-87D8-09A6625F8B7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7">
                      <a:extLst>
                        <a:ext uri="{FF2B5EF4-FFF2-40B4-BE49-F238E27FC236}">
                          <a16:creationId xmlns:a16="http://schemas.microsoft.com/office/drawing/2014/main" id="{953A429A-1E35-4CEE-BA64-D9FC04FA086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Freeform 8">
                      <a:extLst>
                        <a:ext uri="{FF2B5EF4-FFF2-40B4-BE49-F238E27FC236}">
                          <a16:creationId xmlns:a16="http://schemas.microsoft.com/office/drawing/2014/main" id="{C4FE8D59-A063-4D15-B49E-79B6D722D5F7}"/>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9">
                      <a:extLst>
                        <a:ext uri="{FF2B5EF4-FFF2-40B4-BE49-F238E27FC236}">
                          <a16:creationId xmlns:a16="http://schemas.microsoft.com/office/drawing/2014/main" id="{9142A3A8-5AEE-4E91-8FCF-C44DB5FDD00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73" name="Group 2372">
                      <a:extLst>
                        <a:ext uri="{FF2B5EF4-FFF2-40B4-BE49-F238E27FC236}">
                          <a16:creationId xmlns:a16="http://schemas.microsoft.com/office/drawing/2014/main" id="{D0D9E88A-7125-463C-99F6-69E652DF1D6C}"/>
                        </a:ext>
                      </a:extLst>
                    </p:cNvPr>
                    <p:cNvGrpSpPr/>
                    <p:nvPr/>
                  </p:nvGrpSpPr>
                  <p:grpSpPr>
                    <a:xfrm>
                      <a:off x="1207113" y="2241878"/>
                      <a:ext cx="178734" cy="348678"/>
                      <a:chOff x="1207113" y="2241878"/>
                      <a:chExt cx="178734" cy="348678"/>
                    </a:xfrm>
                  </p:grpSpPr>
                  <p:sp>
                    <p:nvSpPr>
                      <p:cNvPr id="2396" name="Freeform 10">
                        <a:extLst>
                          <a:ext uri="{FF2B5EF4-FFF2-40B4-BE49-F238E27FC236}">
                            <a16:creationId xmlns:a16="http://schemas.microsoft.com/office/drawing/2014/main" id="{2A346116-E741-4C3B-B914-47EC427CBE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Line 11">
                        <a:extLst>
                          <a:ext uri="{FF2B5EF4-FFF2-40B4-BE49-F238E27FC236}">
                            <a16:creationId xmlns:a16="http://schemas.microsoft.com/office/drawing/2014/main" id="{89626DE7-3267-48D4-9E34-062FB83C8135}"/>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74" name="Freeform 12">
                      <a:extLst>
                        <a:ext uri="{FF2B5EF4-FFF2-40B4-BE49-F238E27FC236}">
                          <a16:creationId xmlns:a16="http://schemas.microsoft.com/office/drawing/2014/main" id="{CBFF604C-CEE7-486B-9F59-ABD512FE14A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5" name="Line 13">
                      <a:extLst>
                        <a:ext uri="{FF2B5EF4-FFF2-40B4-BE49-F238E27FC236}">
                          <a16:creationId xmlns:a16="http://schemas.microsoft.com/office/drawing/2014/main" id="{011D96E9-7F00-4481-9DDF-B78A8C268821}"/>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6" name="Freeform 14">
                      <a:extLst>
                        <a:ext uri="{FF2B5EF4-FFF2-40B4-BE49-F238E27FC236}">
                          <a16:creationId xmlns:a16="http://schemas.microsoft.com/office/drawing/2014/main" id="{57984474-AE19-49E3-94BE-8BFA97336C0D}"/>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7" name="Line 15">
                      <a:extLst>
                        <a:ext uri="{FF2B5EF4-FFF2-40B4-BE49-F238E27FC236}">
                          <a16:creationId xmlns:a16="http://schemas.microsoft.com/office/drawing/2014/main" id="{594098A5-7450-4664-BEB0-FC2CEF910AA1}"/>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8" name="Freeform 16">
                      <a:extLst>
                        <a:ext uri="{FF2B5EF4-FFF2-40B4-BE49-F238E27FC236}">
                          <a16:creationId xmlns:a16="http://schemas.microsoft.com/office/drawing/2014/main" id="{CE415B0A-B475-47FB-90FA-56BCE302B1D9}"/>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9" name="Line 17">
                      <a:extLst>
                        <a:ext uri="{FF2B5EF4-FFF2-40B4-BE49-F238E27FC236}">
                          <a16:creationId xmlns:a16="http://schemas.microsoft.com/office/drawing/2014/main" id="{BC94CB20-B81C-43DF-B564-C5DF3CF4A340}"/>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0" name="Freeform 18">
                      <a:extLst>
                        <a:ext uri="{FF2B5EF4-FFF2-40B4-BE49-F238E27FC236}">
                          <a16:creationId xmlns:a16="http://schemas.microsoft.com/office/drawing/2014/main" id="{895FC050-8001-4852-A7AF-7F87A6378499}"/>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1" name="Line 19">
                      <a:extLst>
                        <a:ext uri="{FF2B5EF4-FFF2-40B4-BE49-F238E27FC236}">
                          <a16:creationId xmlns:a16="http://schemas.microsoft.com/office/drawing/2014/main" id="{233316F3-03F8-4F7D-8722-2FD8EDA0EAE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2" name="Freeform 35">
                      <a:extLst>
                        <a:ext uri="{FF2B5EF4-FFF2-40B4-BE49-F238E27FC236}">
                          <a16:creationId xmlns:a16="http://schemas.microsoft.com/office/drawing/2014/main" id="{4B42AF4F-2D22-448F-930F-162DB142B27D}"/>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3" name="Freeform 36">
                      <a:extLst>
                        <a:ext uri="{FF2B5EF4-FFF2-40B4-BE49-F238E27FC236}">
                          <a16:creationId xmlns:a16="http://schemas.microsoft.com/office/drawing/2014/main" id="{8DC55D13-4AB8-4C8B-B2E1-2F97079CB3C8}"/>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4" name="Freeform 37">
                      <a:extLst>
                        <a:ext uri="{FF2B5EF4-FFF2-40B4-BE49-F238E27FC236}">
                          <a16:creationId xmlns:a16="http://schemas.microsoft.com/office/drawing/2014/main" id="{6926E905-EFDD-46F5-A590-0959E3EB46F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5" name="Freeform 38">
                      <a:extLst>
                        <a:ext uri="{FF2B5EF4-FFF2-40B4-BE49-F238E27FC236}">
                          <a16:creationId xmlns:a16="http://schemas.microsoft.com/office/drawing/2014/main" id="{466BD8AB-1D34-408E-8594-79176E97B0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6" name="Freeform 39">
                      <a:extLst>
                        <a:ext uri="{FF2B5EF4-FFF2-40B4-BE49-F238E27FC236}">
                          <a16:creationId xmlns:a16="http://schemas.microsoft.com/office/drawing/2014/main" id="{463F6AB8-DE9E-47E4-89F2-3E4897B7F15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7" name="Freeform 40">
                      <a:extLst>
                        <a:ext uri="{FF2B5EF4-FFF2-40B4-BE49-F238E27FC236}">
                          <a16:creationId xmlns:a16="http://schemas.microsoft.com/office/drawing/2014/main" id="{4C784F7D-23CF-492E-A85D-7A42CC055BDB}"/>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41">
                      <a:extLst>
                        <a:ext uri="{FF2B5EF4-FFF2-40B4-BE49-F238E27FC236}">
                          <a16:creationId xmlns:a16="http://schemas.microsoft.com/office/drawing/2014/main" id="{18619CC1-E2C8-4597-8D19-17C051AC5832}"/>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Line 42">
                      <a:extLst>
                        <a:ext uri="{FF2B5EF4-FFF2-40B4-BE49-F238E27FC236}">
                          <a16:creationId xmlns:a16="http://schemas.microsoft.com/office/drawing/2014/main" id="{077688DD-4959-492D-A38B-F7F4DA2D706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43">
                      <a:extLst>
                        <a:ext uri="{FF2B5EF4-FFF2-40B4-BE49-F238E27FC236}">
                          <a16:creationId xmlns:a16="http://schemas.microsoft.com/office/drawing/2014/main" id="{63964BEB-5C80-422C-9B02-903C695A74F9}"/>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44">
                      <a:extLst>
                        <a:ext uri="{FF2B5EF4-FFF2-40B4-BE49-F238E27FC236}">
                          <a16:creationId xmlns:a16="http://schemas.microsoft.com/office/drawing/2014/main" id="{8781F828-477B-454E-BFB9-0F0612F363B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45">
                      <a:extLst>
                        <a:ext uri="{FF2B5EF4-FFF2-40B4-BE49-F238E27FC236}">
                          <a16:creationId xmlns:a16="http://schemas.microsoft.com/office/drawing/2014/main" id="{491C9A09-CF23-4BDC-B52E-C10D665FD5DB}"/>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93" name="Group 2392">
                      <a:extLst>
                        <a:ext uri="{FF2B5EF4-FFF2-40B4-BE49-F238E27FC236}">
                          <a16:creationId xmlns:a16="http://schemas.microsoft.com/office/drawing/2014/main" id="{898AB74D-865B-4AC1-A2E1-6A721810FC08}"/>
                        </a:ext>
                      </a:extLst>
                    </p:cNvPr>
                    <p:cNvGrpSpPr/>
                    <p:nvPr/>
                  </p:nvGrpSpPr>
                  <p:grpSpPr>
                    <a:xfrm flipV="1">
                      <a:off x="1202047" y="3517919"/>
                      <a:ext cx="178734" cy="348678"/>
                      <a:chOff x="1207113" y="2241878"/>
                      <a:chExt cx="178734" cy="348678"/>
                    </a:xfrm>
                  </p:grpSpPr>
                  <p:sp>
                    <p:nvSpPr>
                      <p:cNvPr id="2394" name="Freeform 10">
                        <a:extLst>
                          <a:ext uri="{FF2B5EF4-FFF2-40B4-BE49-F238E27FC236}">
                            <a16:creationId xmlns:a16="http://schemas.microsoft.com/office/drawing/2014/main" id="{32BFCF5B-2A90-4D1E-BC5D-ED90BA60A8E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Line 11">
                        <a:extLst>
                          <a:ext uri="{FF2B5EF4-FFF2-40B4-BE49-F238E27FC236}">
                            <a16:creationId xmlns:a16="http://schemas.microsoft.com/office/drawing/2014/main" id="{940EEEED-205D-45E2-8045-4D4CB193EFC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43" name="Group 2342">
                  <a:extLst>
                    <a:ext uri="{FF2B5EF4-FFF2-40B4-BE49-F238E27FC236}">
                      <a16:creationId xmlns:a16="http://schemas.microsoft.com/office/drawing/2014/main" id="{F2787B05-646C-4D65-9A7A-36A88A926A83}"/>
                    </a:ext>
                  </a:extLst>
                </p:cNvPr>
                <p:cNvGrpSpPr>
                  <a:grpSpLocks/>
                </p:cNvGrpSpPr>
                <p:nvPr/>
              </p:nvGrpSpPr>
              <p:grpSpPr>
                <a:xfrm>
                  <a:off x="11709639" y="2297897"/>
                  <a:ext cx="690952" cy="690956"/>
                  <a:chOff x="2268747" y="4723725"/>
                  <a:chExt cx="415610" cy="415612"/>
                </a:xfrm>
              </p:grpSpPr>
              <p:grpSp>
                <p:nvGrpSpPr>
                  <p:cNvPr id="2344" name="Group 64">
                    <a:extLst>
                      <a:ext uri="{FF2B5EF4-FFF2-40B4-BE49-F238E27FC236}">
                        <a16:creationId xmlns:a16="http://schemas.microsoft.com/office/drawing/2014/main" id="{06346E34-701B-4AD6-964D-7A9F9B49A695}"/>
                      </a:ext>
                    </a:extLst>
                  </p:cNvPr>
                  <p:cNvGrpSpPr>
                    <a:grpSpLocks noChangeAspect="1"/>
                  </p:cNvGrpSpPr>
                  <p:nvPr/>
                </p:nvGrpSpPr>
                <p:grpSpPr bwMode="auto">
                  <a:xfrm rot="8100000">
                    <a:off x="2268747" y="4723725"/>
                    <a:ext cx="415610" cy="415612"/>
                    <a:chOff x="701" y="2170"/>
                    <a:chExt cx="587" cy="587"/>
                  </a:xfrm>
                </p:grpSpPr>
                <p:sp>
                  <p:nvSpPr>
                    <p:cNvPr id="2359" name="Oval 65">
                      <a:extLst>
                        <a:ext uri="{FF2B5EF4-FFF2-40B4-BE49-F238E27FC236}">
                          <a16:creationId xmlns:a16="http://schemas.microsoft.com/office/drawing/2014/main" id="{8EB33C98-7919-40A6-BA81-0DB10021E60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0" name="Line 66">
                      <a:extLst>
                        <a:ext uri="{FF2B5EF4-FFF2-40B4-BE49-F238E27FC236}">
                          <a16:creationId xmlns:a16="http://schemas.microsoft.com/office/drawing/2014/main" id="{8B436F5E-7B09-4197-A9BF-AA3EEB50A01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1" name="Line 67">
                      <a:extLst>
                        <a:ext uri="{FF2B5EF4-FFF2-40B4-BE49-F238E27FC236}">
                          <a16:creationId xmlns:a16="http://schemas.microsoft.com/office/drawing/2014/main" id="{B8415E10-9FE4-423F-A0F8-1E3F1B261D6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2" name="Line 69">
                      <a:extLst>
                        <a:ext uri="{FF2B5EF4-FFF2-40B4-BE49-F238E27FC236}">
                          <a16:creationId xmlns:a16="http://schemas.microsoft.com/office/drawing/2014/main" id="{DE306D38-3265-45BF-8970-3D7CCF01C57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74">
                      <a:extLst>
                        <a:ext uri="{FF2B5EF4-FFF2-40B4-BE49-F238E27FC236}">
                          <a16:creationId xmlns:a16="http://schemas.microsoft.com/office/drawing/2014/main" id="{88B5FD0F-2773-4164-8157-34B9773714E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78">
                      <a:extLst>
                        <a:ext uri="{FF2B5EF4-FFF2-40B4-BE49-F238E27FC236}">
                          <a16:creationId xmlns:a16="http://schemas.microsoft.com/office/drawing/2014/main" id="{B247FC20-0A3F-45C6-9310-F0A34F056B1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Freeform 80">
                      <a:extLst>
                        <a:ext uri="{FF2B5EF4-FFF2-40B4-BE49-F238E27FC236}">
                          <a16:creationId xmlns:a16="http://schemas.microsoft.com/office/drawing/2014/main" id="{1842726F-5069-4D24-AAC7-751E3A3B4E8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45" name="Group 2344">
                    <a:extLst>
                      <a:ext uri="{FF2B5EF4-FFF2-40B4-BE49-F238E27FC236}">
                        <a16:creationId xmlns:a16="http://schemas.microsoft.com/office/drawing/2014/main" id="{20B13210-E291-4DD2-AE8D-C0095A6E585F}"/>
                      </a:ext>
                    </a:extLst>
                  </p:cNvPr>
                  <p:cNvGrpSpPr/>
                  <p:nvPr/>
                </p:nvGrpSpPr>
                <p:grpSpPr>
                  <a:xfrm>
                    <a:off x="2318076" y="4830163"/>
                    <a:ext cx="313949" cy="233075"/>
                    <a:chOff x="3707533" y="2731244"/>
                    <a:chExt cx="389644" cy="289271"/>
                  </a:xfrm>
                </p:grpSpPr>
                <p:sp>
                  <p:nvSpPr>
                    <p:cNvPr id="2346" name="Freeform 33">
                      <a:extLst>
                        <a:ext uri="{FF2B5EF4-FFF2-40B4-BE49-F238E27FC236}">
                          <a16:creationId xmlns:a16="http://schemas.microsoft.com/office/drawing/2014/main" id="{3D2F6D8B-4EF2-4583-94C4-F7B0C276277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7" name="Freeform 34">
                      <a:extLst>
                        <a:ext uri="{FF2B5EF4-FFF2-40B4-BE49-F238E27FC236}">
                          <a16:creationId xmlns:a16="http://schemas.microsoft.com/office/drawing/2014/main" id="{66562D15-4F81-4EC2-94BD-B73F3671CBC9}"/>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8" name="Freeform 37">
                      <a:extLst>
                        <a:ext uri="{FF2B5EF4-FFF2-40B4-BE49-F238E27FC236}">
                          <a16:creationId xmlns:a16="http://schemas.microsoft.com/office/drawing/2014/main" id="{5E1EF50E-8816-410A-B0E5-FE1A6E2996B7}"/>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9" name="Freeform 38">
                      <a:extLst>
                        <a:ext uri="{FF2B5EF4-FFF2-40B4-BE49-F238E27FC236}">
                          <a16:creationId xmlns:a16="http://schemas.microsoft.com/office/drawing/2014/main" id="{FAA8FFD6-4CAD-4586-B4B6-700EE72F8056}"/>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0" name="Freeform 32">
                      <a:extLst>
                        <a:ext uri="{FF2B5EF4-FFF2-40B4-BE49-F238E27FC236}">
                          <a16:creationId xmlns:a16="http://schemas.microsoft.com/office/drawing/2014/main" id="{168CC538-A4CE-43C1-96E6-15B7BEEF59CA}"/>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Freeform 35">
                      <a:extLst>
                        <a:ext uri="{FF2B5EF4-FFF2-40B4-BE49-F238E27FC236}">
                          <a16:creationId xmlns:a16="http://schemas.microsoft.com/office/drawing/2014/main" id="{061EBEBB-DE89-4A39-9F78-9C28C6C763F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2" name="Freeform 36">
                      <a:extLst>
                        <a:ext uri="{FF2B5EF4-FFF2-40B4-BE49-F238E27FC236}">
                          <a16:creationId xmlns:a16="http://schemas.microsoft.com/office/drawing/2014/main" id="{DE766E5A-D0AA-4A96-989C-4929378FA152}"/>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3" name="Freeform 25">
                      <a:extLst>
                        <a:ext uri="{FF2B5EF4-FFF2-40B4-BE49-F238E27FC236}">
                          <a16:creationId xmlns:a16="http://schemas.microsoft.com/office/drawing/2014/main" id="{F9F012C2-0C37-494E-833D-97D5C4B492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4" name="Freeform 39">
                      <a:extLst>
                        <a:ext uri="{FF2B5EF4-FFF2-40B4-BE49-F238E27FC236}">
                          <a16:creationId xmlns:a16="http://schemas.microsoft.com/office/drawing/2014/main" id="{48F7AFF8-F6F7-4916-A70E-D5FDC70A6B2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26">
                      <a:extLst>
                        <a:ext uri="{FF2B5EF4-FFF2-40B4-BE49-F238E27FC236}">
                          <a16:creationId xmlns:a16="http://schemas.microsoft.com/office/drawing/2014/main" id="{53E3DA99-94AD-46F8-954D-8C76941515D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6" name="Rectangle 27">
                      <a:extLst>
                        <a:ext uri="{FF2B5EF4-FFF2-40B4-BE49-F238E27FC236}">
                          <a16:creationId xmlns:a16="http://schemas.microsoft.com/office/drawing/2014/main" id="{8CC9A94E-14AB-4B5F-8C21-11B171CD12F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7" name="Line 29">
                      <a:extLst>
                        <a:ext uri="{FF2B5EF4-FFF2-40B4-BE49-F238E27FC236}">
                          <a16:creationId xmlns:a16="http://schemas.microsoft.com/office/drawing/2014/main" id="{EE064643-6E4D-4CA1-A72B-E8FE744C65B0}"/>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8" name="Line 31">
                      <a:extLst>
                        <a:ext uri="{FF2B5EF4-FFF2-40B4-BE49-F238E27FC236}">
                          <a16:creationId xmlns:a16="http://schemas.microsoft.com/office/drawing/2014/main" id="{8457FEE4-3039-499F-80C6-B2026E6F2B17}"/>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340" name="Rectangle 2339">
                <a:extLst>
                  <a:ext uri="{FF2B5EF4-FFF2-40B4-BE49-F238E27FC236}">
                    <a16:creationId xmlns:a16="http://schemas.microsoft.com/office/drawing/2014/main" id="{6CE99C9D-6327-4B9A-9064-CCAD4C95F15C}"/>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497" name="Rectangle 2496">
              <a:extLst>
                <a:ext uri="{FF2B5EF4-FFF2-40B4-BE49-F238E27FC236}">
                  <a16:creationId xmlns:a16="http://schemas.microsoft.com/office/drawing/2014/main" id="{5321E8A4-5150-488B-82C4-764ADF9097B1}"/>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544" name="Group 2543">
            <a:extLst>
              <a:ext uri="{FF2B5EF4-FFF2-40B4-BE49-F238E27FC236}">
                <a16:creationId xmlns:a16="http://schemas.microsoft.com/office/drawing/2014/main" id="{7CF70DB9-3C21-4F6A-A0D2-87A2EAFF679D}"/>
              </a:ext>
            </a:extLst>
          </p:cNvPr>
          <p:cNvGrpSpPr/>
          <p:nvPr/>
        </p:nvGrpSpPr>
        <p:grpSpPr>
          <a:xfrm>
            <a:off x="496680" y="1864299"/>
            <a:ext cx="1451488" cy="649270"/>
            <a:chOff x="1688915" y="1573673"/>
            <a:chExt cx="1455572" cy="651097"/>
          </a:xfrm>
        </p:grpSpPr>
        <p:sp>
          <p:nvSpPr>
            <p:cNvPr id="2545" name="Right Arrow 551">
              <a:extLst>
                <a:ext uri="{FF2B5EF4-FFF2-40B4-BE49-F238E27FC236}">
                  <a16:creationId xmlns:a16="http://schemas.microsoft.com/office/drawing/2014/main" id="{60716A56-708D-4D57-A035-5566C369D652}"/>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546" name="Group 2545">
              <a:extLst>
                <a:ext uri="{FF2B5EF4-FFF2-40B4-BE49-F238E27FC236}">
                  <a16:creationId xmlns:a16="http://schemas.microsoft.com/office/drawing/2014/main" id="{2A86400A-22B2-422F-88B6-A6CFA4435DE2}"/>
                </a:ext>
              </a:extLst>
            </p:cNvPr>
            <p:cNvGrpSpPr>
              <a:grpSpLocks/>
            </p:cNvGrpSpPr>
            <p:nvPr/>
          </p:nvGrpSpPr>
          <p:grpSpPr>
            <a:xfrm>
              <a:off x="1688915" y="1795002"/>
              <a:ext cx="418017" cy="418017"/>
              <a:chOff x="745985" y="4768134"/>
              <a:chExt cx="368776" cy="368777"/>
            </a:xfrm>
          </p:grpSpPr>
          <p:grpSp>
            <p:nvGrpSpPr>
              <p:cNvPr id="2610" name="Group 64">
                <a:extLst>
                  <a:ext uri="{FF2B5EF4-FFF2-40B4-BE49-F238E27FC236}">
                    <a16:creationId xmlns:a16="http://schemas.microsoft.com/office/drawing/2014/main" id="{37876098-F815-4A75-A3F5-8342895CBBEF}"/>
                  </a:ext>
                </a:extLst>
              </p:cNvPr>
              <p:cNvGrpSpPr>
                <a:grpSpLocks noChangeAspect="1"/>
              </p:cNvGrpSpPr>
              <p:nvPr/>
            </p:nvGrpSpPr>
            <p:grpSpPr bwMode="auto">
              <a:xfrm rot="8100000">
                <a:off x="745985" y="4768134"/>
                <a:ext cx="368776" cy="368777"/>
                <a:chOff x="701" y="2170"/>
                <a:chExt cx="587" cy="587"/>
              </a:xfrm>
            </p:grpSpPr>
            <p:sp>
              <p:nvSpPr>
                <p:cNvPr id="2621" name="Oval 65">
                  <a:extLst>
                    <a:ext uri="{FF2B5EF4-FFF2-40B4-BE49-F238E27FC236}">
                      <a16:creationId xmlns:a16="http://schemas.microsoft.com/office/drawing/2014/main" id="{2DF0D91C-2D49-46A4-8E67-9D5B89E66B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2" name="Line 66">
                  <a:extLst>
                    <a:ext uri="{FF2B5EF4-FFF2-40B4-BE49-F238E27FC236}">
                      <a16:creationId xmlns:a16="http://schemas.microsoft.com/office/drawing/2014/main" id="{54F40249-A4E6-4758-A6D0-B2E796EF826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3" name="Line 67">
                  <a:extLst>
                    <a:ext uri="{FF2B5EF4-FFF2-40B4-BE49-F238E27FC236}">
                      <a16:creationId xmlns:a16="http://schemas.microsoft.com/office/drawing/2014/main" id="{07CC7B68-631A-483D-B0A0-D20552A4A07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69">
                  <a:extLst>
                    <a:ext uri="{FF2B5EF4-FFF2-40B4-BE49-F238E27FC236}">
                      <a16:creationId xmlns:a16="http://schemas.microsoft.com/office/drawing/2014/main" id="{737AEDA1-E4DE-4651-93A7-CDF6E1C2D9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5" name="Line 74">
                  <a:extLst>
                    <a:ext uri="{FF2B5EF4-FFF2-40B4-BE49-F238E27FC236}">
                      <a16:creationId xmlns:a16="http://schemas.microsoft.com/office/drawing/2014/main" id="{E9A3B492-7197-464A-B9EB-B58BA964764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Freeform 78">
                  <a:extLst>
                    <a:ext uri="{FF2B5EF4-FFF2-40B4-BE49-F238E27FC236}">
                      <a16:creationId xmlns:a16="http://schemas.microsoft.com/office/drawing/2014/main" id="{2578CF9C-E829-48FA-AA33-AEA16D6FFD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7" name="Freeform 80">
                  <a:extLst>
                    <a:ext uri="{FF2B5EF4-FFF2-40B4-BE49-F238E27FC236}">
                      <a16:creationId xmlns:a16="http://schemas.microsoft.com/office/drawing/2014/main" id="{E9C922BB-A626-4ADB-B528-1CE3E09729D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11" name="Group 2610">
                <a:extLst>
                  <a:ext uri="{FF2B5EF4-FFF2-40B4-BE49-F238E27FC236}">
                    <a16:creationId xmlns:a16="http://schemas.microsoft.com/office/drawing/2014/main" id="{B05CA430-DBB2-4069-83F5-B0564A8088E4}"/>
                  </a:ext>
                </a:extLst>
              </p:cNvPr>
              <p:cNvGrpSpPr/>
              <p:nvPr/>
            </p:nvGrpSpPr>
            <p:grpSpPr>
              <a:xfrm>
                <a:off x="837312" y="4814434"/>
                <a:ext cx="136805" cy="278689"/>
                <a:chOff x="2806700" y="2803319"/>
                <a:chExt cx="433387" cy="882861"/>
              </a:xfrm>
            </p:grpSpPr>
            <p:grpSp>
              <p:nvGrpSpPr>
                <p:cNvPr id="2612" name="Group 2611">
                  <a:extLst>
                    <a:ext uri="{FF2B5EF4-FFF2-40B4-BE49-F238E27FC236}">
                      <a16:creationId xmlns:a16="http://schemas.microsoft.com/office/drawing/2014/main" id="{0EDC82F8-83D1-4536-A959-C2D2FD5273E9}"/>
                    </a:ext>
                  </a:extLst>
                </p:cNvPr>
                <p:cNvGrpSpPr>
                  <a:grpSpLocks noChangeAspect="1"/>
                </p:cNvGrpSpPr>
                <p:nvPr/>
              </p:nvGrpSpPr>
              <p:grpSpPr bwMode="auto">
                <a:xfrm>
                  <a:off x="2806700" y="3043242"/>
                  <a:ext cx="433387" cy="642938"/>
                  <a:chOff x="1768" y="1917"/>
                  <a:chExt cx="273" cy="405"/>
                </a:xfrm>
              </p:grpSpPr>
              <p:sp>
                <p:nvSpPr>
                  <p:cNvPr id="2614" name="Freeform 52">
                    <a:extLst>
                      <a:ext uri="{FF2B5EF4-FFF2-40B4-BE49-F238E27FC236}">
                        <a16:creationId xmlns:a16="http://schemas.microsoft.com/office/drawing/2014/main" id="{0BCE2018-B6C9-4D30-9121-A67C4EE2AB3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Line 54">
                    <a:extLst>
                      <a:ext uri="{FF2B5EF4-FFF2-40B4-BE49-F238E27FC236}">
                        <a16:creationId xmlns:a16="http://schemas.microsoft.com/office/drawing/2014/main" id="{EC581916-8210-4552-9CD2-6819AC9BAA7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6" name="Line 55">
                    <a:extLst>
                      <a:ext uri="{FF2B5EF4-FFF2-40B4-BE49-F238E27FC236}">
                        <a16:creationId xmlns:a16="http://schemas.microsoft.com/office/drawing/2014/main" id="{258D4DF1-6C6F-424D-9ED5-1E6427BB5C6D}"/>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56">
                    <a:extLst>
                      <a:ext uri="{FF2B5EF4-FFF2-40B4-BE49-F238E27FC236}">
                        <a16:creationId xmlns:a16="http://schemas.microsoft.com/office/drawing/2014/main" id="{EFC4BA31-C988-4E9F-BCA1-A5BE4DA774B7}"/>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57">
                    <a:extLst>
                      <a:ext uri="{FF2B5EF4-FFF2-40B4-BE49-F238E27FC236}">
                        <a16:creationId xmlns:a16="http://schemas.microsoft.com/office/drawing/2014/main" id="{60554008-CF73-4CB7-B029-7BB6BC69B4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58">
                    <a:extLst>
                      <a:ext uri="{FF2B5EF4-FFF2-40B4-BE49-F238E27FC236}">
                        <a16:creationId xmlns:a16="http://schemas.microsoft.com/office/drawing/2014/main" id="{8663360D-1E34-41B4-9F2E-AD0DC682F5E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Rectangle 2619">
                    <a:extLst>
                      <a:ext uri="{FF2B5EF4-FFF2-40B4-BE49-F238E27FC236}">
                        <a16:creationId xmlns:a16="http://schemas.microsoft.com/office/drawing/2014/main" id="{5B65E2D2-857D-40B6-8F41-EA1235FAE848}"/>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13" name="Oval 2612">
                  <a:extLst>
                    <a:ext uri="{FF2B5EF4-FFF2-40B4-BE49-F238E27FC236}">
                      <a16:creationId xmlns:a16="http://schemas.microsoft.com/office/drawing/2014/main" id="{B63520A8-B7C0-44DB-955E-5A06BF0CF4B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47" name="Group 2546">
              <a:extLst>
                <a:ext uri="{FF2B5EF4-FFF2-40B4-BE49-F238E27FC236}">
                  <a16:creationId xmlns:a16="http://schemas.microsoft.com/office/drawing/2014/main" id="{70E3FDAB-8078-4444-B685-4B8E2BB15BF0}"/>
                </a:ext>
              </a:extLst>
            </p:cNvPr>
            <p:cNvGrpSpPr>
              <a:grpSpLocks/>
            </p:cNvGrpSpPr>
            <p:nvPr/>
          </p:nvGrpSpPr>
          <p:grpSpPr>
            <a:xfrm>
              <a:off x="2196256" y="1795002"/>
              <a:ext cx="429139" cy="429142"/>
              <a:chOff x="1454941" y="4721722"/>
              <a:chExt cx="473625" cy="473627"/>
            </a:xfrm>
          </p:grpSpPr>
          <p:grpSp>
            <p:nvGrpSpPr>
              <p:cNvPr id="2571" name="Group 64">
                <a:extLst>
                  <a:ext uri="{FF2B5EF4-FFF2-40B4-BE49-F238E27FC236}">
                    <a16:creationId xmlns:a16="http://schemas.microsoft.com/office/drawing/2014/main" id="{B39C39E7-EA9F-4EBC-9AAB-F9883F63F91C}"/>
                  </a:ext>
                </a:extLst>
              </p:cNvPr>
              <p:cNvGrpSpPr>
                <a:grpSpLocks noChangeAspect="1"/>
              </p:cNvGrpSpPr>
              <p:nvPr/>
            </p:nvGrpSpPr>
            <p:grpSpPr bwMode="auto">
              <a:xfrm rot="8100000">
                <a:off x="1454941" y="4721722"/>
                <a:ext cx="473625" cy="473627"/>
                <a:chOff x="701" y="2170"/>
                <a:chExt cx="587" cy="587"/>
              </a:xfrm>
            </p:grpSpPr>
            <p:sp>
              <p:nvSpPr>
                <p:cNvPr id="2603" name="Oval 65">
                  <a:extLst>
                    <a:ext uri="{FF2B5EF4-FFF2-40B4-BE49-F238E27FC236}">
                      <a16:creationId xmlns:a16="http://schemas.microsoft.com/office/drawing/2014/main" id="{1741B508-5571-4D54-A0EB-547A9E77B78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04" name="Line 66">
                  <a:extLst>
                    <a:ext uri="{FF2B5EF4-FFF2-40B4-BE49-F238E27FC236}">
                      <a16:creationId xmlns:a16="http://schemas.microsoft.com/office/drawing/2014/main" id="{70676CEF-249F-420C-85A3-B991722F7A3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Line 67">
                  <a:extLst>
                    <a:ext uri="{FF2B5EF4-FFF2-40B4-BE49-F238E27FC236}">
                      <a16:creationId xmlns:a16="http://schemas.microsoft.com/office/drawing/2014/main" id="{1EF5F94B-E9B8-4900-A031-222A5CC2040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69">
                  <a:extLst>
                    <a:ext uri="{FF2B5EF4-FFF2-40B4-BE49-F238E27FC236}">
                      <a16:creationId xmlns:a16="http://schemas.microsoft.com/office/drawing/2014/main" id="{2BB013A3-42B7-4018-89D4-5C83D78682F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Line 74">
                  <a:extLst>
                    <a:ext uri="{FF2B5EF4-FFF2-40B4-BE49-F238E27FC236}">
                      <a16:creationId xmlns:a16="http://schemas.microsoft.com/office/drawing/2014/main" id="{00686483-DECD-45BF-9A77-564856213CC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Freeform 78">
                  <a:extLst>
                    <a:ext uri="{FF2B5EF4-FFF2-40B4-BE49-F238E27FC236}">
                      <a16:creationId xmlns:a16="http://schemas.microsoft.com/office/drawing/2014/main" id="{84F7DED2-E0F1-4DE4-A520-B0C26D9E750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80">
                  <a:extLst>
                    <a:ext uri="{FF2B5EF4-FFF2-40B4-BE49-F238E27FC236}">
                      <a16:creationId xmlns:a16="http://schemas.microsoft.com/office/drawing/2014/main" id="{039693EE-14A9-4591-B409-53500D914F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2" name="Group 2571">
                <a:extLst>
                  <a:ext uri="{FF2B5EF4-FFF2-40B4-BE49-F238E27FC236}">
                    <a16:creationId xmlns:a16="http://schemas.microsoft.com/office/drawing/2014/main" id="{89DDA1AB-DB1A-4F2A-A1F6-F55E86107FD2}"/>
                  </a:ext>
                </a:extLst>
              </p:cNvPr>
              <p:cNvGrpSpPr/>
              <p:nvPr/>
            </p:nvGrpSpPr>
            <p:grpSpPr>
              <a:xfrm>
                <a:off x="1511214" y="4789508"/>
                <a:ext cx="356509" cy="349884"/>
                <a:chOff x="468738" y="2241878"/>
                <a:chExt cx="1655483" cy="1624719"/>
              </a:xfrm>
            </p:grpSpPr>
            <p:sp>
              <p:nvSpPr>
                <p:cNvPr id="2573" name="Freeform 5">
                  <a:extLst>
                    <a:ext uri="{FF2B5EF4-FFF2-40B4-BE49-F238E27FC236}">
                      <a16:creationId xmlns:a16="http://schemas.microsoft.com/office/drawing/2014/main" id="{172B99D1-5F8D-43B0-A8CF-683A3625D04B}"/>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4" name="Freeform 6">
                  <a:extLst>
                    <a:ext uri="{FF2B5EF4-FFF2-40B4-BE49-F238E27FC236}">
                      <a16:creationId xmlns:a16="http://schemas.microsoft.com/office/drawing/2014/main" id="{F3FDED16-95F9-45A6-A5C2-AF3C7FBE84F6}"/>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5" name="Line 7">
                  <a:extLst>
                    <a:ext uri="{FF2B5EF4-FFF2-40B4-BE49-F238E27FC236}">
                      <a16:creationId xmlns:a16="http://schemas.microsoft.com/office/drawing/2014/main" id="{AAD0AA96-C242-4B23-8EFA-298E3BEDAA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8">
                  <a:extLst>
                    <a:ext uri="{FF2B5EF4-FFF2-40B4-BE49-F238E27FC236}">
                      <a16:creationId xmlns:a16="http://schemas.microsoft.com/office/drawing/2014/main" id="{65ACEBDE-EC2B-4A9C-8F9A-3E59E956386C}"/>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7" name="Line 9">
                  <a:extLst>
                    <a:ext uri="{FF2B5EF4-FFF2-40B4-BE49-F238E27FC236}">
                      <a16:creationId xmlns:a16="http://schemas.microsoft.com/office/drawing/2014/main" id="{FA37A858-97DB-4449-ACE8-3885E0019D9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78" name="Group 2577">
                  <a:extLst>
                    <a:ext uri="{FF2B5EF4-FFF2-40B4-BE49-F238E27FC236}">
                      <a16:creationId xmlns:a16="http://schemas.microsoft.com/office/drawing/2014/main" id="{79C5D445-41D4-40B0-AF1A-755E76DDC7B4}"/>
                    </a:ext>
                  </a:extLst>
                </p:cNvPr>
                <p:cNvGrpSpPr/>
                <p:nvPr/>
              </p:nvGrpSpPr>
              <p:grpSpPr>
                <a:xfrm>
                  <a:off x="1207113" y="2241878"/>
                  <a:ext cx="178734" cy="348678"/>
                  <a:chOff x="1207113" y="2241878"/>
                  <a:chExt cx="178734" cy="348678"/>
                </a:xfrm>
              </p:grpSpPr>
              <p:sp>
                <p:nvSpPr>
                  <p:cNvPr id="2601" name="Freeform 10">
                    <a:extLst>
                      <a:ext uri="{FF2B5EF4-FFF2-40B4-BE49-F238E27FC236}">
                        <a16:creationId xmlns:a16="http://schemas.microsoft.com/office/drawing/2014/main" id="{54AC54D8-9353-4873-A0D6-DA52C82071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2" name="Line 11">
                    <a:extLst>
                      <a:ext uri="{FF2B5EF4-FFF2-40B4-BE49-F238E27FC236}">
                        <a16:creationId xmlns:a16="http://schemas.microsoft.com/office/drawing/2014/main" id="{67538569-E1FB-43CB-8C4E-E50AB927A62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79" name="Freeform 12">
                  <a:extLst>
                    <a:ext uri="{FF2B5EF4-FFF2-40B4-BE49-F238E27FC236}">
                      <a16:creationId xmlns:a16="http://schemas.microsoft.com/office/drawing/2014/main" id="{23AB89EB-3C17-472E-A344-FA38E6EB684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0" name="Line 13">
                  <a:extLst>
                    <a:ext uri="{FF2B5EF4-FFF2-40B4-BE49-F238E27FC236}">
                      <a16:creationId xmlns:a16="http://schemas.microsoft.com/office/drawing/2014/main" id="{43C11C09-0BC9-4BFF-875F-ABE448A152D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14">
                  <a:extLst>
                    <a:ext uri="{FF2B5EF4-FFF2-40B4-BE49-F238E27FC236}">
                      <a16:creationId xmlns:a16="http://schemas.microsoft.com/office/drawing/2014/main" id="{F0F5FDC1-C77E-42C1-837C-FAF73023CF4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2" name="Line 15">
                  <a:extLst>
                    <a:ext uri="{FF2B5EF4-FFF2-40B4-BE49-F238E27FC236}">
                      <a16:creationId xmlns:a16="http://schemas.microsoft.com/office/drawing/2014/main" id="{D14B5AA4-719D-4159-8916-F2A1A34A91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16">
                  <a:extLst>
                    <a:ext uri="{FF2B5EF4-FFF2-40B4-BE49-F238E27FC236}">
                      <a16:creationId xmlns:a16="http://schemas.microsoft.com/office/drawing/2014/main" id="{F8FBC1AC-6574-47C3-8438-C023623B260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4" name="Line 17">
                  <a:extLst>
                    <a:ext uri="{FF2B5EF4-FFF2-40B4-BE49-F238E27FC236}">
                      <a16:creationId xmlns:a16="http://schemas.microsoft.com/office/drawing/2014/main" id="{08056CE5-759B-45BA-AD64-E8F92BBD2A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5" name="Freeform 18">
                  <a:extLst>
                    <a:ext uri="{FF2B5EF4-FFF2-40B4-BE49-F238E27FC236}">
                      <a16:creationId xmlns:a16="http://schemas.microsoft.com/office/drawing/2014/main" id="{6A51513C-BEE0-4282-A5DF-6205F1EA066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6" name="Line 19">
                  <a:extLst>
                    <a:ext uri="{FF2B5EF4-FFF2-40B4-BE49-F238E27FC236}">
                      <a16:creationId xmlns:a16="http://schemas.microsoft.com/office/drawing/2014/main" id="{AEAAE65E-5999-432E-9C21-5E4FB83DDEB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Freeform 35">
                  <a:extLst>
                    <a:ext uri="{FF2B5EF4-FFF2-40B4-BE49-F238E27FC236}">
                      <a16:creationId xmlns:a16="http://schemas.microsoft.com/office/drawing/2014/main" id="{905B05FD-7A7F-48F9-A413-495E4E3EF3B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8" name="Freeform 36">
                  <a:extLst>
                    <a:ext uri="{FF2B5EF4-FFF2-40B4-BE49-F238E27FC236}">
                      <a16:creationId xmlns:a16="http://schemas.microsoft.com/office/drawing/2014/main" id="{2921A0B4-2BEA-4CE2-8F22-3E172B32B81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9" name="Freeform 37">
                  <a:extLst>
                    <a:ext uri="{FF2B5EF4-FFF2-40B4-BE49-F238E27FC236}">
                      <a16:creationId xmlns:a16="http://schemas.microsoft.com/office/drawing/2014/main" id="{74FD599A-C4E5-4385-B21D-C11D5169B587}"/>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Freeform 38">
                  <a:extLst>
                    <a:ext uri="{FF2B5EF4-FFF2-40B4-BE49-F238E27FC236}">
                      <a16:creationId xmlns:a16="http://schemas.microsoft.com/office/drawing/2014/main" id="{8F85F175-9B1B-40F9-946C-DE9DDA6E8A4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1" name="Freeform 39">
                  <a:extLst>
                    <a:ext uri="{FF2B5EF4-FFF2-40B4-BE49-F238E27FC236}">
                      <a16:creationId xmlns:a16="http://schemas.microsoft.com/office/drawing/2014/main" id="{53790508-4459-4A51-8C21-80B6C72D01A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2" name="Freeform 40">
                  <a:extLst>
                    <a:ext uri="{FF2B5EF4-FFF2-40B4-BE49-F238E27FC236}">
                      <a16:creationId xmlns:a16="http://schemas.microsoft.com/office/drawing/2014/main" id="{E9E238AF-9ECF-452F-B6DB-E6DF88A9C969}"/>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41">
                  <a:extLst>
                    <a:ext uri="{FF2B5EF4-FFF2-40B4-BE49-F238E27FC236}">
                      <a16:creationId xmlns:a16="http://schemas.microsoft.com/office/drawing/2014/main" id="{D11F8F04-D95B-4398-934F-456924E564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Line 42">
                  <a:extLst>
                    <a:ext uri="{FF2B5EF4-FFF2-40B4-BE49-F238E27FC236}">
                      <a16:creationId xmlns:a16="http://schemas.microsoft.com/office/drawing/2014/main" id="{7CA960FB-560C-4E5A-8FE9-85E545A1B2C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5" name="Freeform 43">
                  <a:extLst>
                    <a:ext uri="{FF2B5EF4-FFF2-40B4-BE49-F238E27FC236}">
                      <a16:creationId xmlns:a16="http://schemas.microsoft.com/office/drawing/2014/main" id="{8352DF51-BA50-42A8-AAA7-896B47106C3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6" name="Freeform 44">
                  <a:extLst>
                    <a:ext uri="{FF2B5EF4-FFF2-40B4-BE49-F238E27FC236}">
                      <a16:creationId xmlns:a16="http://schemas.microsoft.com/office/drawing/2014/main" id="{BDD7E630-68FF-4E07-BB6A-C1149D795D9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7" name="Freeform 45">
                  <a:extLst>
                    <a:ext uri="{FF2B5EF4-FFF2-40B4-BE49-F238E27FC236}">
                      <a16:creationId xmlns:a16="http://schemas.microsoft.com/office/drawing/2014/main" id="{861BDD01-35EE-466A-B33F-9A1961BB3060}"/>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98" name="Group 2597">
                  <a:extLst>
                    <a:ext uri="{FF2B5EF4-FFF2-40B4-BE49-F238E27FC236}">
                      <a16:creationId xmlns:a16="http://schemas.microsoft.com/office/drawing/2014/main" id="{7B1758D7-BE5F-464F-BC14-3A269D9754BC}"/>
                    </a:ext>
                  </a:extLst>
                </p:cNvPr>
                <p:cNvGrpSpPr/>
                <p:nvPr/>
              </p:nvGrpSpPr>
              <p:grpSpPr>
                <a:xfrm flipV="1">
                  <a:off x="1202047" y="3517919"/>
                  <a:ext cx="178734" cy="348678"/>
                  <a:chOff x="1207113" y="2241878"/>
                  <a:chExt cx="178734" cy="348678"/>
                </a:xfrm>
              </p:grpSpPr>
              <p:sp>
                <p:nvSpPr>
                  <p:cNvPr id="2599" name="Freeform 10">
                    <a:extLst>
                      <a:ext uri="{FF2B5EF4-FFF2-40B4-BE49-F238E27FC236}">
                        <a16:creationId xmlns:a16="http://schemas.microsoft.com/office/drawing/2014/main" id="{019506FC-658D-4D9A-A18D-8059D37E15F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Line 11">
                    <a:extLst>
                      <a:ext uri="{FF2B5EF4-FFF2-40B4-BE49-F238E27FC236}">
                        <a16:creationId xmlns:a16="http://schemas.microsoft.com/office/drawing/2014/main" id="{99B84B6D-9AFF-4FEA-9FDC-B8BF3387F94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48" name="Group 2547">
              <a:extLst>
                <a:ext uri="{FF2B5EF4-FFF2-40B4-BE49-F238E27FC236}">
                  <a16:creationId xmlns:a16="http://schemas.microsoft.com/office/drawing/2014/main" id="{5EA11509-A1A4-44A6-A1A4-17F4B555AAC6}"/>
                </a:ext>
              </a:extLst>
            </p:cNvPr>
            <p:cNvGrpSpPr>
              <a:grpSpLocks/>
            </p:cNvGrpSpPr>
            <p:nvPr/>
          </p:nvGrpSpPr>
          <p:grpSpPr>
            <a:xfrm>
              <a:off x="2714719" y="1795002"/>
              <a:ext cx="429768" cy="429768"/>
              <a:chOff x="2268747" y="4723725"/>
              <a:chExt cx="415610" cy="415612"/>
            </a:xfrm>
          </p:grpSpPr>
          <p:grpSp>
            <p:nvGrpSpPr>
              <p:cNvPr id="2549" name="Group 64">
                <a:extLst>
                  <a:ext uri="{FF2B5EF4-FFF2-40B4-BE49-F238E27FC236}">
                    <a16:creationId xmlns:a16="http://schemas.microsoft.com/office/drawing/2014/main" id="{9994E78A-F8C7-4ECE-944A-E097AE751DB8}"/>
                  </a:ext>
                </a:extLst>
              </p:cNvPr>
              <p:cNvGrpSpPr>
                <a:grpSpLocks noChangeAspect="1"/>
              </p:cNvGrpSpPr>
              <p:nvPr/>
            </p:nvGrpSpPr>
            <p:grpSpPr bwMode="auto">
              <a:xfrm rot="8100000">
                <a:off x="2268747" y="4723725"/>
                <a:ext cx="415610" cy="415612"/>
                <a:chOff x="701" y="2170"/>
                <a:chExt cx="587" cy="587"/>
              </a:xfrm>
            </p:grpSpPr>
            <p:sp>
              <p:nvSpPr>
                <p:cNvPr id="2564" name="Oval 65">
                  <a:extLst>
                    <a:ext uri="{FF2B5EF4-FFF2-40B4-BE49-F238E27FC236}">
                      <a16:creationId xmlns:a16="http://schemas.microsoft.com/office/drawing/2014/main" id="{B0440BC5-094D-472D-B738-365BFF23A97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5" name="Line 66">
                  <a:extLst>
                    <a:ext uri="{FF2B5EF4-FFF2-40B4-BE49-F238E27FC236}">
                      <a16:creationId xmlns:a16="http://schemas.microsoft.com/office/drawing/2014/main" id="{2A47616E-CFA9-48B9-9249-5868F9E3FC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6" name="Line 67">
                  <a:extLst>
                    <a:ext uri="{FF2B5EF4-FFF2-40B4-BE49-F238E27FC236}">
                      <a16:creationId xmlns:a16="http://schemas.microsoft.com/office/drawing/2014/main" id="{F77ABEAB-5DBD-4EAF-8B07-2263A00DC3F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7" name="Line 69">
                  <a:extLst>
                    <a:ext uri="{FF2B5EF4-FFF2-40B4-BE49-F238E27FC236}">
                      <a16:creationId xmlns:a16="http://schemas.microsoft.com/office/drawing/2014/main" id="{DE510E65-BE79-46F0-B8B4-232037F6B76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8" name="Line 74">
                  <a:extLst>
                    <a:ext uri="{FF2B5EF4-FFF2-40B4-BE49-F238E27FC236}">
                      <a16:creationId xmlns:a16="http://schemas.microsoft.com/office/drawing/2014/main" id="{CD3FFEA8-D4AB-4078-A060-33DF4A788FE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9" name="Freeform 78">
                  <a:extLst>
                    <a:ext uri="{FF2B5EF4-FFF2-40B4-BE49-F238E27FC236}">
                      <a16:creationId xmlns:a16="http://schemas.microsoft.com/office/drawing/2014/main" id="{2EDC1EE5-42BD-4CDA-813D-5E6FB6792E2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0" name="Freeform 80">
                  <a:extLst>
                    <a:ext uri="{FF2B5EF4-FFF2-40B4-BE49-F238E27FC236}">
                      <a16:creationId xmlns:a16="http://schemas.microsoft.com/office/drawing/2014/main" id="{A5B3BECE-23D7-41D4-8D21-E529128AD14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50" name="Group 2549">
                <a:extLst>
                  <a:ext uri="{FF2B5EF4-FFF2-40B4-BE49-F238E27FC236}">
                    <a16:creationId xmlns:a16="http://schemas.microsoft.com/office/drawing/2014/main" id="{CDDC6E90-998A-4279-AA1D-88E0676C2A65}"/>
                  </a:ext>
                </a:extLst>
              </p:cNvPr>
              <p:cNvGrpSpPr/>
              <p:nvPr/>
            </p:nvGrpSpPr>
            <p:grpSpPr>
              <a:xfrm>
                <a:off x="2318076" y="4830163"/>
                <a:ext cx="313949" cy="233075"/>
                <a:chOff x="3707533" y="2731244"/>
                <a:chExt cx="389644" cy="289271"/>
              </a:xfrm>
            </p:grpSpPr>
            <p:sp>
              <p:nvSpPr>
                <p:cNvPr id="2551" name="Freeform 33">
                  <a:extLst>
                    <a:ext uri="{FF2B5EF4-FFF2-40B4-BE49-F238E27FC236}">
                      <a16:creationId xmlns:a16="http://schemas.microsoft.com/office/drawing/2014/main" id="{3E33581A-5603-47FA-8C77-22600BCDE6E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2" name="Freeform 34">
                  <a:extLst>
                    <a:ext uri="{FF2B5EF4-FFF2-40B4-BE49-F238E27FC236}">
                      <a16:creationId xmlns:a16="http://schemas.microsoft.com/office/drawing/2014/main" id="{ACDF47B3-1CA7-4271-867B-F114B297691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3" name="Freeform 37">
                  <a:extLst>
                    <a:ext uri="{FF2B5EF4-FFF2-40B4-BE49-F238E27FC236}">
                      <a16:creationId xmlns:a16="http://schemas.microsoft.com/office/drawing/2014/main" id="{B543CB0C-D03B-4720-A607-0FCD07E9D4B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4" name="Freeform 38">
                  <a:extLst>
                    <a:ext uri="{FF2B5EF4-FFF2-40B4-BE49-F238E27FC236}">
                      <a16:creationId xmlns:a16="http://schemas.microsoft.com/office/drawing/2014/main" id="{372AC087-985F-4869-B0F9-042502D250D4}"/>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5" name="Freeform 32">
                  <a:extLst>
                    <a:ext uri="{FF2B5EF4-FFF2-40B4-BE49-F238E27FC236}">
                      <a16:creationId xmlns:a16="http://schemas.microsoft.com/office/drawing/2014/main" id="{38C5052C-A37E-470F-B686-3D80031B8B8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6" name="Freeform 35">
                  <a:extLst>
                    <a:ext uri="{FF2B5EF4-FFF2-40B4-BE49-F238E27FC236}">
                      <a16:creationId xmlns:a16="http://schemas.microsoft.com/office/drawing/2014/main" id="{B2446279-1BCD-4191-8B55-C5D69A343EE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7" name="Freeform 36">
                  <a:extLst>
                    <a:ext uri="{FF2B5EF4-FFF2-40B4-BE49-F238E27FC236}">
                      <a16:creationId xmlns:a16="http://schemas.microsoft.com/office/drawing/2014/main" id="{C85BCDF6-D6D7-4002-A4B7-F17FFEAB5D3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8" name="Freeform 25">
                  <a:extLst>
                    <a:ext uri="{FF2B5EF4-FFF2-40B4-BE49-F238E27FC236}">
                      <a16:creationId xmlns:a16="http://schemas.microsoft.com/office/drawing/2014/main" id="{C36CC8CF-82FF-428E-BC50-3225F0505AF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9" name="Freeform 39">
                  <a:extLst>
                    <a:ext uri="{FF2B5EF4-FFF2-40B4-BE49-F238E27FC236}">
                      <a16:creationId xmlns:a16="http://schemas.microsoft.com/office/drawing/2014/main" id="{B9E1B1BD-9826-44F1-8BFA-FD3EE138DEA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0" name="Freeform 26">
                  <a:extLst>
                    <a:ext uri="{FF2B5EF4-FFF2-40B4-BE49-F238E27FC236}">
                      <a16:creationId xmlns:a16="http://schemas.microsoft.com/office/drawing/2014/main" id="{E70AECCB-A7E1-4AF4-AD81-97B4AD7E5A3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1" name="Rectangle 27">
                  <a:extLst>
                    <a:ext uri="{FF2B5EF4-FFF2-40B4-BE49-F238E27FC236}">
                      <a16:creationId xmlns:a16="http://schemas.microsoft.com/office/drawing/2014/main" id="{AE5DB8C7-52CD-4F4D-AD7D-713470DD0519}"/>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2" name="Line 29">
                  <a:extLst>
                    <a:ext uri="{FF2B5EF4-FFF2-40B4-BE49-F238E27FC236}">
                      <a16:creationId xmlns:a16="http://schemas.microsoft.com/office/drawing/2014/main" id="{C1EDC3FA-8CEB-4FB2-816D-A14C07043183}"/>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3" name="Line 31">
                  <a:extLst>
                    <a:ext uri="{FF2B5EF4-FFF2-40B4-BE49-F238E27FC236}">
                      <a16:creationId xmlns:a16="http://schemas.microsoft.com/office/drawing/2014/main" id="{2438B17F-954A-450B-8F24-DD7E7E7D6E0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 name="Group 21">
            <a:extLst>
              <a:ext uri="{FF2B5EF4-FFF2-40B4-BE49-F238E27FC236}">
                <a16:creationId xmlns:a16="http://schemas.microsoft.com/office/drawing/2014/main" id="{6E4C0B98-8312-4240-91AD-56D15DC8F0EB}"/>
              </a:ext>
            </a:extLst>
          </p:cNvPr>
          <p:cNvGrpSpPr/>
          <p:nvPr/>
        </p:nvGrpSpPr>
        <p:grpSpPr>
          <a:xfrm>
            <a:off x="10071532" y="2269806"/>
            <a:ext cx="1723479" cy="3110477"/>
            <a:chOff x="10072567" y="2269503"/>
            <a:chExt cx="1723928" cy="3111287"/>
          </a:xfrm>
        </p:grpSpPr>
        <p:grpSp>
          <p:nvGrpSpPr>
            <p:cNvPr id="2628" name="Group 2627">
              <a:extLst>
                <a:ext uri="{FF2B5EF4-FFF2-40B4-BE49-F238E27FC236}">
                  <a16:creationId xmlns:a16="http://schemas.microsoft.com/office/drawing/2014/main" id="{5CB17104-CCCA-4F2F-BCBE-97E71FB6F56C}"/>
                </a:ext>
              </a:extLst>
            </p:cNvPr>
            <p:cNvGrpSpPr/>
            <p:nvPr/>
          </p:nvGrpSpPr>
          <p:grpSpPr>
            <a:xfrm>
              <a:off x="10075218" y="2269503"/>
              <a:ext cx="1586257" cy="2254230"/>
              <a:chOff x="9895314" y="2107193"/>
              <a:chExt cx="1590306" cy="2259985"/>
            </a:xfrm>
          </p:grpSpPr>
          <p:grpSp>
            <p:nvGrpSpPr>
              <p:cNvPr id="2629" name="Group 2628">
                <a:extLst>
                  <a:ext uri="{FF2B5EF4-FFF2-40B4-BE49-F238E27FC236}">
                    <a16:creationId xmlns:a16="http://schemas.microsoft.com/office/drawing/2014/main" id="{75F7C261-4B8F-45FE-824C-8DB0963CCF23}"/>
                  </a:ext>
                </a:extLst>
              </p:cNvPr>
              <p:cNvGrpSpPr/>
              <p:nvPr/>
            </p:nvGrpSpPr>
            <p:grpSpPr>
              <a:xfrm>
                <a:off x="9895314" y="2107193"/>
                <a:ext cx="1231250" cy="1189486"/>
                <a:chOff x="7839761" y="1053755"/>
                <a:chExt cx="927651" cy="896185"/>
              </a:xfrm>
            </p:grpSpPr>
            <p:sp>
              <p:nvSpPr>
                <p:cNvPr id="2746" name="TextBox 2745">
                  <a:extLst>
                    <a:ext uri="{FF2B5EF4-FFF2-40B4-BE49-F238E27FC236}">
                      <a16:creationId xmlns:a16="http://schemas.microsoft.com/office/drawing/2014/main" id="{A89C0F18-FA20-4891-8E84-A8A00C5A9499}"/>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47" name="Group 2746">
                  <a:extLst>
                    <a:ext uri="{FF2B5EF4-FFF2-40B4-BE49-F238E27FC236}">
                      <a16:creationId xmlns:a16="http://schemas.microsoft.com/office/drawing/2014/main" id="{41A641A2-BA06-4CF0-B09C-EF17BDDDA17C}"/>
                    </a:ext>
                  </a:extLst>
                </p:cNvPr>
                <p:cNvGrpSpPr/>
                <p:nvPr/>
              </p:nvGrpSpPr>
              <p:grpSpPr>
                <a:xfrm>
                  <a:off x="7839761" y="1053755"/>
                  <a:ext cx="927651" cy="523122"/>
                  <a:chOff x="7839761" y="1053755"/>
                  <a:chExt cx="927651" cy="523122"/>
                </a:xfrm>
              </p:grpSpPr>
              <p:sp>
                <p:nvSpPr>
                  <p:cNvPr id="2748" name="Line 66">
                    <a:extLst>
                      <a:ext uri="{FF2B5EF4-FFF2-40B4-BE49-F238E27FC236}">
                        <a16:creationId xmlns:a16="http://schemas.microsoft.com/office/drawing/2014/main" id="{EF576319-484F-4E1A-83E5-E731B3A05C8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Line 67">
                    <a:extLst>
                      <a:ext uri="{FF2B5EF4-FFF2-40B4-BE49-F238E27FC236}">
                        <a16:creationId xmlns:a16="http://schemas.microsoft.com/office/drawing/2014/main" id="{4C11F583-E796-42B1-B36E-F135E3677C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0" name="Line 74">
                    <a:extLst>
                      <a:ext uri="{FF2B5EF4-FFF2-40B4-BE49-F238E27FC236}">
                        <a16:creationId xmlns:a16="http://schemas.microsoft.com/office/drawing/2014/main" id="{A3D791A1-8161-4216-9837-9D5C6939A3A7}"/>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1" name="Freeform 78">
                    <a:extLst>
                      <a:ext uri="{FF2B5EF4-FFF2-40B4-BE49-F238E27FC236}">
                        <a16:creationId xmlns:a16="http://schemas.microsoft.com/office/drawing/2014/main" id="{71B5307A-0003-42E4-A2BB-6E78B51CF045}"/>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2" name="Freeform 80">
                    <a:extLst>
                      <a:ext uri="{FF2B5EF4-FFF2-40B4-BE49-F238E27FC236}">
                        <a16:creationId xmlns:a16="http://schemas.microsoft.com/office/drawing/2014/main" id="{12E186D9-86A8-4315-B5A9-558C950A79EF}"/>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3" name="Freeform 1575">
                    <a:extLst>
                      <a:ext uri="{FF2B5EF4-FFF2-40B4-BE49-F238E27FC236}">
                        <a16:creationId xmlns:a16="http://schemas.microsoft.com/office/drawing/2014/main" id="{C8E9D922-B157-4514-9971-B03785F0ACC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4" name="Freeform 1576">
                    <a:extLst>
                      <a:ext uri="{FF2B5EF4-FFF2-40B4-BE49-F238E27FC236}">
                        <a16:creationId xmlns:a16="http://schemas.microsoft.com/office/drawing/2014/main" id="{C3C1296B-EC9F-49B6-ACCF-2210563B18AA}"/>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5" name="Freeform 1577">
                    <a:extLst>
                      <a:ext uri="{FF2B5EF4-FFF2-40B4-BE49-F238E27FC236}">
                        <a16:creationId xmlns:a16="http://schemas.microsoft.com/office/drawing/2014/main" id="{9363EDAB-65B6-45DE-9953-CC2140D357BB}"/>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1578">
                    <a:extLst>
                      <a:ext uri="{FF2B5EF4-FFF2-40B4-BE49-F238E27FC236}">
                        <a16:creationId xmlns:a16="http://schemas.microsoft.com/office/drawing/2014/main" id="{4B747CE4-EE46-4782-A953-6C0BE6CE175A}"/>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9">
                    <a:extLst>
                      <a:ext uri="{FF2B5EF4-FFF2-40B4-BE49-F238E27FC236}">
                        <a16:creationId xmlns:a16="http://schemas.microsoft.com/office/drawing/2014/main" id="{C5BBF474-3AE4-4A00-91FE-30C4D12C3F0E}"/>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80">
                    <a:extLst>
                      <a:ext uri="{FF2B5EF4-FFF2-40B4-BE49-F238E27FC236}">
                        <a16:creationId xmlns:a16="http://schemas.microsoft.com/office/drawing/2014/main" id="{AC37283D-B98B-427A-B0E6-8E1697E106F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81">
                    <a:extLst>
                      <a:ext uri="{FF2B5EF4-FFF2-40B4-BE49-F238E27FC236}">
                        <a16:creationId xmlns:a16="http://schemas.microsoft.com/office/drawing/2014/main" id="{2712851D-4408-49D2-B71D-BC8549552CE6}"/>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82">
                    <a:extLst>
                      <a:ext uri="{FF2B5EF4-FFF2-40B4-BE49-F238E27FC236}">
                        <a16:creationId xmlns:a16="http://schemas.microsoft.com/office/drawing/2014/main" id="{BA067DA5-B09F-4290-BC07-39E7ACAE2522}"/>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3">
                    <a:extLst>
                      <a:ext uri="{FF2B5EF4-FFF2-40B4-BE49-F238E27FC236}">
                        <a16:creationId xmlns:a16="http://schemas.microsoft.com/office/drawing/2014/main" id="{8600E721-4879-4205-BA8C-6FF01585C4B6}"/>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4">
                    <a:extLst>
                      <a:ext uri="{FF2B5EF4-FFF2-40B4-BE49-F238E27FC236}">
                        <a16:creationId xmlns:a16="http://schemas.microsoft.com/office/drawing/2014/main" id="{6C52C4E5-C141-43AA-A779-84596D472BE1}"/>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5">
                    <a:extLst>
                      <a:ext uri="{FF2B5EF4-FFF2-40B4-BE49-F238E27FC236}">
                        <a16:creationId xmlns:a16="http://schemas.microsoft.com/office/drawing/2014/main" id="{DACFF4D9-98B0-4EC9-8EF9-8A4BEF530A08}"/>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6">
                    <a:extLst>
                      <a:ext uri="{FF2B5EF4-FFF2-40B4-BE49-F238E27FC236}">
                        <a16:creationId xmlns:a16="http://schemas.microsoft.com/office/drawing/2014/main" id="{5CE3602F-29E5-4849-AC85-A181EF04DF4A}"/>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7">
                    <a:extLst>
                      <a:ext uri="{FF2B5EF4-FFF2-40B4-BE49-F238E27FC236}">
                        <a16:creationId xmlns:a16="http://schemas.microsoft.com/office/drawing/2014/main" id="{AD26EE88-98D6-4D97-BFBE-71841124747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8">
                    <a:extLst>
                      <a:ext uri="{FF2B5EF4-FFF2-40B4-BE49-F238E27FC236}">
                        <a16:creationId xmlns:a16="http://schemas.microsoft.com/office/drawing/2014/main" id="{4B71DBF9-CCCE-4B50-9211-994E7BB25A66}"/>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Rectangle 1589">
                    <a:extLst>
                      <a:ext uri="{FF2B5EF4-FFF2-40B4-BE49-F238E27FC236}">
                        <a16:creationId xmlns:a16="http://schemas.microsoft.com/office/drawing/2014/main" id="{E19A6D98-F107-4271-8471-B1B5EEB975F8}"/>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8" name="Rectangle 1590">
                    <a:extLst>
                      <a:ext uri="{FF2B5EF4-FFF2-40B4-BE49-F238E27FC236}">
                        <a16:creationId xmlns:a16="http://schemas.microsoft.com/office/drawing/2014/main" id="{7122575D-1BF0-4900-9BDA-5CCB8705DEC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91">
                    <a:extLst>
                      <a:ext uri="{FF2B5EF4-FFF2-40B4-BE49-F238E27FC236}">
                        <a16:creationId xmlns:a16="http://schemas.microsoft.com/office/drawing/2014/main" id="{FB79298F-73E1-4FD1-B18F-ECF09E695349}"/>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0" name="Freeform 1592">
                    <a:extLst>
                      <a:ext uri="{FF2B5EF4-FFF2-40B4-BE49-F238E27FC236}">
                        <a16:creationId xmlns:a16="http://schemas.microsoft.com/office/drawing/2014/main" id="{FF735AAF-A3E5-47C6-B26B-4C4C16042FD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Freeform 1593">
                    <a:extLst>
                      <a:ext uri="{FF2B5EF4-FFF2-40B4-BE49-F238E27FC236}">
                        <a16:creationId xmlns:a16="http://schemas.microsoft.com/office/drawing/2014/main" id="{B39FBEE9-F252-4A22-8264-2A1D60F5A03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4">
                    <a:extLst>
                      <a:ext uri="{FF2B5EF4-FFF2-40B4-BE49-F238E27FC236}">
                        <a16:creationId xmlns:a16="http://schemas.microsoft.com/office/drawing/2014/main" id="{A29FD2F8-9C95-4F0B-B897-4B5A4B10D567}"/>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5">
                    <a:extLst>
                      <a:ext uri="{FF2B5EF4-FFF2-40B4-BE49-F238E27FC236}">
                        <a16:creationId xmlns:a16="http://schemas.microsoft.com/office/drawing/2014/main" id="{8F7A0336-F79D-42EE-8B74-35B637B42972}"/>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6">
                    <a:extLst>
                      <a:ext uri="{FF2B5EF4-FFF2-40B4-BE49-F238E27FC236}">
                        <a16:creationId xmlns:a16="http://schemas.microsoft.com/office/drawing/2014/main" id="{E704E2E2-425C-405C-B59B-B09A9DAC05E3}"/>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672">
                    <a:extLst>
                      <a:ext uri="{FF2B5EF4-FFF2-40B4-BE49-F238E27FC236}">
                        <a16:creationId xmlns:a16="http://schemas.microsoft.com/office/drawing/2014/main" id="{58BEAE7A-63F2-4A3E-A465-6CAE93E908D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6" name="Freeform 1673">
                    <a:extLst>
                      <a:ext uri="{FF2B5EF4-FFF2-40B4-BE49-F238E27FC236}">
                        <a16:creationId xmlns:a16="http://schemas.microsoft.com/office/drawing/2014/main" id="{BF103C68-5C78-437C-B8F9-00C278917209}"/>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7" name="Freeform 1674">
                    <a:extLst>
                      <a:ext uri="{FF2B5EF4-FFF2-40B4-BE49-F238E27FC236}">
                        <a16:creationId xmlns:a16="http://schemas.microsoft.com/office/drawing/2014/main" id="{101D078E-1E0B-4970-9DE6-08C78AC150F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8" name="Freeform 1675">
                    <a:extLst>
                      <a:ext uri="{FF2B5EF4-FFF2-40B4-BE49-F238E27FC236}">
                        <a16:creationId xmlns:a16="http://schemas.microsoft.com/office/drawing/2014/main" id="{D1AF199D-33F3-4BC3-A642-B2EA8C8D0BCC}"/>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9" name="Freeform 1676">
                    <a:extLst>
                      <a:ext uri="{FF2B5EF4-FFF2-40B4-BE49-F238E27FC236}">
                        <a16:creationId xmlns:a16="http://schemas.microsoft.com/office/drawing/2014/main" id="{3CC628BB-8473-481C-9A04-3B24474C37F0}"/>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0" name="Freeform 1677">
                    <a:extLst>
                      <a:ext uri="{FF2B5EF4-FFF2-40B4-BE49-F238E27FC236}">
                        <a16:creationId xmlns:a16="http://schemas.microsoft.com/office/drawing/2014/main" id="{8A7374C2-2413-4C93-B716-E567E539CAB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1" name="Freeform 1678">
                    <a:extLst>
                      <a:ext uri="{FF2B5EF4-FFF2-40B4-BE49-F238E27FC236}">
                        <a16:creationId xmlns:a16="http://schemas.microsoft.com/office/drawing/2014/main" id="{8529CFF3-4A2F-4293-A8C3-12FD1EE8C27E}"/>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2" name="Freeform 1679">
                    <a:extLst>
                      <a:ext uri="{FF2B5EF4-FFF2-40B4-BE49-F238E27FC236}">
                        <a16:creationId xmlns:a16="http://schemas.microsoft.com/office/drawing/2014/main" id="{F1D1EC2E-B9B6-4DE5-AE78-4AAF84AD21F5}"/>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3" name="Freeform 1680">
                    <a:extLst>
                      <a:ext uri="{FF2B5EF4-FFF2-40B4-BE49-F238E27FC236}">
                        <a16:creationId xmlns:a16="http://schemas.microsoft.com/office/drawing/2014/main" id="{87D879A7-2CA4-43AF-A70E-B0F6582C7648}"/>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4" name="Freeform 1681">
                    <a:extLst>
                      <a:ext uri="{FF2B5EF4-FFF2-40B4-BE49-F238E27FC236}">
                        <a16:creationId xmlns:a16="http://schemas.microsoft.com/office/drawing/2014/main" id="{9C2394F2-1F2D-4793-BBE1-59163EF9C2B8}"/>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5" name="Freeform 1682">
                    <a:extLst>
                      <a:ext uri="{FF2B5EF4-FFF2-40B4-BE49-F238E27FC236}">
                        <a16:creationId xmlns:a16="http://schemas.microsoft.com/office/drawing/2014/main" id="{56C73A33-D3CA-4FE3-B422-3B52E4830496}"/>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6" name="Freeform 1683">
                    <a:extLst>
                      <a:ext uri="{FF2B5EF4-FFF2-40B4-BE49-F238E27FC236}">
                        <a16:creationId xmlns:a16="http://schemas.microsoft.com/office/drawing/2014/main" id="{E1FE82CE-C9EF-4092-8A68-1AAF8E855F8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7" name="Freeform 1684">
                    <a:extLst>
                      <a:ext uri="{FF2B5EF4-FFF2-40B4-BE49-F238E27FC236}">
                        <a16:creationId xmlns:a16="http://schemas.microsoft.com/office/drawing/2014/main" id="{0F03233A-E0A2-4D93-8E4E-D5E4E5F5D838}"/>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8" name="Freeform 1685">
                    <a:extLst>
                      <a:ext uri="{FF2B5EF4-FFF2-40B4-BE49-F238E27FC236}">
                        <a16:creationId xmlns:a16="http://schemas.microsoft.com/office/drawing/2014/main" id="{E0895045-18EC-4FB1-AAF6-795CAE8A8712}"/>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9" name="Freeform 1686">
                    <a:extLst>
                      <a:ext uri="{FF2B5EF4-FFF2-40B4-BE49-F238E27FC236}">
                        <a16:creationId xmlns:a16="http://schemas.microsoft.com/office/drawing/2014/main" id="{076A71FE-C096-464F-811B-4B53BFCF0D9E}"/>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0" name="Freeform 1687">
                    <a:extLst>
                      <a:ext uri="{FF2B5EF4-FFF2-40B4-BE49-F238E27FC236}">
                        <a16:creationId xmlns:a16="http://schemas.microsoft.com/office/drawing/2014/main" id="{5D0860EE-8598-4911-BB8A-8FCCF93123F9}"/>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1" name="Freeform 1688">
                    <a:extLst>
                      <a:ext uri="{FF2B5EF4-FFF2-40B4-BE49-F238E27FC236}">
                        <a16:creationId xmlns:a16="http://schemas.microsoft.com/office/drawing/2014/main" id="{87035EA2-95A4-4FE3-AAA4-3EE997309AC6}"/>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2" name="Freeform 1689">
                    <a:extLst>
                      <a:ext uri="{FF2B5EF4-FFF2-40B4-BE49-F238E27FC236}">
                        <a16:creationId xmlns:a16="http://schemas.microsoft.com/office/drawing/2014/main" id="{03B0CAB4-E6D2-4AD1-82FA-C4C6530AA120}"/>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3" name="Freeform 1690">
                    <a:extLst>
                      <a:ext uri="{FF2B5EF4-FFF2-40B4-BE49-F238E27FC236}">
                        <a16:creationId xmlns:a16="http://schemas.microsoft.com/office/drawing/2014/main" id="{A87F4AFD-7BFE-49CC-B161-040D7981115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4" name="Freeform 1691">
                    <a:extLst>
                      <a:ext uri="{FF2B5EF4-FFF2-40B4-BE49-F238E27FC236}">
                        <a16:creationId xmlns:a16="http://schemas.microsoft.com/office/drawing/2014/main" id="{A550F790-F21F-454D-BB0C-C78B801D0FF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5" name="Freeform 1692">
                    <a:extLst>
                      <a:ext uri="{FF2B5EF4-FFF2-40B4-BE49-F238E27FC236}">
                        <a16:creationId xmlns:a16="http://schemas.microsoft.com/office/drawing/2014/main" id="{3DA499CB-99FF-466E-B9C3-1C07C4DA9999}"/>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6" name="Freeform 1693">
                    <a:extLst>
                      <a:ext uri="{FF2B5EF4-FFF2-40B4-BE49-F238E27FC236}">
                        <a16:creationId xmlns:a16="http://schemas.microsoft.com/office/drawing/2014/main" id="{B0673750-09B7-4844-BCD6-D8B77703CBCC}"/>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7" name="Freeform 1694">
                    <a:extLst>
                      <a:ext uri="{FF2B5EF4-FFF2-40B4-BE49-F238E27FC236}">
                        <a16:creationId xmlns:a16="http://schemas.microsoft.com/office/drawing/2014/main" id="{3A5E945C-07AA-4DC8-9235-A4E604F5D6F3}"/>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8" name="Freeform 1695">
                    <a:extLst>
                      <a:ext uri="{FF2B5EF4-FFF2-40B4-BE49-F238E27FC236}">
                        <a16:creationId xmlns:a16="http://schemas.microsoft.com/office/drawing/2014/main" id="{F9203E1B-DDEA-4683-92CF-8791003D3C51}"/>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9" name="Freeform 1696">
                    <a:extLst>
                      <a:ext uri="{FF2B5EF4-FFF2-40B4-BE49-F238E27FC236}">
                        <a16:creationId xmlns:a16="http://schemas.microsoft.com/office/drawing/2014/main" id="{9FF08ADD-648E-4896-9B4F-86A830ACA1A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800" name="Freeform 1697">
                    <a:extLst>
                      <a:ext uri="{FF2B5EF4-FFF2-40B4-BE49-F238E27FC236}">
                        <a16:creationId xmlns:a16="http://schemas.microsoft.com/office/drawing/2014/main" id="{F4256F3D-1F56-47B8-AB85-9A61C6E953CF}"/>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30" name="Group 2629">
                <a:extLst>
                  <a:ext uri="{FF2B5EF4-FFF2-40B4-BE49-F238E27FC236}">
                    <a16:creationId xmlns:a16="http://schemas.microsoft.com/office/drawing/2014/main" id="{D1BCEA53-D951-4F05-8FB7-4C9D8228522E}"/>
                  </a:ext>
                </a:extLst>
              </p:cNvPr>
              <p:cNvGrpSpPr/>
              <p:nvPr/>
            </p:nvGrpSpPr>
            <p:grpSpPr>
              <a:xfrm>
                <a:off x="10074842" y="2518176"/>
                <a:ext cx="1231250" cy="1313698"/>
                <a:chOff x="12023909" y="2412144"/>
                <a:chExt cx="1231250" cy="1313698"/>
              </a:xfrm>
            </p:grpSpPr>
            <p:sp>
              <p:nvSpPr>
                <p:cNvPr id="2689" name="Rectangle: Rounded Corners 2688">
                  <a:extLst>
                    <a:ext uri="{FF2B5EF4-FFF2-40B4-BE49-F238E27FC236}">
                      <a16:creationId xmlns:a16="http://schemas.microsoft.com/office/drawing/2014/main" id="{91A53174-C73B-4A41-A639-68B5892DC955}"/>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90" name="Group 2689">
                  <a:extLst>
                    <a:ext uri="{FF2B5EF4-FFF2-40B4-BE49-F238E27FC236}">
                      <a16:creationId xmlns:a16="http://schemas.microsoft.com/office/drawing/2014/main" id="{59FDA0AC-DAD5-4EAB-9FA8-C8C9E032B070}"/>
                    </a:ext>
                  </a:extLst>
                </p:cNvPr>
                <p:cNvGrpSpPr/>
                <p:nvPr/>
              </p:nvGrpSpPr>
              <p:grpSpPr>
                <a:xfrm>
                  <a:off x="12023909" y="2526190"/>
                  <a:ext cx="1231250" cy="1189484"/>
                  <a:chOff x="7839761" y="1053755"/>
                  <a:chExt cx="927651" cy="896184"/>
                </a:xfrm>
              </p:grpSpPr>
              <p:sp>
                <p:nvSpPr>
                  <p:cNvPr id="2691" name="TextBox 2690">
                    <a:extLst>
                      <a:ext uri="{FF2B5EF4-FFF2-40B4-BE49-F238E27FC236}">
                        <a16:creationId xmlns:a16="http://schemas.microsoft.com/office/drawing/2014/main" id="{951F8931-F331-4D77-92A1-4D698A2F44A9}"/>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92" name="Group 2691">
                    <a:extLst>
                      <a:ext uri="{FF2B5EF4-FFF2-40B4-BE49-F238E27FC236}">
                        <a16:creationId xmlns:a16="http://schemas.microsoft.com/office/drawing/2014/main" id="{D2EF0292-F278-4306-8E39-9E45FF9C395F}"/>
                      </a:ext>
                    </a:extLst>
                  </p:cNvPr>
                  <p:cNvGrpSpPr/>
                  <p:nvPr/>
                </p:nvGrpSpPr>
                <p:grpSpPr>
                  <a:xfrm>
                    <a:off x="7839761" y="1053755"/>
                    <a:ext cx="927651" cy="523122"/>
                    <a:chOff x="7839761" y="1053755"/>
                    <a:chExt cx="927651" cy="523122"/>
                  </a:xfrm>
                </p:grpSpPr>
                <p:sp>
                  <p:nvSpPr>
                    <p:cNvPr id="2693" name="Line 66">
                      <a:extLst>
                        <a:ext uri="{FF2B5EF4-FFF2-40B4-BE49-F238E27FC236}">
                          <a16:creationId xmlns:a16="http://schemas.microsoft.com/office/drawing/2014/main" id="{D1724EA5-C098-405F-B785-A50FF3E283C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4" name="Line 67">
                      <a:extLst>
                        <a:ext uri="{FF2B5EF4-FFF2-40B4-BE49-F238E27FC236}">
                          <a16:creationId xmlns:a16="http://schemas.microsoft.com/office/drawing/2014/main" id="{2E4BAB87-A458-4ADA-8E65-BD063B95D12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5" name="Line 74">
                      <a:extLst>
                        <a:ext uri="{FF2B5EF4-FFF2-40B4-BE49-F238E27FC236}">
                          <a16:creationId xmlns:a16="http://schemas.microsoft.com/office/drawing/2014/main" id="{E831C2F1-FE8A-491F-912D-5519707E7C6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78">
                      <a:extLst>
                        <a:ext uri="{FF2B5EF4-FFF2-40B4-BE49-F238E27FC236}">
                          <a16:creationId xmlns:a16="http://schemas.microsoft.com/office/drawing/2014/main" id="{F462DEB7-EC2F-4AF6-BBDF-732A07AD7EFE}"/>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Freeform 80">
                      <a:extLst>
                        <a:ext uri="{FF2B5EF4-FFF2-40B4-BE49-F238E27FC236}">
                          <a16:creationId xmlns:a16="http://schemas.microsoft.com/office/drawing/2014/main" id="{C5616C0F-90D5-43A2-89DE-9531D6399EC2}"/>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1575">
                      <a:extLst>
                        <a:ext uri="{FF2B5EF4-FFF2-40B4-BE49-F238E27FC236}">
                          <a16:creationId xmlns:a16="http://schemas.microsoft.com/office/drawing/2014/main" id="{EC1D94CD-F268-409B-817D-B3E9ADBB7485}"/>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Freeform 1576">
                      <a:extLst>
                        <a:ext uri="{FF2B5EF4-FFF2-40B4-BE49-F238E27FC236}">
                          <a16:creationId xmlns:a16="http://schemas.microsoft.com/office/drawing/2014/main" id="{BCE8E171-ACD3-4BD1-A640-E8DD0D1C102B}"/>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0" name="Freeform 1577">
                      <a:extLst>
                        <a:ext uri="{FF2B5EF4-FFF2-40B4-BE49-F238E27FC236}">
                          <a16:creationId xmlns:a16="http://schemas.microsoft.com/office/drawing/2014/main" id="{9C320188-957D-491D-95A5-ED14741EA2E7}"/>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1" name="Freeform 1578">
                      <a:extLst>
                        <a:ext uri="{FF2B5EF4-FFF2-40B4-BE49-F238E27FC236}">
                          <a16:creationId xmlns:a16="http://schemas.microsoft.com/office/drawing/2014/main" id="{22C479F3-80B7-46D3-A222-FDFB5FE1CE7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Freeform 1579">
                      <a:extLst>
                        <a:ext uri="{FF2B5EF4-FFF2-40B4-BE49-F238E27FC236}">
                          <a16:creationId xmlns:a16="http://schemas.microsoft.com/office/drawing/2014/main" id="{0C8E3682-ABAB-4DE4-8355-7FC9789A3823}"/>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580">
                      <a:extLst>
                        <a:ext uri="{FF2B5EF4-FFF2-40B4-BE49-F238E27FC236}">
                          <a16:creationId xmlns:a16="http://schemas.microsoft.com/office/drawing/2014/main" id="{AA16A155-6C7E-4264-8FAD-610A15F64D6B}"/>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Freeform 1581">
                      <a:extLst>
                        <a:ext uri="{FF2B5EF4-FFF2-40B4-BE49-F238E27FC236}">
                          <a16:creationId xmlns:a16="http://schemas.microsoft.com/office/drawing/2014/main" id="{FE5E1229-9FDD-483D-AD60-960FB0F825CA}"/>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582">
                      <a:extLst>
                        <a:ext uri="{FF2B5EF4-FFF2-40B4-BE49-F238E27FC236}">
                          <a16:creationId xmlns:a16="http://schemas.microsoft.com/office/drawing/2014/main" id="{9CE62FEB-6A4F-4FF1-8073-B9DAAC73C340}"/>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Freeform 1583">
                      <a:extLst>
                        <a:ext uri="{FF2B5EF4-FFF2-40B4-BE49-F238E27FC236}">
                          <a16:creationId xmlns:a16="http://schemas.microsoft.com/office/drawing/2014/main" id="{BBD5B248-B8BC-4B5D-BD47-414597690FF2}"/>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584">
                      <a:extLst>
                        <a:ext uri="{FF2B5EF4-FFF2-40B4-BE49-F238E27FC236}">
                          <a16:creationId xmlns:a16="http://schemas.microsoft.com/office/drawing/2014/main" id="{FD17B1F5-285E-415E-8560-0E05239B32FA}"/>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8" name="Freeform 1585">
                      <a:extLst>
                        <a:ext uri="{FF2B5EF4-FFF2-40B4-BE49-F238E27FC236}">
                          <a16:creationId xmlns:a16="http://schemas.microsoft.com/office/drawing/2014/main" id="{3EAFE9E0-D08C-41B2-86BD-8F32994102B7}"/>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1586">
                      <a:extLst>
                        <a:ext uri="{FF2B5EF4-FFF2-40B4-BE49-F238E27FC236}">
                          <a16:creationId xmlns:a16="http://schemas.microsoft.com/office/drawing/2014/main" id="{5C65412E-9468-4106-9F48-7986D3F5F43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1587">
                      <a:extLst>
                        <a:ext uri="{FF2B5EF4-FFF2-40B4-BE49-F238E27FC236}">
                          <a16:creationId xmlns:a16="http://schemas.microsoft.com/office/drawing/2014/main" id="{DE20BEC4-0D49-4293-81E2-EF5DAFE71D5E}"/>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1588">
                      <a:extLst>
                        <a:ext uri="{FF2B5EF4-FFF2-40B4-BE49-F238E27FC236}">
                          <a16:creationId xmlns:a16="http://schemas.microsoft.com/office/drawing/2014/main" id="{28C1646F-B8FB-4CE9-AB8B-CBBE74C4BBAC}"/>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2" name="Rectangle 1589">
                      <a:extLst>
                        <a:ext uri="{FF2B5EF4-FFF2-40B4-BE49-F238E27FC236}">
                          <a16:creationId xmlns:a16="http://schemas.microsoft.com/office/drawing/2014/main" id="{CEDA4D48-ADBF-440A-8BF8-D42CDB1A2637}"/>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3" name="Rectangle 1590">
                      <a:extLst>
                        <a:ext uri="{FF2B5EF4-FFF2-40B4-BE49-F238E27FC236}">
                          <a16:creationId xmlns:a16="http://schemas.microsoft.com/office/drawing/2014/main" id="{C8C4E0AE-7A5E-468F-9CA8-6A6CD03E672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1591">
                      <a:extLst>
                        <a:ext uri="{FF2B5EF4-FFF2-40B4-BE49-F238E27FC236}">
                          <a16:creationId xmlns:a16="http://schemas.microsoft.com/office/drawing/2014/main" id="{8BDFE8BA-7AFC-4C63-9271-063CFC257A9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1592">
                      <a:extLst>
                        <a:ext uri="{FF2B5EF4-FFF2-40B4-BE49-F238E27FC236}">
                          <a16:creationId xmlns:a16="http://schemas.microsoft.com/office/drawing/2014/main" id="{0FD1EE23-4C1E-47A2-9790-BDA2A1D5EDCB}"/>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Freeform 1593">
                      <a:extLst>
                        <a:ext uri="{FF2B5EF4-FFF2-40B4-BE49-F238E27FC236}">
                          <a16:creationId xmlns:a16="http://schemas.microsoft.com/office/drawing/2014/main" id="{DB2B39AB-BCC9-4A15-9D95-704AFDB8A40F}"/>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1594">
                      <a:extLst>
                        <a:ext uri="{FF2B5EF4-FFF2-40B4-BE49-F238E27FC236}">
                          <a16:creationId xmlns:a16="http://schemas.microsoft.com/office/drawing/2014/main" id="{B05ED7C0-526A-4E3D-981D-0BE77988113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1595">
                      <a:extLst>
                        <a:ext uri="{FF2B5EF4-FFF2-40B4-BE49-F238E27FC236}">
                          <a16:creationId xmlns:a16="http://schemas.microsoft.com/office/drawing/2014/main" id="{00ED5C3D-3E08-4299-AE7B-F9E6D1C150D6}"/>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1596">
                      <a:extLst>
                        <a:ext uri="{FF2B5EF4-FFF2-40B4-BE49-F238E27FC236}">
                          <a16:creationId xmlns:a16="http://schemas.microsoft.com/office/drawing/2014/main" id="{CA35C96E-07DF-4F04-AF18-B3B6732185CF}"/>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0" name="Freeform 1672">
                      <a:extLst>
                        <a:ext uri="{FF2B5EF4-FFF2-40B4-BE49-F238E27FC236}">
                          <a16:creationId xmlns:a16="http://schemas.microsoft.com/office/drawing/2014/main" id="{DC177AC4-10E0-4F84-905E-C94B565B604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1" name="Freeform 1673">
                      <a:extLst>
                        <a:ext uri="{FF2B5EF4-FFF2-40B4-BE49-F238E27FC236}">
                          <a16:creationId xmlns:a16="http://schemas.microsoft.com/office/drawing/2014/main" id="{11BFE0DA-7415-41AE-95B4-F4895BD91ABF}"/>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Freeform 1674">
                      <a:extLst>
                        <a:ext uri="{FF2B5EF4-FFF2-40B4-BE49-F238E27FC236}">
                          <a16:creationId xmlns:a16="http://schemas.microsoft.com/office/drawing/2014/main" id="{506ECD3B-A929-4E98-8457-A36A8609D63C}"/>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3" name="Freeform 1675">
                      <a:extLst>
                        <a:ext uri="{FF2B5EF4-FFF2-40B4-BE49-F238E27FC236}">
                          <a16:creationId xmlns:a16="http://schemas.microsoft.com/office/drawing/2014/main" id="{14B5096B-D826-425D-A2A2-2523BBCF6B5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Freeform 1676">
                      <a:extLst>
                        <a:ext uri="{FF2B5EF4-FFF2-40B4-BE49-F238E27FC236}">
                          <a16:creationId xmlns:a16="http://schemas.microsoft.com/office/drawing/2014/main" id="{737F7F6E-2D63-4E6C-81D7-91AFFDDD556A}"/>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5" name="Freeform 1677">
                      <a:extLst>
                        <a:ext uri="{FF2B5EF4-FFF2-40B4-BE49-F238E27FC236}">
                          <a16:creationId xmlns:a16="http://schemas.microsoft.com/office/drawing/2014/main" id="{8E64054A-2936-4A57-839F-7FA708078D60}"/>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6" name="Freeform 1678">
                      <a:extLst>
                        <a:ext uri="{FF2B5EF4-FFF2-40B4-BE49-F238E27FC236}">
                          <a16:creationId xmlns:a16="http://schemas.microsoft.com/office/drawing/2014/main" id="{C29FD5A6-29A3-4401-A8BF-39DC8B8B6655}"/>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Freeform 1679">
                      <a:extLst>
                        <a:ext uri="{FF2B5EF4-FFF2-40B4-BE49-F238E27FC236}">
                          <a16:creationId xmlns:a16="http://schemas.microsoft.com/office/drawing/2014/main" id="{14AD96D0-BC0A-4E33-960F-29938829B668}"/>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Freeform 1680">
                      <a:extLst>
                        <a:ext uri="{FF2B5EF4-FFF2-40B4-BE49-F238E27FC236}">
                          <a16:creationId xmlns:a16="http://schemas.microsoft.com/office/drawing/2014/main" id="{0D92EF58-DE3A-4CCA-97D0-DC4A871C0AF4}"/>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Freeform 1681">
                      <a:extLst>
                        <a:ext uri="{FF2B5EF4-FFF2-40B4-BE49-F238E27FC236}">
                          <a16:creationId xmlns:a16="http://schemas.microsoft.com/office/drawing/2014/main" id="{46830979-AF97-4F96-AB0B-347AA1CAA3F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1682">
                      <a:extLst>
                        <a:ext uri="{FF2B5EF4-FFF2-40B4-BE49-F238E27FC236}">
                          <a16:creationId xmlns:a16="http://schemas.microsoft.com/office/drawing/2014/main" id="{39CA5108-DB0E-4809-BEAE-DD3DC99EE4A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1683">
                      <a:extLst>
                        <a:ext uri="{FF2B5EF4-FFF2-40B4-BE49-F238E27FC236}">
                          <a16:creationId xmlns:a16="http://schemas.microsoft.com/office/drawing/2014/main" id="{737C8CB1-174C-4C3A-9686-8D9736AEE847}"/>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2" name="Freeform 1684">
                      <a:extLst>
                        <a:ext uri="{FF2B5EF4-FFF2-40B4-BE49-F238E27FC236}">
                          <a16:creationId xmlns:a16="http://schemas.microsoft.com/office/drawing/2014/main" id="{F344A9A7-FED2-4359-8651-4407D9421D5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3" name="Freeform 1685">
                      <a:extLst>
                        <a:ext uri="{FF2B5EF4-FFF2-40B4-BE49-F238E27FC236}">
                          <a16:creationId xmlns:a16="http://schemas.microsoft.com/office/drawing/2014/main" id="{93F29FDC-67C7-4633-8C80-AB75AFBC8A19}"/>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4" name="Freeform 1686">
                      <a:extLst>
                        <a:ext uri="{FF2B5EF4-FFF2-40B4-BE49-F238E27FC236}">
                          <a16:creationId xmlns:a16="http://schemas.microsoft.com/office/drawing/2014/main" id="{9D3A2E45-B7CC-41C6-B50D-FF964AC72DE6}"/>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5" name="Freeform 1687">
                      <a:extLst>
                        <a:ext uri="{FF2B5EF4-FFF2-40B4-BE49-F238E27FC236}">
                          <a16:creationId xmlns:a16="http://schemas.microsoft.com/office/drawing/2014/main" id="{26372EFF-07B2-4A49-8C56-E7E82317E75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6" name="Freeform 1688">
                      <a:extLst>
                        <a:ext uri="{FF2B5EF4-FFF2-40B4-BE49-F238E27FC236}">
                          <a16:creationId xmlns:a16="http://schemas.microsoft.com/office/drawing/2014/main" id="{C26448E3-729C-450A-954C-134CCBB2713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7" name="Freeform 1689">
                      <a:extLst>
                        <a:ext uri="{FF2B5EF4-FFF2-40B4-BE49-F238E27FC236}">
                          <a16:creationId xmlns:a16="http://schemas.microsoft.com/office/drawing/2014/main" id="{3BD3E1FE-AEA1-4328-A84F-A4C371E93E53}"/>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Freeform 1690">
                      <a:extLst>
                        <a:ext uri="{FF2B5EF4-FFF2-40B4-BE49-F238E27FC236}">
                          <a16:creationId xmlns:a16="http://schemas.microsoft.com/office/drawing/2014/main" id="{B9305820-4255-4D54-AA5C-875C771A9508}"/>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1691">
                      <a:extLst>
                        <a:ext uri="{FF2B5EF4-FFF2-40B4-BE49-F238E27FC236}">
                          <a16:creationId xmlns:a16="http://schemas.microsoft.com/office/drawing/2014/main" id="{B4D941B1-12C7-4728-8E98-021D086752D5}"/>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Freeform 1692">
                      <a:extLst>
                        <a:ext uri="{FF2B5EF4-FFF2-40B4-BE49-F238E27FC236}">
                          <a16:creationId xmlns:a16="http://schemas.microsoft.com/office/drawing/2014/main" id="{D4E3DAA5-AD36-490F-BC2F-CCDCBD04F1C1}"/>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1693">
                      <a:extLst>
                        <a:ext uri="{FF2B5EF4-FFF2-40B4-BE49-F238E27FC236}">
                          <a16:creationId xmlns:a16="http://schemas.microsoft.com/office/drawing/2014/main" id="{B25E74AB-2B33-4B89-8D2F-2CF2A3CA5FF1}"/>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Freeform 1694">
                      <a:extLst>
                        <a:ext uri="{FF2B5EF4-FFF2-40B4-BE49-F238E27FC236}">
                          <a16:creationId xmlns:a16="http://schemas.microsoft.com/office/drawing/2014/main" id="{F52435DE-7F59-4650-B3AD-8BFADAA03FB7}"/>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3" name="Freeform 1695">
                      <a:extLst>
                        <a:ext uri="{FF2B5EF4-FFF2-40B4-BE49-F238E27FC236}">
                          <a16:creationId xmlns:a16="http://schemas.microsoft.com/office/drawing/2014/main" id="{769D5CEB-B6B7-4ED6-9242-7FB96AE18DEF}"/>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4" name="Freeform 1696">
                      <a:extLst>
                        <a:ext uri="{FF2B5EF4-FFF2-40B4-BE49-F238E27FC236}">
                          <a16:creationId xmlns:a16="http://schemas.microsoft.com/office/drawing/2014/main" id="{09590F7C-D577-428E-B3E0-6FBD3903AE7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Freeform 1697">
                      <a:extLst>
                        <a:ext uri="{FF2B5EF4-FFF2-40B4-BE49-F238E27FC236}">
                          <a16:creationId xmlns:a16="http://schemas.microsoft.com/office/drawing/2014/main" id="{F813AC04-3FCD-447D-97B5-B0D4D064BDCA}"/>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31" name="Group 2630">
                <a:extLst>
                  <a:ext uri="{FF2B5EF4-FFF2-40B4-BE49-F238E27FC236}">
                    <a16:creationId xmlns:a16="http://schemas.microsoft.com/office/drawing/2014/main" id="{9DC0EC37-B69E-4481-A6B3-41E462967965}"/>
                  </a:ext>
                </a:extLst>
              </p:cNvPr>
              <p:cNvGrpSpPr/>
              <p:nvPr/>
            </p:nvGrpSpPr>
            <p:grpSpPr>
              <a:xfrm>
                <a:off x="10254370" y="3053480"/>
                <a:ext cx="1231250" cy="1313698"/>
                <a:chOff x="12023909" y="2412144"/>
                <a:chExt cx="1231250" cy="1313698"/>
              </a:xfrm>
            </p:grpSpPr>
            <p:sp>
              <p:nvSpPr>
                <p:cNvPr id="2632" name="Rectangle: Rounded Corners 2631">
                  <a:extLst>
                    <a:ext uri="{FF2B5EF4-FFF2-40B4-BE49-F238E27FC236}">
                      <a16:creationId xmlns:a16="http://schemas.microsoft.com/office/drawing/2014/main" id="{872BD409-63AF-4B3B-8695-7461B7E59C0D}"/>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33" name="Group 2632">
                  <a:extLst>
                    <a:ext uri="{FF2B5EF4-FFF2-40B4-BE49-F238E27FC236}">
                      <a16:creationId xmlns:a16="http://schemas.microsoft.com/office/drawing/2014/main" id="{7EFB7652-EDD3-417D-B1F6-2193FEB4EC84}"/>
                    </a:ext>
                  </a:extLst>
                </p:cNvPr>
                <p:cNvGrpSpPr/>
                <p:nvPr/>
              </p:nvGrpSpPr>
              <p:grpSpPr>
                <a:xfrm>
                  <a:off x="12023909" y="2526190"/>
                  <a:ext cx="1231250" cy="1189484"/>
                  <a:chOff x="7839761" y="1053755"/>
                  <a:chExt cx="927651" cy="896184"/>
                </a:xfrm>
              </p:grpSpPr>
              <p:sp>
                <p:nvSpPr>
                  <p:cNvPr id="2634" name="TextBox 2633">
                    <a:extLst>
                      <a:ext uri="{FF2B5EF4-FFF2-40B4-BE49-F238E27FC236}">
                        <a16:creationId xmlns:a16="http://schemas.microsoft.com/office/drawing/2014/main" id="{3AD29482-D35E-4A63-AE36-958FCFE1AEEE}"/>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35" name="Group 2634">
                    <a:extLst>
                      <a:ext uri="{FF2B5EF4-FFF2-40B4-BE49-F238E27FC236}">
                        <a16:creationId xmlns:a16="http://schemas.microsoft.com/office/drawing/2014/main" id="{E82F8432-1C34-47DF-9960-95FE00D6A3FC}"/>
                      </a:ext>
                    </a:extLst>
                  </p:cNvPr>
                  <p:cNvGrpSpPr/>
                  <p:nvPr/>
                </p:nvGrpSpPr>
                <p:grpSpPr>
                  <a:xfrm>
                    <a:off x="7839761" y="1053755"/>
                    <a:ext cx="927651" cy="523122"/>
                    <a:chOff x="7839761" y="1053755"/>
                    <a:chExt cx="927651" cy="523122"/>
                  </a:xfrm>
                </p:grpSpPr>
                <p:sp>
                  <p:nvSpPr>
                    <p:cNvPr id="2636" name="Line 66">
                      <a:extLst>
                        <a:ext uri="{FF2B5EF4-FFF2-40B4-BE49-F238E27FC236}">
                          <a16:creationId xmlns:a16="http://schemas.microsoft.com/office/drawing/2014/main" id="{FAB5F1AF-D59E-4339-9231-CE6BB136B4D4}"/>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7" name="Line 67">
                      <a:extLst>
                        <a:ext uri="{FF2B5EF4-FFF2-40B4-BE49-F238E27FC236}">
                          <a16:creationId xmlns:a16="http://schemas.microsoft.com/office/drawing/2014/main" id="{E1D82164-9AA1-4BD1-92D2-4375FD6407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8" name="Line 74">
                      <a:extLst>
                        <a:ext uri="{FF2B5EF4-FFF2-40B4-BE49-F238E27FC236}">
                          <a16:creationId xmlns:a16="http://schemas.microsoft.com/office/drawing/2014/main" id="{98A8F6EB-447E-4E55-8539-F57E2B292A2B}"/>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9" name="Freeform 78">
                      <a:extLst>
                        <a:ext uri="{FF2B5EF4-FFF2-40B4-BE49-F238E27FC236}">
                          <a16:creationId xmlns:a16="http://schemas.microsoft.com/office/drawing/2014/main" id="{37AD2296-B127-4E47-8CFB-81D312959AC9}"/>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Freeform 80">
                      <a:extLst>
                        <a:ext uri="{FF2B5EF4-FFF2-40B4-BE49-F238E27FC236}">
                          <a16:creationId xmlns:a16="http://schemas.microsoft.com/office/drawing/2014/main" id="{BEB3D0B5-8622-4780-8C9E-39FFD4AF3021}"/>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1575">
                      <a:extLst>
                        <a:ext uri="{FF2B5EF4-FFF2-40B4-BE49-F238E27FC236}">
                          <a16:creationId xmlns:a16="http://schemas.microsoft.com/office/drawing/2014/main" id="{738F0657-0BD0-4D03-B6EA-BD2D780F9F9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Freeform 1576">
                      <a:extLst>
                        <a:ext uri="{FF2B5EF4-FFF2-40B4-BE49-F238E27FC236}">
                          <a16:creationId xmlns:a16="http://schemas.microsoft.com/office/drawing/2014/main" id="{F010257B-2F86-4267-BF9A-A5018879EABD}"/>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1577">
                      <a:extLst>
                        <a:ext uri="{FF2B5EF4-FFF2-40B4-BE49-F238E27FC236}">
                          <a16:creationId xmlns:a16="http://schemas.microsoft.com/office/drawing/2014/main" id="{0EDEB22E-3329-4B5A-8FAF-6E31ABF12793}"/>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Freeform 1578">
                      <a:extLst>
                        <a:ext uri="{FF2B5EF4-FFF2-40B4-BE49-F238E27FC236}">
                          <a16:creationId xmlns:a16="http://schemas.microsoft.com/office/drawing/2014/main" id="{7938E217-E3D3-4ABE-9338-5E2199DC4778}"/>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5" name="Freeform 1579">
                      <a:extLst>
                        <a:ext uri="{FF2B5EF4-FFF2-40B4-BE49-F238E27FC236}">
                          <a16:creationId xmlns:a16="http://schemas.microsoft.com/office/drawing/2014/main" id="{B9D83343-09AE-4DA8-A30C-77AF8EE87C9A}"/>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6" name="Freeform 1580">
                      <a:extLst>
                        <a:ext uri="{FF2B5EF4-FFF2-40B4-BE49-F238E27FC236}">
                          <a16:creationId xmlns:a16="http://schemas.microsoft.com/office/drawing/2014/main" id="{019577C1-D65C-4469-A36B-7E23AB68A369}"/>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Freeform 1581">
                      <a:extLst>
                        <a:ext uri="{FF2B5EF4-FFF2-40B4-BE49-F238E27FC236}">
                          <a16:creationId xmlns:a16="http://schemas.microsoft.com/office/drawing/2014/main" id="{ADFE94A6-6EBA-4D1F-A39D-0B0D9F5FD2F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Freeform 1582">
                      <a:extLst>
                        <a:ext uri="{FF2B5EF4-FFF2-40B4-BE49-F238E27FC236}">
                          <a16:creationId xmlns:a16="http://schemas.microsoft.com/office/drawing/2014/main" id="{C7BE996B-21C2-40A9-B8E2-9BFFC1106535}"/>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Freeform 1583">
                      <a:extLst>
                        <a:ext uri="{FF2B5EF4-FFF2-40B4-BE49-F238E27FC236}">
                          <a16:creationId xmlns:a16="http://schemas.microsoft.com/office/drawing/2014/main" id="{3E5AE7C4-CA5C-4F64-AE39-1C30461A6F57}"/>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1584">
                      <a:extLst>
                        <a:ext uri="{FF2B5EF4-FFF2-40B4-BE49-F238E27FC236}">
                          <a16:creationId xmlns:a16="http://schemas.microsoft.com/office/drawing/2014/main" id="{A7F346BF-C9DA-4DD1-A359-87EE5863F945}"/>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1585">
                      <a:extLst>
                        <a:ext uri="{FF2B5EF4-FFF2-40B4-BE49-F238E27FC236}">
                          <a16:creationId xmlns:a16="http://schemas.microsoft.com/office/drawing/2014/main" id="{03AF5E99-0265-414D-B000-1B05B67EA63F}"/>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2" name="Freeform 1586">
                      <a:extLst>
                        <a:ext uri="{FF2B5EF4-FFF2-40B4-BE49-F238E27FC236}">
                          <a16:creationId xmlns:a16="http://schemas.microsoft.com/office/drawing/2014/main" id="{9C12FD66-0104-47B6-BA7B-61AEC8752599}"/>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3" name="Freeform 1587">
                      <a:extLst>
                        <a:ext uri="{FF2B5EF4-FFF2-40B4-BE49-F238E27FC236}">
                          <a16:creationId xmlns:a16="http://schemas.microsoft.com/office/drawing/2014/main" id="{9951E013-7E87-410C-8E24-29FDA7A6C6DA}"/>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4" name="Freeform 1588">
                      <a:extLst>
                        <a:ext uri="{FF2B5EF4-FFF2-40B4-BE49-F238E27FC236}">
                          <a16:creationId xmlns:a16="http://schemas.microsoft.com/office/drawing/2014/main" id="{CB66D67A-CD7C-45A5-93A0-17D2076B34FD}"/>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5" name="Rectangle 1589">
                      <a:extLst>
                        <a:ext uri="{FF2B5EF4-FFF2-40B4-BE49-F238E27FC236}">
                          <a16:creationId xmlns:a16="http://schemas.microsoft.com/office/drawing/2014/main" id="{BDF12F17-0C71-4937-9C30-C4456872E9F0}"/>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6" name="Rectangle 1590">
                      <a:extLst>
                        <a:ext uri="{FF2B5EF4-FFF2-40B4-BE49-F238E27FC236}">
                          <a16:creationId xmlns:a16="http://schemas.microsoft.com/office/drawing/2014/main" id="{8B492B29-7280-436E-9AC1-E80545DB4283}"/>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7" name="Freeform 1591">
                      <a:extLst>
                        <a:ext uri="{FF2B5EF4-FFF2-40B4-BE49-F238E27FC236}">
                          <a16:creationId xmlns:a16="http://schemas.microsoft.com/office/drawing/2014/main" id="{76139F27-78A2-42B0-9FDA-A8A0E3A35891}"/>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8" name="Freeform 1592">
                      <a:extLst>
                        <a:ext uri="{FF2B5EF4-FFF2-40B4-BE49-F238E27FC236}">
                          <a16:creationId xmlns:a16="http://schemas.microsoft.com/office/drawing/2014/main" id="{06F68C76-69CC-4184-B71A-BDFFCBBFFEB9}"/>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9" name="Freeform 1593">
                      <a:extLst>
                        <a:ext uri="{FF2B5EF4-FFF2-40B4-BE49-F238E27FC236}">
                          <a16:creationId xmlns:a16="http://schemas.microsoft.com/office/drawing/2014/main" id="{1D2BA2E5-E975-4297-8C48-495935B695B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0" name="Freeform 1594">
                      <a:extLst>
                        <a:ext uri="{FF2B5EF4-FFF2-40B4-BE49-F238E27FC236}">
                          <a16:creationId xmlns:a16="http://schemas.microsoft.com/office/drawing/2014/main" id="{839046DC-F08A-40B0-9130-29568052811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1" name="Freeform 1595">
                      <a:extLst>
                        <a:ext uri="{FF2B5EF4-FFF2-40B4-BE49-F238E27FC236}">
                          <a16:creationId xmlns:a16="http://schemas.microsoft.com/office/drawing/2014/main" id="{C7295905-C88D-4F88-A9B4-A3A04EEA38FC}"/>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2" name="Freeform 1596">
                      <a:extLst>
                        <a:ext uri="{FF2B5EF4-FFF2-40B4-BE49-F238E27FC236}">
                          <a16:creationId xmlns:a16="http://schemas.microsoft.com/office/drawing/2014/main" id="{372FE04C-F613-4FB1-A157-0EF46379F4A6}"/>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3" name="Freeform 1672">
                      <a:extLst>
                        <a:ext uri="{FF2B5EF4-FFF2-40B4-BE49-F238E27FC236}">
                          <a16:creationId xmlns:a16="http://schemas.microsoft.com/office/drawing/2014/main" id="{4E7B2D6E-1B1A-415E-B46A-017DE4077DAC}"/>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4" name="Freeform 1673">
                      <a:extLst>
                        <a:ext uri="{FF2B5EF4-FFF2-40B4-BE49-F238E27FC236}">
                          <a16:creationId xmlns:a16="http://schemas.microsoft.com/office/drawing/2014/main" id="{2480C457-4F1B-4A58-9719-8BCBF0654AA3}"/>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5" name="Freeform 1674">
                      <a:extLst>
                        <a:ext uri="{FF2B5EF4-FFF2-40B4-BE49-F238E27FC236}">
                          <a16:creationId xmlns:a16="http://schemas.microsoft.com/office/drawing/2014/main" id="{AA635A41-34E7-4935-8E2D-F92F15286436}"/>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6" name="Freeform 1675">
                      <a:extLst>
                        <a:ext uri="{FF2B5EF4-FFF2-40B4-BE49-F238E27FC236}">
                          <a16:creationId xmlns:a16="http://schemas.microsoft.com/office/drawing/2014/main" id="{6E9D52F0-964D-46B3-8F20-C7EF8B06F2B5}"/>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7" name="Freeform 1676">
                      <a:extLst>
                        <a:ext uri="{FF2B5EF4-FFF2-40B4-BE49-F238E27FC236}">
                          <a16:creationId xmlns:a16="http://schemas.microsoft.com/office/drawing/2014/main" id="{403901DA-19CB-4CB6-94A8-C4E9EC3E00C4}"/>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8" name="Freeform 1677">
                      <a:extLst>
                        <a:ext uri="{FF2B5EF4-FFF2-40B4-BE49-F238E27FC236}">
                          <a16:creationId xmlns:a16="http://schemas.microsoft.com/office/drawing/2014/main" id="{A549648E-DFDD-48B9-8545-D45CB2E0604A}"/>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9" name="Freeform 1678">
                      <a:extLst>
                        <a:ext uri="{FF2B5EF4-FFF2-40B4-BE49-F238E27FC236}">
                          <a16:creationId xmlns:a16="http://schemas.microsoft.com/office/drawing/2014/main" id="{6FE35CEC-37B7-4A4A-AEFB-51623D2782D4}"/>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0" name="Freeform 1679">
                      <a:extLst>
                        <a:ext uri="{FF2B5EF4-FFF2-40B4-BE49-F238E27FC236}">
                          <a16:creationId xmlns:a16="http://schemas.microsoft.com/office/drawing/2014/main" id="{180E4AD2-44CC-4BCC-9693-9C0750F52BCE}"/>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1" name="Freeform 1680">
                      <a:extLst>
                        <a:ext uri="{FF2B5EF4-FFF2-40B4-BE49-F238E27FC236}">
                          <a16:creationId xmlns:a16="http://schemas.microsoft.com/office/drawing/2014/main" id="{8F417B20-8A1C-4829-94FE-A47DE3B12C61}"/>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2" name="Freeform 1681">
                      <a:extLst>
                        <a:ext uri="{FF2B5EF4-FFF2-40B4-BE49-F238E27FC236}">
                          <a16:creationId xmlns:a16="http://schemas.microsoft.com/office/drawing/2014/main" id="{6D7DC1E0-4038-43AA-8125-8E0CF806B6AD}"/>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3" name="Freeform 1682">
                      <a:extLst>
                        <a:ext uri="{FF2B5EF4-FFF2-40B4-BE49-F238E27FC236}">
                          <a16:creationId xmlns:a16="http://schemas.microsoft.com/office/drawing/2014/main" id="{27DB94BA-2038-4889-A510-D7FE0E61E558}"/>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1683">
                      <a:extLst>
                        <a:ext uri="{FF2B5EF4-FFF2-40B4-BE49-F238E27FC236}">
                          <a16:creationId xmlns:a16="http://schemas.microsoft.com/office/drawing/2014/main" id="{3D210A7C-EA3E-47F3-AE43-70AB53A7C5D0}"/>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1684">
                      <a:extLst>
                        <a:ext uri="{FF2B5EF4-FFF2-40B4-BE49-F238E27FC236}">
                          <a16:creationId xmlns:a16="http://schemas.microsoft.com/office/drawing/2014/main" id="{CFBCD459-E0D1-404C-B043-B077C0C5982C}"/>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1685">
                      <a:extLst>
                        <a:ext uri="{FF2B5EF4-FFF2-40B4-BE49-F238E27FC236}">
                          <a16:creationId xmlns:a16="http://schemas.microsoft.com/office/drawing/2014/main" id="{CA1BEB67-CFD8-4327-A686-A8BB4B8363E1}"/>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1686">
                      <a:extLst>
                        <a:ext uri="{FF2B5EF4-FFF2-40B4-BE49-F238E27FC236}">
                          <a16:creationId xmlns:a16="http://schemas.microsoft.com/office/drawing/2014/main" id="{AD51BBB0-64A2-4678-A9D2-68515D15945C}"/>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1687">
                      <a:extLst>
                        <a:ext uri="{FF2B5EF4-FFF2-40B4-BE49-F238E27FC236}">
                          <a16:creationId xmlns:a16="http://schemas.microsoft.com/office/drawing/2014/main" id="{82164BEB-906C-49C0-8B3A-379BFB8927C4}"/>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1688">
                      <a:extLst>
                        <a:ext uri="{FF2B5EF4-FFF2-40B4-BE49-F238E27FC236}">
                          <a16:creationId xmlns:a16="http://schemas.microsoft.com/office/drawing/2014/main" id="{38C6A769-DFBC-4AE7-B73E-95E236380C09}"/>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1689">
                      <a:extLst>
                        <a:ext uri="{FF2B5EF4-FFF2-40B4-BE49-F238E27FC236}">
                          <a16:creationId xmlns:a16="http://schemas.microsoft.com/office/drawing/2014/main" id="{6C2B4535-51F1-4721-B868-442D390157FE}"/>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1690">
                      <a:extLst>
                        <a:ext uri="{FF2B5EF4-FFF2-40B4-BE49-F238E27FC236}">
                          <a16:creationId xmlns:a16="http://schemas.microsoft.com/office/drawing/2014/main" id="{2168089E-048B-4A03-9C25-750D9257C0C2}"/>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1691">
                      <a:extLst>
                        <a:ext uri="{FF2B5EF4-FFF2-40B4-BE49-F238E27FC236}">
                          <a16:creationId xmlns:a16="http://schemas.microsoft.com/office/drawing/2014/main" id="{DFA2A51B-8DD5-4A89-910D-CA1931958F9C}"/>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3" name="Freeform 1692">
                      <a:extLst>
                        <a:ext uri="{FF2B5EF4-FFF2-40B4-BE49-F238E27FC236}">
                          <a16:creationId xmlns:a16="http://schemas.microsoft.com/office/drawing/2014/main" id="{A9E5E83B-1642-437F-81A9-45B9216C6E76}"/>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4" name="Freeform 1693">
                      <a:extLst>
                        <a:ext uri="{FF2B5EF4-FFF2-40B4-BE49-F238E27FC236}">
                          <a16:creationId xmlns:a16="http://schemas.microsoft.com/office/drawing/2014/main" id="{4D17AC3A-3637-4B47-8F9F-1AD6086B342A}"/>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Freeform 1694">
                      <a:extLst>
                        <a:ext uri="{FF2B5EF4-FFF2-40B4-BE49-F238E27FC236}">
                          <a16:creationId xmlns:a16="http://schemas.microsoft.com/office/drawing/2014/main" id="{22067ED6-B214-45A8-B029-1E440A68DC0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6" name="Freeform 1695">
                      <a:extLst>
                        <a:ext uri="{FF2B5EF4-FFF2-40B4-BE49-F238E27FC236}">
                          <a16:creationId xmlns:a16="http://schemas.microsoft.com/office/drawing/2014/main" id="{1DD1A4F9-2A30-4003-A5DD-89591482972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7" name="Freeform 1696">
                      <a:extLst>
                        <a:ext uri="{FF2B5EF4-FFF2-40B4-BE49-F238E27FC236}">
                          <a16:creationId xmlns:a16="http://schemas.microsoft.com/office/drawing/2014/main" id="{75EC2E55-1218-45BC-85F3-E24F97CC503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Freeform 1697">
                      <a:extLst>
                        <a:ext uri="{FF2B5EF4-FFF2-40B4-BE49-F238E27FC236}">
                          <a16:creationId xmlns:a16="http://schemas.microsoft.com/office/drawing/2014/main" id="{3AD6C380-4F95-4912-9991-EAB99AD4D35D}"/>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801" name="Rectangle 2800">
              <a:extLst>
                <a:ext uri="{FF2B5EF4-FFF2-40B4-BE49-F238E27FC236}">
                  <a16:creationId xmlns:a16="http://schemas.microsoft.com/office/drawing/2014/main" id="{5CC3A915-C0CF-48D9-BE8E-52BB3F9E154F}"/>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15" name="Group 14">
            <a:extLst>
              <a:ext uri="{FF2B5EF4-FFF2-40B4-BE49-F238E27FC236}">
                <a16:creationId xmlns:a16="http://schemas.microsoft.com/office/drawing/2014/main" id="{A3D36A2B-F5C4-4D01-9709-E1957D7DC38A}"/>
              </a:ext>
            </a:extLst>
          </p:cNvPr>
          <p:cNvGrpSpPr/>
          <p:nvPr/>
        </p:nvGrpSpPr>
        <p:grpSpPr>
          <a:xfrm>
            <a:off x="3481621" y="3615964"/>
            <a:ext cx="4581486" cy="2892141"/>
            <a:chOff x="3480940" y="3616012"/>
            <a:chExt cx="4582679" cy="2892894"/>
          </a:xfrm>
        </p:grpSpPr>
        <p:grpSp>
          <p:nvGrpSpPr>
            <p:cNvPr id="7" name="Group 6">
              <a:extLst>
                <a:ext uri="{FF2B5EF4-FFF2-40B4-BE49-F238E27FC236}">
                  <a16:creationId xmlns:a16="http://schemas.microsoft.com/office/drawing/2014/main" id="{692D072B-49CC-4303-8CF2-3D45E20D9312}"/>
                </a:ext>
              </a:extLst>
            </p:cNvPr>
            <p:cNvGrpSpPr/>
            <p:nvPr/>
          </p:nvGrpSpPr>
          <p:grpSpPr>
            <a:xfrm>
              <a:off x="3480940" y="4590574"/>
              <a:ext cx="2021522" cy="1918332"/>
              <a:chOff x="3480940" y="4590574"/>
              <a:chExt cx="2021522" cy="1918332"/>
            </a:xfrm>
          </p:grpSpPr>
          <p:grpSp>
            <p:nvGrpSpPr>
              <p:cNvPr id="2018" name="Group 2017">
                <a:extLst>
                  <a:ext uri="{FF2B5EF4-FFF2-40B4-BE49-F238E27FC236}">
                    <a16:creationId xmlns:a16="http://schemas.microsoft.com/office/drawing/2014/main" id="{56540839-72CD-4906-AEB0-E18EC5A846B9}"/>
                  </a:ext>
                </a:extLst>
              </p:cNvPr>
              <p:cNvGrpSpPr/>
              <p:nvPr/>
            </p:nvGrpSpPr>
            <p:grpSpPr>
              <a:xfrm>
                <a:off x="3480940" y="4590574"/>
                <a:ext cx="2021522" cy="1918332"/>
                <a:chOff x="3489383" y="4562005"/>
                <a:chExt cx="2026683" cy="1923229"/>
              </a:xfrm>
            </p:grpSpPr>
            <p:sp>
              <p:nvSpPr>
                <p:cNvPr id="2019" name="Rectangle 2018">
                  <a:extLst>
                    <a:ext uri="{FF2B5EF4-FFF2-40B4-BE49-F238E27FC236}">
                      <a16:creationId xmlns:a16="http://schemas.microsoft.com/office/drawing/2014/main" id="{748B31C8-D114-4F7B-AF23-309F82F6A9F1}"/>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020" name="Picture 2019">
                  <a:extLst>
                    <a:ext uri="{FF2B5EF4-FFF2-40B4-BE49-F238E27FC236}">
                      <a16:creationId xmlns:a16="http://schemas.microsoft.com/office/drawing/2014/main" id="{29BBB789-058D-4185-8ABF-BA11CF4AA1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021" name="Rectangle 2020">
                  <a:extLst>
                    <a:ext uri="{FF2B5EF4-FFF2-40B4-BE49-F238E27FC236}">
                      <a16:creationId xmlns:a16="http://schemas.microsoft.com/office/drawing/2014/main" id="{19403D70-F06C-4607-9A22-DBDF11EF45BA}"/>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022" name="Group 2021">
                  <a:extLst>
                    <a:ext uri="{FF2B5EF4-FFF2-40B4-BE49-F238E27FC236}">
                      <a16:creationId xmlns:a16="http://schemas.microsoft.com/office/drawing/2014/main" id="{FDD675A8-B8D0-4448-A656-3949DF642096}"/>
                    </a:ext>
                  </a:extLst>
                </p:cNvPr>
                <p:cNvGrpSpPr/>
                <p:nvPr/>
              </p:nvGrpSpPr>
              <p:grpSpPr>
                <a:xfrm>
                  <a:off x="4439956" y="4676083"/>
                  <a:ext cx="1030675" cy="846880"/>
                  <a:chOff x="10800033" y="2297897"/>
                  <a:chExt cx="1600558" cy="1315140"/>
                </a:xfrm>
              </p:grpSpPr>
              <p:grpSp>
                <p:nvGrpSpPr>
                  <p:cNvPr id="2023" name="Group 2022">
                    <a:extLst>
                      <a:ext uri="{FF2B5EF4-FFF2-40B4-BE49-F238E27FC236}">
                        <a16:creationId xmlns:a16="http://schemas.microsoft.com/office/drawing/2014/main" id="{1D61E89D-80B4-4262-AD4B-4F1EFBD7F33F}"/>
                      </a:ext>
                    </a:extLst>
                  </p:cNvPr>
                  <p:cNvGrpSpPr>
                    <a:grpSpLocks/>
                  </p:cNvGrpSpPr>
                  <p:nvPr/>
                </p:nvGrpSpPr>
                <p:grpSpPr>
                  <a:xfrm>
                    <a:off x="10800033" y="2339037"/>
                    <a:ext cx="613092" cy="613092"/>
                    <a:chOff x="745985" y="4768134"/>
                    <a:chExt cx="368776" cy="368777"/>
                  </a:xfrm>
                </p:grpSpPr>
                <p:grpSp>
                  <p:nvGrpSpPr>
                    <p:cNvPr id="2087" name="Group 64">
                      <a:extLst>
                        <a:ext uri="{FF2B5EF4-FFF2-40B4-BE49-F238E27FC236}">
                          <a16:creationId xmlns:a16="http://schemas.microsoft.com/office/drawing/2014/main" id="{01E48BE4-E577-4DA7-A7DA-D47F81E40EA8}"/>
                        </a:ext>
                      </a:extLst>
                    </p:cNvPr>
                    <p:cNvGrpSpPr>
                      <a:grpSpLocks noChangeAspect="1"/>
                    </p:cNvGrpSpPr>
                    <p:nvPr/>
                  </p:nvGrpSpPr>
                  <p:grpSpPr bwMode="auto">
                    <a:xfrm rot="8100000">
                      <a:off x="745985" y="4768134"/>
                      <a:ext cx="368776" cy="368777"/>
                      <a:chOff x="701" y="2170"/>
                      <a:chExt cx="587" cy="587"/>
                    </a:xfrm>
                  </p:grpSpPr>
                  <p:sp>
                    <p:nvSpPr>
                      <p:cNvPr id="2098" name="Oval 65">
                        <a:extLst>
                          <a:ext uri="{FF2B5EF4-FFF2-40B4-BE49-F238E27FC236}">
                            <a16:creationId xmlns:a16="http://schemas.microsoft.com/office/drawing/2014/main" id="{0A886081-F1D0-4AEB-9041-0464331AAF2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Line 66">
                        <a:extLst>
                          <a:ext uri="{FF2B5EF4-FFF2-40B4-BE49-F238E27FC236}">
                            <a16:creationId xmlns:a16="http://schemas.microsoft.com/office/drawing/2014/main" id="{C2E285F7-F1EF-42B3-A7C4-9FB0D6ED700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0" name="Line 67">
                        <a:extLst>
                          <a:ext uri="{FF2B5EF4-FFF2-40B4-BE49-F238E27FC236}">
                            <a16:creationId xmlns:a16="http://schemas.microsoft.com/office/drawing/2014/main" id="{0E350AB0-6D10-4606-B539-2CA4EC77E00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1" name="Line 69">
                        <a:extLst>
                          <a:ext uri="{FF2B5EF4-FFF2-40B4-BE49-F238E27FC236}">
                            <a16:creationId xmlns:a16="http://schemas.microsoft.com/office/drawing/2014/main" id="{7F69DCC6-831C-4C0A-83DB-10573EFA410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2" name="Line 74">
                        <a:extLst>
                          <a:ext uri="{FF2B5EF4-FFF2-40B4-BE49-F238E27FC236}">
                            <a16:creationId xmlns:a16="http://schemas.microsoft.com/office/drawing/2014/main" id="{A945B4C0-A0A8-4357-BDCC-600F0584749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78">
                        <a:extLst>
                          <a:ext uri="{FF2B5EF4-FFF2-40B4-BE49-F238E27FC236}">
                            <a16:creationId xmlns:a16="http://schemas.microsoft.com/office/drawing/2014/main" id="{83080771-497A-49B6-9DD8-EC246B91EE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80">
                        <a:extLst>
                          <a:ext uri="{FF2B5EF4-FFF2-40B4-BE49-F238E27FC236}">
                            <a16:creationId xmlns:a16="http://schemas.microsoft.com/office/drawing/2014/main" id="{35116DAD-749B-45B8-9C86-0FA72B3638F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88" name="Group 2087">
                      <a:extLst>
                        <a:ext uri="{FF2B5EF4-FFF2-40B4-BE49-F238E27FC236}">
                          <a16:creationId xmlns:a16="http://schemas.microsoft.com/office/drawing/2014/main" id="{37B1DD8D-1211-492D-8E3E-883D25B35A83}"/>
                        </a:ext>
                      </a:extLst>
                    </p:cNvPr>
                    <p:cNvGrpSpPr/>
                    <p:nvPr/>
                  </p:nvGrpSpPr>
                  <p:grpSpPr>
                    <a:xfrm>
                      <a:off x="837312" y="4814434"/>
                      <a:ext cx="136805" cy="278689"/>
                      <a:chOff x="2806700" y="2803319"/>
                      <a:chExt cx="433387" cy="882861"/>
                    </a:xfrm>
                  </p:grpSpPr>
                  <p:grpSp>
                    <p:nvGrpSpPr>
                      <p:cNvPr id="2089" name="Group 2088">
                        <a:extLst>
                          <a:ext uri="{FF2B5EF4-FFF2-40B4-BE49-F238E27FC236}">
                            <a16:creationId xmlns:a16="http://schemas.microsoft.com/office/drawing/2014/main" id="{3A754CC2-FAD8-46DE-A50F-546C90D392FC}"/>
                          </a:ext>
                        </a:extLst>
                      </p:cNvPr>
                      <p:cNvGrpSpPr>
                        <a:grpSpLocks noChangeAspect="1"/>
                      </p:cNvGrpSpPr>
                      <p:nvPr/>
                    </p:nvGrpSpPr>
                    <p:grpSpPr bwMode="auto">
                      <a:xfrm>
                        <a:off x="2806700" y="3043242"/>
                        <a:ext cx="433387" cy="642938"/>
                        <a:chOff x="1768" y="1917"/>
                        <a:chExt cx="273" cy="405"/>
                      </a:xfrm>
                    </p:grpSpPr>
                    <p:sp>
                      <p:nvSpPr>
                        <p:cNvPr id="2091" name="Freeform 52">
                          <a:extLst>
                            <a:ext uri="{FF2B5EF4-FFF2-40B4-BE49-F238E27FC236}">
                              <a16:creationId xmlns:a16="http://schemas.microsoft.com/office/drawing/2014/main" id="{C242132A-76D3-438C-AC96-5DB53EFA2BA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2" name="Line 54">
                          <a:extLst>
                            <a:ext uri="{FF2B5EF4-FFF2-40B4-BE49-F238E27FC236}">
                              <a16:creationId xmlns:a16="http://schemas.microsoft.com/office/drawing/2014/main" id="{D462B0C0-A26C-408D-B7F4-25FC0A46FCF6}"/>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3" name="Line 55">
                          <a:extLst>
                            <a:ext uri="{FF2B5EF4-FFF2-40B4-BE49-F238E27FC236}">
                              <a16:creationId xmlns:a16="http://schemas.microsoft.com/office/drawing/2014/main" id="{36CE7D36-8D4E-4E7D-B44E-37EF507C2CFA}"/>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4" name="Freeform 56">
                          <a:extLst>
                            <a:ext uri="{FF2B5EF4-FFF2-40B4-BE49-F238E27FC236}">
                              <a16:creationId xmlns:a16="http://schemas.microsoft.com/office/drawing/2014/main" id="{08EF9AB4-BEA6-467D-A1D8-F77DE6A94B9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5" name="Line 57">
                          <a:extLst>
                            <a:ext uri="{FF2B5EF4-FFF2-40B4-BE49-F238E27FC236}">
                              <a16:creationId xmlns:a16="http://schemas.microsoft.com/office/drawing/2014/main" id="{CF6AEC22-0767-467A-81AD-C0DFD9A4AA36}"/>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6" name="Freeform 58">
                          <a:extLst>
                            <a:ext uri="{FF2B5EF4-FFF2-40B4-BE49-F238E27FC236}">
                              <a16:creationId xmlns:a16="http://schemas.microsoft.com/office/drawing/2014/main" id="{C2604C23-AD38-4566-BAD3-47B5EA86390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7" name="Rectangle 2096">
                          <a:extLst>
                            <a:ext uri="{FF2B5EF4-FFF2-40B4-BE49-F238E27FC236}">
                              <a16:creationId xmlns:a16="http://schemas.microsoft.com/office/drawing/2014/main" id="{8509A289-0E67-4A94-8BC5-CE91EA04DF7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090" name="Oval 2089">
                        <a:extLst>
                          <a:ext uri="{FF2B5EF4-FFF2-40B4-BE49-F238E27FC236}">
                            <a16:creationId xmlns:a16="http://schemas.microsoft.com/office/drawing/2014/main" id="{F0A3E300-0A0E-4060-8DDB-B6EBA012D9C7}"/>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024" name="Group 2023">
                    <a:extLst>
                      <a:ext uri="{FF2B5EF4-FFF2-40B4-BE49-F238E27FC236}">
                        <a16:creationId xmlns:a16="http://schemas.microsoft.com/office/drawing/2014/main" id="{DE0B9681-3DED-44E4-9627-E0B541A48C40}"/>
                      </a:ext>
                    </a:extLst>
                  </p:cNvPr>
                  <p:cNvGrpSpPr>
                    <a:grpSpLocks/>
                  </p:cNvGrpSpPr>
                  <p:nvPr/>
                </p:nvGrpSpPr>
                <p:grpSpPr>
                  <a:xfrm>
                    <a:off x="11166615" y="2825631"/>
                    <a:ext cx="787402" cy="787406"/>
                    <a:chOff x="1454941" y="4721722"/>
                    <a:chExt cx="473625" cy="473627"/>
                  </a:xfrm>
                </p:grpSpPr>
                <p:grpSp>
                  <p:nvGrpSpPr>
                    <p:cNvPr id="2048" name="Group 64">
                      <a:extLst>
                        <a:ext uri="{FF2B5EF4-FFF2-40B4-BE49-F238E27FC236}">
                          <a16:creationId xmlns:a16="http://schemas.microsoft.com/office/drawing/2014/main" id="{72DB5D0F-8955-442F-AE53-3D14F7805B61}"/>
                        </a:ext>
                      </a:extLst>
                    </p:cNvPr>
                    <p:cNvGrpSpPr>
                      <a:grpSpLocks noChangeAspect="1"/>
                    </p:cNvGrpSpPr>
                    <p:nvPr/>
                  </p:nvGrpSpPr>
                  <p:grpSpPr bwMode="auto">
                    <a:xfrm rot="8100000">
                      <a:off x="1454941" y="4721722"/>
                      <a:ext cx="473625" cy="473627"/>
                      <a:chOff x="701" y="2170"/>
                      <a:chExt cx="587" cy="587"/>
                    </a:xfrm>
                  </p:grpSpPr>
                  <p:sp>
                    <p:nvSpPr>
                      <p:cNvPr id="2080" name="Oval 65">
                        <a:extLst>
                          <a:ext uri="{FF2B5EF4-FFF2-40B4-BE49-F238E27FC236}">
                            <a16:creationId xmlns:a16="http://schemas.microsoft.com/office/drawing/2014/main" id="{ACE6D71E-9A7F-44F5-9810-DDC2B399078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81" name="Line 66">
                        <a:extLst>
                          <a:ext uri="{FF2B5EF4-FFF2-40B4-BE49-F238E27FC236}">
                            <a16:creationId xmlns:a16="http://schemas.microsoft.com/office/drawing/2014/main" id="{764A254C-EFAA-4983-9208-C93B7A14743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2" name="Line 67">
                        <a:extLst>
                          <a:ext uri="{FF2B5EF4-FFF2-40B4-BE49-F238E27FC236}">
                            <a16:creationId xmlns:a16="http://schemas.microsoft.com/office/drawing/2014/main" id="{93EADFD0-1ECF-4DD6-B959-0DE85C07259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3" name="Line 69">
                        <a:extLst>
                          <a:ext uri="{FF2B5EF4-FFF2-40B4-BE49-F238E27FC236}">
                            <a16:creationId xmlns:a16="http://schemas.microsoft.com/office/drawing/2014/main" id="{FC151A07-1A6D-489C-8F94-96192C8AF74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4" name="Line 74">
                        <a:extLst>
                          <a:ext uri="{FF2B5EF4-FFF2-40B4-BE49-F238E27FC236}">
                            <a16:creationId xmlns:a16="http://schemas.microsoft.com/office/drawing/2014/main" id="{56564724-9B6C-41A6-A179-CC0E3D81C6D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5" name="Freeform 78">
                        <a:extLst>
                          <a:ext uri="{FF2B5EF4-FFF2-40B4-BE49-F238E27FC236}">
                            <a16:creationId xmlns:a16="http://schemas.microsoft.com/office/drawing/2014/main" id="{8A75B03E-65C6-414B-83C9-15BB05C9A5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6" name="Freeform 80">
                        <a:extLst>
                          <a:ext uri="{FF2B5EF4-FFF2-40B4-BE49-F238E27FC236}">
                            <a16:creationId xmlns:a16="http://schemas.microsoft.com/office/drawing/2014/main" id="{6036BA97-74E3-4525-95A2-587018FBD06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49" name="Group 2048">
                      <a:extLst>
                        <a:ext uri="{FF2B5EF4-FFF2-40B4-BE49-F238E27FC236}">
                          <a16:creationId xmlns:a16="http://schemas.microsoft.com/office/drawing/2014/main" id="{8D9F6327-0B0B-485A-8EC5-F862A7E69C50}"/>
                        </a:ext>
                      </a:extLst>
                    </p:cNvPr>
                    <p:cNvGrpSpPr/>
                    <p:nvPr/>
                  </p:nvGrpSpPr>
                  <p:grpSpPr>
                    <a:xfrm>
                      <a:off x="1511214" y="4789508"/>
                      <a:ext cx="356509" cy="349884"/>
                      <a:chOff x="468738" y="2241878"/>
                      <a:chExt cx="1655483" cy="1624719"/>
                    </a:xfrm>
                  </p:grpSpPr>
                  <p:sp>
                    <p:nvSpPr>
                      <p:cNvPr id="2050" name="Freeform 5">
                        <a:extLst>
                          <a:ext uri="{FF2B5EF4-FFF2-40B4-BE49-F238E27FC236}">
                            <a16:creationId xmlns:a16="http://schemas.microsoft.com/office/drawing/2014/main" id="{8458A5E1-1B47-42D6-B27E-97B06E861C41}"/>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51" name="Freeform 6">
                        <a:extLst>
                          <a:ext uri="{FF2B5EF4-FFF2-40B4-BE49-F238E27FC236}">
                            <a16:creationId xmlns:a16="http://schemas.microsoft.com/office/drawing/2014/main" id="{5E623E06-E501-49AC-B639-E48CD049790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2" name="Line 7">
                        <a:extLst>
                          <a:ext uri="{FF2B5EF4-FFF2-40B4-BE49-F238E27FC236}">
                            <a16:creationId xmlns:a16="http://schemas.microsoft.com/office/drawing/2014/main" id="{8A8AEB48-8EA2-4AE9-A410-03E59D7B8A9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3" name="Freeform 8">
                        <a:extLst>
                          <a:ext uri="{FF2B5EF4-FFF2-40B4-BE49-F238E27FC236}">
                            <a16:creationId xmlns:a16="http://schemas.microsoft.com/office/drawing/2014/main" id="{DA15DEDE-44A2-46BA-91D5-8160FF5EC2E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4" name="Line 9">
                        <a:extLst>
                          <a:ext uri="{FF2B5EF4-FFF2-40B4-BE49-F238E27FC236}">
                            <a16:creationId xmlns:a16="http://schemas.microsoft.com/office/drawing/2014/main" id="{017EFE93-47AA-43AE-B2CC-D9295B6A9F99}"/>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55" name="Group 2054">
                        <a:extLst>
                          <a:ext uri="{FF2B5EF4-FFF2-40B4-BE49-F238E27FC236}">
                            <a16:creationId xmlns:a16="http://schemas.microsoft.com/office/drawing/2014/main" id="{084D1A28-0222-46DD-8E24-FFB39B1A73D9}"/>
                          </a:ext>
                        </a:extLst>
                      </p:cNvPr>
                      <p:cNvGrpSpPr/>
                      <p:nvPr/>
                    </p:nvGrpSpPr>
                    <p:grpSpPr>
                      <a:xfrm>
                        <a:off x="1207113" y="2241878"/>
                        <a:ext cx="178734" cy="348678"/>
                        <a:chOff x="1207113" y="2241878"/>
                        <a:chExt cx="178734" cy="348678"/>
                      </a:xfrm>
                    </p:grpSpPr>
                    <p:sp>
                      <p:nvSpPr>
                        <p:cNvPr id="2078" name="Freeform 10">
                          <a:extLst>
                            <a:ext uri="{FF2B5EF4-FFF2-40B4-BE49-F238E27FC236}">
                              <a16:creationId xmlns:a16="http://schemas.microsoft.com/office/drawing/2014/main" id="{A6C5B11D-8CDC-4FCE-8BD2-323816C319E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9" name="Line 11">
                          <a:extLst>
                            <a:ext uri="{FF2B5EF4-FFF2-40B4-BE49-F238E27FC236}">
                              <a16:creationId xmlns:a16="http://schemas.microsoft.com/office/drawing/2014/main" id="{C71CB6D2-F664-402E-9A23-8E043C87299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056" name="Freeform 12">
                        <a:extLst>
                          <a:ext uri="{FF2B5EF4-FFF2-40B4-BE49-F238E27FC236}">
                            <a16:creationId xmlns:a16="http://schemas.microsoft.com/office/drawing/2014/main" id="{71AF4565-F1DB-4FAA-ACBD-3BE44EDF480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7" name="Line 13">
                        <a:extLst>
                          <a:ext uri="{FF2B5EF4-FFF2-40B4-BE49-F238E27FC236}">
                            <a16:creationId xmlns:a16="http://schemas.microsoft.com/office/drawing/2014/main" id="{FCB036DD-2C22-45DF-89C6-21107DB7F46B}"/>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8" name="Freeform 14">
                        <a:extLst>
                          <a:ext uri="{FF2B5EF4-FFF2-40B4-BE49-F238E27FC236}">
                            <a16:creationId xmlns:a16="http://schemas.microsoft.com/office/drawing/2014/main" id="{ED66D134-CDCF-48B3-BA53-AABFBE5C14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9" name="Line 15">
                        <a:extLst>
                          <a:ext uri="{FF2B5EF4-FFF2-40B4-BE49-F238E27FC236}">
                            <a16:creationId xmlns:a16="http://schemas.microsoft.com/office/drawing/2014/main" id="{954244E4-308D-4F88-9DCF-7194D2801C8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0" name="Freeform 16">
                        <a:extLst>
                          <a:ext uri="{FF2B5EF4-FFF2-40B4-BE49-F238E27FC236}">
                            <a16:creationId xmlns:a16="http://schemas.microsoft.com/office/drawing/2014/main" id="{3F85E511-5E10-48E6-9EBC-83EB630E9B4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1" name="Line 17">
                        <a:extLst>
                          <a:ext uri="{FF2B5EF4-FFF2-40B4-BE49-F238E27FC236}">
                            <a16:creationId xmlns:a16="http://schemas.microsoft.com/office/drawing/2014/main" id="{6B909ABD-1595-4AD4-BC0B-DEC69383D0BC}"/>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2" name="Freeform 18">
                        <a:extLst>
                          <a:ext uri="{FF2B5EF4-FFF2-40B4-BE49-F238E27FC236}">
                            <a16:creationId xmlns:a16="http://schemas.microsoft.com/office/drawing/2014/main" id="{BDCEB189-E1A3-4F61-BE87-F10D87B2710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3" name="Line 19">
                        <a:extLst>
                          <a:ext uri="{FF2B5EF4-FFF2-40B4-BE49-F238E27FC236}">
                            <a16:creationId xmlns:a16="http://schemas.microsoft.com/office/drawing/2014/main" id="{A5801A50-A158-4B52-9E77-FF89C2D442E6}"/>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4" name="Freeform 35">
                        <a:extLst>
                          <a:ext uri="{FF2B5EF4-FFF2-40B4-BE49-F238E27FC236}">
                            <a16:creationId xmlns:a16="http://schemas.microsoft.com/office/drawing/2014/main" id="{A2A5B366-8854-45C4-8BEC-9E9F76CBAEF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5" name="Freeform 36">
                        <a:extLst>
                          <a:ext uri="{FF2B5EF4-FFF2-40B4-BE49-F238E27FC236}">
                            <a16:creationId xmlns:a16="http://schemas.microsoft.com/office/drawing/2014/main" id="{A9959492-14F1-4A2E-AE94-E9959B0345D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6" name="Freeform 37">
                        <a:extLst>
                          <a:ext uri="{FF2B5EF4-FFF2-40B4-BE49-F238E27FC236}">
                            <a16:creationId xmlns:a16="http://schemas.microsoft.com/office/drawing/2014/main" id="{5ED0F6C4-9257-4A26-82FD-6DA64DCDF93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7" name="Freeform 38">
                        <a:extLst>
                          <a:ext uri="{FF2B5EF4-FFF2-40B4-BE49-F238E27FC236}">
                            <a16:creationId xmlns:a16="http://schemas.microsoft.com/office/drawing/2014/main" id="{E6D4C4DE-85DA-4348-BAF1-FBDF5CB75BA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8" name="Freeform 39">
                        <a:extLst>
                          <a:ext uri="{FF2B5EF4-FFF2-40B4-BE49-F238E27FC236}">
                            <a16:creationId xmlns:a16="http://schemas.microsoft.com/office/drawing/2014/main" id="{A53B7A6D-CB31-4EE8-9E58-AC8FFE6CA5C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9" name="Freeform 40">
                        <a:extLst>
                          <a:ext uri="{FF2B5EF4-FFF2-40B4-BE49-F238E27FC236}">
                            <a16:creationId xmlns:a16="http://schemas.microsoft.com/office/drawing/2014/main" id="{090B3AC6-1F4F-43CF-9E4E-C4AB75FB265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0" name="Freeform 41">
                        <a:extLst>
                          <a:ext uri="{FF2B5EF4-FFF2-40B4-BE49-F238E27FC236}">
                            <a16:creationId xmlns:a16="http://schemas.microsoft.com/office/drawing/2014/main" id="{D01F9AD9-90A1-4084-857D-6A0CE0A59B96}"/>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1" name="Line 42">
                        <a:extLst>
                          <a:ext uri="{FF2B5EF4-FFF2-40B4-BE49-F238E27FC236}">
                            <a16:creationId xmlns:a16="http://schemas.microsoft.com/office/drawing/2014/main" id="{1B200E90-00C5-4D47-8EDC-739CE998E99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2" name="Freeform 43">
                        <a:extLst>
                          <a:ext uri="{FF2B5EF4-FFF2-40B4-BE49-F238E27FC236}">
                            <a16:creationId xmlns:a16="http://schemas.microsoft.com/office/drawing/2014/main" id="{57AC4181-E6DE-496C-8CC6-59006C184E4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3" name="Freeform 44">
                        <a:extLst>
                          <a:ext uri="{FF2B5EF4-FFF2-40B4-BE49-F238E27FC236}">
                            <a16:creationId xmlns:a16="http://schemas.microsoft.com/office/drawing/2014/main" id="{79C99E03-D11E-40AF-96F5-7947612FECB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4" name="Freeform 45">
                        <a:extLst>
                          <a:ext uri="{FF2B5EF4-FFF2-40B4-BE49-F238E27FC236}">
                            <a16:creationId xmlns:a16="http://schemas.microsoft.com/office/drawing/2014/main" id="{5317F08E-B27F-4FEC-BF2A-B6314519682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75" name="Group 2074">
                        <a:extLst>
                          <a:ext uri="{FF2B5EF4-FFF2-40B4-BE49-F238E27FC236}">
                            <a16:creationId xmlns:a16="http://schemas.microsoft.com/office/drawing/2014/main" id="{B2BECC28-D7C9-486B-B602-A81655E18478}"/>
                          </a:ext>
                        </a:extLst>
                      </p:cNvPr>
                      <p:cNvGrpSpPr/>
                      <p:nvPr/>
                    </p:nvGrpSpPr>
                    <p:grpSpPr>
                      <a:xfrm flipV="1">
                        <a:off x="1202047" y="3517919"/>
                        <a:ext cx="178734" cy="348678"/>
                        <a:chOff x="1207113" y="2241878"/>
                        <a:chExt cx="178734" cy="348678"/>
                      </a:xfrm>
                    </p:grpSpPr>
                    <p:sp>
                      <p:nvSpPr>
                        <p:cNvPr id="2076" name="Freeform 10">
                          <a:extLst>
                            <a:ext uri="{FF2B5EF4-FFF2-40B4-BE49-F238E27FC236}">
                              <a16:creationId xmlns:a16="http://schemas.microsoft.com/office/drawing/2014/main" id="{E98405F1-35EE-4CF6-B642-4093736BC42E}"/>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7" name="Line 11">
                          <a:extLst>
                            <a:ext uri="{FF2B5EF4-FFF2-40B4-BE49-F238E27FC236}">
                              <a16:creationId xmlns:a16="http://schemas.microsoft.com/office/drawing/2014/main" id="{368D9ED1-B092-4360-B4B0-D9D564B307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25" name="Group 2024">
                    <a:extLst>
                      <a:ext uri="{FF2B5EF4-FFF2-40B4-BE49-F238E27FC236}">
                        <a16:creationId xmlns:a16="http://schemas.microsoft.com/office/drawing/2014/main" id="{B037B739-0AC6-483D-9CD6-C23CB322CDCF}"/>
                      </a:ext>
                    </a:extLst>
                  </p:cNvPr>
                  <p:cNvGrpSpPr>
                    <a:grpSpLocks/>
                  </p:cNvGrpSpPr>
                  <p:nvPr/>
                </p:nvGrpSpPr>
                <p:grpSpPr>
                  <a:xfrm>
                    <a:off x="11709639" y="2297897"/>
                    <a:ext cx="690952" cy="690956"/>
                    <a:chOff x="2268747" y="4723725"/>
                    <a:chExt cx="415610" cy="415612"/>
                  </a:xfrm>
                </p:grpSpPr>
                <p:grpSp>
                  <p:nvGrpSpPr>
                    <p:cNvPr id="2026" name="Group 64">
                      <a:extLst>
                        <a:ext uri="{FF2B5EF4-FFF2-40B4-BE49-F238E27FC236}">
                          <a16:creationId xmlns:a16="http://schemas.microsoft.com/office/drawing/2014/main" id="{08D7E938-A413-4450-A19B-6A75A5009960}"/>
                        </a:ext>
                      </a:extLst>
                    </p:cNvPr>
                    <p:cNvGrpSpPr>
                      <a:grpSpLocks noChangeAspect="1"/>
                    </p:cNvGrpSpPr>
                    <p:nvPr/>
                  </p:nvGrpSpPr>
                  <p:grpSpPr bwMode="auto">
                    <a:xfrm rot="8100000">
                      <a:off x="2268747" y="4723725"/>
                      <a:ext cx="415610" cy="415612"/>
                      <a:chOff x="701" y="2170"/>
                      <a:chExt cx="587" cy="587"/>
                    </a:xfrm>
                  </p:grpSpPr>
                  <p:sp>
                    <p:nvSpPr>
                      <p:cNvPr id="2041" name="Oval 65">
                        <a:extLst>
                          <a:ext uri="{FF2B5EF4-FFF2-40B4-BE49-F238E27FC236}">
                            <a16:creationId xmlns:a16="http://schemas.microsoft.com/office/drawing/2014/main" id="{C0044DE8-339A-40BF-8511-55ED3339CF1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2" name="Line 66">
                        <a:extLst>
                          <a:ext uri="{FF2B5EF4-FFF2-40B4-BE49-F238E27FC236}">
                            <a16:creationId xmlns:a16="http://schemas.microsoft.com/office/drawing/2014/main" id="{E104734A-91B5-4854-B5E4-46A8B4BE5A5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3" name="Line 67">
                        <a:extLst>
                          <a:ext uri="{FF2B5EF4-FFF2-40B4-BE49-F238E27FC236}">
                            <a16:creationId xmlns:a16="http://schemas.microsoft.com/office/drawing/2014/main" id="{F8A00DAE-6A81-4FD7-8577-2A690D709D8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4" name="Line 69">
                        <a:extLst>
                          <a:ext uri="{FF2B5EF4-FFF2-40B4-BE49-F238E27FC236}">
                            <a16:creationId xmlns:a16="http://schemas.microsoft.com/office/drawing/2014/main" id="{E959F45C-F50B-48A5-ACAD-A8FD159609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5" name="Line 74">
                        <a:extLst>
                          <a:ext uri="{FF2B5EF4-FFF2-40B4-BE49-F238E27FC236}">
                            <a16:creationId xmlns:a16="http://schemas.microsoft.com/office/drawing/2014/main" id="{F7A415D4-892E-415D-B52D-4C31737AE6E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6" name="Freeform 78">
                        <a:extLst>
                          <a:ext uri="{FF2B5EF4-FFF2-40B4-BE49-F238E27FC236}">
                            <a16:creationId xmlns:a16="http://schemas.microsoft.com/office/drawing/2014/main" id="{24F79AE3-20DF-4F7B-84B6-6B1B62693B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7" name="Freeform 80">
                        <a:extLst>
                          <a:ext uri="{FF2B5EF4-FFF2-40B4-BE49-F238E27FC236}">
                            <a16:creationId xmlns:a16="http://schemas.microsoft.com/office/drawing/2014/main" id="{DC56F3FF-10DF-4FFC-9360-29442B3474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27" name="Group 2026">
                      <a:extLst>
                        <a:ext uri="{FF2B5EF4-FFF2-40B4-BE49-F238E27FC236}">
                          <a16:creationId xmlns:a16="http://schemas.microsoft.com/office/drawing/2014/main" id="{0E2DCCB4-C702-40DD-A4A1-69BC491A0C03}"/>
                        </a:ext>
                      </a:extLst>
                    </p:cNvPr>
                    <p:cNvGrpSpPr/>
                    <p:nvPr/>
                  </p:nvGrpSpPr>
                  <p:grpSpPr>
                    <a:xfrm>
                      <a:off x="2318076" y="4830163"/>
                      <a:ext cx="313949" cy="233075"/>
                      <a:chOff x="3707533" y="2731244"/>
                      <a:chExt cx="389644" cy="289271"/>
                    </a:xfrm>
                  </p:grpSpPr>
                  <p:sp>
                    <p:nvSpPr>
                      <p:cNvPr id="2028" name="Freeform 33">
                        <a:extLst>
                          <a:ext uri="{FF2B5EF4-FFF2-40B4-BE49-F238E27FC236}">
                            <a16:creationId xmlns:a16="http://schemas.microsoft.com/office/drawing/2014/main" id="{E8B2C79B-4AF1-4A44-A176-891EBCF127A3}"/>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29" name="Freeform 34">
                        <a:extLst>
                          <a:ext uri="{FF2B5EF4-FFF2-40B4-BE49-F238E27FC236}">
                            <a16:creationId xmlns:a16="http://schemas.microsoft.com/office/drawing/2014/main" id="{2B2340E6-B3CE-41D4-93E8-10F66EC1C005}"/>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0" name="Freeform 37">
                        <a:extLst>
                          <a:ext uri="{FF2B5EF4-FFF2-40B4-BE49-F238E27FC236}">
                            <a16:creationId xmlns:a16="http://schemas.microsoft.com/office/drawing/2014/main" id="{70FD9DBD-3EEE-4081-A7C5-623B318DEB6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1" name="Freeform 38">
                        <a:extLst>
                          <a:ext uri="{FF2B5EF4-FFF2-40B4-BE49-F238E27FC236}">
                            <a16:creationId xmlns:a16="http://schemas.microsoft.com/office/drawing/2014/main" id="{6B638651-29FF-47DA-A9EE-190AE460256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2" name="Freeform 32">
                        <a:extLst>
                          <a:ext uri="{FF2B5EF4-FFF2-40B4-BE49-F238E27FC236}">
                            <a16:creationId xmlns:a16="http://schemas.microsoft.com/office/drawing/2014/main" id="{52509299-95E6-477F-B2CE-5C495EFB222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3" name="Freeform 35">
                        <a:extLst>
                          <a:ext uri="{FF2B5EF4-FFF2-40B4-BE49-F238E27FC236}">
                            <a16:creationId xmlns:a16="http://schemas.microsoft.com/office/drawing/2014/main" id="{9D4A156B-550E-40AC-9F3C-1A59E40AD25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4" name="Freeform 36">
                        <a:extLst>
                          <a:ext uri="{FF2B5EF4-FFF2-40B4-BE49-F238E27FC236}">
                            <a16:creationId xmlns:a16="http://schemas.microsoft.com/office/drawing/2014/main" id="{0784B5FD-53DC-459C-9501-0DF1AD18B886}"/>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5" name="Freeform 25">
                        <a:extLst>
                          <a:ext uri="{FF2B5EF4-FFF2-40B4-BE49-F238E27FC236}">
                            <a16:creationId xmlns:a16="http://schemas.microsoft.com/office/drawing/2014/main" id="{063F9560-0D59-42B4-936E-5534763842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6" name="Freeform 39">
                        <a:extLst>
                          <a:ext uri="{FF2B5EF4-FFF2-40B4-BE49-F238E27FC236}">
                            <a16:creationId xmlns:a16="http://schemas.microsoft.com/office/drawing/2014/main" id="{6B294804-F521-46BA-87D4-E7C21805090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7" name="Freeform 26">
                        <a:extLst>
                          <a:ext uri="{FF2B5EF4-FFF2-40B4-BE49-F238E27FC236}">
                            <a16:creationId xmlns:a16="http://schemas.microsoft.com/office/drawing/2014/main" id="{4716EE93-6A1A-44B5-9DA4-72D5176B1770}"/>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8" name="Rectangle 27">
                        <a:extLst>
                          <a:ext uri="{FF2B5EF4-FFF2-40B4-BE49-F238E27FC236}">
                            <a16:creationId xmlns:a16="http://schemas.microsoft.com/office/drawing/2014/main" id="{4E146FFA-8A46-4665-AF88-43ADE3D3650D}"/>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9" name="Line 29">
                        <a:extLst>
                          <a:ext uri="{FF2B5EF4-FFF2-40B4-BE49-F238E27FC236}">
                            <a16:creationId xmlns:a16="http://schemas.microsoft.com/office/drawing/2014/main" id="{ECD43F80-7F01-4A04-AF12-F87ADD6E93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0" name="Line 31">
                        <a:extLst>
                          <a:ext uri="{FF2B5EF4-FFF2-40B4-BE49-F238E27FC236}">
                            <a16:creationId xmlns:a16="http://schemas.microsoft.com/office/drawing/2014/main" id="{494C1B5D-1A30-411F-B0DF-EFA8E546997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423" name="Group 2422">
                <a:extLst>
                  <a:ext uri="{FF2B5EF4-FFF2-40B4-BE49-F238E27FC236}">
                    <a16:creationId xmlns:a16="http://schemas.microsoft.com/office/drawing/2014/main" id="{0861F88F-F86B-4256-871A-619833B675D8}"/>
                  </a:ext>
                </a:extLst>
              </p:cNvPr>
              <p:cNvGrpSpPr/>
              <p:nvPr/>
            </p:nvGrpSpPr>
            <p:grpSpPr>
              <a:xfrm>
                <a:off x="3584215" y="5655005"/>
                <a:ext cx="1001118" cy="830281"/>
                <a:chOff x="3592922" y="5629153"/>
                <a:chExt cx="1003674" cy="832401"/>
              </a:xfrm>
            </p:grpSpPr>
            <p:pic>
              <p:nvPicPr>
                <p:cNvPr id="2424" name="Picture 1">
                  <a:extLst>
                    <a:ext uri="{FF2B5EF4-FFF2-40B4-BE49-F238E27FC236}">
                      <a16:creationId xmlns:a16="http://schemas.microsoft.com/office/drawing/2014/main" id="{2F855582-806F-4F4C-9E3E-ACC2A6B1559B}"/>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5" name="Rectangle 2424">
                  <a:extLst>
                    <a:ext uri="{FF2B5EF4-FFF2-40B4-BE49-F238E27FC236}">
                      <a16:creationId xmlns:a16="http://schemas.microsoft.com/office/drawing/2014/main" id="{46CEBEB8-20DE-4256-87A0-C6931B3E059E}"/>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802" name="Group 2801">
              <a:extLst>
                <a:ext uri="{FF2B5EF4-FFF2-40B4-BE49-F238E27FC236}">
                  <a16:creationId xmlns:a16="http://schemas.microsoft.com/office/drawing/2014/main" id="{B42686BC-04B1-4420-A0D9-BB8E0B6F4E1B}"/>
                </a:ext>
              </a:extLst>
            </p:cNvPr>
            <p:cNvGrpSpPr/>
            <p:nvPr/>
          </p:nvGrpSpPr>
          <p:grpSpPr>
            <a:xfrm>
              <a:off x="4527697" y="3616012"/>
              <a:ext cx="3535922" cy="312851"/>
              <a:chOff x="4538813" y="3457139"/>
              <a:chExt cx="3544948" cy="313650"/>
            </a:xfrm>
          </p:grpSpPr>
          <p:grpSp>
            <p:nvGrpSpPr>
              <p:cNvPr id="2803" name="Group 2802">
                <a:extLst>
                  <a:ext uri="{FF2B5EF4-FFF2-40B4-BE49-F238E27FC236}">
                    <a16:creationId xmlns:a16="http://schemas.microsoft.com/office/drawing/2014/main" id="{042C71BF-029D-49A1-8571-D8CA13FE0977}"/>
                  </a:ext>
                </a:extLst>
              </p:cNvPr>
              <p:cNvGrpSpPr/>
              <p:nvPr/>
            </p:nvGrpSpPr>
            <p:grpSpPr>
              <a:xfrm>
                <a:off x="4538813" y="3463012"/>
                <a:ext cx="3544948" cy="307777"/>
                <a:chOff x="4538813" y="3463012"/>
                <a:chExt cx="3544948" cy="307777"/>
              </a:xfrm>
            </p:grpSpPr>
            <p:sp>
              <p:nvSpPr>
                <p:cNvPr id="2805" name="Rectangle 2804">
                  <a:extLst>
                    <a:ext uri="{FF2B5EF4-FFF2-40B4-BE49-F238E27FC236}">
                      <a16:creationId xmlns:a16="http://schemas.microsoft.com/office/drawing/2014/main" id="{75C3E363-1F35-489E-BA74-0A779425B25C}"/>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6" name="Rectangle 2805">
                  <a:extLst>
                    <a:ext uri="{FF2B5EF4-FFF2-40B4-BE49-F238E27FC236}">
                      <a16:creationId xmlns:a16="http://schemas.microsoft.com/office/drawing/2014/main" id="{BD535703-7C60-48C0-A6F3-77B1BC346C9F}"/>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7" name="Rectangle 2806">
                  <a:extLst>
                    <a:ext uri="{FF2B5EF4-FFF2-40B4-BE49-F238E27FC236}">
                      <a16:creationId xmlns:a16="http://schemas.microsoft.com/office/drawing/2014/main" id="{47F71A10-A782-443A-8CBD-936E26C964D4}"/>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8" name="Rectangle 2807">
                  <a:extLst>
                    <a:ext uri="{FF2B5EF4-FFF2-40B4-BE49-F238E27FC236}">
                      <a16:creationId xmlns:a16="http://schemas.microsoft.com/office/drawing/2014/main" id="{08AC8244-6710-4675-8737-487150EB8633}"/>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9" name="Rectangle 2808">
                  <a:extLst>
                    <a:ext uri="{FF2B5EF4-FFF2-40B4-BE49-F238E27FC236}">
                      <a16:creationId xmlns:a16="http://schemas.microsoft.com/office/drawing/2014/main" id="{09A7514C-CF6A-4EB5-97F3-2B004132D70A}"/>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0" name="Rectangle 2809">
                  <a:extLst>
                    <a:ext uri="{FF2B5EF4-FFF2-40B4-BE49-F238E27FC236}">
                      <a16:creationId xmlns:a16="http://schemas.microsoft.com/office/drawing/2014/main" id="{D4BE4497-2EE1-4340-9A22-F07D1EEA1094}"/>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1" name="Rectangle 2810">
                  <a:extLst>
                    <a:ext uri="{FF2B5EF4-FFF2-40B4-BE49-F238E27FC236}">
                      <a16:creationId xmlns:a16="http://schemas.microsoft.com/office/drawing/2014/main" id="{AC1A6B11-647E-4E78-9141-5AB1BDC7AC86}"/>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804" name="Rectangle 2803">
                <a:extLst>
                  <a:ext uri="{FF2B5EF4-FFF2-40B4-BE49-F238E27FC236}">
                    <a16:creationId xmlns:a16="http://schemas.microsoft.com/office/drawing/2014/main" id="{84BE1BCD-92F1-4234-892B-3E3E3EB97326}"/>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3" name="Group 2">
            <a:extLst>
              <a:ext uri="{FF2B5EF4-FFF2-40B4-BE49-F238E27FC236}">
                <a16:creationId xmlns:a16="http://schemas.microsoft.com/office/drawing/2014/main" id="{F68ED92F-55F2-4796-B592-F951746241DD}"/>
              </a:ext>
            </a:extLst>
          </p:cNvPr>
          <p:cNvGrpSpPr/>
          <p:nvPr/>
        </p:nvGrpSpPr>
        <p:grpSpPr>
          <a:xfrm>
            <a:off x="1944832" y="1841990"/>
            <a:ext cx="1530261" cy="1365012"/>
            <a:chOff x="1943749" y="1841576"/>
            <a:chExt cx="1530660" cy="1365368"/>
          </a:xfrm>
        </p:grpSpPr>
        <p:grpSp>
          <p:nvGrpSpPr>
            <p:cNvPr id="2" name="Group 1">
              <a:extLst>
                <a:ext uri="{FF2B5EF4-FFF2-40B4-BE49-F238E27FC236}">
                  <a16:creationId xmlns:a16="http://schemas.microsoft.com/office/drawing/2014/main" id="{810E02F5-E91A-4A84-B614-26F7833E4F9E}"/>
                </a:ext>
              </a:extLst>
            </p:cNvPr>
            <p:cNvGrpSpPr/>
            <p:nvPr/>
          </p:nvGrpSpPr>
          <p:grpSpPr>
            <a:xfrm>
              <a:off x="1943749" y="2407608"/>
              <a:ext cx="1530660" cy="799336"/>
              <a:chOff x="1943749" y="2407608"/>
              <a:chExt cx="1530660" cy="799336"/>
            </a:xfrm>
          </p:grpSpPr>
          <p:cxnSp>
            <p:nvCxnSpPr>
              <p:cNvPr id="2812" name="Elbow Connector 558">
                <a:extLst>
                  <a:ext uri="{FF2B5EF4-FFF2-40B4-BE49-F238E27FC236}">
                    <a16:creationId xmlns:a16="http://schemas.microsoft.com/office/drawing/2014/main" id="{1935F575-87DC-442A-9CCD-6F852C78EB34}"/>
                  </a:ext>
                </a:extLst>
              </p:cNvPr>
              <p:cNvCxnSpPr>
                <a:cxnSpLocks/>
                <a:endCxn id="2814"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813" name="Elbow Connector 558">
                <a:extLst>
                  <a:ext uri="{FF2B5EF4-FFF2-40B4-BE49-F238E27FC236}">
                    <a16:creationId xmlns:a16="http://schemas.microsoft.com/office/drawing/2014/main" id="{37DBABF8-A9A5-45DD-953F-1B5BE29639BD}"/>
                  </a:ext>
                </a:extLst>
              </p:cNvPr>
              <p:cNvCxnSpPr>
                <a:cxnSpLocks/>
                <a:stCxn id="2814" idx="3"/>
                <a:endCxn id="2105" idx="1"/>
              </p:cNvCxnSpPr>
              <p:nvPr/>
            </p:nvCxnSpPr>
            <p:spPr>
              <a:xfrm flipV="1">
                <a:off x="2543277" y="2407608"/>
                <a:ext cx="931132" cy="374067"/>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814" name="Picture 2813">
                <a:extLst>
                  <a:ext uri="{FF2B5EF4-FFF2-40B4-BE49-F238E27FC236}">
                    <a16:creationId xmlns:a16="http://schemas.microsoft.com/office/drawing/2014/main" id="{B4B3FA98-B76F-474E-9F2A-47EBAD2A5D2E}"/>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815" name="Picture 2814">
              <a:extLst>
                <a:ext uri="{FF2B5EF4-FFF2-40B4-BE49-F238E27FC236}">
                  <a16:creationId xmlns:a16="http://schemas.microsoft.com/office/drawing/2014/main" id="{4A96C1DF-0971-4663-9F6A-90244601521F}"/>
                </a:ext>
              </a:extLst>
            </p:cNvPr>
            <p:cNvPicPr>
              <a:picLocks noChangeAspect="1"/>
            </p:cNvPicPr>
            <p:nvPr/>
          </p:nvPicPr>
          <p:blipFill>
            <a:blip r:embed="rId7"/>
            <a:stretch>
              <a:fillRect/>
            </a:stretch>
          </p:blipFill>
          <p:spPr>
            <a:xfrm>
              <a:off x="2231599" y="1841576"/>
              <a:ext cx="302738" cy="580832"/>
            </a:xfrm>
            <a:prstGeom prst="rect">
              <a:avLst/>
            </a:prstGeom>
          </p:spPr>
        </p:pic>
      </p:grpSp>
      <p:pic>
        <p:nvPicPr>
          <p:cNvPr id="2819" name="Picture 2818">
            <a:extLst>
              <a:ext uri="{FF2B5EF4-FFF2-40B4-BE49-F238E27FC236}">
                <a16:creationId xmlns:a16="http://schemas.microsoft.com/office/drawing/2014/main" id="{6544E938-61F0-46D9-A75C-4BF3D3484FA3}"/>
              </a:ext>
            </a:extLst>
          </p:cNvPr>
          <p:cNvPicPr>
            <a:picLocks noChangeAspect="1"/>
          </p:cNvPicPr>
          <p:nvPr/>
        </p:nvPicPr>
        <p:blipFill>
          <a:blip r:embed="rId8"/>
          <a:stretch>
            <a:fillRect/>
          </a:stretch>
        </p:blipFill>
        <p:spPr>
          <a:xfrm rot="19800000">
            <a:off x="421100" y="4657564"/>
            <a:ext cx="884802" cy="447298"/>
          </a:xfrm>
          <a:prstGeom prst="rect">
            <a:avLst/>
          </a:prstGeom>
        </p:spPr>
      </p:pic>
      <p:graphicFrame>
        <p:nvGraphicFramePr>
          <p:cNvPr id="2820" name="Table 2819">
            <a:extLst>
              <a:ext uri="{FF2B5EF4-FFF2-40B4-BE49-F238E27FC236}">
                <a16:creationId xmlns:a16="http://schemas.microsoft.com/office/drawing/2014/main" id="{89A8A12C-D536-4549-8896-ACAF02458597}"/>
              </a:ext>
            </a:extLst>
          </p:cNvPr>
          <p:cNvGraphicFramePr>
            <a:graphicFrameLocks noGrp="1"/>
          </p:cNvGraphicFramePr>
          <p:nvPr/>
        </p:nvGraphicFramePr>
        <p:xfrm>
          <a:off x="723088" y="3207003"/>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821" name="Group 2820">
            <a:extLst>
              <a:ext uri="{FF2B5EF4-FFF2-40B4-BE49-F238E27FC236}">
                <a16:creationId xmlns:a16="http://schemas.microsoft.com/office/drawing/2014/main" id="{1A72D80C-EC97-4590-90E5-A0435476FCFE}"/>
              </a:ext>
            </a:extLst>
          </p:cNvPr>
          <p:cNvGrpSpPr/>
          <p:nvPr/>
        </p:nvGrpSpPr>
        <p:grpSpPr>
          <a:xfrm>
            <a:off x="766965" y="3483750"/>
            <a:ext cx="381241" cy="766727"/>
            <a:chOff x="765576" y="3316088"/>
            <a:chExt cx="381340" cy="766927"/>
          </a:xfrm>
        </p:grpSpPr>
        <p:pic>
          <p:nvPicPr>
            <p:cNvPr id="2822" name="Picture 2821">
              <a:extLst>
                <a:ext uri="{FF2B5EF4-FFF2-40B4-BE49-F238E27FC236}">
                  <a16:creationId xmlns:a16="http://schemas.microsoft.com/office/drawing/2014/main" id="{FE11C917-2E55-4F7D-A2A1-2EFAB11CDE0C}"/>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823" name="Picture 2822">
              <a:extLst>
                <a:ext uri="{FF2B5EF4-FFF2-40B4-BE49-F238E27FC236}">
                  <a16:creationId xmlns:a16="http://schemas.microsoft.com/office/drawing/2014/main" id="{17224878-9330-48F3-B403-329D12D003CF}"/>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824" name="Picture 2823">
              <a:extLst>
                <a:ext uri="{FF2B5EF4-FFF2-40B4-BE49-F238E27FC236}">
                  <a16:creationId xmlns:a16="http://schemas.microsoft.com/office/drawing/2014/main" id="{852FF2A2-2767-4AFF-951E-8472461D8D9B}"/>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825" name="Rectangle 2824">
            <a:extLst>
              <a:ext uri="{FF2B5EF4-FFF2-40B4-BE49-F238E27FC236}">
                <a16:creationId xmlns:a16="http://schemas.microsoft.com/office/drawing/2014/main" id="{5224E924-2468-41ED-95B1-F5004958C1BE}"/>
              </a:ext>
            </a:extLst>
          </p:cNvPr>
          <p:cNvSpPr>
            <a:spLocks/>
          </p:cNvSpPr>
          <p:nvPr/>
        </p:nvSpPr>
        <p:spPr bwMode="gray">
          <a:xfrm>
            <a:off x="392096" y="1689529"/>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5" name="Group 4">
            <a:extLst>
              <a:ext uri="{FF2B5EF4-FFF2-40B4-BE49-F238E27FC236}">
                <a16:creationId xmlns:a16="http://schemas.microsoft.com/office/drawing/2014/main" id="{5EEE3459-2DC7-42CE-BC3F-E8DC87CB15E6}"/>
              </a:ext>
            </a:extLst>
          </p:cNvPr>
          <p:cNvGrpSpPr/>
          <p:nvPr/>
        </p:nvGrpSpPr>
        <p:grpSpPr>
          <a:xfrm>
            <a:off x="3475092" y="1754090"/>
            <a:ext cx="3106888" cy="2174645"/>
            <a:chOff x="3474409" y="1753652"/>
            <a:chExt cx="3107697" cy="2175211"/>
          </a:xfrm>
        </p:grpSpPr>
        <p:sp>
          <p:nvSpPr>
            <p:cNvPr id="2191" name="Rectangle 2190">
              <a:extLst>
                <a:ext uri="{FF2B5EF4-FFF2-40B4-BE49-F238E27FC236}">
                  <a16:creationId xmlns:a16="http://schemas.microsoft.com/office/drawing/2014/main" id="{89D1F8BB-2ACD-46A8-BABB-497E2F300D91}"/>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4" name="Group 3">
              <a:extLst>
                <a:ext uri="{FF2B5EF4-FFF2-40B4-BE49-F238E27FC236}">
                  <a16:creationId xmlns:a16="http://schemas.microsoft.com/office/drawing/2014/main" id="{D07FDF92-4F18-4D73-938A-6E4D44CEEA44}"/>
                </a:ext>
              </a:extLst>
            </p:cNvPr>
            <p:cNvGrpSpPr/>
            <p:nvPr/>
          </p:nvGrpSpPr>
          <p:grpSpPr>
            <a:xfrm>
              <a:off x="3474409" y="1753652"/>
              <a:ext cx="3107697" cy="1338890"/>
              <a:chOff x="3474409" y="1753652"/>
              <a:chExt cx="3107697" cy="1338890"/>
            </a:xfrm>
          </p:grpSpPr>
          <p:sp>
            <p:nvSpPr>
              <p:cNvPr id="2105" name="Rectangle 2104">
                <a:extLst>
                  <a:ext uri="{FF2B5EF4-FFF2-40B4-BE49-F238E27FC236}">
                    <a16:creationId xmlns:a16="http://schemas.microsoft.com/office/drawing/2014/main" id="{44E516F3-313F-4914-B318-9AB1CD619BCC}"/>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106" name="Group 2105">
                <a:extLst>
                  <a:ext uri="{FF2B5EF4-FFF2-40B4-BE49-F238E27FC236}">
                    <a16:creationId xmlns:a16="http://schemas.microsoft.com/office/drawing/2014/main" id="{5AF1A57A-6041-40E5-95D8-3110D4631C73}"/>
                  </a:ext>
                </a:extLst>
              </p:cNvPr>
              <p:cNvGrpSpPr/>
              <p:nvPr/>
            </p:nvGrpSpPr>
            <p:grpSpPr>
              <a:xfrm>
                <a:off x="3504077" y="2398698"/>
                <a:ext cx="1559613" cy="693844"/>
                <a:chOff x="3512580" y="2236718"/>
                <a:chExt cx="1563594" cy="695615"/>
              </a:xfrm>
            </p:grpSpPr>
            <p:grpSp>
              <p:nvGrpSpPr>
                <p:cNvPr id="2107" name="Group 2106">
                  <a:extLst>
                    <a:ext uri="{FF2B5EF4-FFF2-40B4-BE49-F238E27FC236}">
                      <a16:creationId xmlns:a16="http://schemas.microsoft.com/office/drawing/2014/main" id="{3FAA8F21-0B40-4BFE-ABF3-D6F66711CD94}"/>
                    </a:ext>
                  </a:extLst>
                </p:cNvPr>
                <p:cNvGrpSpPr>
                  <a:grpSpLocks/>
                </p:cNvGrpSpPr>
                <p:nvPr/>
              </p:nvGrpSpPr>
              <p:grpSpPr>
                <a:xfrm>
                  <a:off x="3512580" y="2240647"/>
                  <a:ext cx="418017" cy="418017"/>
                  <a:chOff x="745985" y="4768134"/>
                  <a:chExt cx="368776" cy="368777"/>
                </a:xfrm>
              </p:grpSpPr>
              <p:grpSp>
                <p:nvGrpSpPr>
                  <p:cNvPr id="2171" name="Group 64">
                    <a:extLst>
                      <a:ext uri="{FF2B5EF4-FFF2-40B4-BE49-F238E27FC236}">
                        <a16:creationId xmlns:a16="http://schemas.microsoft.com/office/drawing/2014/main" id="{38EC354A-5F5B-414D-9BE2-F680719CDB0D}"/>
                      </a:ext>
                    </a:extLst>
                  </p:cNvPr>
                  <p:cNvGrpSpPr>
                    <a:grpSpLocks noChangeAspect="1"/>
                  </p:cNvGrpSpPr>
                  <p:nvPr/>
                </p:nvGrpSpPr>
                <p:grpSpPr bwMode="auto">
                  <a:xfrm rot="8100000">
                    <a:off x="745985" y="4768134"/>
                    <a:ext cx="368776" cy="368777"/>
                    <a:chOff x="701" y="2170"/>
                    <a:chExt cx="587" cy="587"/>
                  </a:xfrm>
                </p:grpSpPr>
                <p:sp>
                  <p:nvSpPr>
                    <p:cNvPr id="2182" name="Oval 65">
                      <a:extLst>
                        <a:ext uri="{FF2B5EF4-FFF2-40B4-BE49-F238E27FC236}">
                          <a16:creationId xmlns:a16="http://schemas.microsoft.com/office/drawing/2014/main" id="{E48D45F4-2D4B-4F31-90D7-988033BE94A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3" name="Line 66">
                      <a:extLst>
                        <a:ext uri="{FF2B5EF4-FFF2-40B4-BE49-F238E27FC236}">
                          <a16:creationId xmlns:a16="http://schemas.microsoft.com/office/drawing/2014/main" id="{17980589-1B20-462C-9FD7-541129E1D23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7">
                      <a:extLst>
                        <a:ext uri="{FF2B5EF4-FFF2-40B4-BE49-F238E27FC236}">
                          <a16:creationId xmlns:a16="http://schemas.microsoft.com/office/drawing/2014/main" id="{08F6E583-99D8-4EFD-917A-22B56D6A3AF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69">
                      <a:extLst>
                        <a:ext uri="{FF2B5EF4-FFF2-40B4-BE49-F238E27FC236}">
                          <a16:creationId xmlns:a16="http://schemas.microsoft.com/office/drawing/2014/main" id="{F84751FB-D875-443B-B9F1-00A506F2C9B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Line 74">
                      <a:extLst>
                        <a:ext uri="{FF2B5EF4-FFF2-40B4-BE49-F238E27FC236}">
                          <a16:creationId xmlns:a16="http://schemas.microsoft.com/office/drawing/2014/main" id="{8980D920-70AF-4C24-A8A5-A29A9D314CB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78">
                      <a:extLst>
                        <a:ext uri="{FF2B5EF4-FFF2-40B4-BE49-F238E27FC236}">
                          <a16:creationId xmlns:a16="http://schemas.microsoft.com/office/drawing/2014/main" id="{7278A439-704A-41CA-80D3-8832931F3B3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8" name="Freeform 80">
                      <a:extLst>
                        <a:ext uri="{FF2B5EF4-FFF2-40B4-BE49-F238E27FC236}">
                          <a16:creationId xmlns:a16="http://schemas.microsoft.com/office/drawing/2014/main" id="{4407C87D-B2E5-428A-B68F-9BEE53F202D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72" name="Group 2171">
                    <a:extLst>
                      <a:ext uri="{FF2B5EF4-FFF2-40B4-BE49-F238E27FC236}">
                        <a16:creationId xmlns:a16="http://schemas.microsoft.com/office/drawing/2014/main" id="{AF84420C-E4A9-4F8C-9324-06623783D1A5}"/>
                      </a:ext>
                    </a:extLst>
                  </p:cNvPr>
                  <p:cNvGrpSpPr/>
                  <p:nvPr/>
                </p:nvGrpSpPr>
                <p:grpSpPr>
                  <a:xfrm>
                    <a:off x="837312" y="4814434"/>
                    <a:ext cx="136805" cy="278689"/>
                    <a:chOff x="2806700" y="2803319"/>
                    <a:chExt cx="433387" cy="882861"/>
                  </a:xfrm>
                </p:grpSpPr>
                <p:grpSp>
                  <p:nvGrpSpPr>
                    <p:cNvPr id="2173" name="Group 2172">
                      <a:extLst>
                        <a:ext uri="{FF2B5EF4-FFF2-40B4-BE49-F238E27FC236}">
                          <a16:creationId xmlns:a16="http://schemas.microsoft.com/office/drawing/2014/main" id="{A5E697F8-92AC-4BD0-9129-C67AF64A3869}"/>
                        </a:ext>
                      </a:extLst>
                    </p:cNvPr>
                    <p:cNvGrpSpPr>
                      <a:grpSpLocks noChangeAspect="1"/>
                    </p:cNvGrpSpPr>
                    <p:nvPr/>
                  </p:nvGrpSpPr>
                  <p:grpSpPr bwMode="auto">
                    <a:xfrm>
                      <a:off x="2806700" y="3043242"/>
                      <a:ext cx="433387" cy="642938"/>
                      <a:chOff x="1768" y="1917"/>
                      <a:chExt cx="273" cy="405"/>
                    </a:xfrm>
                  </p:grpSpPr>
                  <p:sp>
                    <p:nvSpPr>
                      <p:cNvPr id="2175" name="Freeform 52">
                        <a:extLst>
                          <a:ext uri="{FF2B5EF4-FFF2-40B4-BE49-F238E27FC236}">
                            <a16:creationId xmlns:a16="http://schemas.microsoft.com/office/drawing/2014/main" id="{C449D0F1-569C-42BE-B5E1-518BB0764D5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Line 54">
                        <a:extLst>
                          <a:ext uri="{FF2B5EF4-FFF2-40B4-BE49-F238E27FC236}">
                            <a16:creationId xmlns:a16="http://schemas.microsoft.com/office/drawing/2014/main" id="{4D088C09-DDB8-43AA-952A-CA9724EC801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7" name="Line 55">
                        <a:extLst>
                          <a:ext uri="{FF2B5EF4-FFF2-40B4-BE49-F238E27FC236}">
                            <a16:creationId xmlns:a16="http://schemas.microsoft.com/office/drawing/2014/main" id="{A7A5D080-91B1-406C-B744-3E56686F247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8" name="Freeform 56">
                        <a:extLst>
                          <a:ext uri="{FF2B5EF4-FFF2-40B4-BE49-F238E27FC236}">
                            <a16:creationId xmlns:a16="http://schemas.microsoft.com/office/drawing/2014/main" id="{2D15C026-04EE-4121-9FF3-3195568DE13D}"/>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9" name="Line 57">
                        <a:extLst>
                          <a:ext uri="{FF2B5EF4-FFF2-40B4-BE49-F238E27FC236}">
                            <a16:creationId xmlns:a16="http://schemas.microsoft.com/office/drawing/2014/main" id="{225C9A12-C9E9-43F5-B14C-4A90A9ECFC3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Freeform 58">
                        <a:extLst>
                          <a:ext uri="{FF2B5EF4-FFF2-40B4-BE49-F238E27FC236}">
                            <a16:creationId xmlns:a16="http://schemas.microsoft.com/office/drawing/2014/main" id="{4EDD10A5-C468-4686-802A-FAF24DE2F2A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1" name="Rectangle 2180">
                        <a:extLst>
                          <a:ext uri="{FF2B5EF4-FFF2-40B4-BE49-F238E27FC236}">
                            <a16:creationId xmlns:a16="http://schemas.microsoft.com/office/drawing/2014/main" id="{5606A2F7-2BC4-41E7-A55B-553E73182730}"/>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174" name="Oval 2173">
                      <a:extLst>
                        <a:ext uri="{FF2B5EF4-FFF2-40B4-BE49-F238E27FC236}">
                          <a16:creationId xmlns:a16="http://schemas.microsoft.com/office/drawing/2014/main" id="{09ACAF1E-A7C8-4DB3-BBC4-2010ACA3D51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08" name="Group 2107">
                  <a:extLst>
                    <a:ext uri="{FF2B5EF4-FFF2-40B4-BE49-F238E27FC236}">
                      <a16:creationId xmlns:a16="http://schemas.microsoft.com/office/drawing/2014/main" id="{792DAFCB-C935-451B-B203-1C3F9D9170FF}"/>
                    </a:ext>
                  </a:extLst>
                </p:cNvPr>
                <p:cNvGrpSpPr>
                  <a:grpSpLocks/>
                </p:cNvGrpSpPr>
                <p:nvPr/>
              </p:nvGrpSpPr>
              <p:grpSpPr>
                <a:xfrm>
                  <a:off x="3989965" y="2395465"/>
                  <a:ext cx="536865" cy="536868"/>
                  <a:chOff x="1454941" y="4721722"/>
                  <a:chExt cx="473625" cy="473627"/>
                </a:xfrm>
              </p:grpSpPr>
              <p:grpSp>
                <p:nvGrpSpPr>
                  <p:cNvPr id="2132" name="Group 64">
                    <a:extLst>
                      <a:ext uri="{FF2B5EF4-FFF2-40B4-BE49-F238E27FC236}">
                        <a16:creationId xmlns:a16="http://schemas.microsoft.com/office/drawing/2014/main" id="{95FC00C3-E804-45A7-A377-AD11BF922982}"/>
                      </a:ext>
                    </a:extLst>
                  </p:cNvPr>
                  <p:cNvGrpSpPr>
                    <a:grpSpLocks noChangeAspect="1"/>
                  </p:cNvGrpSpPr>
                  <p:nvPr/>
                </p:nvGrpSpPr>
                <p:grpSpPr bwMode="auto">
                  <a:xfrm rot="8100000">
                    <a:off x="1454941" y="4721722"/>
                    <a:ext cx="473625" cy="473627"/>
                    <a:chOff x="701" y="2170"/>
                    <a:chExt cx="587" cy="587"/>
                  </a:xfrm>
                </p:grpSpPr>
                <p:sp>
                  <p:nvSpPr>
                    <p:cNvPr id="2164" name="Oval 65">
                      <a:extLst>
                        <a:ext uri="{FF2B5EF4-FFF2-40B4-BE49-F238E27FC236}">
                          <a16:creationId xmlns:a16="http://schemas.microsoft.com/office/drawing/2014/main" id="{EACF8D5C-608F-48E7-B074-B183F86E0A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5" name="Line 66">
                      <a:extLst>
                        <a:ext uri="{FF2B5EF4-FFF2-40B4-BE49-F238E27FC236}">
                          <a16:creationId xmlns:a16="http://schemas.microsoft.com/office/drawing/2014/main" id="{1F6A04EB-1B9D-4A53-BB4E-BE0BBD531D9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6" name="Line 67">
                      <a:extLst>
                        <a:ext uri="{FF2B5EF4-FFF2-40B4-BE49-F238E27FC236}">
                          <a16:creationId xmlns:a16="http://schemas.microsoft.com/office/drawing/2014/main" id="{7EBB1F3F-FBFC-44BA-B0D6-3EE0FD2D410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7" name="Line 69">
                      <a:extLst>
                        <a:ext uri="{FF2B5EF4-FFF2-40B4-BE49-F238E27FC236}">
                          <a16:creationId xmlns:a16="http://schemas.microsoft.com/office/drawing/2014/main" id="{F20ADE09-C140-4F3C-AE4C-A9786262BDD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8" name="Line 74">
                      <a:extLst>
                        <a:ext uri="{FF2B5EF4-FFF2-40B4-BE49-F238E27FC236}">
                          <a16:creationId xmlns:a16="http://schemas.microsoft.com/office/drawing/2014/main" id="{CE1C09F1-0967-4544-8899-A5768B0B4F2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78">
                      <a:extLst>
                        <a:ext uri="{FF2B5EF4-FFF2-40B4-BE49-F238E27FC236}">
                          <a16:creationId xmlns:a16="http://schemas.microsoft.com/office/drawing/2014/main" id="{56EB5BCF-13D1-4C3D-BE9D-3872A5AE096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80">
                      <a:extLst>
                        <a:ext uri="{FF2B5EF4-FFF2-40B4-BE49-F238E27FC236}">
                          <a16:creationId xmlns:a16="http://schemas.microsoft.com/office/drawing/2014/main" id="{7CCAB085-C2B9-460B-BA69-B4D5776216D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33" name="Group 2132">
                    <a:extLst>
                      <a:ext uri="{FF2B5EF4-FFF2-40B4-BE49-F238E27FC236}">
                        <a16:creationId xmlns:a16="http://schemas.microsoft.com/office/drawing/2014/main" id="{2D4DB5BA-3D87-4D38-81F4-383C4020368B}"/>
                      </a:ext>
                    </a:extLst>
                  </p:cNvPr>
                  <p:cNvGrpSpPr/>
                  <p:nvPr/>
                </p:nvGrpSpPr>
                <p:grpSpPr>
                  <a:xfrm>
                    <a:off x="1511214" y="4789508"/>
                    <a:ext cx="356509" cy="349884"/>
                    <a:chOff x="468738" y="2241878"/>
                    <a:chExt cx="1655483" cy="1624719"/>
                  </a:xfrm>
                </p:grpSpPr>
                <p:sp>
                  <p:nvSpPr>
                    <p:cNvPr id="2134" name="Freeform 5">
                      <a:extLst>
                        <a:ext uri="{FF2B5EF4-FFF2-40B4-BE49-F238E27FC236}">
                          <a16:creationId xmlns:a16="http://schemas.microsoft.com/office/drawing/2014/main" id="{AD3029D4-64CC-47C2-B1C4-D8ED8754387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6">
                      <a:extLst>
                        <a:ext uri="{FF2B5EF4-FFF2-40B4-BE49-F238E27FC236}">
                          <a16:creationId xmlns:a16="http://schemas.microsoft.com/office/drawing/2014/main" id="{B5BFE621-131C-4D52-9439-80C4EC959B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Line 7">
                      <a:extLst>
                        <a:ext uri="{FF2B5EF4-FFF2-40B4-BE49-F238E27FC236}">
                          <a16:creationId xmlns:a16="http://schemas.microsoft.com/office/drawing/2014/main" id="{BB28B918-CD33-43C8-879C-64C3265172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8">
                      <a:extLst>
                        <a:ext uri="{FF2B5EF4-FFF2-40B4-BE49-F238E27FC236}">
                          <a16:creationId xmlns:a16="http://schemas.microsoft.com/office/drawing/2014/main" id="{B2F90028-D1CD-4003-860F-9380A5C2844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8" name="Line 9">
                      <a:extLst>
                        <a:ext uri="{FF2B5EF4-FFF2-40B4-BE49-F238E27FC236}">
                          <a16:creationId xmlns:a16="http://schemas.microsoft.com/office/drawing/2014/main" id="{D7D524DB-5ED9-4BEC-BD8E-345DBDE0EA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39" name="Group 2138">
                      <a:extLst>
                        <a:ext uri="{FF2B5EF4-FFF2-40B4-BE49-F238E27FC236}">
                          <a16:creationId xmlns:a16="http://schemas.microsoft.com/office/drawing/2014/main" id="{22510D73-D663-4E1A-9845-701E923B6979}"/>
                        </a:ext>
                      </a:extLst>
                    </p:cNvPr>
                    <p:cNvGrpSpPr/>
                    <p:nvPr/>
                  </p:nvGrpSpPr>
                  <p:grpSpPr>
                    <a:xfrm>
                      <a:off x="1207113" y="2241878"/>
                      <a:ext cx="178734" cy="348678"/>
                      <a:chOff x="1207113" y="2241878"/>
                      <a:chExt cx="178734" cy="348678"/>
                    </a:xfrm>
                  </p:grpSpPr>
                  <p:sp>
                    <p:nvSpPr>
                      <p:cNvPr id="2162" name="Freeform 10">
                        <a:extLst>
                          <a:ext uri="{FF2B5EF4-FFF2-40B4-BE49-F238E27FC236}">
                            <a16:creationId xmlns:a16="http://schemas.microsoft.com/office/drawing/2014/main" id="{6EFEEAC3-1634-423B-A959-6E7830384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3" name="Line 11">
                        <a:extLst>
                          <a:ext uri="{FF2B5EF4-FFF2-40B4-BE49-F238E27FC236}">
                            <a16:creationId xmlns:a16="http://schemas.microsoft.com/office/drawing/2014/main" id="{8F45FDBF-0115-45E1-9B55-D71F0010094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40" name="Freeform 12">
                      <a:extLst>
                        <a:ext uri="{FF2B5EF4-FFF2-40B4-BE49-F238E27FC236}">
                          <a16:creationId xmlns:a16="http://schemas.microsoft.com/office/drawing/2014/main" id="{3C495552-3098-4661-BDFD-B955DD6BCB1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13">
                      <a:extLst>
                        <a:ext uri="{FF2B5EF4-FFF2-40B4-BE49-F238E27FC236}">
                          <a16:creationId xmlns:a16="http://schemas.microsoft.com/office/drawing/2014/main" id="{ECD214C7-EACD-4229-9560-F610FE81A74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14">
                      <a:extLst>
                        <a:ext uri="{FF2B5EF4-FFF2-40B4-BE49-F238E27FC236}">
                          <a16:creationId xmlns:a16="http://schemas.microsoft.com/office/drawing/2014/main" id="{B4CDA5FF-6B69-415F-ADAB-F765E69E2C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Line 15">
                      <a:extLst>
                        <a:ext uri="{FF2B5EF4-FFF2-40B4-BE49-F238E27FC236}">
                          <a16:creationId xmlns:a16="http://schemas.microsoft.com/office/drawing/2014/main" id="{05E8653C-22F0-4581-A223-FEED3790531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16">
                      <a:extLst>
                        <a:ext uri="{FF2B5EF4-FFF2-40B4-BE49-F238E27FC236}">
                          <a16:creationId xmlns:a16="http://schemas.microsoft.com/office/drawing/2014/main" id="{80E39A21-A447-4749-943A-F7C93F46E12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5" name="Line 17">
                      <a:extLst>
                        <a:ext uri="{FF2B5EF4-FFF2-40B4-BE49-F238E27FC236}">
                          <a16:creationId xmlns:a16="http://schemas.microsoft.com/office/drawing/2014/main" id="{83312F89-1163-44C1-AE9E-FC31ABFC0208}"/>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6" name="Freeform 18">
                      <a:extLst>
                        <a:ext uri="{FF2B5EF4-FFF2-40B4-BE49-F238E27FC236}">
                          <a16:creationId xmlns:a16="http://schemas.microsoft.com/office/drawing/2014/main" id="{2F1608BA-2BDB-4E5F-AB8F-D06BB95AEB6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9">
                      <a:extLst>
                        <a:ext uri="{FF2B5EF4-FFF2-40B4-BE49-F238E27FC236}">
                          <a16:creationId xmlns:a16="http://schemas.microsoft.com/office/drawing/2014/main" id="{1CF28B91-606F-47BB-8755-7C9F19B86E1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8" name="Freeform 35">
                      <a:extLst>
                        <a:ext uri="{FF2B5EF4-FFF2-40B4-BE49-F238E27FC236}">
                          <a16:creationId xmlns:a16="http://schemas.microsoft.com/office/drawing/2014/main" id="{0D9FC22C-6B97-4EA5-A232-FBADFB8B1072}"/>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9" name="Freeform 36">
                      <a:extLst>
                        <a:ext uri="{FF2B5EF4-FFF2-40B4-BE49-F238E27FC236}">
                          <a16:creationId xmlns:a16="http://schemas.microsoft.com/office/drawing/2014/main" id="{2280C96F-7F21-4E0E-8D7B-080AE874B62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0" name="Freeform 37">
                      <a:extLst>
                        <a:ext uri="{FF2B5EF4-FFF2-40B4-BE49-F238E27FC236}">
                          <a16:creationId xmlns:a16="http://schemas.microsoft.com/office/drawing/2014/main" id="{208BDDF9-9F22-4BE0-B5C5-C73D78961BE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1" name="Freeform 38">
                      <a:extLst>
                        <a:ext uri="{FF2B5EF4-FFF2-40B4-BE49-F238E27FC236}">
                          <a16:creationId xmlns:a16="http://schemas.microsoft.com/office/drawing/2014/main" id="{8F240DD0-ACA1-4935-8CAD-EBB363D9A10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2" name="Freeform 39">
                      <a:extLst>
                        <a:ext uri="{FF2B5EF4-FFF2-40B4-BE49-F238E27FC236}">
                          <a16:creationId xmlns:a16="http://schemas.microsoft.com/office/drawing/2014/main" id="{431E5ABE-687E-4F2C-A695-BA8B469E494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3" name="Freeform 40">
                      <a:extLst>
                        <a:ext uri="{FF2B5EF4-FFF2-40B4-BE49-F238E27FC236}">
                          <a16:creationId xmlns:a16="http://schemas.microsoft.com/office/drawing/2014/main" id="{C770EBE2-7126-4073-9654-A1DCC6FD2EE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4" name="Freeform 41">
                      <a:extLst>
                        <a:ext uri="{FF2B5EF4-FFF2-40B4-BE49-F238E27FC236}">
                          <a16:creationId xmlns:a16="http://schemas.microsoft.com/office/drawing/2014/main" id="{ECE5DD8B-DAF3-41D3-B6B2-8B48854F1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Line 42">
                      <a:extLst>
                        <a:ext uri="{FF2B5EF4-FFF2-40B4-BE49-F238E27FC236}">
                          <a16:creationId xmlns:a16="http://schemas.microsoft.com/office/drawing/2014/main" id="{D85E7B62-8E0C-40C5-B75A-8D5B4D07F08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43">
                      <a:extLst>
                        <a:ext uri="{FF2B5EF4-FFF2-40B4-BE49-F238E27FC236}">
                          <a16:creationId xmlns:a16="http://schemas.microsoft.com/office/drawing/2014/main" id="{F750F8AA-167B-49D8-8200-E25925C7C5A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7" name="Freeform 44">
                      <a:extLst>
                        <a:ext uri="{FF2B5EF4-FFF2-40B4-BE49-F238E27FC236}">
                          <a16:creationId xmlns:a16="http://schemas.microsoft.com/office/drawing/2014/main" id="{26A05AF0-E552-4E8A-8650-8F2D50EB62BE}"/>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8" name="Freeform 45">
                      <a:extLst>
                        <a:ext uri="{FF2B5EF4-FFF2-40B4-BE49-F238E27FC236}">
                          <a16:creationId xmlns:a16="http://schemas.microsoft.com/office/drawing/2014/main" id="{90A305AF-DC97-4D53-A390-B839E25094CC}"/>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59" name="Group 2158">
                      <a:extLst>
                        <a:ext uri="{FF2B5EF4-FFF2-40B4-BE49-F238E27FC236}">
                          <a16:creationId xmlns:a16="http://schemas.microsoft.com/office/drawing/2014/main" id="{16EBB8D7-590F-405B-AC14-9407C90A88BE}"/>
                        </a:ext>
                      </a:extLst>
                    </p:cNvPr>
                    <p:cNvGrpSpPr/>
                    <p:nvPr/>
                  </p:nvGrpSpPr>
                  <p:grpSpPr>
                    <a:xfrm flipV="1">
                      <a:off x="1202047" y="3517919"/>
                      <a:ext cx="178734" cy="348678"/>
                      <a:chOff x="1207113" y="2241878"/>
                      <a:chExt cx="178734" cy="348678"/>
                    </a:xfrm>
                  </p:grpSpPr>
                  <p:sp>
                    <p:nvSpPr>
                      <p:cNvPr id="2160" name="Freeform 10">
                        <a:extLst>
                          <a:ext uri="{FF2B5EF4-FFF2-40B4-BE49-F238E27FC236}">
                            <a16:creationId xmlns:a16="http://schemas.microsoft.com/office/drawing/2014/main" id="{0260155B-1A8C-4AC0-B5E4-EA605B4CCA8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1" name="Line 11">
                        <a:extLst>
                          <a:ext uri="{FF2B5EF4-FFF2-40B4-BE49-F238E27FC236}">
                            <a16:creationId xmlns:a16="http://schemas.microsoft.com/office/drawing/2014/main" id="{FD8CD03B-2BD9-44F1-9372-51F29A34087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09" name="Group 2108">
                  <a:extLst>
                    <a:ext uri="{FF2B5EF4-FFF2-40B4-BE49-F238E27FC236}">
                      <a16:creationId xmlns:a16="http://schemas.microsoft.com/office/drawing/2014/main" id="{F743C01D-A412-4502-B453-0E322E740488}"/>
                    </a:ext>
                  </a:extLst>
                </p:cNvPr>
                <p:cNvGrpSpPr>
                  <a:grpSpLocks/>
                </p:cNvGrpSpPr>
                <p:nvPr/>
              </p:nvGrpSpPr>
              <p:grpSpPr>
                <a:xfrm>
                  <a:off x="4605070" y="2236718"/>
                  <a:ext cx="471104" cy="471107"/>
                  <a:chOff x="2268747" y="4723725"/>
                  <a:chExt cx="415610" cy="415612"/>
                </a:xfrm>
              </p:grpSpPr>
              <p:grpSp>
                <p:nvGrpSpPr>
                  <p:cNvPr id="2110" name="Group 64">
                    <a:extLst>
                      <a:ext uri="{FF2B5EF4-FFF2-40B4-BE49-F238E27FC236}">
                        <a16:creationId xmlns:a16="http://schemas.microsoft.com/office/drawing/2014/main" id="{3ED6BA51-88C4-475D-8CAE-3A4E1CE80C92}"/>
                      </a:ext>
                    </a:extLst>
                  </p:cNvPr>
                  <p:cNvGrpSpPr>
                    <a:grpSpLocks noChangeAspect="1"/>
                  </p:cNvGrpSpPr>
                  <p:nvPr/>
                </p:nvGrpSpPr>
                <p:grpSpPr bwMode="auto">
                  <a:xfrm rot="8100000">
                    <a:off x="2268747" y="4723725"/>
                    <a:ext cx="415610" cy="415612"/>
                    <a:chOff x="701" y="2170"/>
                    <a:chExt cx="587" cy="587"/>
                  </a:xfrm>
                </p:grpSpPr>
                <p:sp>
                  <p:nvSpPr>
                    <p:cNvPr id="2125" name="Oval 65">
                      <a:extLst>
                        <a:ext uri="{FF2B5EF4-FFF2-40B4-BE49-F238E27FC236}">
                          <a16:creationId xmlns:a16="http://schemas.microsoft.com/office/drawing/2014/main" id="{3F488B35-08AC-4424-88EE-CFC42A9905E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6" name="Line 66">
                      <a:extLst>
                        <a:ext uri="{FF2B5EF4-FFF2-40B4-BE49-F238E27FC236}">
                          <a16:creationId xmlns:a16="http://schemas.microsoft.com/office/drawing/2014/main" id="{E6EEE647-50EC-466A-9CED-4EBA5BAAF6A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67">
                      <a:extLst>
                        <a:ext uri="{FF2B5EF4-FFF2-40B4-BE49-F238E27FC236}">
                          <a16:creationId xmlns:a16="http://schemas.microsoft.com/office/drawing/2014/main" id="{D279D004-E98F-487A-BBC8-DF988B5B044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Line 69">
                      <a:extLst>
                        <a:ext uri="{FF2B5EF4-FFF2-40B4-BE49-F238E27FC236}">
                          <a16:creationId xmlns:a16="http://schemas.microsoft.com/office/drawing/2014/main" id="{0F201E97-2DE5-4039-8A87-56466A0473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74">
                      <a:extLst>
                        <a:ext uri="{FF2B5EF4-FFF2-40B4-BE49-F238E27FC236}">
                          <a16:creationId xmlns:a16="http://schemas.microsoft.com/office/drawing/2014/main" id="{35691D03-9390-4324-8F43-D5A21341F7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78">
                      <a:extLst>
                        <a:ext uri="{FF2B5EF4-FFF2-40B4-BE49-F238E27FC236}">
                          <a16:creationId xmlns:a16="http://schemas.microsoft.com/office/drawing/2014/main" id="{B1E74084-BDAB-40C6-9B50-F0C5FCC255D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Freeform 80">
                      <a:extLst>
                        <a:ext uri="{FF2B5EF4-FFF2-40B4-BE49-F238E27FC236}">
                          <a16:creationId xmlns:a16="http://schemas.microsoft.com/office/drawing/2014/main" id="{B05E470F-89A9-431A-9AD0-683F759B5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1" name="Group 2110">
                    <a:extLst>
                      <a:ext uri="{FF2B5EF4-FFF2-40B4-BE49-F238E27FC236}">
                        <a16:creationId xmlns:a16="http://schemas.microsoft.com/office/drawing/2014/main" id="{9CBA07D6-2EC5-4BE0-8326-6F02B874729E}"/>
                      </a:ext>
                    </a:extLst>
                  </p:cNvPr>
                  <p:cNvGrpSpPr/>
                  <p:nvPr/>
                </p:nvGrpSpPr>
                <p:grpSpPr>
                  <a:xfrm>
                    <a:off x="2318076" y="4830163"/>
                    <a:ext cx="313949" cy="233075"/>
                    <a:chOff x="3707533" y="2731244"/>
                    <a:chExt cx="389644" cy="289271"/>
                  </a:xfrm>
                </p:grpSpPr>
                <p:sp>
                  <p:nvSpPr>
                    <p:cNvPr id="2112" name="Freeform 33">
                      <a:extLst>
                        <a:ext uri="{FF2B5EF4-FFF2-40B4-BE49-F238E27FC236}">
                          <a16:creationId xmlns:a16="http://schemas.microsoft.com/office/drawing/2014/main" id="{C428139F-5A6B-4BA0-A0B1-5076AAFF743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3" name="Freeform 34">
                      <a:extLst>
                        <a:ext uri="{FF2B5EF4-FFF2-40B4-BE49-F238E27FC236}">
                          <a16:creationId xmlns:a16="http://schemas.microsoft.com/office/drawing/2014/main" id="{9F0DD76B-86BA-436E-98AA-27F8CA5AB0EF}"/>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4" name="Freeform 37">
                      <a:extLst>
                        <a:ext uri="{FF2B5EF4-FFF2-40B4-BE49-F238E27FC236}">
                          <a16:creationId xmlns:a16="http://schemas.microsoft.com/office/drawing/2014/main" id="{328E1ECE-0B47-40FF-ADC8-52A869AD539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5" name="Freeform 38">
                      <a:extLst>
                        <a:ext uri="{FF2B5EF4-FFF2-40B4-BE49-F238E27FC236}">
                          <a16:creationId xmlns:a16="http://schemas.microsoft.com/office/drawing/2014/main" id="{FBC1A354-40E6-4BA7-A7FC-12DFA0ED8DF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32">
                      <a:extLst>
                        <a:ext uri="{FF2B5EF4-FFF2-40B4-BE49-F238E27FC236}">
                          <a16:creationId xmlns:a16="http://schemas.microsoft.com/office/drawing/2014/main" id="{44A20234-6690-46A4-AF7F-55903773AB65}"/>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35">
                      <a:extLst>
                        <a:ext uri="{FF2B5EF4-FFF2-40B4-BE49-F238E27FC236}">
                          <a16:creationId xmlns:a16="http://schemas.microsoft.com/office/drawing/2014/main" id="{E8FFE7C3-81CC-46D2-A00F-E52399A2758E}"/>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8" name="Freeform 36">
                      <a:extLst>
                        <a:ext uri="{FF2B5EF4-FFF2-40B4-BE49-F238E27FC236}">
                          <a16:creationId xmlns:a16="http://schemas.microsoft.com/office/drawing/2014/main" id="{80451F71-A3E1-4C02-A56E-4B6B9C65B39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9" name="Freeform 25">
                      <a:extLst>
                        <a:ext uri="{FF2B5EF4-FFF2-40B4-BE49-F238E27FC236}">
                          <a16:creationId xmlns:a16="http://schemas.microsoft.com/office/drawing/2014/main" id="{79CCFFCF-160C-44C1-98F6-600F7AEF940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0" name="Freeform 39">
                      <a:extLst>
                        <a:ext uri="{FF2B5EF4-FFF2-40B4-BE49-F238E27FC236}">
                          <a16:creationId xmlns:a16="http://schemas.microsoft.com/office/drawing/2014/main" id="{96C9F0EB-878A-4903-9840-A01FC702A21C}"/>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26">
                      <a:extLst>
                        <a:ext uri="{FF2B5EF4-FFF2-40B4-BE49-F238E27FC236}">
                          <a16:creationId xmlns:a16="http://schemas.microsoft.com/office/drawing/2014/main" id="{96D32403-D861-4D9C-BCAB-F0E3CBF48F8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2" name="Rectangle 27">
                      <a:extLst>
                        <a:ext uri="{FF2B5EF4-FFF2-40B4-BE49-F238E27FC236}">
                          <a16:creationId xmlns:a16="http://schemas.microsoft.com/office/drawing/2014/main" id="{C3B97169-9DC7-44F5-8846-86615CCD4FEB}"/>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3" name="Line 29">
                      <a:extLst>
                        <a:ext uri="{FF2B5EF4-FFF2-40B4-BE49-F238E27FC236}">
                          <a16:creationId xmlns:a16="http://schemas.microsoft.com/office/drawing/2014/main" id="{064DEB77-4693-426F-9A52-6172A03002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31">
                      <a:extLst>
                        <a:ext uri="{FF2B5EF4-FFF2-40B4-BE49-F238E27FC236}">
                          <a16:creationId xmlns:a16="http://schemas.microsoft.com/office/drawing/2014/main" id="{B5D17F89-315F-44FC-A2F6-8C02B4CAB390}"/>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6" name="Group 2825">
                <a:extLst>
                  <a:ext uri="{FF2B5EF4-FFF2-40B4-BE49-F238E27FC236}">
                    <a16:creationId xmlns:a16="http://schemas.microsoft.com/office/drawing/2014/main" id="{10B0253C-5C94-429F-BBF1-611BB03ABB88}"/>
                  </a:ext>
                </a:extLst>
              </p:cNvPr>
              <p:cNvGrpSpPr/>
              <p:nvPr/>
            </p:nvGrpSpPr>
            <p:grpSpPr>
              <a:xfrm>
                <a:off x="5261891" y="1974470"/>
                <a:ext cx="1115908" cy="967814"/>
                <a:chOff x="7338624" y="178556"/>
                <a:chExt cx="1115908" cy="967814"/>
              </a:xfrm>
            </p:grpSpPr>
            <p:grpSp>
              <p:nvGrpSpPr>
                <p:cNvPr id="2827" name="Group 2826">
                  <a:extLst>
                    <a:ext uri="{FF2B5EF4-FFF2-40B4-BE49-F238E27FC236}">
                      <a16:creationId xmlns:a16="http://schemas.microsoft.com/office/drawing/2014/main" id="{E28F05B0-9772-44E3-B5B8-58C6DAC79255}"/>
                    </a:ext>
                  </a:extLst>
                </p:cNvPr>
                <p:cNvGrpSpPr/>
                <p:nvPr/>
              </p:nvGrpSpPr>
              <p:grpSpPr>
                <a:xfrm flipH="1">
                  <a:off x="7603032" y="178556"/>
                  <a:ext cx="524442" cy="697246"/>
                  <a:chOff x="8607957" y="605299"/>
                  <a:chExt cx="2806962" cy="3731864"/>
                </a:xfrm>
              </p:grpSpPr>
              <p:sp>
                <p:nvSpPr>
                  <p:cNvPr id="2829" name="iBar:31/138">
                    <a:extLst>
                      <a:ext uri="{FF2B5EF4-FFF2-40B4-BE49-F238E27FC236}">
                        <a16:creationId xmlns:a16="http://schemas.microsoft.com/office/drawing/2014/main" id="{76083AC9-51FA-4E2F-83DF-C02B81FEC2E0}"/>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0" name="Rectangle 2829">
                    <a:extLst>
                      <a:ext uri="{FF2B5EF4-FFF2-40B4-BE49-F238E27FC236}">
                        <a16:creationId xmlns:a16="http://schemas.microsoft.com/office/drawing/2014/main" id="{E6C84DCD-DA8A-456D-AF0E-EF979749E31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31" name="Group 2830">
                    <a:extLst>
                      <a:ext uri="{FF2B5EF4-FFF2-40B4-BE49-F238E27FC236}">
                        <a16:creationId xmlns:a16="http://schemas.microsoft.com/office/drawing/2014/main" id="{1AB2D2B6-42E6-45AE-A96E-238D173DB770}"/>
                      </a:ext>
                    </a:extLst>
                  </p:cNvPr>
                  <p:cNvGrpSpPr/>
                  <p:nvPr/>
                </p:nvGrpSpPr>
                <p:grpSpPr>
                  <a:xfrm>
                    <a:off x="8776645" y="2392984"/>
                    <a:ext cx="2463737" cy="1844316"/>
                    <a:chOff x="8566719" y="2617154"/>
                    <a:chExt cx="2463737" cy="1844316"/>
                  </a:xfrm>
                </p:grpSpPr>
                <p:sp>
                  <p:nvSpPr>
                    <p:cNvPr id="2845" name="Rectangle 2844">
                      <a:extLst>
                        <a:ext uri="{FF2B5EF4-FFF2-40B4-BE49-F238E27FC236}">
                          <a16:creationId xmlns:a16="http://schemas.microsoft.com/office/drawing/2014/main" id="{96505904-8AB3-48C5-B8E0-5633CA83587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6" name="Group 2845">
                      <a:extLst>
                        <a:ext uri="{FF2B5EF4-FFF2-40B4-BE49-F238E27FC236}">
                          <a16:creationId xmlns:a16="http://schemas.microsoft.com/office/drawing/2014/main" id="{0757CA4A-A2A4-4482-8ED7-6ABA1D868BBE}"/>
                        </a:ext>
                      </a:extLst>
                    </p:cNvPr>
                    <p:cNvGrpSpPr/>
                    <p:nvPr/>
                  </p:nvGrpSpPr>
                  <p:grpSpPr>
                    <a:xfrm>
                      <a:off x="8720849" y="2791577"/>
                      <a:ext cx="2190282" cy="1669893"/>
                      <a:chOff x="5195358" y="4591383"/>
                      <a:chExt cx="1906459" cy="1380076"/>
                    </a:xfrm>
                  </p:grpSpPr>
                  <p:grpSp>
                    <p:nvGrpSpPr>
                      <p:cNvPr id="2847" name="Group 2846">
                        <a:extLst>
                          <a:ext uri="{FF2B5EF4-FFF2-40B4-BE49-F238E27FC236}">
                            <a16:creationId xmlns:a16="http://schemas.microsoft.com/office/drawing/2014/main" id="{BF629DC0-DE9F-4F1C-AFA9-FD31D01C65DD}"/>
                          </a:ext>
                        </a:extLst>
                      </p:cNvPr>
                      <p:cNvGrpSpPr/>
                      <p:nvPr/>
                    </p:nvGrpSpPr>
                    <p:grpSpPr>
                      <a:xfrm>
                        <a:off x="5195358" y="4591383"/>
                        <a:ext cx="1020183" cy="1224086"/>
                        <a:chOff x="10650533" y="3663550"/>
                        <a:chExt cx="575867" cy="836067"/>
                      </a:xfrm>
                    </p:grpSpPr>
                    <p:grpSp>
                      <p:nvGrpSpPr>
                        <p:cNvPr id="2849" name="Group 2848">
                          <a:extLst>
                            <a:ext uri="{FF2B5EF4-FFF2-40B4-BE49-F238E27FC236}">
                              <a16:creationId xmlns:a16="http://schemas.microsoft.com/office/drawing/2014/main" id="{BB98506A-FA0C-4492-9504-F1365ACE114B}"/>
                            </a:ext>
                          </a:extLst>
                        </p:cNvPr>
                        <p:cNvGrpSpPr/>
                        <p:nvPr/>
                      </p:nvGrpSpPr>
                      <p:grpSpPr>
                        <a:xfrm>
                          <a:off x="10650533" y="3663550"/>
                          <a:ext cx="575867" cy="728623"/>
                          <a:chOff x="5717961" y="2827338"/>
                          <a:chExt cx="282576" cy="387350"/>
                        </a:xfrm>
                      </p:grpSpPr>
                      <p:sp>
                        <p:nvSpPr>
                          <p:cNvPr id="2851" name="Freeform 1754">
                            <a:extLst>
                              <a:ext uri="{FF2B5EF4-FFF2-40B4-BE49-F238E27FC236}">
                                <a16:creationId xmlns:a16="http://schemas.microsoft.com/office/drawing/2014/main" id="{29A43FEB-3397-4D64-8742-218DE128F717}"/>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2" name="Freeform 1755">
                            <a:extLst>
                              <a:ext uri="{FF2B5EF4-FFF2-40B4-BE49-F238E27FC236}">
                                <a16:creationId xmlns:a16="http://schemas.microsoft.com/office/drawing/2014/main" id="{4CA2087B-D49F-46EC-AE28-3B14506FD4B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53" name="Freeform 1756">
                            <a:extLst>
                              <a:ext uri="{FF2B5EF4-FFF2-40B4-BE49-F238E27FC236}">
                                <a16:creationId xmlns:a16="http://schemas.microsoft.com/office/drawing/2014/main" id="{C8403C95-BCEE-465E-ADAC-A020457D09BE}"/>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4" name="Freeform 1757">
                            <a:extLst>
                              <a:ext uri="{FF2B5EF4-FFF2-40B4-BE49-F238E27FC236}">
                                <a16:creationId xmlns:a16="http://schemas.microsoft.com/office/drawing/2014/main" id="{2561EC10-7056-4F74-8284-A8C753A830C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5" name="Freeform 1758">
                            <a:extLst>
                              <a:ext uri="{FF2B5EF4-FFF2-40B4-BE49-F238E27FC236}">
                                <a16:creationId xmlns:a16="http://schemas.microsoft.com/office/drawing/2014/main" id="{931576A2-EA44-463F-A03A-911B6FC5D780}"/>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50" name="TextBox 2849">
                          <a:extLst>
                            <a:ext uri="{FF2B5EF4-FFF2-40B4-BE49-F238E27FC236}">
                              <a16:creationId xmlns:a16="http://schemas.microsoft.com/office/drawing/2014/main" id="{3D98CFE1-0FD4-4645-87E5-09E842BBE60A}"/>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48" name="TextBox 2847">
                        <a:extLst>
                          <a:ext uri="{FF2B5EF4-FFF2-40B4-BE49-F238E27FC236}">
                            <a16:creationId xmlns:a16="http://schemas.microsoft.com/office/drawing/2014/main" id="{89484070-167C-403C-8732-0E81C207859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32" name="Group 2831">
                    <a:extLst>
                      <a:ext uri="{FF2B5EF4-FFF2-40B4-BE49-F238E27FC236}">
                        <a16:creationId xmlns:a16="http://schemas.microsoft.com/office/drawing/2014/main" id="{8B11732F-9CC2-42EE-AB66-BE2E5101BD37}"/>
                      </a:ext>
                    </a:extLst>
                  </p:cNvPr>
                  <p:cNvGrpSpPr/>
                  <p:nvPr/>
                </p:nvGrpSpPr>
                <p:grpSpPr>
                  <a:xfrm>
                    <a:off x="9538998" y="605299"/>
                    <a:ext cx="944881" cy="858986"/>
                    <a:chOff x="3369813" y="4950013"/>
                    <a:chExt cx="440826" cy="400751"/>
                  </a:xfrm>
                </p:grpSpPr>
                <p:sp>
                  <p:nvSpPr>
                    <p:cNvPr id="2841" name="Oval 2840">
                      <a:extLst>
                        <a:ext uri="{FF2B5EF4-FFF2-40B4-BE49-F238E27FC236}">
                          <a16:creationId xmlns:a16="http://schemas.microsoft.com/office/drawing/2014/main" id="{AA81403E-440E-46C0-8AAD-EAF0C5501D0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2" name="Group 226">
                      <a:extLst>
                        <a:ext uri="{FF2B5EF4-FFF2-40B4-BE49-F238E27FC236}">
                          <a16:creationId xmlns:a16="http://schemas.microsoft.com/office/drawing/2014/main" id="{565B5CAF-270F-478D-B29E-678341F504CA}"/>
                        </a:ext>
                      </a:extLst>
                    </p:cNvPr>
                    <p:cNvGrpSpPr>
                      <a:grpSpLocks noChangeAspect="1"/>
                    </p:cNvGrpSpPr>
                    <p:nvPr/>
                  </p:nvGrpSpPr>
                  <p:grpSpPr bwMode="auto">
                    <a:xfrm>
                      <a:off x="3437467" y="4997630"/>
                      <a:ext cx="305517" cy="305517"/>
                      <a:chOff x="5048" y="783"/>
                      <a:chExt cx="340" cy="340"/>
                    </a:xfrm>
                    <a:solidFill>
                      <a:schemeClr val="bg1"/>
                    </a:solidFill>
                  </p:grpSpPr>
                  <p:sp>
                    <p:nvSpPr>
                      <p:cNvPr id="2843" name="Freeform 227">
                        <a:extLst>
                          <a:ext uri="{FF2B5EF4-FFF2-40B4-BE49-F238E27FC236}">
                            <a16:creationId xmlns:a16="http://schemas.microsoft.com/office/drawing/2014/main" id="{366C18A2-9552-40A8-9B31-D9E6E6F42751}"/>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44" name="Freeform 228">
                        <a:extLst>
                          <a:ext uri="{FF2B5EF4-FFF2-40B4-BE49-F238E27FC236}">
                            <a16:creationId xmlns:a16="http://schemas.microsoft.com/office/drawing/2014/main" id="{21FD642E-B72D-4CA8-9986-89D6870F3588}"/>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33" name="Straight Connector 2832">
                    <a:extLst>
                      <a:ext uri="{FF2B5EF4-FFF2-40B4-BE49-F238E27FC236}">
                        <a16:creationId xmlns:a16="http://schemas.microsoft.com/office/drawing/2014/main" id="{383E3174-9BB6-4919-9467-9F8C351AA09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4" name="Straight Connector 2833">
                    <a:extLst>
                      <a:ext uri="{FF2B5EF4-FFF2-40B4-BE49-F238E27FC236}">
                        <a16:creationId xmlns:a16="http://schemas.microsoft.com/office/drawing/2014/main" id="{F9B7EB99-914D-41FC-AF5A-F90C88EDD6CC}"/>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5" name="Straight Connector 2834">
                    <a:extLst>
                      <a:ext uri="{FF2B5EF4-FFF2-40B4-BE49-F238E27FC236}">
                        <a16:creationId xmlns:a16="http://schemas.microsoft.com/office/drawing/2014/main" id="{BC2B2B6B-849E-4DD8-8550-64D70B59D3B9}"/>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6" name="Straight Connector 2835">
                    <a:extLst>
                      <a:ext uri="{FF2B5EF4-FFF2-40B4-BE49-F238E27FC236}">
                        <a16:creationId xmlns:a16="http://schemas.microsoft.com/office/drawing/2014/main" id="{A48ADA09-496D-45B9-96E9-D85E34A3C95D}"/>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7" name="Straight Connector 2836">
                    <a:extLst>
                      <a:ext uri="{FF2B5EF4-FFF2-40B4-BE49-F238E27FC236}">
                        <a16:creationId xmlns:a16="http://schemas.microsoft.com/office/drawing/2014/main" id="{DC4DBB82-431A-4CE8-8A16-3D69C3A21B9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8" name="Straight Connector 2837">
                    <a:extLst>
                      <a:ext uri="{FF2B5EF4-FFF2-40B4-BE49-F238E27FC236}">
                        <a16:creationId xmlns:a16="http://schemas.microsoft.com/office/drawing/2014/main" id="{A16B99CE-E9EE-4DAB-8AE5-A5F1DC8559CC}"/>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9" name="Straight Connector 2838">
                    <a:extLst>
                      <a:ext uri="{FF2B5EF4-FFF2-40B4-BE49-F238E27FC236}">
                        <a16:creationId xmlns:a16="http://schemas.microsoft.com/office/drawing/2014/main" id="{DCCDAB6B-C5CD-4CBF-8E38-210CB00383F7}"/>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0" name="Straight Connector 2839">
                    <a:extLst>
                      <a:ext uri="{FF2B5EF4-FFF2-40B4-BE49-F238E27FC236}">
                        <a16:creationId xmlns:a16="http://schemas.microsoft.com/office/drawing/2014/main" id="{A296BF29-EB62-4597-8850-8C45C724A659}"/>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28" name="Rectangle 2827">
                  <a:extLst>
                    <a:ext uri="{FF2B5EF4-FFF2-40B4-BE49-F238E27FC236}">
                      <a16:creationId xmlns:a16="http://schemas.microsoft.com/office/drawing/2014/main" id="{F06BBE9B-80D6-4DEE-92CB-5CB4F1CBF1C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856" name="Group 2855">
                <a:extLst>
                  <a:ext uri="{FF2B5EF4-FFF2-40B4-BE49-F238E27FC236}">
                    <a16:creationId xmlns:a16="http://schemas.microsoft.com/office/drawing/2014/main" id="{39FBE55D-3B31-4558-AA6D-C82DF7F5AB12}"/>
                  </a:ext>
                </a:extLst>
              </p:cNvPr>
              <p:cNvGrpSpPr/>
              <p:nvPr/>
            </p:nvGrpSpPr>
            <p:grpSpPr>
              <a:xfrm>
                <a:off x="6189282" y="2207036"/>
                <a:ext cx="309777" cy="570271"/>
                <a:chOff x="6298183" y="258138"/>
                <a:chExt cx="309777" cy="570271"/>
              </a:xfrm>
            </p:grpSpPr>
            <p:pic>
              <p:nvPicPr>
                <p:cNvPr id="2857" name="Picture 2856">
                  <a:extLst>
                    <a:ext uri="{FF2B5EF4-FFF2-40B4-BE49-F238E27FC236}">
                      <a16:creationId xmlns:a16="http://schemas.microsoft.com/office/drawing/2014/main" id="{4BBE49CE-786F-4672-A5CA-941B8AF71A9F}"/>
                    </a:ext>
                  </a:extLst>
                </p:cNvPr>
                <p:cNvPicPr>
                  <a:picLocks noChangeAspect="1"/>
                </p:cNvPicPr>
                <p:nvPr/>
              </p:nvPicPr>
              <p:blipFill>
                <a:blip r:embed="rId6"/>
                <a:stretch>
                  <a:fillRect/>
                </a:stretch>
              </p:blipFill>
              <p:spPr>
                <a:xfrm>
                  <a:off x="6298183" y="258138"/>
                  <a:ext cx="309777" cy="570271"/>
                </a:xfrm>
                <a:prstGeom prst="rect">
                  <a:avLst/>
                </a:prstGeom>
              </p:spPr>
            </p:pic>
            <p:sp>
              <p:nvSpPr>
                <p:cNvPr id="2858" name="Freeform 152">
                  <a:extLst>
                    <a:ext uri="{FF2B5EF4-FFF2-40B4-BE49-F238E27FC236}">
                      <a16:creationId xmlns:a16="http://schemas.microsoft.com/office/drawing/2014/main" id="{E3CD1546-4807-4BEC-AEFD-4BC1E9269A7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859" name="Rectangle 2858">
            <a:extLst>
              <a:ext uri="{FF2B5EF4-FFF2-40B4-BE49-F238E27FC236}">
                <a16:creationId xmlns:a16="http://schemas.microsoft.com/office/drawing/2014/main" id="{68B15680-A55E-47F6-8D5C-D956EDAD387E}"/>
              </a:ext>
            </a:extLst>
          </p:cNvPr>
          <p:cNvSpPr>
            <a:spLocks/>
          </p:cNvSpPr>
          <p:nvPr/>
        </p:nvSpPr>
        <p:spPr bwMode="gray">
          <a:xfrm>
            <a:off x="3378079" y="1689529"/>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860" name="Group 2859">
            <a:extLst>
              <a:ext uri="{FF2B5EF4-FFF2-40B4-BE49-F238E27FC236}">
                <a16:creationId xmlns:a16="http://schemas.microsoft.com/office/drawing/2014/main" id="{8469F45A-26BD-4B2C-B9E7-6A5F332A7359}"/>
              </a:ext>
            </a:extLst>
          </p:cNvPr>
          <p:cNvGrpSpPr/>
          <p:nvPr/>
        </p:nvGrpSpPr>
        <p:grpSpPr>
          <a:xfrm>
            <a:off x="412748" y="1219432"/>
            <a:ext cx="11430427" cy="561479"/>
            <a:chOff x="347472" y="1051180"/>
            <a:chExt cx="11667743" cy="561625"/>
          </a:xfrm>
        </p:grpSpPr>
        <p:grpSp>
          <p:nvGrpSpPr>
            <p:cNvPr id="2861" name="Group 2860">
              <a:extLst>
                <a:ext uri="{FF2B5EF4-FFF2-40B4-BE49-F238E27FC236}">
                  <a16:creationId xmlns:a16="http://schemas.microsoft.com/office/drawing/2014/main" id="{4C8E5E70-E4D0-4028-8B01-CF3D9E25E7CD}"/>
                </a:ext>
              </a:extLst>
            </p:cNvPr>
            <p:cNvGrpSpPr/>
            <p:nvPr/>
          </p:nvGrpSpPr>
          <p:grpSpPr>
            <a:xfrm>
              <a:off x="347472" y="1051180"/>
              <a:ext cx="11667743" cy="561625"/>
              <a:chOff x="347472" y="1051180"/>
              <a:chExt cx="11667743" cy="561625"/>
            </a:xfrm>
          </p:grpSpPr>
          <p:grpSp>
            <p:nvGrpSpPr>
              <p:cNvPr id="2863" name="Group 2862">
                <a:extLst>
                  <a:ext uri="{FF2B5EF4-FFF2-40B4-BE49-F238E27FC236}">
                    <a16:creationId xmlns:a16="http://schemas.microsoft.com/office/drawing/2014/main" id="{19B053B6-D501-46E8-8324-28B2181F54E8}"/>
                  </a:ext>
                </a:extLst>
              </p:cNvPr>
              <p:cNvGrpSpPr/>
              <p:nvPr/>
            </p:nvGrpSpPr>
            <p:grpSpPr>
              <a:xfrm>
                <a:off x="347472" y="1154250"/>
                <a:ext cx="11667743" cy="458555"/>
                <a:chOff x="390609" y="1132914"/>
                <a:chExt cx="11511569" cy="458555"/>
              </a:xfrm>
            </p:grpSpPr>
            <p:sp>
              <p:nvSpPr>
                <p:cNvPr id="2865" name="Rectangle: Rounded Corners 2864">
                  <a:extLst>
                    <a:ext uri="{FF2B5EF4-FFF2-40B4-BE49-F238E27FC236}">
                      <a16:creationId xmlns:a16="http://schemas.microsoft.com/office/drawing/2014/main" id="{C0ECC67F-0257-4ADE-8214-7AF66289F9D4}"/>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66" name="Rectangle 2865">
                  <a:extLst>
                    <a:ext uri="{FF2B5EF4-FFF2-40B4-BE49-F238E27FC236}">
                      <a16:creationId xmlns:a16="http://schemas.microsoft.com/office/drawing/2014/main" id="{31A4B2A4-CB38-47F9-918B-83E5241FED48}"/>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867" name="Rectangle 2866">
                  <a:extLst>
                    <a:ext uri="{FF2B5EF4-FFF2-40B4-BE49-F238E27FC236}">
                      <a16:creationId xmlns:a16="http://schemas.microsoft.com/office/drawing/2014/main" id="{D4656027-3B78-4CB3-A1A2-D6BB2C320FF7}"/>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868" name="Rectangle 2867">
                  <a:extLst>
                    <a:ext uri="{FF2B5EF4-FFF2-40B4-BE49-F238E27FC236}">
                      <a16:creationId xmlns:a16="http://schemas.microsoft.com/office/drawing/2014/main" id="{C98E7147-5C83-4907-A983-19382A05947B}"/>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869" name="Isosceles Triangle 2868">
                  <a:extLst>
                    <a:ext uri="{FF2B5EF4-FFF2-40B4-BE49-F238E27FC236}">
                      <a16:creationId xmlns:a16="http://schemas.microsoft.com/office/drawing/2014/main" id="{377B7AEF-DD5C-407A-BC96-22FE913B1FDF}"/>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70" name="Isosceles Triangle 2869">
                  <a:extLst>
                    <a:ext uri="{FF2B5EF4-FFF2-40B4-BE49-F238E27FC236}">
                      <a16:creationId xmlns:a16="http://schemas.microsoft.com/office/drawing/2014/main" id="{9E20B44C-313C-46AE-B0F0-4AB18A509ADA}"/>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4" name="Isosceles Triangle 2863">
                <a:extLst>
                  <a:ext uri="{FF2B5EF4-FFF2-40B4-BE49-F238E27FC236}">
                    <a16:creationId xmlns:a16="http://schemas.microsoft.com/office/drawing/2014/main" id="{A841C7DD-F4A1-4DCA-8EFD-70E365D590F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2" name="Isosceles Triangle 2861">
              <a:extLst>
                <a:ext uri="{FF2B5EF4-FFF2-40B4-BE49-F238E27FC236}">
                  <a16:creationId xmlns:a16="http://schemas.microsoft.com/office/drawing/2014/main" id="{6C5E3EB9-EC10-4A5A-BE32-40C4AD1E2BB9}"/>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Tree>
    <p:custDataLst>
      <p:tags r:id="rId1"/>
    </p:custDataLst>
    <p:extLst>
      <p:ext uri="{BB962C8B-B14F-4D97-AF65-F5344CB8AC3E}">
        <p14:creationId xmlns:p14="http://schemas.microsoft.com/office/powerpoint/2010/main" val="79701550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dirty="0"/>
              <a:t>Sprinting: Conduct Scrum of Scrums</a:t>
            </a:r>
            <a:endParaRPr lang="en-US" dirty="0"/>
          </a:p>
        </p:txBody>
      </p:sp>
      <p:graphicFrame>
        <p:nvGraphicFramePr>
          <p:cNvPr id="2189" name="Table 2188">
            <a:extLst>
              <a:ext uri="{FF2B5EF4-FFF2-40B4-BE49-F238E27FC236}">
                <a16:creationId xmlns:a16="http://schemas.microsoft.com/office/drawing/2014/main" id="{F0E03C91-B69E-47A5-BFB5-55222D8F4D7C}"/>
              </a:ext>
            </a:extLst>
          </p:cNvPr>
          <p:cNvGraphicFramePr>
            <a:graphicFrameLocks noGrp="1"/>
          </p:cNvGraphicFramePr>
          <p:nvPr/>
        </p:nvGraphicFramePr>
        <p:xfrm>
          <a:off x="4180215" y="3297078"/>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190" name="Rectangle 2189">
            <a:extLst>
              <a:ext uri="{FF2B5EF4-FFF2-40B4-BE49-F238E27FC236}">
                <a16:creationId xmlns:a16="http://schemas.microsoft.com/office/drawing/2014/main" id="{5B242AB0-D087-45B9-991C-D144B01E7F0A}"/>
              </a:ext>
            </a:extLst>
          </p:cNvPr>
          <p:cNvSpPr>
            <a:spLocks/>
          </p:cNvSpPr>
          <p:nvPr/>
        </p:nvSpPr>
        <p:spPr bwMode="gray">
          <a:xfrm>
            <a:off x="9920415" y="1689529"/>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192" name="Table 2191">
            <a:extLst>
              <a:ext uri="{FF2B5EF4-FFF2-40B4-BE49-F238E27FC236}">
                <a16:creationId xmlns:a16="http://schemas.microsoft.com/office/drawing/2014/main" id="{2AC1EC88-3AC8-4154-AB0C-7952CEFF5CBB}"/>
              </a:ext>
            </a:extLst>
          </p:cNvPr>
          <p:cNvGraphicFramePr>
            <a:graphicFrameLocks noGrp="1"/>
          </p:cNvGraphicFramePr>
          <p:nvPr/>
        </p:nvGraphicFramePr>
        <p:xfrm>
          <a:off x="470204" y="4578245"/>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1" name="Group 20">
            <a:extLst>
              <a:ext uri="{FF2B5EF4-FFF2-40B4-BE49-F238E27FC236}">
                <a16:creationId xmlns:a16="http://schemas.microsoft.com/office/drawing/2014/main" id="{E0FFFACC-468F-4412-AE49-ACAE9C7DF27C}"/>
              </a:ext>
            </a:extLst>
          </p:cNvPr>
          <p:cNvGrpSpPr/>
          <p:nvPr/>
        </p:nvGrpSpPr>
        <p:grpSpPr>
          <a:xfrm>
            <a:off x="5338229" y="3985905"/>
            <a:ext cx="4367346" cy="2539218"/>
            <a:chOff x="5338031" y="3986050"/>
            <a:chExt cx="4368484" cy="2539879"/>
          </a:xfrm>
        </p:grpSpPr>
        <p:grpSp>
          <p:nvGrpSpPr>
            <p:cNvPr id="2337" name="Group 2336">
              <a:extLst>
                <a:ext uri="{FF2B5EF4-FFF2-40B4-BE49-F238E27FC236}">
                  <a16:creationId xmlns:a16="http://schemas.microsoft.com/office/drawing/2014/main" id="{DDA94247-6C21-47BD-8890-27617C827EBD}"/>
                </a:ext>
              </a:extLst>
            </p:cNvPr>
            <p:cNvGrpSpPr/>
            <p:nvPr/>
          </p:nvGrpSpPr>
          <p:grpSpPr>
            <a:xfrm>
              <a:off x="6626435" y="3986050"/>
              <a:ext cx="3080080" cy="2539879"/>
              <a:chOff x="6642908" y="3955938"/>
              <a:chExt cx="3087943" cy="2546363"/>
            </a:xfrm>
          </p:grpSpPr>
          <p:sp>
            <p:nvSpPr>
              <p:cNvPr id="2338" name="Rectangle 2337">
                <a:extLst>
                  <a:ext uri="{FF2B5EF4-FFF2-40B4-BE49-F238E27FC236}">
                    <a16:creationId xmlns:a16="http://schemas.microsoft.com/office/drawing/2014/main" id="{A7B93953-84E2-40F4-93F9-ABD28544EE3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339" name="Group 2338">
                <a:extLst>
                  <a:ext uri="{FF2B5EF4-FFF2-40B4-BE49-F238E27FC236}">
                    <a16:creationId xmlns:a16="http://schemas.microsoft.com/office/drawing/2014/main" id="{8EBD560F-D7D0-41D2-91A0-A393A0E9F35B}"/>
                  </a:ext>
                </a:extLst>
              </p:cNvPr>
              <p:cNvGrpSpPr/>
              <p:nvPr/>
            </p:nvGrpSpPr>
            <p:grpSpPr>
              <a:xfrm>
                <a:off x="8222643" y="5655421"/>
                <a:ext cx="1030675" cy="846880"/>
                <a:chOff x="10800033" y="2297897"/>
                <a:chExt cx="1600558" cy="1315140"/>
              </a:xfrm>
            </p:grpSpPr>
            <p:grpSp>
              <p:nvGrpSpPr>
                <p:cNvPr id="2341" name="Group 2340">
                  <a:extLst>
                    <a:ext uri="{FF2B5EF4-FFF2-40B4-BE49-F238E27FC236}">
                      <a16:creationId xmlns:a16="http://schemas.microsoft.com/office/drawing/2014/main" id="{AC94F9E1-FBAF-41DB-BEF3-9C11C4CFF810}"/>
                    </a:ext>
                  </a:extLst>
                </p:cNvPr>
                <p:cNvGrpSpPr>
                  <a:grpSpLocks/>
                </p:cNvGrpSpPr>
                <p:nvPr/>
              </p:nvGrpSpPr>
              <p:grpSpPr>
                <a:xfrm>
                  <a:off x="10800033" y="2339037"/>
                  <a:ext cx="613092" cy="613092"/>
                  <a:chOff x="745985" y="4768134"/>
                  <a:chExt cx="368776" cy="368777"/>
                </a:xfrm>
              </p:grpSpPr>
              <p:grpSp>
                <p:nvGrpSpPr>
                  <p:cNvPr id="2405" name="Group 64">
                    <a:extLst>
                      <a:ext uri="{FF2B5EF4-FFF2-40B4-BE49-F238E27FC236}">
                        <a16:creationId xmlns:a16="http://schemas.microsoft.com/office/drawing/2014/main" id="{2D467CFE-327F-4C11-8F98-67E4589F53EB}"/>
                      </a:ext>
                    </a:extLst>
                  </p:cNvPr>
                  <p:cNvGrpSpPr>
                    <a:grpSpLocks noChangeAspect="1"/>
                  </p:cNvGrpSpPr>
                  <p:nvPr/>
                </p:nvGrpSpPr>
                <p:grpSpPr bwMode="auto">
                  <a:xfrm rot="8100000">
                    <a:off x="745985" y="4768134"/>
                    <a:ext cx="368776" cy="368777"/>
                    <a:chOff x="701" y="2170"/>
                    <a:chExt cx="587" cy="587"/>
                  </a:xfrm>
                </p:grpSpPr>
                <p:sp>
                  <p:nvSpPr>
                    <p:cNvPr id="2416" name="Oval 65">
                      <a:extLst>
                        <a:ext uri="{FF2B5EF4-FFF2-40B4-BE49-F238E27FC236}">
                          <a16:creationId xmlns:a16="http://schemas.microsoft.com/office/drawing/2014/main" id="{ED0F215B-BA8F-408F-BF8C-FA3F6EFA154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7" name="Line 66">
                      <a:extLst>
                        <a:ext uri="{FF2B5EF4-FFF2-40B4-BE49-F238E27FC236}">
                          <a16:creationId xmlns:a16="http://schemas.microsoft.com/office/drawing/2014/main" id="{1F8CD18C-E8E8-459C-AD51-26757D53317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Line 67">
                      <a:extLst>
                        <a:ext uri="{FF2B5EF4-FFF2-40B4-BE49-F238E27FC236}">
                          <a16:creationId xmlns:a16="http://schemas.microsoft.com/office/drawing/2014/main" id="{DD463698-E1B2-4255-847B-A436D2B5AC1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Line 69">
                      <a:extLst>
                        <a:ext uri="{FF2B5EF4-FFF2-40B4-BE49-F238E27FC236}">
                          <a16:creationId xmlns:a16="http://schemas.microsoft.com/office/drawing/2014/main" id="{B0314370-C385-4F54-B179-55D915F8ABD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Line 74">
                      <a:extLst>
                        <a:ext uri="{FF2B5EF4-FFF2-40B4-BE49-F238E27FC236}">
                          <a16:creationId xmlns:a16="http://schemas.microsoft.com/office/drawing/2014/main" id="{CE969C45-AC61-45CD-BF5A-1B7472E30E2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78">
                      <a:extLst>
                        <a:ext uri="{FF2B5EF4-FFF2-40B4-BE49-F238E27FC236}">
                          <a16:creationId xmlns:a16="http://schemas.microsoft.com/office/drawing/2014/main" id="{7DDFE362-3C90-499D-AFEE-8DF46024377D}"/>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80">
                      <a:extLst>
                        <a:ext uri="{FF2B5EF4-FFF2-40B4-BE49-F238E27FC236}">
                          <a16:creationId xmlns:a16="http://schemas.microsoft.com/office/drawing/2014/main" id="{43213219-1909-4E43-AF35-9ABE9D9A903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06" name="Group 2405">
                    <a:extLst>
                      <a:ext uri="{FF2B5EF4-FFF2-40B4-BE49-F238E27FC236}">
                        <a16:creationId xmlns:a16="http://schemas.microsoft.com/office/drawing/2014/main" id="{A18EEDD0-E7A1-42F6-B034-2DD7587C985A}"/>
                      </a:ext>
                    </a:extLst>
                  </p:cNvPr>
                  <p:cNvGrpSpPr/>
                  <p:nvPr/>
                </p:nvGrpSpPr>
                <p:grpSpPr>
                  <a:xfrm>
                    <a:off x="837312" y="4814434"/>
                    <a:ext cx="136805" cy="278689"/>
                    <a:chOff x="2806700" y="2803319"/>
                    <a:chExt cx="433387" cy="882861"/>
                  </a:xfrm>
                </p:grpSpPr>
                <p:grpSp>
                  <p:nvGrpSpPr>
                    <p:cNvPr id="2407" name="Group 2406">
                      <a:extLst>
                        <a:ext uri="{FF2B5EF4-FFF2-40B4-BE49-F238E27FC236}">
                          <a16:creationId xmlns:a16="http://schemas.microsoft.com/office/drawing/2014/main" id="{2A89FE14-587D-4D2E-BA45-6DE7BA51FF28}"/>
                        </a:ext>
                      </a:extLst>
                    </p:cNvPr>
                    <p:cNvGrpSpPr>
                      <a:grpSpLocks noChangeAspect="1"/>
                    </p:cNvGrpSpPr>
                    <p:nvPr/>
                  </p:nvGrpSpPr>
                  <p:grpSpPr bwMode="auto">
                    <a:xfrm>
                      <a:off x="2806700" y="3043242"/>
                      <a:ext cx="433387" cy="642938"/>
                      <a:chOff x="1768" y="1917"/>
                      <a:chExt cx="273" cy="405"/>
                    </a:xfrm>
                  </p:grpSpPr>
                  <p:sp>
                    <p:nvSpPr>
                      <p:cNvPr id="2409" name="Freeform 52">
                        <a:extLst>
                          <a:ext uri="{FF2B5EF4-FFF2-40B4-BE49-F238E27FC236}">
                            <a16:creationId xmlns:a16="http://schemas.microsoft.com/office/drawing/2014/main" id="{95CD2D06-24F8-4449-9951-6BD7EBAE1AAB}"/>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0" name="Line 54">
                        <a:extLst>
                          <a:ext uri="{FF2B5EF4-FFF2-40B4-BE49-F238E27FC236}">
                            <a16:creationId xmlns:a16="http://schemas.microsoft.com/office/drawing/2014/main" id="{1A539A6E-3242-484B-8613-6F2BA665639C}"/>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Line 55">
                        <a:extLst>
                          <a:ext uri="{FF2B5EF4-FFF2-40B4-BE49-F238E27FC236}">
                            <a16:creationId xmlns:a16="http://schemas.microsoft.com/office/drawing/2014/main" id="{CDABBCFE-228A-48EF-AD10-4DFBD675AF5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56">
                        <a:extLst>
                          <a:ext uri="{FF2B5EF4-FFF2-40B4-BE49-F238E27FC236}">
                            <a16:creationId xmlns:a16="http://schemas.microsoft.com/office/drawing/2014/main" id="{444D8612-3446-4481-891A-621EE811D71C}"/>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Line 57">
                        <a:extLst>
                          <a:ext uri="{FF2B5EF4-FFF2-40B4-BE49-F238E27FC236}">
                            <a16:creationId xmlns:a16="http://schemas.microsoft.com/office/drawing/2014/main" id="{68EC78A2-36FF-47FA-9EFC-0F52E307B26F}"/>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58">
                        <a:extLst>
                          <a:ext uri="{FF2B5EF4-FFF2-40B4-BE49-F238E27FC236}">
                            <a16:creationId xmlns:a16="http://schemas.microsoft.com/office/drawing/2014/main" id="{AFE44C6B-E778-4641-AA4D-415A808CB891}"/>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Rectangle 2414">
                        <a:extLst>
                          <a:ext uri="{FF2B5EF4-FFF2-40B4-BE49-F238E27FC236}">
                            <a16:creationId xmlns:a16="http://schemas.microsoft.com/office/drawing/2014/main" id="{20614383-BF9F-49D7-9A9C-282CFE73CEE7}"/>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408" name="Oval 2407">
                      <a:extLst>
                        <a:ext uri="{FF2B5EF4-FFF2-40B4-BE49-F238E27FC236}">
                          <a16:creationId xmlns:a16="http://schemas.microsoft.com/office/drawing/2014/main" id="{7DD6504C-6A76-4898-A418-811D7A7F346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42" name="Group 2341">
                  <a:extLst>
                    <a:ext uri="{FF2B5EF4-FFF2-40B4-BE49-F238E27FC236}">
                      <a16:creationId xmlns:a16="http://schemas.microsoft.com/office/drawing/2014/main" id="{7862826A-9D36-468A-AB87-67D1C10C33F3}"/>
                    </a:ext>
                  </a:extLst>
                </p:cNvPr>
                <p:cNvGrpSpPr>
                  <a:grpSpLocks/>
                </p:cNvGrpSpPr>
                <p:nvPr/>
              </p:nvGrpSpPr>
              <p:grpSpPr>
                <a:xfrm>
                  <a:off x="11166615" y="2825631"/>
                  <a:ext cx="787402" cy="787406"/>
                  <a:chOff x="1454941" y="4721722"/>
                  <a:chExt cx="473625" cy="473627"/>
                </a:xfrm>
              </p:grpSpPr>
              <p:grpSp>
                <p:nvGrpSpPr>
                  <p:cNvPr id="2366" name="Group 64">
                    <a:extLst>
                      <a:ext uri="{FF2B5EF4-FFF2-40B4-BE49-F238E27FC236}">
                        <a16:creationId xmlns:a16="http://schemas.microsoft.com/office/drawing/2014/main" id="{6D8D3179-A03D-4140-A35D-9ED871DEE497}"/>
                      </a:ext>
                    </a:extLst>
                  </p:cNvPr>
                  <p:cNvGrpSpPr>
                    <a:grpSpLocks noChangeAspect="1"/>
                  </p:cNvGrpSpPr>
                  <p:nvPr/>
                </p:nvGrpSpPr>
                <p:grpSpPr bwMode="auto">
                  <a:xfrm rot="8100000">
                    <a:off x="1454941" y="4721722"/>
                    <a:ext cx="473625" cy="473627"/>
                    <a:chOff x="701" y="2170"/>
                    <a:chExt cx="587" cy="587"/>
                  </a:xfrm>
                </p:grpSpPr>
                <p:sp>
                  <p:nvSpPr>
                    <p:cNvPr id="2398" name="Oval 65">
                      <a:extLst>
                        <a:ext uri="{FF2B5EF4-FFF2-40B4-BE49-F238E27FC236}">
                          <a16:creationId xmlns:a16="http://schemas.microsoft.com/office/drawing/2014/main" id="{A9C2940D-ADE4-4B5C-9D2F-CE7D925DDBE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9" name="Line 66">
                      <a:extLst>
                        <a:ext uri="{FF2B5EF4-FFF2-40B4-BE49-F238E27FC236}">
                          <a16:creationId xmlns:a16="http://schemas.microsoft.com/office/drawing/2014/main" id="{1083C9EE-F127-4DE3-918F-A3CA43958F0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0" name="Line 67">
                      <a:extLst>
                        <a:ext uri="{FF2B5EF4-FFF2-40B4-BE49-F238E27FC236}">
                          <a16:creationId xmlns:a16="http://schemas.microsoft.com/office/drawing/2014/main" id="{9E15F4CB-1172-4731-91B9-D33A02D874E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1" name="Line 69">
                      <a:extLst>
                        <a:ext uri="{FF2B5EF4-FFF2-40B4-BE49-F238E27FC236}">
                          <a16:creationId xmlns:a16="http://schemas.microsoft.com/office/drawing/2014/main" id="{9B8C72DA-58C4-42C5-B9CB-ADA3C34E94F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2" name="Line 74">
                      <a:extLst>
                        <a:ext uri="{FF2B5EF4-FFF2-40B4-BE49-F238E27FC236}">
                          <a16:creationId xmlns:a16="http://schemas.microsoft.com/office/drawing/2014/main" id="{6A1C3B98-9F28-4D4C-A627-B93893FC94C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78">
                      <a:extLst>
                        <a:ext uri="{FF2B5EF4-FFF2-40B4-BE49-F238E27FC236}">
                          <a16:creationId xmlns:a16="http://schemas.microsoft.com/office/drawing/2014/main" id="{20E1F880-8D77-47DC-90B2-33E26040C38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4" name="Freeform 80">
                      <a:extLst>
                        <a:ext uri="{FF2B5EF4-FFF2-40B4-BE49-F238E27FC236}">
                          <a16:creationId xmlns:a16="http://schemas.microsoft.com/office/drawing/2014/main" id="{61247636-7F48-4A31-95CC-1F25BEB816F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67" name="Group 2366">
                    <a:extLst>
                      <a:ext uri="{FF2B5EF4-FFF2-40B4-BE49-F238E27FC236}">
                        <a16:creationId xmlns:a16="http://schemas.microsoft.com/office/drawing/2014/main" id="{7CA603DC-2CB3-4457-BC06-9D9C66995682}"/>
                      </a:ext>
                    </a:extLst>
                  </p:cNvPr>
                  <p:cNvGrpSpPr/>
                  <p:nvPr/>
                </p:nvGrpSpPr>
                <p:grpSpPr>
                  <a:xfrm>
                    <a:off x="1511214" y="4789508"/>
                    <a:ext cx="356509" cy="349884"/>
                    <a:chOff x="468738" y="2241878"/>
                    <a:chExt cx="1655483" cy="1624719"/>
                  </a:xfrm>
                </p:grpSpPr>
                <p:sp>
                  <p:nvSpPr>
                    <p:cNvPr id="2368" name="Freeform 5">
                      <a:extLst>
                        <a:ext uri="{FF2B5EF4-FFF2-40B4-BE49-F238E27FC236}">
                          <a16:creationId xmlns:a16="http://schemas.microsoft.com/office/drawing/2014/main" id="{ADC07B4E-EB60-437D-B88B-7D6F7BAB9233}"/>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Freeform 6">
                      <a:extLst>
                        <a:ext uri="{FF2B5EF4-FFF2-40B4-BE49-F238E27FC236}">
                          <a16:creationId xmlns:a16="http://schemas.microsoft.com/office/drawing/2014/main" id="{4DB7CFF2-1361-40F5-87D8-09A6625F8B7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7">
                      <a:extLst>
                        <a:ext uri="{FF2B5EF4-FFF2-40B4-BE49-F238E27FC236}">
                          <a16:creationId xmlns:a16="http://schemas.microsoft.com/office/drawing/2014/main" id="{953A429A-1E35-4CEE-BA64-D9FC04FA086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Freeform 8">
                      <a:extLst>
                        <a:ext uri="{FF2B5EF4-FFF2-40B4-BE49-F238E27FC236}">
                          <a16:creationId xmlns:a16="http://schemas.microsoft.com/office/drawing/2014/main" id="{C4FE8D59-A063-4D15-B49E-79B6D722D5F7}"/>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9">
                      <a:extLst>
                        <a:ext uri="{FF2B5EF4-FFF2-40B4-BE49-F238E27FC236}">
                          <a16:creationId xmlns:a16="http://schemas.microsoft.com/office/drawing/2014/main" id="{9142A3A8-5AEE-4E91-8FCF-C44DB5FDD00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73" name="Group 2372">
                      <a:extLst>
                        <a:ext uri="{FF2B5EF4-FFF2-40B4-BE49-F238E27FC236}">
                          <a16:creationId xmlns:a16="http://schemas.microsoft.com/office/drawing/2014/main" id="{D0D9E88A-7125-463C-99F6-69E652DF1D6C}"/>
                        </a:ext>
                      </a:extLst>
                    </p:cNvPr>
                    <p:cNvGrpSpPr/>
                    <p:nvPr/>
                  </p:nvGrpSpPr>
                  <p:grpSpPr>
                    <a:xfrm>
                      <a:off x="1207113" y="2241878"/>
                      <a:ext cx="178734" cy="348678"/>
                      <a:chOff x="1207113" y="2241878"/>
                      <a:chExt cx="178734" cy="348678"/>
                    </a:xfrm>
                  </p:grpSpPr>
                  <p:sp>
                    <p:nvSpPr>
                      <p:cNvPr id="2396" name="Freeform 10">
                        <a:extLst>
                          <a:ext uri="{FF2B5EF4-FFF2-40B4-BE49-F238E27FC236}">
                            <a16:creationId xmlns:a16="http://schemas.microsoft.com/office/drawing/2014/main" id="{2A346116-E741-4C3B-B914-47EC427CBE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Line 11">
                        <a:extLst>
                          <a:ext uri="{FF2B5EF4-FFF2-40B4-BE49-F238E27FC236}">
                            <a16:creationId xmlns:a16="http://schemas.microsoft.com/office/drawing/2014/main" id="{89626DE7-3267-48D4-9E34-062FB83C8135}"/>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74" name="Freeform 12">
                      <a:extLst>
                        <a:ext uri="{FF2B5EF4-FFF2-40B4-BE49-F238E27FC236}">
                          <a16:creationId xmlns:a16="http://schemas.microsoft.com/office/drawing/2014/main" id="{CBFF604C-CEE7-486B-9F59-ABD512FE14A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5" name="Line 13">
                      <a:extLst>
                        <a:ext uri="{FF2B5EF4-FFF2-40B4-BE49-F238E27FC236}">
                          <a16:creationId xmlns:a16="http://schemas.microsoft.com/office/drawing/2014/main" id="{011D96E9-7F00-4481-9DDF-B78A8C268821}"/>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6" name="Freeform 14">
                      <a:extLst>
                        <a:ext uri="{FF2B5EF4-FFF2-40B4-BE49-F238E27FC236}">
                          <a16:creationId xmlns:a16="http://schemas.microsoft.com/office/drawing/2014/main" id="{57984474-AE19-49E3-94BE-8BFA97336C0D}"/>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7" name="Line 15">
                      <a:extLst>
                        <a:ext uri="{FF2B5EF4-FFF2-40B4-BE49-F238E27FC236}">
                          <a16:creationId xmlns:a16="http://schemas.microsoft.com/office/drawing/2014/main" id="{594098A5-7450-4664-BEB0-FC2CEF910AA1}"/>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8" name="Freeform 16">
                      <a:extLst>
                        <a:ext uri="{FF2B5EF4-FFF2-40B4-BE49-F238E27FC236}">
                          <a16:creationId xmlns:a16="http://schemas.microsoft.com/office/drawing/2014/main" id="{CE415B0A-B475-47FB-90FA-56BCE302B1D9}"/>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9" name="Line 17">
                      <a:extLst>
                        <a:ext uri="{FF2B5EF4-FFF2-40B4-BE49-F238E27FC236}">
                          <a16:creationId xmlns:a16="http://schemas.microsoft.com/office/drawing/2014/main" id="{BC94CB20-B81C-43DF-B564-C5DF3CF4A340}"/>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0" name="Freeform 18">
                      <a:extLst>
                        <a:ext uri="{FF2B5EF4-FFF2-40B4-BE49-F238E27FC236}">
                          <a16:creationId xmlns:a16="http://schemas.microsoft.com/office/drawing/2014/main" id="{895FC050-8001-4852-A7AF-7F87A6378499}"/>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1" name="Line 19">
                      <a:extLst>
                        <a:ext uri="{FF2B5EF4-FFF2-40B4-BE49-F238E27FC236}">
                          <a16:creationId xmlns:a16="http://schemas.microsoft.com/office/drawing/2014/main" id="{233316F3-03F8-4F7D-8722-2FD8EDA0EAE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2" name="Freeform 35">
                      <a:extLst>
                        <a:ext uri="{FF2B5EF4-FFF2-40B4-BE49-F238E27FC236}">
                          <a16:creationId xmlns:a16="http://schemas.microsoft.com/office/drawing/2014/main" id="{4B42AF4F-2D22-448F-930F-162DB142B27D}"/>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3" name="Freeform 36">
                      <a:extLst>
                        <a:ext uri="{FF2B5EF4-FFF2-40B4-BE49-F238E27FC236}">
                          <a16:creationId xmlns:a16="http://schemas.microsoft.com/office/drawing/2014/main" id="{8DC55D13-4AB8-4C8B-B2E1-2F97079CB3C8}"/>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4" name="Freeform 37">
                      <a:extLst>
                        <a:ext uri="{FF2B5EF4-FFF2-40B4-BE49-F238E27FC236}">
                          <a16:creationId xmlns:a16="http://schemas.microsoft.com/office/drawing/2014/main" id="{6926E905-EFDD-46F5-A590-0959E3EB46F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5" name="Freeform 38">
                      <a:extLst>
                        <a:ext uri="{FF2B5EF4-FFF2-40B4-BE49-F238E27FC236}">
                          <a16:creationId xmlns:a16="http://schemas.microsoft.com/office/drawing/2014/main" id="{466BD8AB-1D34-408E-8594-79176E97B0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6" name="Freeform 39">
                      <a:extLst>
                        <a:ext uri="{FF2B5EF4-FFF2-40B4-BE49-F238E27FC236}">
                          <a16:creationId xmlns:a16="http://schemas.microsoft.com/office/drawing/2014/main" id="{463F6AB8-DE9E-47E4-89F2-3E4897B7F15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7" name="Freeform 40">
                      <a:extLst>
                        <a:ext uri="{FF2B5EF4-FFF2-40B4-BE49-F238E27FC236}">
                          <a16:creationId xmlns:a16="http://schemas.microsoft.com/office/drawing/2014/main" id="{4C784F7D-23CF-492E-A85D-7A42CC055BDB}"/>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41">
                      <a:extLst>
                        <a:ext uri="{FF2B5EF4-FFF2-40B4-BE49-F238E27FC236}">
                          <a16:creationId xmlns:a16="http://schemas.microsoft.com/office/drawing/2014/main" id="{18619CC1-E2C8-4597-8D19-17C051AC5832}"/>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Line 42">
                      <a:extLst>
                        <a:ext uri="{FF2B5EF4-FFF2-40B4-BE49-F238E27FC236}">
                          <a16:creationId xmlns:a16="http://schemas.microsoft.com/office/drawing/2014/main" id="{077688DD-4959-492D-A38B-F7F4DA2D706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43">
                      <a:extLst>
                        <a:ext uri="{FF2B5EF4-FFF2-40B4-BE49-F238E27FC236}">
                          <a16:creationId xmlns:a16="http://schemas.microsoft.com/office/drawing/2014/main" id="{63964BEB-5C80-422C-9B02-903C695A74F9}"/>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44">
                      <a:extLst>
                        <a:ext uri="{FF2B5EF4-FFF2-40B4-BE49-F238E27FC236}">
                          <a16:creationId xmlns:a16="http://schemas.microsoft.com/office/drawing/2014/main" id="{8781F828-477B-454E-BFB9-0F0612F363B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45">
                      <a:extLst>
                        <a:ext uri="{FF2B5EF4-FFF2-40B4-BE49-F238E27FC236}">
                          <a16:creationId xmlns:a16="http://schemas.microsoft.com/office/drawing/2014/main" id="{491C9A09-CF23-4BDC-B52E-C10D665FD5DB}"/>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93" name="Group 2392">
                      <a:extLst>
                        <a:ext uri="{FF2B5EF4-FFF2-40B4-BE49-F238E27FC236}">
                          <a16:creationId xmlns:a16="http://schemas.microsoft.com/office/drawing/2014/main" id="{898AB74D-865B-4AC1-A2E1-6A721810FC08}"/>
                        </a:ext>
                      </a:extLst>
                    </p:cNvPr>
                    <p:cNvGrpSpPr/>
                    <p:nvPr/>
                  </p:nvGrpSpPr>
                  <p:grpSpPr>
                    <a:xfrm flipV="1">
                      <a:off x="1202047" y="3517919"/>
                      <a:ext cx="178734" cy="348678"/>
                      <a:chOff x="1207113" y="2241878"/>
                      <a:chExt cx="178734" cy="348678"/>
                    </a:xfrm>
                  </p:grpSpPr>
                  <p:sp>
                    <p:nvSpPr>
                      <p:cNvPr id="2394" name="Freeform 10">
                        <a:extLst>
                          <a:ext uri="{FF2B5EF4-FFF2-40B4-BE49-F238E27FC236}">
                            <a16:creationId xmlns:a16="http://schemas.microsoft.com/office/drawing/2014/main" id="{32BFCF5B-2A90-4D1E-BC5D-ED90BA60A8E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Line 11">
                        <a:extLst>
                          <a:ext uri="{FF2B5EF4-FFF2-40B4-BE49-F238E27FC236}">
                            <a16:creationId xmlns:a16="http://schemas.microsoft.com/office/drawing/2014/main" id="{940EEEED-205D-45E2-8045-4D4CB193EFC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43" name="Group 2342">
                  <a:extLst>
                    <a:ext uri="{FF2B5EF4-FFF2-40B4-BE49-F238E27FC236}">
                      <a16:creationId xmlns:a16="http://schemas.microsoft.com/office/drawing/2014/main" id="{F2787B05-646C-4D65-9A7A-36A88A926A83}"/>
                    </a:ext>
                  </a:extLst>
                </p:cNvPr>
                <p:cNvGrpSpPr>
                  <a:grpSpLocks/>
                </p:cNvGrpSpPr>
                <p:nvPr/>
              </p:nvGrpSpPr>
              <p:grpSpPr>
                <a:xfrm>
                  <a:off x="11709639" y="2297897"/>
                  <a:ext cx="690952" cy="690956"/>
                  <a:chOff x="2268747" y="4723725"/>
                  <a:chExt cx="415610" cy="415612"/>
                </a:xfrm>
              </p:grpSpPr>
              <p:grpSp>
                <p:nvGrpSpPr>
                  <p:cNvPr id="2344" name="Group 64">
                    <a:extLst>
                      <a:ext uri="{FF2B5EF4-FFF2-40B4-BE49-F238E27FC236}">
                        <a16:creationId xmlns:a16="http://schemas.microsoft.com/office/drawing/2014/main" id="{06346E34-701B-4AD6-964D-7A9F9B49A695}"/>
                      </a:ext>
                    </a:extLst>
                  </p:cNvPr>
                  <p:cNvGrpSpPr>
                    <a:grpSpLocks noChangeAspect="1"/>
                  </p:cNvGrpSpPr>
                  <p:nvPr/>
                </p:nvGrpSpPr>
                <p:grpSpPr bwMode="auto">
                  <a:xfrm rot="8100000">
                    <a:off x="2268747" y="4723725"/>
                    <a:ext cx="415610" cy="415612"/>
                    <a:chOff x="701" y="2170"/>
                    <a:chExt cx="587" cy="587"/>
                  </a:xfrm>
                </p:grpSpPr>
                <p:sp>
                  <p:nvSpPr>
                    <p:cNvPr id="2359" name="Oval 65">
                      <a:extLst>
                        <a:ext uri="{FF2B5EF4-FFF2-40B4-BE49-F238E27FC236}">
                          <a16:creationId xmlns:a16="http://schemas.microsoft.com/office/drawing/2014/main" id="{8EB33C98-7919-40A6-BA81-0DB10021E60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0" name="Line 66">
                      <a:extLst>
                        <a:ext uri="{FF2B5EF4-FFF2-40B4-BE49-F238E27FC236}">
                          <a16:creationId xmlns:a16="http://schemas.microsoft.com/office/drawing/2014/main" id="{8B436F5E-7B09-4197-A9BF-AA3EEB50A01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1" name="Line 67">
                      <a:extLst>
                        <a:ext uri="{FF2B5EF4-FFF2-40B4-BE49-F238E27FC236}">
                          <a16:creationId xmlns:a16="http://schemas.microsoft.com/office/drawing/2014/main" id="{B8415E10-9FE4-423F-A0F8-1E3F1B261D6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2" name="Line 69">
                      <a:extLst>
                        <a:ext uri="{FF2B5EF4-FFF2-40B4-BE49-F238E27FC236}">
                          <a16:creationId xmlns:a16="http://schemas.microsoft.com/office/drawing/2014/main" id="{DE306D38-3265-45BF-8970-3D7CCF01C57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74">
                      <a:extLst>
                        <a:ext uri="{FF2B5EF4-FFF2-40B4-BE49-F238E27FC236}">
                          <a16:creationId xmlns:a16="http://schemas.microsoft.com/office/drawing/2014/main" id="{88B5FD0F-2773-4164-8157-34B9773714E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78">
                      <a:extLst>
                        <a:ext uri="{FF2B5EF4-FFF2-40B4-BE49-F238E27FC236}">
                          <a16:creationId xmlns:a16="http://schemas.microsoft.com/office/drawing/2014/main" id="{B247FC20-0A3F-45C6-9310-F0A34F056B1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Freeform 80">
                      <a:extLst>
                        <a:ext uri="{FF2B5EF4-FFF2-40B4-BE49-F238E27FC236}">
                          <a16:creationId xmlns:a16="http://schemas.microsoft.com/office/drawing/2014/main" id="{1842726F-5069-4D24-AAC7-751E3A3B4E8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45" name="Group 2344">
                    <a:extLst>
                      <a:ext uri="{FF2B5EF4-FFF2-40B4-BE49-F238E27FC236}">
                        <a16:creationId xmlns:a16="http://schemas.microsoft.com/office/drawing/2014/main" id="{20B13210-E291-4DD2-AE8D-C0095A6E585F}"/>
                      </a:ext>
                    </a:extLst>
                  </p:cNvPr>
                  <p:cNvGrpSpPr/>
                  <p:nvPr/>
                </p:nvGrpSpPr>
                <p:grpSpPr>
                  <a:xfrm>
                    <a:off x="2318076" y="4830163"/>
                    <a:ext cx="313949" cy="233075"/>
                    <a:chOff x="3707533" y="2731244"/>
                    <a:chExt cx="389644" cy="289271"/>
                  </a:xfrm>
                </p:grpSpPr>
                <p:sp>
                  <p:nvSpPr>
                    <p:cNvPr id="2346" name="Freeform 33">
                      <a:extLst>
                        <a:ext uri="{FF2B5EF4-FFF2-40B4-BE49-F238E27FC236}">
                          <a16:creationId xmlns:a16="http://schemas.microsoft.com/office/drawing/2014/main" id="{3D2F6D8B-4EF2-4583-94C4-F7B0C276277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7" name="Freeform 34">
                      <a:extLst>
                        <a:ext uri="{FF2B5EF4-FFF2-40B4-BE49-F238E27FC236}">
                          <a16:creationId xmlns:a16="http://schemas.microsoft.com/office/drawing/2014/main" id="{66562D15-4F81-4EC2-94BD-B73F3671CBC9}"/>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8" name="Freeform 37">
                      <a:extLst>
                        <a:ext uri="{FF2B5EF4-FFF2-40B4-BE49-F238E27FC236}">
                          <a16:creationId xmlns:a16="http://schemas.microsoft.com/office/drawing/2014/main" id="{5E1EF50E-8816-410A-B0E5-FE1A6E2996B7}"/>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9" name="Freeform 38">
                      <a:extLst>
                        <a:ext uri="{FF2B5EF4-FFF2-40B4-BE49-F238E27FC236}">
                          <a16:creationId xmlns:a16="http://schemas.microsoft.com/office/drawing/2014/main" id="{FAA8FFD6-4CAD-4586-B4B6-700EE72F8056}"/>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0" name="Freeform 32">
                      <a:extLst>
                        <a:ext uri="{FF2B5EF4-FFF2-40B4-BE49-F238E27FC236}">
                          <a16:creationId xmlns:a16="http://schemas.microsoft.com/office/drawing/2014/main" id="{168CC538-A4CE-43C1-96E6-15B7BEEF59CA}"/>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Freeform 35">
                      <a:extLst>
                        <a:ext uri="{FF2B5EF4-FFF2-40B4-BE49-F238E27FC236}">
                          <a16:creationId xmlns:a16="http://schemas.microsoft.com/office/drawing/2014/main" id="{061EBEBB-DE89-4A39-9F78-9C28C6C763F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2" name="Freeform 36">
                      <a:extLst>
                        <a:ext uri="{FF2B5EF4-FFF2-40B4-BE49-F238E27FC236}">
                          <a16:creationId xmlns:a16="http://schemas.microsoft.com/office/drawing/2014/main" id="{DE766E5A-D0AA-4A96-989C-4929378FA152}"/>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3" name="Freeform 25">
                      <a:extLst>
                        <a:ext uri="{FF2B5EF4-FFF2-40B4-BE49-F238E27FC236}">
                          <a16:creationId xmlns:a16="http://schemas.microsoft.com/office/drawing/2014/main" id="{F9F012C2-0C37-494E-833D-97D5C4B492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4" name="Freeform 39">
                      <a:extLst>
                        <a:ext uri="{FF2B5EF4-FFF2-40B4-BE49-F238E27FC236}">
                          <a16:creationId xmlns:a16="http://schemas.microsoft.com/office/drawing/2014/main" id="{48F7AFF8-F6F7-4916-A70E-D5FDC70A6B2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26">
                      <a:extLst>
                        <a:ext uri="{FF2B5EF4-FFF2-40B4-BE49-F238E27FC236}">
                          <a16:creationId xmlns:a16="http://schemas.microsoft.com/office/drawing/2014/main" id="{53E3DA99-94AD-46F8-954D-8C76941515D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6" name="Rectangle 27">
                      <a:extLst>
                        <a:ext uri="{FF2B5EF4-FFF2-40B4-BE49-F238E27FC236}">
                          <a16:creationId xmlns:a16="http://schemas.microsoft.com/office/drawing/2014/main" id="{8CC9A94E-14AB-4B5F-8C21-11B171CD12F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7" name="Line 29">
                      <a:extLst>
                        <a:ext uri="{FF2B5EF4-FFF2-40B4-BE49-F238E27FC236}">
                          <a16:creationId xmlns:a16="http://schemas.microsoft.com/office/drawing/2014/main" id="{EE064643-6E4D-4CA1-A72B-E8FE744C65B0}"/>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8" name="Line 31">
                      <a:extLst>
                        <a:ext uri="{FF2B5EF4-FFF2-40B4-BE49-F238E27FC236}">
                          <a16:creationId xmlns:a16="http://schemas.microsoft.com/office/drawing/2014/main" id="{8457FEE4-3039-499F-80C6-B2026E6F2B17}"/>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340" name="Rectangle 2339">
                <a:extLst>
                  <a:ext uri="{FF2B5EF4-FFF2-40B4-BE49-F238E27FC236}">
                    <a16:creationId xmlns:a16="http://schemas.microsoft.com/office/drawing/2014/main" id="{6CE99C9D-6327-4B9A-9064-CCAD4C95F15C}"/>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497" name="Rectangle 2496">
              <a:extLst>
                <a:ext uri="{FF2B5EF4-FFF2-40B4-BE49-F238E27FC236}">
                  <a16:creationId xmlns:a16="http://schemas.microsoft.com/office/drawing/2014/main" id="{5321E8A4-5150-488B-82C4-764ADF9097B1}"/>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498" name="Group 2497">
            <a:extLst>
              <a:ext uri="{FF2B5EF4-FFF2-40B4-BE49-F238E27FC236}">
                <a16:creationId xmlns:a16="http://schemas.microsoft.com/office/drawing/2014/main" id="{A22AA78F-EC81-4790-A968-4880B75551F0}"/>
              </a:ext>
            </a:extLst>
          </p:cNvPr>
          <p:cNvGrpSpPr/>
          <p:nvPr/>
        </p:nvGrpSpPr>
        <p:grpSpPr>
          <a:xfrm>
            <a:off x="5583102" y="3985906"/>
            <a:ext cx="2022711" cy="2582790"/>
            <a:chOff x="5596776" y="3955938"/>
            <a:chExt cx="2028403" cy="2590058"/>
          </a:xfrm>
        </p:grpSpPr>
        <p:sp>
          <p:nvSpPr>
            <p:cNvPr id="2499" name="Rectangle 2498">
              <a:extLst>
                <a:ext uri="{FF2B5EF4-FFF2-40B4-BE49-F238E27FC236}">
                  <a16:creationId xmlns:a16="http://schemas.microsoft.com/office/drawing/2014/main" id="{747F3B1D-4231-4467-A673-6484A60D9E94}"/>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500" name="Group 2499">
              <a:extLst>
                <a:ext uri="{FF2B5EF4-FFF2-40B4-BE49-F238E27FC236}">
                  <a16:creationId xmlns:a16="http://schemas.microsoft.com/office/drawing/2014/main" id="{4834553C-37FE-4DD4-B011-F068374A0F7D}"/>
                </a:ext>
              </a:extLst>
            </p:cNvPr>
            <p:cNvGrpSpPr/>
            <p:nvPr/>
          </p:nvGrpSpPr>
          <p:grpSpPr>
            <a:xfrm>
              <a:off x="5596776" y="4804677"/>
              <a:ext cx="2028403" cy="1741319"/>
              <a:chOff x="5596776" y="4804677"/>
              <a:chExt cx="2028403" cy="1741319"/>
            </a:xfrm>
          </p:grpSpPr>
          <p:sp>
            <p:nvSpPr>
              <p:cNvPr id="2501" name="Rectangle 2500">
                <a:extLst>
                  <a:ext uri="{FF2B5EF4-FFF2-40B4-BE49-F238E27FC236}">
                    <a16:creationId xmlns:a16="http://schemas.microsoft.com/office/drawing/2014/main" id="{EDD45DF1-3CD0-4861-94DA-60880A14B3C6}"/>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502" name="Rectangle 2501">
                <a:extLst>
                  <a:ext uri="{FF2B5EF4-FFF2-40B4-BE49-F238E27FC236}">
                    <a16:creationId xmlns:a16="http://schemas.microsoft.com/office/drawing/2014/main" id="{AFC0305D-06B3-4DFB-ACAE-82A4CFE82F6F}"/>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503" name="Picture 2502">
                <a:extLst>
                  <a:ext uri="{FF2B5EF4-FFF2-40B4-BE49-F238E27FC236}">
                    <a16:creationId xmlns:a16="http://schemas.microsoft.com/office/drawing/2014/main" id="{A933AF52-26A1-422B-8C8C-C6BC39FEA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504" name="Group 2503">
                <a:extLst>
                  <a:ext uri="{FF2B5EF4-FFF2-40B4-BE49-F238E27FC236}">
                    <a16:creationId xmlns:a16="http://schemas.microsoft.com/office/drawing/2014/main" id="{FE2D0EDD-D308-4EBF-8BB6-0809850D2B1A}"/>
                  </a:ext>
                </a:extLst>
              </p:cNvPr>
              <p:cNvGrpSpPr>
                <a:grpSpLocks/>
              </p:cNvGrpSpPr>
              <p:nvPr/>
            </p:nvGrpSpPr>
            <p:grpSpPr>
              <a:xfrm>
                <a:off x="6916019" y="5876745"/>
                <a:ext cx="476834" cy="476835"/>
                <a:chOff x="7895435" y="7917966"/>
                <a:chExt cx="473625" cy="473627"/>
              </a:xfrm>
            </p:grpSpPr>
            <p:grpSp>
              <p:nvGrpSpPr>
                <p:cNvPr id="2505" name="Group 64">
                  <a:extLst>
                    <a:ext uri="{FF2B5EF4-FFF2-40B4-BE49-F238E27FC236}">
                      <a16:creationId xmlns:a16="http://schemas.microsoft.com/office/drawing/2014/main" id="{31D78AB9-CECB-4598-B9D6-FBE4C3F66FDB}"/>
                    </a:ext>
                  </a:extLst>
                </p:cNvPr>
                <p:cNvGrpSpPr>
                  <a:grpSpLocks noChangeAspect="1"/>
                </p:cNvGrpSpPr>
                <p:nvPr/>
              </p:nvGrpSpPr>
              <p:grpSpPr bwMode="auto">
                <a:xfrm rot="8100000">
                  <a:off x="7895435" y="7917966"/>
                  <a:ext cx="473625" cy="473627"/>
                  <a:chOff x="701" y="2170"/>
                  <a:chExt cx="587" cy="587"/>
                </a:xfrm>
              </p:grpSpPr>
              <p:sp>
                <p:nvSpPr>
                  <p:cNvPr id="2537" name="Oval 65">
                    <a:extLst>
                      <a:ext uri="{FF2B5EF4-FFF2-40B4-BE49-F238E27FC236}">
                        <a16:creationId xmlns:a16="http://schemas.microsoft.com/office/drawing/2014/main" id="{46CD0B3D-FC8D-40C8-A592-C97C7402BCAD}"/>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8" name="Line 66">
                    <a:extLst>
                      <a:ext uri="{FF2B5EF4-FFF2-40B4-BE49-F238E27FC236}">
                        <a16:creationId xmlns:a16="http://schemas.microsoft.com/office/drawing/2014/main" id="{293808B9-88D3-4773-80AA-F37D257B15B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Line 67">
                    <a:extLst>
                      <a:ext uri="{FF2B5EF4-FFF2-40B4-BE49-F238E27FC236}">
                        <a16:creationId xmlns:a16="http://schemas.microsoft.com/office/drawing/2014/main" id="{50ABD547-5FD6-4567-B008-7210CDE073F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Line 69">
                    <a:extLst>
                      <a:ext uri="{FF2B5EF4-FFF2-40B4-BE49-F238E27FC236}">
                        <a16:creationId xmlns:a16="http://schemas.microsoft.com/office/drawing/2014/main" id="{5B9FD4E6-5AB1-4416-A345-814920CA797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Line 74">
                    <a:extLst>
                      <a:ext uri="{FF2B5EF4-FFF2-40B4-BE49-F238E27FC236}">
                        <a16:creationId xmlns:a16="http://schemas.microsoft.com/office/drawing/2014/main" id="{91FE552D-39A3-4EAD-B688-0B4842DBFDF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78">
                    <a:extLst>
                      <a:ext uri="{FF2B5EF4-FFF2-40B4-BE49-F238E27FC236}">
                        <a16:creationId xmlns:a16="http://schemas.microsoft.com/office/drawing/2014/main" id="{E5F96C76-0E0C-4AE3-BB59-196115BED910}"/>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80">
                    <a:extLst>
                      <a:ext uri="{FF2B5EF4-FFF2-40B4-BE49-F238E27FC236}">
                        <a16:creationId xmlns:a16="http://schemas.microsoft.com/office/drawing/2014/main" id="{811CFDE9-8578-4084-9896-EE967494D5A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06" name="Group 2505">
                  <a:extLst>
                    <a:ext uri="{FF2B5EF4-FFF2-40B4-BE49-F238E27FC236}">
                      <a16:creationId xmlns:a16="http://schemas.microsoft.com/office/drawing/2014/main" id="{D393629C-BC7D-4B72-9D8F-FF7461506E86}"/>
                    </a:ext>
                  </a:extLst>
                </p:cNvPr>
                <p:cNvGrpSpPr/>
                <p:nvPr/>
              </p:nvGrpSpPr>
              <p:grpSpPr>
                <a:xfrm>
                  <a:off x="7951708" y="7985752"/>
                  <a:ext cx="356509" cy="349884"/>
                  <a:chOff x="468738" y="2241878"/>
                  <a:chExt cx="1655483" cy="1624719"/>
                </a:xfrm>
              </p:grpSpPr>
              <p:sp>
                <p:nvSpPr>
                  <p:cNvPr id="2507" name="Freeform 5">
                    <a:extLst>
                      <a:ext uri="{FF2B5EF4-FFF2-40B4-BE49-F238E27FC236}">
                        <a16:creationId xmlns:a16="http://schemas.microsoft.com/office/drawing/2014/main" id="{B6CB8661-51F1-4427-9630-C6FF092E6200}"/>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6">
                    <a:extLst>
                      <a:ext uri="{FF2B5EF4-FFF2-40B4-BE49-F238E27FC236}">
                        <a16:creationId xmlns:a16="http://schemas.microsoft.com/office/drawing/2014/main" id="{4ED5D328-033E-4613-B0F5-9AC2158F6FA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Line 7">
                    <a:extLst>
                      <a:ext uri="{FF2B5EF4-FFF2-40B4-BE49-F238E27FC236}">
                        <a16:creationId xmlns:a16="http://schemas.microsoft.com/office/drawing/2014/main" id="{DBEA3398-AF4F-4885-B6CC-26351AF7282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8">
                    <a:extLst>
                      <a:ext uri="{FF2B5EF4-FFF2-40B4-BE49-F238E27FC236}">
                        <a16:creationId xmlns:a16="http://schemas.microsoft.com/office/drawing/2014/main" id="{C9BA89EA-25F1-4AF6-A8C9-E885829E415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Line 9">
                    <a:extLst>
                      <a:ext uri="{FF2B5EF4-FFF2-40B4-BE49-F238E27FC236}">
                        <a16:creationId xmlns:a16="http://schemas.microsoft.com/office/drawing/2014/main" id="{B4924420-51F8-4E90-A5BC-2B568D0F640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12" name="Group 2511">
                    <a:extLst>
                      <a:ext uri="{FF2B5EF4-FFF2-40B4-BE49-F238E27FC236}">
                        <a16:creationId xmlns:a16="http://schemas.microsoft.com/office/drawing/2014/main" id="{2B1FF5C1-655C-4D84-8357-FBEFF88CD753}"/>
                      </a:ext>
                    </a:extLst>
                  </p:cNvPr>
                  <p:cNvGrpSpPr/>
                  <p:nvPr/>
                </p:nvGrpSpPr>
                <p:grpSpPr>
                  <a:xfrm>
                    <a:off x="1207113" y="2241878"/>
                    <a:ext cx="178734" cy="348678"/>
                    <a:chOff x="1207113" y="2241878"/>
                    <a:chExt cx="178734" cy="348678"/>
                  </a:xfrm>
                </p:grpSpPr>
                <p:sp>
                  <p:nvSpPr>
                    <p:cNvPr id="2535" name="Freeform 10">
                      <a:extLst>
                        <a:ext uri="{FF2B5EF4-FFF2-40B4-BE49-F238E27FC236}">
                          <a16:creationId xmlns:a16="http://schemas.microsoft.com/office/drawing/2014/main" id="{13288FA8-69DE-4B8F-938F-EAFBC8D8689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Line 11">
                      <a:extLst>
                        <a:ext uri="{FF2B5EF4-FFF2-40B4-BE49-F238E27FC236}">
                          <a16:creationId xmlns:a16="http://schemas.microsoft.com/office/drawing/2014/main" id="{05635318-9DD3-47B6-AF53-F2E88F8E7D49}"/>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13" name="Freeform 12">
                    <a:extLst>
                      <a:ext uri="{FF2B5EF4-FFF2-40B4-BE49-F238E27FC236}">
                        <a16:creationId xmlns:a16="http://schemas.microsoft.com/office/drawing/2014/main" id="{75421306-8DF7-42AD-950B-FA9036E7693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4" name="Line 13">
                    <a:extLst>
                      <a:ext uri="{FF2B5EF4-FFF2-40B4-BE49-F238E27FC236}">
                        <a16:creationId xmlns:a16="http://schemas.microsoft.com/office/drawing/2014/main" id="{CF179717-3DEA-4B09-AC03-712A5CB8A00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4">
                    <a:extLst>
                      <a:ext uri="{FF2B5EF4-FFF2-40B4-BE49-F238E27FC236}">
                        <a16:creationId xmlns:a16="http://schemas.microsoft.com/office/drawing/2014/main" id="{3377E841-63A0-48A3-B027-19508466199E}"/>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6" name="Line 15">
                    <a:extLst>
                      <a:ext uri="{FF2B5EF4-FFF2-40B4-BE49-F238E27FC236}">
                        <a16:creationId xmlns:a16="http://schemas.microsoft.com/office/drawing/2014/main" id="{EA066626-FE54-4A5B-B3D9-E39814C33F7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Freeform 16">
                    <a:extLst>
                      <a:ext uri="{FF2B5EF4-FFF2-40B4-BE49-F238E27FC236}">
                        <a16:creationId xmlns:a16="http://schemas.microsoft.com/office/drawing/2014/main" id="{366A3F47-A9AF-42FF-B639-14B6CE96B163}"/>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Line 17">
                    <a:extLst>
                      <a:ext uri="{FF2B5EF4-FFF2-40B4-BE49-F238E27FC236}">
                        <a16:creationId xmlns:a16="http://schemas.microsoft.com/office/drawing/2014/main" id="{084A0566-0D88-40B9-8942-404A11A5775D}"/>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8">
                    <a:extLst>
                      <a:ext uri="{FF2B5EF4-FFF2-40B4-BE49-F238E27FC236}">
                        <a16:creationId xmlns:a16="http://schemas.microsoft.com/office/drawing/2014/main" id="{FFAD812C-E870-46B0-B2C9-8CF5C0FA946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Line 19">
                    <a:extLst>
                      <a:ext uri="{FF2B5EF4-FFF2-40B4-BE49-F238E27FC236}">
                        <a16:creationId xmlns:a16="http://schemas.microsoft.com/office/drawing/2014/main" id="{DA262064-351F-44CF-9B13-A177FF0E84D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35">
                    <a:extLst>
                      <a:ext uri="{FF2B5EF4-FFF2-40B4-BE49-F238E27FC236}">
                        <a16:creationId xmlns:a16="http://schemas.microsoft.com/office/drawing/2014/main" id="{28C2291A-182E-473D-B28F-613B49F49F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36">
                    <a:extLst>
                      <a:ext uri="{FF2B5EF4-FFF2-40B4-BE49-F238E27FC236}">
                        <a16:creationId xmlns:a16="http://schemas.microsoft.com/office/drawing/2014/main" id="{AE5F9676-2C2C-4086-A074-4395A8F1316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37">
                    <a:extLst>
                      <a:ext uri="{FF2B5EF4-FFF2-40B4-BE49-F238E27FC236}">
                        <a16:creationId xmlns:a16="http://schemas.microsoft.com/office/drawing/2014/main" id="{ECCBBBB8-BCA3-4313-A865-509D9DA9DDFD}"/>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38">
                    <a:extLst>
                      <a:ext uri="{FF2B5EF4-FFF2-40B4-BE49-F238E27FC236}">
                        <a16:creationId xmlns:a16="http://schemas.microsoft.com/office/drawing/2014/main" id="{717182B7-9ED3-488D-B869-09159943C40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39">
                    <a:extLst>
                      <a:ext uri="{FF2B5EF4-FFF2-40B4-BE49-F238E27FC236}">
                        <a16:creationId xmlns:a16="http://schemas.microsoft.com/office/drawing/2014/main" id="{FB56E7B4-5069-4EB9-8242-B7F2C922E89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40">
                    <a:extLst>
                      <a:ext uri="{FF2B5EF4-FFF2-40B4-BE49-F238E27FC236}">
                        <a16:creationId xmlns:a16="http://schemas.microsoft.com/office/drawing/2014/main" id="{89F2894D-26FA-4B43-A0E7-A222091799E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41">
                    <a:extLst>
                      <a:ext uri="{FF2B5EF4-FFF2-40B4-BE49-F238E27FC236}">
                        <a16:creationId xmlns:a16="http://schemas.microsoft.com/office/drawing/2014/main" id="{088EBEFD-D722-4C11-9B83-8AFB21AE7838}"/>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Line 42">
                    <a:extLst>
                      <a:ext uri="{FF2B5EF4-FFF2-40B4-BE49-F238E27FC236}">
                        <a16:creationId xmlns:a16="http://schemas.microsoft.com/office/drawing/2014/main" id="{1C001CC8-7999-446D-B698-FEB6F9C469ED}"/>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43">
                    <a:extLst>
                      <a:ext uri="{FF2B5EF4-FFF2-40B4-BE49-F238E27FC236}">
                        <a16:creationId xmlns:a16="http://schemas.microsoft.com/office/drawing/2014/main" id="{308239DF-11B1-4567-AEA1-4968356A70E3}"/>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44">
                    <a:extLst>
                      <a:ext uri="{FF2B5EF4-FFF2-40B4-BE49-F238E27FC236}">
                        <a16:creationId xmlns:a16="http://schemas.microsoft.com/office/drawing/2014/main" id="{E43DD64A-034B-4995-9BA0-CD09EA99263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45">
                    <a:extLst>
                      <a:ext uri="{FF2B5EF4-FFF2-40B4-BE49-F238E27FC236}">
                        <a16:creationId xmlns:a16="http://schemas.microsoft.com/office/drawing/2014/main" id="{71FABE57-4F57-40F4-9656-C826889EF9C9}"/>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32" name="Group 2531">
                    <a:extLst>
                      <a:ext uri="{FF2B5EF4-FFF2-40B4-BE49-F238E27FC236}">
                        <a16:creationId xmlns:a16="http://schemas.microsoft.com/office/drawing/2014/main" id="{3C83AEA8-0A02-4B1D-98DB-F79693425584}"/>
                      </a:ext>
                    </a:extLst>
                  </p:cNvPr>
                  <p:cNvGrpSpPr/>
                  <p:nvPr/>
                </p:nvGrpSpPr>
                <p:grpSpPr>
                  <a:xfrm flipV="1">
                    <a:off x="1202047" y="3517919"/>
                    <a:ext cx="178734" cy="348678"/>
                    <a:chOff x="1207113" y="2241878"/>
                    <a:chExt cx="178734" cy="348678"/>
                  </a:xfrm>
                </p:grpSpPr>
                <p:sp>
                  <p:nvSpPr>
                    <p:cNvPr id="2533" name="Freeform 10">
                      <a:extLst>
                        <a:ext uri="{FF2B5EF4-FFF2-40B4-BE49-F238E27FC236}">
                          <a16:creationId xmlns:a16="http://schemas.microsoft.com/office/drawing/2014/main" id="{4CC281CB-067A-4636-91B4-74D36C97DF7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Line 11">
                      <a:extLst>
                        <a:ext uri="{FF2B5EF4-FFF2-40B4-BE49-F238E27FC236}">
                          <a16:creationId xmlns:a16="http://schemas.microsoft.com/office/drawing/2014/main" id="{F728501F-9AD2-40C4-9BEB-EAE71FEAE25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544" name="Group 2543">
            <a:extLst>
              <a:ext uri="{FF2B5EF4-FFF2-40B4-BE49-F238E27FC236}">
                <a16:creationId xmlns:a16="http://schemas.microsoft.com/office/drawing/2014/main" id="{7CF70DB9-3C21-4F6A-A0D2-87A2EAFF679D}"/>
              </a:ext>
            </a:extLst>
          </p:cNvPr>
          <p:cNvGrpSpPr/>
          <p:nvPr/>
        </p:nvGrpSpPr>
        <p:grpSpPr>
          <a:xfrm>
            <a:off x="496680" y="1864299"/>
            <a:ext cx="1451488" cy="649270"/>
            <a:chOff x="1688915" y="1573673"/>
            <a:chExt cx="1455572" cy="651097"/>
          </a:xfrm>
        </p:grpSpPr>
        <p:sp>
          <p:nvSpPr>
            <p:cNvPr id="2545" name="Right Arrow 551">
              <a:extLst>
                <a:ext uri="{FF2B5EF4-FFF2-40B4-BE49-F238E27FC236}">
                  <a16:creationId xmlns:a16="http://schemas.microsoft.com/office/drawing/2014/main" id="{60716A56-708D-4D57-A035-5566C369D652}"/>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546" name="Group 2545">
              <a:extLst>
                <a:ext uri="{FF2B5EF4-FFF2-40B4-BE49-F238E27FC236}">
                  <a16:creationId xmlns:a16="http://schemas.microsoft.com/office/drawing/2014/main" id="{2A86400A-22B2-422F-88B6-A6CFA4435DE2}"/>
                </a:ext>
              </a:extLst>
            </p:cNvPr>
            <p:cNvGrpSpPr>
              <a:grpSpLocks/>
            </p:cNvGrpSpPr>
            <p:nvPr/>
          </p:nvGrpSpPr>
          <p:grpSpPr>
            <a:xfrm>
              <a:off x="1688915" y="1795002"/>
              <a:ext cx="418017" cy="418017"/>
              <a:chOff x="745985" y="4768134"/>
              <a:chExt cx="368776" cy="368777"/>
            </a:xfrm>
          </p:grpSpPr>
          <p:grpSp>
            <p:nvGrpSpPr>
              <p:cNvPr id="2610" name="Group 64">
                <a:extLst>
                  <a:ext uri="{FF2B5EF4-FFF2-40B4-BE49-F238E27FC236}">
                    <a16:creationId xmlns:a16="http://schemas.microsoft.com/office/drawing/2014/main" id="{37876098-F815-4A75-A3F5-8342895CBBEF}"/>
                  </a:ext>
                </a:extLst>
              </p:cNvPr>
              <p:cNvGrpSpPr>
                <a:grpSpLocks noChangeAspect="1"/>
              </p:cNvGrpSpPr>
              <p:nvPr/>
            </p:nvGrpSpPr>
            <p:grpSpPr bwMode="auto">
              <a:xfrm rot="8100000">
                <a:off x="745985" y="4768134"/>
                <a:ext cx="368776" cy="368777"/>
                <a:chOff x="701" y="2170"/>
                <a:chExt cx="587" cy="587"/>
              </a:xfrm>
            </p:grpSpPr>
            <p:sp>
              <p:nvSpPr>
                <p:cNvPr id="2621" name="Oval 65">
                  <a:extLst>
                    <a:ext uri="{FF2B5EF4-FFF2-40B4-BE49-F238E27FC236}">
                      <a16:creationId xmlns:a16="http://schemas.microsoft.com/office/drawing/2014/main" id="{2DF0D91C-2D49-46A4-8E67-9D5B89E66B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2" name="Line 66">
                  <a:extLst>
                    <a:ext uri="{FF2B5EF4-FFF2-40B4-BE49-F238E27FC236}">
                      <a16:creationId xmlns:a16="http://schemas.microsoft.com/office/drawing/2014/main" id="{54F40249-A4E6-4758-A6D0-B2E796EF826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3" name="Line 67">
                  <a:extLst>
                    <a:ext uri="{FF2B5EF4-FFF2-40B4-BE49-F238E27FC236}">
                      <a16:creationId xmlns:a16="http://schemas.microsoft.com/office/drawing/2014/main" id="{07CC7B68-631A-483D-B0A0-D20552A4A07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69">
                  <a:extLst>
                    <a:ext uri="{FF2B5EF4-FFF2-40B4-BE49-F238E27FC236}">
                      <a16:creationId xmlns:a16="http://schemas.microsoft.com/office/drawing/2014/main" id="{737AEDA1-E4DE-4651-93A7-CDF6E1C2D9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5" name="Line 74">
                  <a:extLst>
                    <a:ext uri="{FF2B5EF4-FFF2-40B4-BE49-F238E27FC236}">
                      <a16:creationId xmlns:a16="http://schemas.microsoft.com/office/drawing/2014/main" id="{E9A3B492-7197-464A-B9EB-B58BA964764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Freeform 78">
                  <a:extLst>
                    <a:ext uri="{FF2B5EF4-FFF2-40B4-BE49-F238E27FC236}">
                      <a16:creationId xmlns:a16="http://schemas.microsoft.com/office/drawing/2014/main" id="{2578CF9C-E829-48FA-AA33-AEA16D6FFD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7" name="Freeform 80">
                  <a:extLst>
                    <a:ext uri="{FF2B5EF4-FFF2-40B4-BE49-F238E27FC236}">
                      <a16:creationId xmlns:a16="http://schemas.microsoft.com/office/drawing/2014/main" id="{E9C922BB-A626-4ADB-B528-1CE3E09729D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11" name="Group 2610">
                <a:extLst>
                  <a:ext uri="{FF2B5EF4-FFF2-40B4-BE49-F238E27FC236}">
                    <a16:creationId xmlns:a16="http://schemas.microsoft.com/office/drawing/2014/main" id="{B05CA430-DBB2-4069-83F5-B0564A8088E4}"/>
                  </a:ext>
                </a:extLst>
              </p:cNvPr>
              <p:cNvGrpSpPr/>
              <p:nvPr/>
            </p:nvGrpSpPr>
            <p:grpSpPr>
              <a:xfrm>
                <a:off x="837312" y="4814434"/>
                <a:ext cx="136805" cy="278689"/>
                <a:chOff x="2806700" y="2803319"/>
                <a:chExt cx="433387" cy="882861"/>
              </a:xfrm>
            </p:grpSpPr>
            <p:grpSp>
              <p:nvGrpSpPr>
                <p:cNvPr id="2612" name="Group 2611">
                  <a:extLst>
                    <a:ext uri="{FF2B5EF4-FFF2-40B4-BE49-F238E27FC236}">
                      <a16:creationId xmlns:a16="http://schemas.microsoft.com/office/drawing/2014/main" id="{0EDC82F8-83D1-4536-A959-C2D2FD5273E9}"/>
                    </a:ext>
                  </a:extLst>
                </p:cNvPr>
                <p:cNvGrpSpPr>
                  <a:grpSpLocks noChangeAspect="1"/>
                </p:cNvGrpSpPr>
                <p:nvPr/>
              </p:nvGrpSpPr>
              <p:grpSpPr bwMode="auto">
                <a:xfrm>
                  <a:off x="2806700" y="3043242"/>
                  <a:ext cx="433387" cy="642938"/>
                  <a:chOff x="1768" y="1917"/>
                  <a:chExt cx="273" cy="405"/>
                </a:xfrm>
              </p:grpSpPr>
              <p:sp>
                <p:nvSpPr>
                  <p:cNvPr id="2614" name="Freeform 52">
                    <a:extLst>
                      <a:ext uri="{FF2B5EF4-FFF2-40B4-BE49-F238E27FC236}">
                        <a16:creationId xmlns:a16="http://schemas.microsoft.com/office/drawing/2014/main" id="{0BCE2018-B6C9-4D30-9121-A67C4EE2AB3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Line 54">
                    <a:extLst>
                      <a:ext uri="{FF2B5EF4-FFF2-40B4-BE49-F238E27FC236}">
                        <a16:creationId xmlns:a16="http://schemas.microsoft.com/office/drawing/2014/main" id="{EC581916-8210-4552-9CD2-6819AC9BAA7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6" name="Line 55">
                    <a:extLst>
                      <a:ext uri="{FF2B5EF4-FFF2-40B4-BE49-F238E27FC236}">
                        <a16:creationId xmlns:a16="http://schemas.microsoft.com/office/drawing/2014/main" id="{258D4DF1-6C6F-424D-9ED5-1E6427BB5C6D}"/>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56">
                    <a:extLst>
                      <a:ext uri="{FF2B5EF4-FFF2-40B4-BE49-F238E27FC236}">
                        <a16:creationId xmlns:a16="http://schemas.microsoft.com/office/drawing/2014/main" id="{EFC4BA31-C988-4E9F-BCA1-A5BE4DA774B7}"/>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57">
                    <a:extLst>
                      <a:ext uri="{FF2B5EF4-FFF2-40B4-BE49-F238E27FC236}">
                        <a16:creationId xmlns:a16="http://schemas.microsoft.com/office/drawing/2014/main" id="{60554008-CF73-4CB7-B029-7BB6BC69B4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58">
                    <a:extLst>
                      <a:ext uri="{FF2B5EF4-FFF2-40B4-BE49-F238E27FC236}">
                        <a16:creationId xmlns:a16="http://schemas.microsoft.com/office/drawing/2014/main" id="{8663360D-1E34-41B4-9F2E-AD0DC682F5E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Rectangle 2619">
                    <a:extLst>
                      <a:ext uri="{FF2B5EF4-FFF2-40B4-BE49-F238E27FC236}">
                        <a16:creationId xmlns:a16="http://schemas.microsoft.com/office/drawing/2014/main" id="{5B65E2D2-857D-40B6-8F41-EA1235FAE848}"/>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13" name="Oval 2612">
                  <a:extLst>
                    <a:ext uri="{FF2B5EF4-FFF2-40B4-BE49-F238E27FC236}">
                      <a16:creationId xmlns:a16="http://schemas.microsoft.com/office/drawing/2014/main" id="{B63520A8-B7C0-44DB-955E-5A06BF0CF4B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47" name="Group 2546">
              <a:extLst>
                <a:ext uri="{FF2B5EF4-FFF2-40B4-BE49-F238E27FC236}">
                  <a16:creationId xmlns:a16="http://schemas.microsoft.com/office/drawing/2014/main" id="{70E3FDAB-8078-4444-B685-4B8E2BB15BF0}"/>
                </a:ext>
              </a:extLst>
            </p:cNvPr>
            <p:cNvGrpSpPr>
              <a:grpSpLocks/>
            </p:cNvGrpSpPr>
            <p:nvPr/>
          </p:nvGrpSpPr>
          <p:grpSpPr>
            <a:xfrm>
              <a:off x="2196256" y="1795002"/>
              <a:ext cx="429139" cy="429142"/>
              <a:chOff x="1454941" y="4721722"/>
              <a:chExt cx="473625" cy="473627"/>
            </a:xfrm>
          </p:grpSpPr>
          <p:grpSp>
            <p:nvGrpSpPr>
              <p:cNvPr id="2571" name="Group 64">
                <a:extLst>
                  <a:ext uri="{FF2B5EF4-FFF2-40B4-BE49-F238E27FC236}">
                    <a16:creationId xmlns:a16="http://schemas.microsoft.com/office/drawing/2014/main" id="{B39C39E7-EA9F-4EBC-9AAB-F9883F63F91C}"/>
                  </a:ext>
                </a:extLst>
              </p:cNvPr>
              <p:cNvGrpSpPr>
                <a:grpSpLocks noChangeAspect="1"/>
              </p:cNvGrpSpPr>
              <p:nvPr/>
            </p:nvGrpSpPr>
            <p:grpSpPr bwMode="auto">
              <a:xfrm rot="8100000">
                <a:off x="1454941" y="4721722"/>
                <a:ext cx="473625" cy="473627"/>
                <a:chOff x="701" y="2170"/>
                <a:chExt cx="587" cy="587"/>
              </a:xfrm>
            </p:grpSpPr>
            <p:sp>
              <p:nvSpPr>
                <p:cNvPr id="2603" name="Oval 65">
                  <a:extLst>
                    <a:ext uri="{FF2B5EF4-FFF2-40B4-BE49-F238E27FC236}">
                      <a16:creationId xmlns:a16="http://schemas.microsoft.com/office/drawing/2014/main" id="{1741B508-5571-4D54-A0EB-547A9E77B78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04" name="Line 66">
                  <a:extLst>
                    <a:ext uri="{FF2B5EF4-FFF2-40B4-BE49-F238E27FC236}">
                      <a16:creationId xmlns:a16="http://schemas.microsoft.com/office/drawing/2014/main" id="{70676CEF-249F-420C-85A3-B991722F7A3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Line 67">
                  <a:extLst>
                    <a:ext uri="{FF2B5EF4-FFF2-40B4-BE49-F238E27FC236}">
                      <a16:creationId xmlns:a16="http://schemas.microsoft.com/office/drawing/2014/main" id="{1EF5F94B-E9B8-4900-A031-222A5CC2040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69">
                  <a:extLst>
                    <a:ext uri="{FF2B5EF4-FFF2-40B4-BE49-F238E27FC236}">
                      <a16:creationId xmlns:a16="http://schemas.microsoft.com/office/drawing/2014/main" id="{2BB013A3-42B7-4018-89D4-5C83D78682F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Line 74">
                  <a:extLst>
                    <a:ext uri="{FF2B5EF4-FFF2-40B4-BE49-F238E27FC236}">
                      <a16:creationId xmlns:a16="http://schemas.microsoft.com/office/drawing/2014/main" id="{00686483-DECD-45BF-9A77-564856213CC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Freeform 78">
                  <a:extLst>
                    <a:ext uri="{FF2B5EF4-FFF2-40B4-BE49-F238E27FC236}">
                      <a16:creationId xmlns:a16="http://schemas.microsoft.com/office/drawing/2014/main" id="{84F7DED2-E0F1-4DE4-A520-B0C26D9E750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80">
                  <a:extLst>
                    <a:ext uri="{FF2B5EF4-FFF2-40B4-BE49-F238E27FC236}">
                      <a16:creationId xmlns:a16="http://schemas.microsoft.com/office/drawing/2014/main" id="{039693EE-14A9-4591-B409-53500D914F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2" name="Group 2571">
                <a:extLst>
                  <a:ext uri="{FF2B5EF4-FFF2-40B4-BE49-F238E27FC236}">
                    <a16:creationId xmlns:a16="http://schemas.microsoft.com/office/drawing/2014/main" id="{89DDA1AB-DB1A-4F2A-A1F6-F55E86107FD2}"/>
                  </a:ext>
                </a:extLst>
              </p:cNvPr>
              <p:cNvGrpSpPr/>
              <p:nvPr/>
            </p:nvGrpSpPr>
            <p:grpSpPr>
              <a:xfrm>
                <a:off x="1511214" y="4789508"/>
                <a:ext cx="356509" cy="349884"/>
                <a:chOff x="468738" y="2241878"/>
                <a:chExt cx="1655483" cy="1624719"/>
              </a:xfrm>
            </p:grpSpPr>
            <p:sp>
              <p:nvSpPr>
                <p:cNvPr id="2573" name="Freeform 5">
                  <a:extLst>
                    <a:ext uri="{FF2B5EF4-FFF2-40B4-BE49-F238E27FC236}">
                      <a16:creationId xmlns:a16="http://schemas.microsoft.com/office/drawing/2014/main" id="{172B99D1-5F8D-43B0-A8CF-683A3625D04B}"/>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4" name="Freeform 6">
                  <a:extLst>
                    <a:ext uri="{FF2B5EF4-FFF2-40B4-BE49-F238E27FC236}">
                      <a16:creationId xmlns:a16="http://schemas.microsoft.com/office/drawing/2014/main" id="{F3FDED16-95F9-45A6-A5C2-AF3C7FBE84F6}"/>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5" name="Line 7">
                  <a:extLst>
                    <a:ext uri="{FF2B5EF4-FFF2-40B4-BE49-F238E27FC236}">
                      <a16:creationId xmlns:a16="http://schemas.microsoft.com/office/drawing/2014/main" id="{AAD0AA96-C242-4B23-8EFA-298E3BEDAA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8">
                  <a:extLst>
                    <a:ext uri="{FF2B5EF4-FFF2-40B4-BE49-F238E27FC236}">
                      <a16:creationId xmlns:a16="http://schemas.microsoft.com/office/drawing/2014/main" id="{65ACEBDE-EC2B-4A9C-8F9A-3E59E956386C}"/>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7" name="Line 9">
                  <a:extLst>
                    <a:ext uri="{FF2B5EF4-FFF2-40B4-BE49-F238E27FC236}">
                      <a16:creationId xmlns:a16="http://schemas.microsoft.com/office/drawing/2014/main" id="{FA37A858-97DB-4449-ACE8-3885E0019D9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78" name="Group 2577">
                  <a:extLst>
                    <a:ext uri="{FF2B5EF4-FFF2-40B4-BE49-F238E27FC236}">
                      <a16:creationId xmlns:a16="http://schemas.microsoft.com/office/drawing/2014/main" id="{79C5D445-41D4-40B0-AF1A-755E76DDC7B4}"/>
                    </a:ext>
                  </a:extLst>
                </p:cNvPr>
                <p:cNvGrpSpPr/>
                <p:nvPr/>
              </p:nvGrpSpPr>
              <p:grpSpPr>
                <a:xfrm>
                  <a:off x="1207113" y="2241878"/>
                  <a:ext cx="178734" cy="348678"/>
                  <a:chOff x="1207113" y="2241878"/>
                  <a:chExt cx="178734" cy="348678"/>
                </a:xfrm>
              </p:grpSpPr>
              <p:sp>
                <p:nvSpPr>
                  <p:cNvPr id="2601" name="Freeform 10">
                    <a:extLst>
                      <a:ext uri="{FF2B5EF4-FFF2-40B4-BE49-F238E27FC236}">
                        <a16:creationId xmlns:a16="http://schemas.microsoft.com/office/drawing/2014/main" id="{54AC54D8-9353-4873-A0D6-DA52C82071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2" name="Line 11">
                    <a:extLst>
                      <a:ext uri="{FF2B5EF4-FFF2-40B4-BE49-F238E27FC236}">
                        <a16:creationId xmlns:a16="http://schemas.microsoft.com/office/drawing/2014/main" id="{67538569-E1FB-43CB-8C4E-E50AB927A62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79" name="Freeform 12">
                  <a:extLst>
                    <a:ext uri="{FF2B5EF4-FFF2-40B4-BE49-F238E27FC236}">
                      <a16:creationId xmlns:a16="http://schemas.microsoft.com/office/drawing/2014/main" id="{23AB89EB-3C17-472E-A344-FA38E6EB684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0" name="Line 13">
                  <a:extLst>
                    <a:ext uri="{FF2B5EF4-FFF2-40B4-BE49-F238E27FC236}">
                      <a16:creationId xmlns:a16="http://schemas.microsoft.com/office/drawing/2014/main" id="{43C11C09-0BC9-4BFF-875F-ABE448A152D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14">
                  <a:extLst>
                    <a:ext uri="{FF2B5EF4-FFF2-40B4-BE49-F238E27FC236}">
                      <a16:creationId xmlns:a16="http://schemas.microsoft.com/office/drawing/2014/main" id="{F0F5FDC1-C77E-42C1-837C-FAF73023CF4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2" name="Line 15">
                  <a:extLst>
                    <a:ext uri="{FF2B5EF4-FFF2-40B4-BE49-F238E27FC236}">
                      <a16:creationId xmlns:a16="http://schemas.microsoft.com/office/drawing/2014/main" id="{D14B5AA4-719D-4159-8916-F2A1A34A91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16">
                  <a:extLst>
                    <a:ext uri="{FF2B5EF4-FFF2-40B4-BE49-F238E27FC236}">
                      <a16:creationId xmlns:a16="http://schemas.microsoft.com/office/drawing/2014/main" id="{F8FBC1AC-6574-47C3-8438-C023623B260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4" name="Line 17">
                  <a:extLst>
                    <a:ext uri="{FF2B5EF4-FFF2-40B4-BE49-F238E27FC236}">
                      <a16:creationId xmlns:a16="http://schemas.microsoft.com/office/drawing/2014/main" id="{08056CE5-759B-45BA-AD64-E8F92BBD2A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5" name="Freeform 18">
                  <a:extLst>
                    <a:ext uri="{FF2B5EF4-FFF2-40B4-BE49-F238E27FC236}">
                      <a16:creationId xmlns:a16="http://schemas.microsoft.com/office/drawing/2014/main" id="{6A51513C-BEE0-4282-A5DF-6205F1EA066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6" name="Line 19">
                  <a:extLst>
                    <a:ext uri="{FF2B5EF4-FFF2-40B4-BE49-F238E27FC236}">
                      <a16:creationId xmlns:a16="http://schemas.microsoft.com/office/drawing/2014/main" id="{AEAAE65E-5999-432E-9C21-5E4FB83DDEB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Freeform 35">
                  <a:extLst>
                    <a:ext uri="{FF2B5EF4-FFF2-40B4-BE49-F238E27FC236}">
                      <a16:creationId xmlns:a16="http://schemas.microsoft.com/office/drawing/2014/main" id="{905B05FD-7A7F-48F9-A413-495E4E3EF3B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8" name="Freeform 36">
                  <a:extLst>
                    <a:ext uri="{FF2B5EF4-FFF2-40B4-BE49-F238E27FC236}">
                      <a16:creationId xmlns:a16="http://schemas.microsoft.com/office/drawing/2014/main" id="{2921A0B4-2BEA-4CE2-8F22-3E172B32B81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9" name="Freeform 37">
                  <a:extLst>
                    <a:ext uri="{FF2B5EF4-FFF2-40B4-BE49-F238E27FC236}">
                      <a16:creationId xmlns:a16="http://schemas.microsoft.com/office/drawing/2014/main" id="{74FD599A-C4E5-4385-B21D-C11D5169B587}"/>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Freeform 38">
                  <a:extLst>
                    <a:ext uri="{FF2B5EF4-FFF2-40B4-BE49-F238E27FC236}">
                      <a16:creationId xmlns:a16="http://schemas.microsoft.com/office/drawing/2014/main" id="{8F85F175-9B1B-40F9-946C-DE9DDA6E8A4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1" name="Freeform 39">
                  <a:extLst>
                    <a:ext uri="{FF2B5EF4-FFF2-40B4-BE49-F238E27FC236}">
                      <a16:creationId xmlns:a16="http://schemas.microsoft.com/office/drawing/2014/main" id="{53790508-4459-4A51-8C21-80B6C72D01A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2" name="Freeform 40">
                  <a:extLst>
                    <a:ext uri="{FF2B5EF4-FFF2-40B4-BE49-F238E27FC236}">
                      <a16:creationId xmlns:a16="http://schemas.microsoft.com/office/drawing/2014/main" id="{E9E238AF-9ECF-452F-B6DB-E6DF88A9C969}"/>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41">
                  <a:extLst>
                    <a:ext uri="{FF2B5EF4-FFF2-40B4-BE49-F238E27FC236}">
                      <a16:creationId xmlns:a16="http://schemas.microsoft.com/office/drawing/2014/main" id="{D11F8F04-D95B-4398-934F-456924E564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Line 42">
                  <a:extLst>
                    <a:ext uri="{FF2B5EF4-FFF2-40B4-BE49-F238E27FC236}">
                      <a16:creationId xmlns:a16="http://schemas.microsoft.com/office/drawing/2014/main" id="{7CA960FB-560C-4E5A-8FE9-85E545A1B2C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5" name="Freeform 43">
                  <a:extLst>
                    <a:ext uri="{FF2B5EF4-FFF2-40B4-BE49-F238E27FC236}">
                      <a16:creationId xmlns:a16="http://schemas.microsoft.com/office/drawing/2014/main" id="{8352DF51-BA50-42A8-AAA7-896B47106C3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6" name="Freeform 44">
                  <a:extLst>
                    <a:ext uri="{FF2B5EF4-FFF2-40B4-BE49-F238E27FC236}">
                      <a16:creationId xmlns:a16="http://schemas.microsoft.com/office/drawing/2014/main" id="{BDD7E630-68FF-4E07-BB6A-C1149D795D9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7" name="Freeform 45">
                  <a:extLst>
                    <a:ext uri="{FF2B5EF4-FFF2-40B4-BE49-F238E27FC236}">
                      <a16:creationId xmlns:a16="http://schemas.microsoft.com/office/drawing/2014/main" id="{861BDD01-35EE-466A-B33F-9A1961BB3060}"/>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98" name="Group 2597">
                  <a:extLst>
                    <a:ext uri="{FF2B5EF4-FFF2-40B4-BE49-F238E27FC236}">
                      <a16:creationId xmlns:a16="http://schemas.microsoft.com/office/drawing/2014/main" id="{7B1758D7-BE5F-464F-BC14-3A269D9754BC}"/>
                    </a:ext>
                  </a:extLst>
                </p:cNvPr>
                <p:cNvGrpSpPr/>
                <p:nvPr/>
              </p:nvGrpSpPr>
              <p:grpSpPr>
                <a:xfrm flipV="1">
                  <a:off x="1202047" y="3517919"/>
                  <a:ext cx="178734" cy="348678"/>
                  <a:chOff x="1207113" y="2241878"/>
                  <a:chExt cx="178734" cy="348678"/>
                </a:xfrm>
              </p:grpSpPr>
              <p:sp>
                <p:nvSpPr>
                  <p:cNvPr id="2599" name="Freeform 10">
                    <a:extLst>
                      <a:ext uri="{FF2B5EF4-FFF2-40B4-BE49-F238E27FC236}">
                        <a16:creationId xmlns:a16="http://schemas.microsoft.com/office/drawing/2014/main" id="{019506FC-658D-4D9A-A18D-8059D37E15F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Line 11">
                    <a:extLst>
                      <a:ext uri="{FF2B5EF4-FFF2-40B4-BE49-F238E27FC236}">
                        <a16:creationId xmlns:a16="http://schemas.microsoft.com/office/drawing/2014/main" id="{99B84B6D-9AFF-4FEA-9FDC-B8BF3387F94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48" name="Group 2547">
              <a:extLst>
                <a:ext uri="{FF2B5EF4-FFF2-40B4-BE49-F238E27FC236}">
                  <a16:creationId xmlns:a16="http://schemas.microsoft.com/office/drawing/2014/main" id="{5EA11509-A1A4-44A6-A1A4-17F4B555AAC6}"/>
                </a:ext>
              </a:extLst>
            </p:cNvPr>
            <p:cNvGrpSpPr>
              <a:grpSpLocks/>
            </p:cNvGrpSpPr>
            <p:nvPr/>
          </p:nvGrpSpPr>
          <p:grpSpPr>
            <a:xfrm>
              <a:off x="2714719" y="1795002"/>
              <a:ext cx="429768" cy="429768"/>
              <a:chOff x="2268747" y="4723725"/>
              <a:chExt cx="415610" cy="415612"/>
            </a:xfrm>
          </p:grpSpPr>
          <p:grpSp>
            <p:nvGrpSpPr>
              <p:cNvPr id="2549" name="Group 64">
                <a:extLst>
                  <a:ext uri="{FF2B5EF4-FFF2-40B4-BE49-F238E27FC236}">
                    <a16:creationId xmlns:a16="http://schemas.microsoft.com/office/drawing/2014/main" id="{9994E78A-F8C7-4ECE-944A-E097AE751DB8}"/>
                  </a:ext>
                </a:extLst>
              </p:cNvPr>
              <p:cNvGrpSpPr>
                <a:grpSpLocks noChangeAspect="1"/>
              </p:cNvGrpSpPr>
              <p:nvPr/>
            </p:nvGrpSpPr>
            <p:grpSpPr bwMode="auto">
              <a:xfrm rot="8100000">
                <a:off x="2268747" y="4723725"/>
                <a:ext cx="415610" cy="415612"/>
                <a:chOff x="701" y="2170"/>
                <a:chExt cx="587" cy="587"/>
              </a:xfrm>
            </p:grpSpPr>
            <p:sp>
              <p:nvSpPr>
                <p:cNvPr id="2564" name="Oval 65">
                  <a:extLst>
                    <a:ext uri="{FF2B5EF4-FFF2-40B4-BE49-F238E27FC236}">
                      <a16:creationId xmlns:a16="http://schemas.microsoft.com/office/drawing/2014/main" id="{B0440BC5-094D-472D-B738-365BFF23A97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5" name="Line 66">
                  <a:extLst>
                    <a:ext uri="{FF2B5EF4-FFF2-40B4-BE49-F238E27FC236}">
                      <a16:creationId xmlns:a16="http://schemas.microsoft.com/office/drawing/2014/main" id="{2A47616E-CFA9-48B9-9249-5868F9E3FC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6" name="Line 67">
                  <a:extLst>
                    <a:ext uri="{FF2B5EF4-FFF2-40B4-BE49-F238E27FC236}">
                      <a16:creationId xmlns:a16="http://schemas.microsoft.com/office/drawing/2014/main" id="{F77ABEAB-5DBD-4EAF-8B07-2263A00DC3F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7" name="Line 69">
                  <a:extLst>
                    <a:ext uri="{FF2B5EF4-FFF2-40B4-BE49-F238E27FC236}">
                      <a16:creationId xmlns:a16="http://schemas.microsoft.com/office/drawing/2014/main" id="{DE510E65-BE79-46F0-B8B4-232037F6B76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8" name="Line 74">
                  <a:extLst>
                    <a:ext uri="{FF2B5EF4-FFF2-40B4-BE49-F238E27FC236}">
                      <a16:creationId xmlns:a16="http://schemas.microsoft.com/office/drawing/2014/main" id="{CD3FFEA8-D4AB-4078-A060-33DF4A788FE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9" name="Freeform 78">
                  <a:extLst>
                    <a:ext uri="{FF2B5EF4-FFF2-40B4-BE49-F238E27FC236}">
                      <a16:creationId xmlns:a16="http://schemas.microsoft.com/office/drawing/2014/main" id="{2EDC1EE5-42BD-4CDA-813D-5E6FB6792E2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0" name="Freeform 80">
                  <a:extLst>
                    <a:ext uri="{FF2B5EF4-FFF2-40B4-BE49-F238E27FC236}">
                      <a16:creationId xmlns:a16="http://schemas.microsoft.com/office/drawing/2014/main" id="{A5B3BECE-23D7-41D4-8D21-E529128AD14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50" name="Group 2549">
                <a:extLst>
                  <a:ext uri="{FF2B5EF4-FFF2-40B4-BE49-F238E27FC236}">
                    <a16:creationId xmlns:a16="http://schemas.microsoft.com/office/drawing/2014/main" id="{CDDC6E90-998A-4279-AA1D-88E0676C2A65}"/>
                  </a:ext>
                </a:extLst>
              </p:cNvPr>
              <p:cNvGrpSpPr/>
              <p:nvPr/>
            </p:nvGrpSpPr>
            <p:grpSpPr>
              <a:xfrm>
                <a:off x="2318076" y="4830163"/>
                <a:ext cx="313949" cy="233075"/>
                <a:chOff x="3707533" y="2731244"/>
                <a:chExt cx="389644" cy="289271"/>
              </a:xfrm>
            </p:grpSpPr>
            <p:sp>
              <p:nvSpPr>
                <p:cNvPr id="2551" name="Freeform 33">
                  <a:extLst>
                    <a:ext uri="{FF2B5EF4-FFF2-40B4-BE49-F238E27FC236}">
                      <a16:creationId xmlns:a16="http://schemas.microsoft.com/office/drawing/2014/main" id="{3E33581A-5603-47FA-8C77-22600BCDE6E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2" name="Freeform 34">
                  <a:extLst>
                    <a:ext uri="{FF2B5EF4-FFF2-40B4-BE49-F238E27FC236}">
                      <a16:creationId xmlns:a16="http://schemas.microsoft.com/office/drawing/2014/main" id="{ACDF47B3-1CA7-4271-867B-F114B297691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3" name="Freeform 37">
                  <a:extLst>
                    <a:ext uri="{FF2B5EF4-FFF2-40B4-BE49-F238E27FC236}">
                      <a16:creationId xmlns:a16="http://schemas.microsoft.com/office/drawing/2014/main" id="{B543CB0C-D03B-4720-A607-0FCD07E9D4B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4" name="Freeform 38">
                  <a:extLst>
                    <a:ext uri="{FF2B5EF4-FFF2-40B4-BE49-F238E27FC236}">
                      <a16:creationId xmlns:a16="http://schemas.microsoft.com/office/drawing/2014/main" id="{372AC087-985F-4869-B0F9-042502D250D4}"/>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5" name="Freeform 32">
                  <a:extLst>
                    <a:ext uri="{FF2B5EF4-FFF2-40B4-BE49-F238E27FC236}">
                      <a16:creationId xmlns:a16="http://schemas.microsoft.com/office/drawing/2014/main" id="{38C5052C-A37E-470F-B686-3D80031B8B8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6" name="Freeform 35">
                  <a:extLst>
                    <a:ext uri="{FF2B5EF4-FFF2-40B4-BE49-F238E27FC236}">
                      <a16:creationId xmlns:a16="http://schemas.microsoft.com/office/drawing/2014/main" id="{B2446279-1BCD-4191-8B55-C5D69A343EE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7" name="Freeform 36">
                  <a:extLst>
                    <a:ext uri="{FF2B5EF4-FFF2-40B4-BE49-F238E27FC236}">
                      <a16:creationId xmlns:a16="http://schemas.microsoft.com/office/drawing/2014/main" id="{C85BCDF6-D6D7-4002-A4B7-F17FFEAB5D3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8" name="Freeform 25">
                  <a:extLst>
                    <a:ext uri="{FF2B5EF4-FFF2-40B4-BE49-F238E27FC236}">
                      <a16:creationId xmlns:a16="http://schemas.microsoft.com/office/drawing/2014/main" id="{C36CC8CF-82FF-428E-BC50-3225F0505AF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9" name="Freeform 39">
                  <a:extLst>
                    <a:ext uri="{FF2B5EF4-FFF2-40B4-BE49-F238E27FC236}">
                      <a16:creationId xmlns:a16="http://schemas.microsoft.com/office/drawing/2014/main" id="{B9E1B1BD-9826-44F1-8BFA-FD3EE138DEA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0" name="Freeform 26">
                  <a:extLst>
                    <a:ext uri="{FF2B5EF4-FFF2-40B4-BE49-F238E27FC236}">
                      <a16:creationId xmlns:a16="http://schemas.microsoft.com/office/drawing/2014/main" id="{E70AECCB-A7E1-4AF4-AD81-97B4AD7E5A3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1" name="Rectangle 27">
                  <a:extLst>
                    <a:ext uri="{FF2B5EF4-FFF2-40B4-BE49-F238E27FC236}">
                      <a16:creationId xmlns:a16="http://schemas.microsoft.com/office/drawing/2014/main" id="{AE5DB8C7-52CD-4F4D-AD7D-713470DD0519}"/>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2" name="Line 29">
                  <a:extLst>
                    <a:ext uri="{FF2B5EF4-FFF2-40B4-BE49-F238E27FC236}">
                      <a16:creationId xmlns:a16="http://schemas.microsoft.com/office/drawing/2014/main" id="{C1EDC3FA-8CEB-4FB2-816D-A14C07043183}"/>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3" name="Line 31">
                  <a:extLst>
                    <a:ext uri="{FF2B5EF4-FFF2-40B4-BE49-F238E27FC236}">
                      <a16:creationId xmlns:a16="http://schemas.microsoft.com/office/drawing/2014/main" id="{2438B17F-954A-450B-8F24-DD7E7E7D6E0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 name="Group 21">
            <a:extLst>
              <a:ext uri="{FF2B5EF4-FFF2-40B4-BE49-F238E27FC236}">
                <a16:creationId xmlns:a16="http://schemas.microsoft.com/office/drawing/2014/main" id="{6E4C0B98-8312-4240-91AD-56D15DC8F0EB}"/>
              </a:ext>
            </a:extLst>
          </p:cNvPr>
          <p:cNvGrpSpPr/>
          <p:nvPr/>
        </p:nvGrpSpPr>
        <p:grpSpPr>
          <a:xfrm>
            <a:off x="10071532" y="2269806"/>
            <a:ext cx="1723479" cy="3110477"/>
            <a:chOff x="10072567" y="2269503"/>
            <a:chExt cx="1723928" cy="3111287"/>
          </a:xfrm>
        </p:grpSpPr>
        <p:grpSp>
          <p:nvGrpSpPr>
            <p:cNvPr id="2628" name="Group 2627">
              <a:extLst>
                <a:ext uri="{FF2B5EF4-FFF2-40B4-BE49-F238E27FC236}">
                  <a16:creationId xmlns:a16="http://schemas.microsoft.com/office/drawing/2014/main" id="{5CB17104-CCCA-4F2F-BCBE-97E71FB6F56C}"/>
                </a:ext>
              </a:extLst>
            </p:cNvPr>
            <p:cNvGrpSpPr/>
            <p:nvPr/>
          </p:nvGrpSpPr>
          <p:grpSpPr>
            <a:xfrm>
              <a:off x="10075218" y="2269503"/>
              <a:ext cx="1586257" cy="2254230"/>
              <a:chOff x="9895314" y="2107193"/>
              <a:chExt cx="1590306" cy="2259985"/>
            </a:xfrm>
          </p:grpSpPr>
          <p:grpSp>
            <p:nvGrpSpPr>
              <p:cNvPr id="2629" name="Group 2628">
                <a:extLst>
                  <a:ext uri="{FF2B5EF4-FFF2-40B4-BE49-F238E27FC236}">
                    <a16:creationId xmlns:a16="http://schemas.microsoft.com/office/drawing/2014/main" id="{75F7C261-4B8F-45FE-824C-8DB0963CCF23}"/>
                  </a:ext>
                </a:extLst>
              </p:cNvPr>
              <p:cNvGrpSpPr/>
              <p:nvPr/>
            </p:nvGrpSpPr>
            <p:grpSpPr>
              <a:xfrm>
                <a:off x="9895314" y="2107193"/>
                <a:ext cx="1231250" cy="1189486"/>
                <a:chOff x="7839761" y="1053755"/>
                <a:chExt cx="927651" cy="896185"/>
              </a:xfrm>
            </p:grpSpPr>
            <p:sp>
              <p:nvSpPr>
                <p:cNvPr id="2746" name="TextBox 2745">
                  <a:extLst>
                    <a:ext uri="{FF2B5EF4-FFF2-40B4-BE49-F238E27FC236}">
                      <a16:creationId xmlns:a16="http://schemas.microsoft.com/office/drawing/2014/main" id="{A89C0F18-FA20-4891-8E84-A8A00C5A9499}"/>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47" name="Group 2746">
                  <a:extLst>
                    <a:ext uri="{FF2B5EF4-FFF2-40B4-BE49-F238E27FC236}">
                      <a16:creationId xmlns:a16="http://schemas.microsoft.com/office/drawing/2014/main" id="{41A641A2-BA06-4CF0-B09C-EF17BDDDA17C}"/>
                    </a:ext>
                  </a:extLst>
                </p:cNvPr>
                <p:cNvGrpSpPr/>
                <p:nvPr/>
              </p:nvGrpSpPr>
              <p:grpSpPr>
                <a:xfrm>
                  <a:off x="7839761" y="1053755"/>
                  <a:ext cx="927651" cy="523122"/>
                  <a:chOff x="7839761" y="1053755"/>
                  <a:chExt cx="927651" cy="523122"/>
                </a:xfrm>
              </p:grpSpPr>
              <p:sp>
                <p:nvSpPr>
                  <p:cNvPr id="2748" name="Line 66">
                    <a:extLst>
                      <a:ext uri="{FF2B5EF4-FFF2-40B4-BE49-F238E27FC236}">
                        <a16:creationId xmlns:a16="http://schemas.microsoft.com/office/drawing/2014/main" id="{EF576319-484F-4E1A-83E5-E731B3A05C8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Line 67">
                    <a:extLst>
                      <a:ext uri="{FF2B5EF4-FFF2-40B4-BE49-F238E27FC236}">
                        <a16:creationId xmlns:a16="http://schemas.microsoft.com/office/drawing/2014/main" id="{4C11F583-E796-42B1-B36E-F135E3677C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0" name="Line 74">
                    <a:extLst>
                      <a:ext uri="{FF2B5EF4-FFF2-40B4-BE49-F238E27FC236}">
                        <a16:creationId xmlns:a16="http://schemas.microsoft.com/office/drawing/2014/main" id="{A3D791A1-8161-4216-9837-9D5C6939A3A7}"/>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1" name="Freeform 78">
                    <a:extLst>
                      <a:ext uri="{FF2B5EF4-FFF2-40B4-BE49-F238E27FC236}">
                        <a16:creationId xmlns:a16="http://schemas.microsoft.com/office/drawing/2014/main" id="{71B5307A-0003-42E4-A2BB-6E78B51CF045}"/>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2" name="Freeform 80">
                    <a:extLst>
                      <a:ext uri="{FF2B5EF4-FFF2-40B4-BE49-F238E27FC236}">
                        <a16:creationId xmlns:a16="http://schemas.microsoft.com/office/drawing/2014/main" id="{12E186D9-86A8-4315-B5A9-558C950A79EF}"/>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3" name="Freeform 1575">
                    <a:extLst>
                      <a:ext uri="{FF2B5EF4-FFF2-40B4-BE49-F238E27FC236}">
                        <a16:creationId xmlns:a16="http://schemas.microsoft.com/office/drawing/2014/main" id="{C8E9D922-B157-4514-9971-B03785F0ACC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4" name="Freeform 1576">
                    <a:extLst>
                      <a:ext uri="{FF2B5EF4-FFF2-40B4-BE49-F238E27FC236}">
                        <a16:creationId xmlns:a16="http://schemas.microsoft.com/office/drawing/2014/main" id="{C3C1296B-EC9F-49B6-ACCF-2210563B18AA}"/>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5" name="Freeform 1577">
                    <a:extLst>
                      <a:ext uri="{FF2B5EF4-FFF2-40B4-BE49-F238E27FC236}">
                        <a16:creationId xmlns:a16="http://schemas.microsoft.com/office/drawing/2014/main" id="{9363EDAB-65B6-45DE-9953-CC2140D357BB}"/>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1578">
                    <a:extLst>
                      <a:ext uri="{FF2B5EF4-FFF2-40B4-BE49-F238E27FC236}">
                        <a16:creationId xmlns:a16="http://schemas.microsoft.com/office/drawing/2014/main" id="{4B747CE4-EE46-4782-A953-6C0BE6CE175A}"/>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9">
                    <a:extLst>
                      <a:ext uri="{FF2B5EF4-FFF2-40B4-BE49-F238E27FC236}">
                        <a16:creationId xmlns:a16="http://schemas.microsoft.com/office/drawing/2014/main" id="{C5BBF474-3AE4-4A00-91FE-30C4D12C3F0E}"/>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80">
                    <a:extLst>
                      <a:ext uri="{FF2B5EF4-FFF2-40B4-BE49-F238E27FC236}">
                        <a16:creationId xmlns:a16="http://schemas.microsoft.com/office/drawing/2014/main" id="{AC37283D-B98B-427A-B0E6-8E1697E106F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81">
                    <a:extLst>
                      <a:ext uri="{FF2B5EF4-FFF2-40B4-BE49-F238E27FC236}">
                        <a16:creationId xmlns:a16="http://schemas.microsoft.com/office/drawing/2014/main" id="{2712851D-4408-49D2-B71D-BC8549552CE6}"/>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82">
                    <a:extLst>
                      <a:ext uri="{FF2B5EF4-FFF2-40B4-BE49-F238E27FC236}">
                        <a16:creationId xmlns:a16="http://schemas.microsoft.com/office/drawing/2014/main" id="{BA067DA5-B09F-4290-BC07-39E7ACAE2522}"/>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3">
                    <a:extLst>
                      <a:ext uri="{FF2B5EF4-FFF2-40B4-BE49-F238E27FC236}">
                        <a16:creationId xmlns:a16="http://schemas.microsoft.com/office/drawing/2014/main" id="{8600E721-4879-4205-BA8C-6FF01585C4B6}"/>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4">
                    <a:extLst>
                      <a:ext uri="{FF2B5EF4-FFF2-40B4-BE49-F238E27FC236}">
                        <a16:creationId xmlns:a16="http://schemas.microsoft.com/office/drawing/2014/main" id="{6C52C4E5-C141-43AA-A779-84596D472BE1}"/>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5">
                    <a:extLst>
                      <a:ext uri="{FF2B5EF4-FFF2-40B4-BE49-F238E27FC236}">
                        <a16:creationId xmlns:a16="http://schemas.microsoft.com/office/drawing/2014/main" id="{DACFF4D9-98B0-4EC9-8EF9-8A4BEF530A08}"/>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6">
                    <a:extLst>
                      <a:ext uri="{FF2B5EF4-FFF2-40B4-BE49-F238E27FC236}">
                        <a16:creationId xmlns:a16="http://schemas.microsoft.com/office/drawing/2014/main" id="{5CE3602F-29E5-4849-AC85-A181EF04DF4A}"/>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7">
                    <a:extLst>
                      <a:ext uri="{FF2B5EF4-FFF2-40B4-BE49-F238E27FC236}">
                        <a16:creationId xmlns:a16="http://schemas.microsoft.com/office/drawing/2014/main" id="{AD26EE88-98D6-4D97-BFBE-71841124747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8">
                    <a:extLst>
                      <a:ext uri="{FF2B5EF4-FFF2-40B4-BE49-F238E27FC236}">
                        <a16:creationId xmlns:a16="http://schemas.microsoft.com/office/drawing/2014/main" id="{4B71DBF9-CCCE-4B50-9211-994E7BB25A66}"/>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Rectangle 1589">
                    <a:extLst>
                      <a:ext uri="{FF2B5EF4-FFF2-40B4-BE49-F238E27FC236}">
                        <a16:creationId xmlns:a16="http://schemas.microsoft.com/office/drawing/2014/main" id="{E19A6D98-F107-4271-8471-B1B5EEB975F8}"/>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8" name="Rectangle 1590">
                    <a:extLst>
                      <a:ext uri="{FF2B5EF4-FFF2-40B4-BE49-F238E27FC236}">
                        <a16:creationId xmlns:a16="http://schemas.microsoft.com/office/drawing/2014/main" id="{7122575D-1BF0-4900-9BDA-5CCB8705DEC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91">
                    <a:extLst>
                      <a:ext uri="{FF2B5EF4-FFF2-40B4-BE49-F238E27FC236}">
                        <a16:creationId xmlns:a16="http://schemas.microsoft.com/office/drawing/2014/main" id="{FB79298F-73E1-4FD1-B18F-ECF09E695349}"/>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0" name="Freeform 1592">
                    <a:extLst>
                      <a:ext uri="{FF2B5EF4-FFF2-40B4-BE49-F238E27FC236}">
                        <a16:creationId xmlns:a16="http://schemas.microsoft.com/office/drawing/2014/main" id="{FF735AAF-A3E5-47C6-B26B-4C4C16042FD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Freeform 1593">
                    <a:extLst>
                      <a:ext uri="{FF2B5EF4-FFF2-40B4-BE49-F238E27FC236}">
                        <a16:creationId xmlns:a16="http://schemas.microsoft.com/office/drawing/2014/main" id="{B39FBEE9-F252-4A22-8264-2A1D60F5A03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4">
                    <a:extLst>
                      <a:ext uri="{FF2B5EF4-FFF2-40B4-BE49-F238E27FC236}">
                        <a16:creationId xmlns:a16="http://schemas.microsoft.com/office/drawing/2014/main" id="{A29FD2F8-9C95-4F0B-B897-4B5A4B10D567}"/>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5">
                    <a:extLst>
                      <a:ext uri="{FF2B5EF4-FFF2-40B4-BE49-F238E27FC236}">
                        <a16:creationId xmlns:a16="http://schemas.microsoft.com/office/drawing/2014/main" id="{8F7A0336-F79D-42EE-8B74-35B637B42972}"/>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6">
                    <a:extLst>
                      <a:ext uri="{FF2B5EF4-FFF2-40B4-BE49-F238E27FC236}">
                        <a16:creationId xmlns:a16="http://schemas.microsoft.com/office/drawing/2014/main" id="{E704E2E2-425C-405C-B59B-B09A9DAC05E3}"/>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672">
                    <a:extLst>
                      <a:ext uri="{FF2B5EF4-FFF2-40B4-BE49-F238E27FC236}">
                        <a16:creationId xmlns:a16="http://schemas.microsoft.com/office/drawing/2014/main" id="{58BEAE7A-63F2-4A3E-A465-6CAE93E908D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6" name="Freeform 1673">
                    <a:extLst>
                      <a:ext uri="{FF2B5EF4-FFF2-40B4-BE49-F238E27FC236}">
                        <a16:creationId xmlns:a16="http://schemas.microsoft.com/office/drawing/2014/main" id="{BF103C68-5C78-437C-B8F9-00C278917209}"/>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7" name="Freeform 1674">
                    <a:extLst>
                      <a:ext uri="{FF2B5EF4-FFF2-40B4-BE49-F238E27FC236}">
                        <a16:creationId xmlns:a16="http://schemas.microsoft.com/office/drawing/2014/main" id="{101D078E-1E0B-4970-9DE6-08C78AC150F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8" name="Freeform 1675">
                    <a:extLst>
                      <a:ext uri="{FF2B5EF4-FFF2-40B4-BE49-F238E27FC236}">
                        <a16:creationId xmlns:a16="http://schemas.microsoft.com/office/drawing/2014/main" id="{D1AF199D-33F3-4BC3-A642-B2EA8C8D0BCC}"/>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9" name="Freeform 1676">
                    <a:extLst>
                      <a:ext uri="{FF2B5EF4-FFF2-40B4-BE49-F238E27FC236}">
                        <a16:creationId xmlns:a16="http://schemas.microsoft.com/office/drawing/2014/main" id="{3CC628BB-8473-481C-9A04-3B24474C37F0}"/>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0" name="Freeform 1677">
                    <a:extLst>
                      <a:ext uri="{FF2B5EF4-FFF2-40B4-BE49-F238E27FC236}">
                        <a16:creationId xmlns:a16="http://schemas.microsoft.com/office/drawing/2014/main" id="{8A7374C2-2413-4C93-B716-E567E539CAB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1" name="Freeform 1678">
                    <a:extLst>
                      <a:ext uri="{FF2B5EF4-FFF2-40B4-BE49-F238E27FC236}">
                        <a16:creationId xmlns:a16="http://schemas.microsoft.com/office/drawing/2014/main" id="{8529CFF3-4A2F-4293-A8C3-12FD1EE8C27E}"/>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2" name="Freeform 1679">
                    <a:extLst>
                      <a:ext uri="{FF2B5EF4-FFF2-40B4-BE49-F238E27FC236}">
                        <a16:creationId xmlns:a16="http://schemas.microsoft.com/office/drawing/2014/main" id="{F1D1EC2E-B9B6-4DE5-AE78-4AAF84AD21F5}"/>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3" name="Freeform 1680">
                    <a:extLst>
                      <a:ext uri="{FF2B5EF4-FFF2-40B4-BE49-F238E27FC236}">
                        <a16:creationId xmlns:a16="http://schemas.microsoft.com/office/drawing/2014/main" id="{87D879A7-2CA4-43AF-A70E-B0F6582C7648}"/>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4" name="Freeform 1681">
                    <a:extLst>
                      <a:ext uri="{FF2B5EF4-FFF2-40B4-BE49-F238E27FC236}">
                        <a16:creationId xmlns:a16="http://schemas.microsoft.com/office/drawing/2014/main" id="{9C2394F2-1F2D-4793-BBE1-59163EF9C2B8}"/>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5" name="Freeform 1682">
                    <a:extLst>
                      <a:ext uri="{FF2B5EF4-FFF2-40B4-BE49-F238E27FC236}">
                        <a16:creationId xmlns:a16="http://schemas.microsoft.com/office/drawing/2014/main" id="{56C73A33-D3CA-4FE3-B422-3B52E4830496}"/>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6" name="Freeform 1683">
                    <a:extLst>
                      <a:ext uri="{FF2B5EF4-FFF2-40B4-BE49-F238E27FC236}">
                        <a16:creationId xmlns:a16="http://schemas.microsoft.com/office/drawing/2014/main" id="{E1FE82CE-C9EF-4092-8A68-1AAF8E855F8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7" name="Freeform 1684">
                    <a:extLst>
                      <a:ext uri="{FF2B5EF4-FFF2-40B4-BE49-F238E27FC236}">
                        <a16:creationId xmlns:a16="http://schemas.microsoft.com/office/drawing/2014/main" id="{0F03233A-E0A2-4D93-8E4E-D5E4E5F5D838}"/>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8" name="Freeform 1685">
                    <a:extLst>
                      <a:ext uri="{FF2B5EF4-FFF2-40B4-BE49-F238E27FC236}">
                        <a16:creationId xmlns:a16="http://schemas.microsoft.com/office/drawing/2014/main" id="{E0895045-18EC-4FB1-AAF6-795CAE8A8712}"/>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9" name="Freeform 1686">
                    <a:extLst>
                      <a:ext uri="{FF2B5EF4-FFF2-40B4-BE49-F238E27FC236}">
                        <a16:creationId xmlns:a16="http://schemas.microsoft.com/office/drawing/2014/main" id="{076A71FE-C096-464F-811B-4B53BFCF0D9E}"/>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0" name="Freeform 1687">
                    <a:extLst>
                      <a:ext uri="{FF2B5EF4-FFF2-40B4-BE49-F238E27FC236}">
                        <a16:creationId xmlns:a16="http://schemas.microsoft.com/office/drawing/2014/main" id="{5D0860EE-8598-4911-BB8A-8FCCF93123F9}"/>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1" name="Freeform 1688">
                    <a:extLst>
                      <a:ext uri="{FF2B5EF4-FFF2-40B4-BE49-F238E27FC236}">
                        <a16:creationId xmlns:a16="http://schemas.microsoft.com/office/drawing/2014/main" id="{87035EA2-95A4-4FE3-AAA4-3EE997309AC6}"/>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2" name="Freeform 1689">
                    <a:extLst>
                      <a:ext uri="{FF2B5EF4-FFF2-40B4-BE49-F238E27FC236}">
                        <a16:creationId xmlns:a16="http://schemas.microsoft.com/office/drawing/2014/main" id="{03B0CAB4-E6D2-4AD1-82FA-C4C6530AA120}"/>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3" name="Freeform 1690">
                    <a:extLst>
                      <a:ext uri="{FF2B5EF4-FFF2-40B4-BE49-F238E27FC236}">
                        <a16:creationId xmlns:a16="http://schemas.microsoft.com/office/drawing/2014/main" id="{A87F4AFD-7BFE-49CC-B161-040D7981115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4" name="Freeform 1691">
                    <a:extLst>
                      <a:ext uri="{FF2B5EF4-FFF2-40B4-BE49-F238E27FC236}">
                        <a16:creationId xmlns:a16="http://schemas.microsoft.com/office/drawing/2014/main" id="{A550F790-F21F-454D-BB0C-C78B801D0FF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5" name="Freeform 1692">
                    <a:extLst>
                      <a:ext uri="{FF2B5EF4-FFF2-40B4-BE49-F238E27FC236}">
                        <a16:creationId xmlns:a16="http://schemas.microsoft.com/office/drawing/2014/main" id="{3DA499CB-99FF-466E-B9C3-1C07C4DA9999}"/>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6" name="Freeform 1693">
                    <a:extLst>
                      <a:ext uri="{FF2B5EF4-FFF2-40B4-BE49-F238E27FC236}">
                        <a16:creationId xmlns:a16="http://schemas.microsoft.com/office/drawing/2014/main" id="{B0673750-09B7-4844-BCD6-D8B77703CBCC}"/>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7" name="Freeform 1694">
                    <a:extLst>
                      <a:ext uri="{FF2B5EF4-FFF2-40B4-BE49-F238E27FC236}">
                        <a16:creationId xmlns:a16="http://schemas.microsoft.com/office/drawing/2014/main" id="{3A5E945C-07AA-4DC8-9235-A4E604F5D6F3}"/>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8" name="Freeform 1695">
                    <a:extLst>
                      <a:ext uri="{FF2B5EF4-FFF2-40B4-BE49-F238E27FC236}">
                        <a16:creationId xmlns:a16="http://schemas.microsoft.com/office/drawing/2014/main" id="{F9203E1B-DDEA-4683-92CF-8791003D3C51}"/>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9" name="Freeform 1696">
                    <a:extLst>
                      <a:ext uri="{FF2B5EF4-FFF2-40B4-BE49-F238E27FC236}">
                        <a16:creationId xmlns:a16="http://schemas.microsoft.com/office/drawing/2014/main" id="{9FF08ADD-648E-4896-9B4F-86A830ACA1A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800" name="Freeform 1697">
                    <a:extLst>
                      <a:ext uri="{FF2B5EF4-FFF2-40B4-BE49-F238E27FC236}">
                        <a16:creationId xmlns:a16="http://schemas.microsoft.com/office/drawing/2014/main" id="{F4256F3D-1F56-47B8-AB85-9A61C6E953CF}"/>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30" name="Group 2629">
                <a:extLst>
                  <a:ext uri="{FF2B5EF4-FFF2-40B4-BE49-F238E27FC236}">
                    <a16:creationId xmlns:a16="http://schemas.microsoft.com/office/drawing/2014/main" id="{D1BCEA53-D951-4F05-8FB7-4C9D8228522E}"/>
                  </a:ext>
                </a:extLst>
              </p:cNvPr>
              <p:cNvGrpSpPr/>
              <p:nvPr/>
            </p:nvGrpSpPr>
            <p:grpSpPr>
              <a:xfrm>
                <a:off x="10074842" y="2518176"/>
                <a:ext cx="1231250" cy="1313698"/>
                <a:chOff x="12023909" y="2412144"/>
                <a:chExt cx="1231250" cy="1313698"/>
              </a:xfrm>
            </p:grpSpPr>
            <p:sp>
              <p:nvSpPr>
                <p:cNvPr id="2689" name="Rectangle: Rounded Corners 2688">
                  <a:extLst>
                    <a:ext uri="{FF2B5EF4-FFF2-40B4-BE49-F238E27FC236}">
                      <a16:creationId xmlns:a16="http://schemas.microsoft.com/office/drawing/2014/main" id="{91A53174-C73B-4A41-A639-68B5892DC955}"/>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90" name="Group 2689">
                  <a:extLst>
                    <a:ext uri="{FF2B5EF4-FFF2-40B4-BE49-F238E27FC236}">
                      <a16:creationId xmlns:a16="http://schemas.microsoft.com/office/drawing/2014/main" id="{59FDA0AC-DAD5-4EAB-9FA8-C8C9E032B070}"/>
                    </a:ext>
                  </a:extLst>
                </p:cNvPr>
                <p:cNvGrpSpPr/>
                <p:nvPr/>
              </p:nvGrpSpPr>
              <p:grpSpPr>
                <a:xfrm>
                  <a:off x="12023909" y="2526190"/>
                  <a:ext cx="1231250" cy="1189484"/>
                  <a:chOff x="7839761" y="1053755"/>
                  <a:chExt cx="927651" cy="896184"/>
                </a:xfrm>
              </p:grpSpPr>
              <p:sp>
                <p:nvSpPr>
                  <p:cNvPr id="2691" name="TextBox 2690">
                    <a:extLst>
                      <a:ext uri="{FF2B5EF4-FFF2-40B4-BE49-F238E27FC236}">
                        <a16:creationId xmlns:a16="http://schemas.microsoft.com/office/drawing/2014/main" id="{951F8931-F331-4D77-92A1-4D698A2F44A9}"/>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92" name="Group 2691">
                    <a:extLst>
                      <a:ext uri="{FF2B5EF4-FFF2-40B4-BE49-F238E27FC236}">
                        <a16:creationId xmlns:a16="http://schemas.microsoft.com/office/drawing/2014/main" id="{D2EF0292-F278-4306-8E39-9E45FF9C395F}"/>
                      </a:ext>
                    </a:extLst>
                  </p:cNvPr>
                  <p:cNvGrpSpPr/>
                  <p:nvPr/>
                </p:nvGrpSpPr>
                <p:grpSpPr>
                  <a:xfrm>
                    <a:off x="7839761" y="1053755"/>
                    <a:ext cx="927651" cy="523122"/>
                    <a:chOff x="7839761" y="1053755"/>
                    <a:chExt cx="927651" cy="523122"/>
                  </a:xfrm>
                </p:grpSpPr>
                <p:sp>
                  <p:nvSpPr>
                    <p:cNvPr id="2693" name="Line 66">
                      <a:extLst>
                        <a:ext uri="{FF2B5EF4-FFF2-40B4-BE49-F238E27FC236}">
                          <a16:creationId xmlns:a16="http://schemas.microsoft.com/office/drawing/2014/main" id="{D1724EA5-C098-405F-B785-A50FF3E283C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4" name="Line 67">
                      <a:extLst>
                        <a:ext uri="{FF2B5EF4-FFF2-40B4-BE49-F238E27FC236}">
                          <a16:creationId xmlns:a16="http://schemas.microsoft.com/office/drawing/2014/main" id="{2E4BAB87-A458-4ADA-8E65-BD063B95D12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5" name="Line 74">
                      <a:extLst>
                        <a:ext uri="{FF2B5EF4-FFF2-40B4-BE49-F238E27FC236}">
                          <a16:creationId xmlns:a16="http://schemas.microsoft.com/office/drawing/2014/main" id="{E831C2F1-FE8A-491F-912D-5519707E7C6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78">
                      <a:extLst>
                        <a:ext uri="{FF2B5EF4-FFF2-40B4-BE49-F238E27FC236}">
                          <a16:creationId xmlns:a16="http://schemas.microsoft.com/office/drawing/2014/main" id="{F462DEB7-EC2F-4AF6-BBDF-732A07AD7EFE}"/>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Freeform 80">
                      <a:extLst>
                        <a:ext uri="{FF2B5EF4-FFF2-40B4-BE49-F238E27FC236}">
                          <a16:creationId xmlns:a16="http://schemas.microsoft.com/office/drawing/2014/main" id="{C5616C0F-90D5-43A2-89DE-9531D6399EC2}"/>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1575">
                      <a:extLst>
                        <a:ext uri="{FF2B5EF4-FFF2-40B4-BE49-F238E27FC236}">
                          <a16:creationId xmlns:a16="http://schemas.microsoft.com/office/drawing/2014/main" id="{EC1D94CD-F268-409B-817D-B3E9ADBB7485}"/>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Freeform 1576">
                      <a:extLst>
                        <a:ext uri="{FF2B5EF4-FFF2-40B4-BE49-F238E27FC236}">
                          <a16:creationId xmlns:a16="http://schemas.microsoft.com/office/drawing/2014/main" id="{BCE8E171-ACD3-4BD1-A640-E8DD0D1C102B}"/>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0" name="Freeform 1577">
                      <a:extLst>
                        <a:ext uri="{FF2B5EF4-FFF2-40B4-BE49-F238E27FC236}">
                          <a16:creationId xmlns:a16="http://schemas.microsoft.com/office/drawing/2014/main" id="{9C320188-957D-491D-95A5-ED14741EA2E7}"/>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1" name="Freeform 1578">
                      <a:extLst>
                        <a:ext uri="{FF2B5EF4-FFF2-40B4-BE49-F238E27FC236}">
                          <a16:creationId xmlns:a16="http://schemas.microsoft.com/office/drawing/2014/main" id="{22C479F3-80B7-46D3-A222-FDFB5FE1CE7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Freeform 1579">
                      <a:extLst>
                        <a:ext uri="{FF2B5EF4-FFF2-40B4-BE49-F238E27FC236}">
                          <a16:creationId xmlns:a16="http://schemas.microsoft.com/office/drawing/2014/main" id="{0C8E3682-ABAB-4DE4-8355-7FC9789A3823}"/>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580">
                      <a:extLst>
                        <a:ext uri="{FF2B5EF4-FFF2-40B4-BE49-F238E27FC236}">
                          <a16:creationId xmlns:a16="http://schemas.microsoft.com/office/drawing/2014/main" id="{AA16A155-6C7E-4264-8FAD-610A15F64D6B}"/>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Freeform 1581">
                      <a:extLst>
                        <a:ext uri="{FF2B5EF4-FFF2-40B4-BE49-F238E27FC236}">
                          <a16:creationId xmlns:a16="http://schemas.microsoft.com/office/drawing/2014/main" id="{FE5E1229-9FDD-483D-AD60-960FB0F825CA}"/>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582">
                      <a:extLst>
                        <a:ext uri="{FF2B5EF4-FFF2-40B4-BE49-F238E27FC236}">
                          <a16:creationId xmlns:a16="http://schemas.microsoft.com/office/drawing/2014/main" id="{9CE62FEB-6A4F-4FF1-8073-B9DAAC73C340}"/>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Freeform 1583">
                      <a:extLst>
                        <a:ext uri="{FF2B5EF4-FFF2-40B4-BE49-F238E27FC236}">
                          <a16:creationId xmlns:a16="http://schemas.microsoft.com/office/drawing/2014/main" id="{BBD5B248-B8BC-4B5D-BD47-414597690FF2}"/>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584">
                      <a:extLst>
                        <a:ext uri="{FF2B5EF4-FFF2-40B4-BE49-F238E27FC236}">
                          <a16:creationId xmlns:a16="http://schemas.microsoft.com/office/drawing/2014/main" id="{FD17B1F5-285E-415E-8560-0E05239B32FA}"/>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8" name="Freeform 1585">
                      <a:extLst>
                        <a:ext uri="{FF2B5EF4-FFF2-40B4-BE49-F238E27FC236}">
                          <a16:creationId xmlns:a16="http://schemas.microsoft.com/office/drawing/2014/main" id="{3EAFE9E0-D08C-41B2-86BD-8F32994102B7}"/>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1586">
                      <a:extLst>
                        <a:ext uri="{FF2B5EF4-FFF2-40B4-BE49-F238E27FC236}">
                          <a16:creationId xmlns:a16="http://schemas.microsoft.com/office/drawing/2014/main" id="{5C65412E-9468-4106-9F48-7986D3F5F43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1587">
                      <a:extLst>
                        <a:ext uri="{FF2B5EF4-FFF2-40B4-BE49-F238E27FC236}">
                          <a16:creationId xmlns:a16="http://schemas.microsoft.com/office/drawing/2014/main" id="{DE20BEC4-0D49-4293-81E2-EF5DAFE71D5E}"/>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1588">
                      <a:extLst>
                        <a:ext uri="{FF2B5EF4-FFF2-40B4-BE49-F238E27FC236}">
                          <a16:creationId xmlns:a16="http://schemas.microsoft.com/office/drawing/2014/main" id="{28C1646F-B8FB-4CE9-AB8B-CBBE74C4BBAC}"/>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2" name="Rectangle 1589">
                      <a:extLst>
                        <a:ext uri="{FF2B5EF4-FFF2-40B4-BE49-F238E27FC236}">
                          <a16:creationId xmlns:a16="http://schemas.microsoft.com/office/drawing/2014/main" id="{CEDA4D48-ADBF-440A-8BF8-D42CDB1A2637}"/>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3" name="Rectangle 1590">
                      <a:extLst>
                        <a:ext uri="{FF2B5EF4-FFF2-40B4-BE49-F238E27FC236}">
                          <a16:creationId xmlns:a16="http://schemas.microsoft.com/office/drawing/2014/main" id="{C8C4E0AE-7A5E-468F-9CA8-6A6CD03E672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1591">
                      <a:extLst>
                        <a:ext uri="{FF2B5EF4-FFF2-40B4-BE49-F238E27FC236}">
                          <a16:creationId xmlns:a16="http://schemas.microsoft.com/office/drawing/2014/main" id="{8BDFE8BA-7AFC-4C63-9271-063CFC257A9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1592">
                      <a:extLst>
                        <a:ext uri="{FF2B5EF4-FFF2-40B4-BE49-F238E27FC236}">
                          <a16:creationId xmlns:a16="http://schemas.microsoft.com/office/drawing/2014/main" id="{0FD1EE23-4C1E-47A2-9790-BDA2A1D5EDCB}"/>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Freeform 1593">
                      <a:extLst>
                        <a:ext uri="{FF2B5EF4-FFF2-40B4-BE49-F238E27FC236}">
                          <a16:creationId xmlns:a16="http://schemas.microsoft.com/office/drawing/2014/main" id="{DB2B39AB-BCC9-4A15-9D95-704AFDB8A40F}"/>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1594">
                      <a:extLst>
                        <a:ext uri="{FF2B5EF4-FFF2-40B4-BE49-F238E27FC236}">
                          <a16:creationId xmlns:a16="http://schemas.microsoft.com/office/drawing/2014/main" id="{B05ED7C0-526A-4E3D-981D-0BE77988113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1595">
                      <a:extLst>
                        <a:ext uri="{FF2B5EF4-FFF2-40B4-BE49-F238E27FC236}">
                          <a16:creationId xmlns:a16="http://schemas.microsoft.com/office/drawing/2014/main" id="{00ED5C3D-3E08-4299-AE7B-F9E6D1C150D6}"/>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1596">
                      <a:extLst>
                        <a:ext uri="{FF2B5EF4-FFF2-40B4-BE49-F238E27FC236}">
                          <a16:creationId xmlns:a16="http://schemas.microsoft.com/office/drawing/2014/main" id="{CA35C96E-07DF-4F04-AF18-B3B6732185CF}"/>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0" name="Freeform 1672">
                      <a:extLst>
                        <a:ext uri="{FF2B5EF4-FFF2-40B4-BE49-F238E27FC236}">
                          <a16:creationId xmlns:a16="http://schemas.microsoft.com/office/drawing/2014/main" id="{DC177AC4-10E0-4F84-905E-C94B565B604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1" name="Freeform 1673">
                      <a:extLst>
                        <a:ext uri="{FF2B5EF4-FFF2-40B4-BE49-F238E27FC236}">
                          <a16:creationId xmlns:a16="http://schemas.microsoft.com/office/drawing/2014/main" id="{11BFE0DA-7415-41AE-95B4-F4895BD91ABF}"/>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Freeform 1674">
                      <a:extLst>
                        <a:ext uri="{FF2B5EF4-FFF2-40B4-BE49-F238E27FC236}">
                          <a16:creationId xmlns:a16="http://schemas.microsoft.com/office/drawing/2014/main" id="{506ECD3B-A929-4E98-8457-A36A8609D63C}"/>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3" name="Freeform 1675">
                      <a:extLst>
                        <a:ext uri="{FF2B5EF4-FFF2-40B4-BE49-F238E27FC236}">
                          <a16:creationId xmlns:a16="http://schemas.microsoft.com/office/drawing/2014/main" id="{14B5096B-D826-425D-A2A2-2523BBCF6B5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Freeform 1676">
                      <a:extLst>
                        <a:ext uri="{FF2B5EF4-FFF2-40B4-BE49-F238E27FC236}">
                          <a16:creationId xmlns:a16="http://schemas.microsoft.com/office/drawing/2014/main" id="{737F7F6E-2D63-4E6C-81D7-91AFFDDD556A}"/>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5" name="Freeform 1677">
                      <a:extLst>
                        <a:ext uri="{FF2B5EF4-FFF2-40B4-BE49-F238E27FC236}">
                          <a16:creationId xmlns:a16="http://schemas.microsoft.com/office/drawing/2014/main" id="{8E64054A-2936-4A57-839F-7FA708078D60}"/>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6" name="Freeform 1678">
                      <a:extLst>
                        <a:ext uri="{FF2B5EF4-FFF2-40B4-BE49-F238E27FC236}">
                          <a16:creationId xmlns:a16="http://schemas.microsoft.com/office/drawing/2014/main" id="{C29FD5A6-29A3-4401-A8BF-39DC8B8B6655}"/>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Freeform 1679">
                      <a:extLst>
                        <a:ext uri="{FF2B5EF4-FFF2-40B4-BE49-F238E27FC236}">
                          <a16:creationId xmlns:a16="http://schemas.microsoft.com/office/drawing/2014/main" id="{14AD96D0-BC0A-4E33-960F-29938829B668}"/>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Freeform 1680">
                      <a:extLst>
                        <a:ext uri="{FF2B5EF4-FFF2-40B4-BE49-F238E27FC236}">
                          <a16:creationId xmlns:a16="http://schemas.microsoft.com/office/drawing/2014/main" id="{0D92EF58-DE3A-4CCA-97D0-DC4A871C0AF4}"/>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Freeform 1681">
                      <a:extLst>
                        <a:ext uri="{FF2B5EF4-FFF2-40B4-BE49-F238E27FC236}">
                          <a16:creationId xmlns:a16="http://schemas.microsoft.com/office/drawing/2014/main" id="{46830979-AF97-4F96-AB0B-347AA1CAA3F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1682">
                      <a:extLst>
                        <a:ext uri="{FF2B5EF4-FFF2-40B4-BE49-F238E27FC236}">
                          <a16:creationId xmlns:a16="http://schemas.microsoft.com/office/drawing/2014/main" id="{39CA5108-DB0E-4809-BEAE-DD3DC99EE4A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1683">
                      <a:extLst>
                        <a:ext uri="{FF2B5EF4-FFF2-40B4-BE49-F238E27FC236}">
                          <a16:creationId xmlns:a16="http://schemas.microsoft.com/office/drawing/2014/main" id="{737C8CB1-174C-4C3A-9686-8D9736AEE847}"/>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2" name="Freeform 1684">
                      <a:extLst>
                        <a:ext uri="{FF2B5EF4-FFF2-40B4-BE49-F238E27FC236}">
                          <a16:creationId xmlns:a16="http://schemas.microsoft.com/office/drawing/2014/main" id="{F344A9A7-FED2-4359-8651-4407D9421D5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3" name="Freeform 1685">
                      <a:extLst>
                        <a:ext uri="{FF2B5EF4-FFF2-40B4-BE49-F238E27FC236}">
                          <a16:creationId xmlns:a16="http://schemas.microsoft.com/office/drawing/2014/main" id="{93F29FDC-67C7-4633-8C80-AB75AFBC8A19}"/>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4" name="Freeform 1686">
                      <a:extLst>
                        <a:ext uri="{FF2B5EF4-FFF2-40B4-BE49-F238E27FC236}">
                          <a16:creationId xmlns:a16="http://schemas.microsoft.com/office/drawing/2014/main" id="{9D3A2E45-B7CC-41C6-B50D-FF964AC72DE6}"/>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5" name="Freeform 1687">
                      <a:extLst>
                        <a:ext uri="{FF2B5EF4-FFF2-40B4-BE49-F238E27FC236}">
                          <a16:creationId xmlns:a16="http://schemas.microsoft.com/office/drawing/2014/main" id="{26372EFF-07B2-4A49-8C56-E7E82317E75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6" name="Freeform 1688">
                      <a:extLst>
                        <a:ext uri="{FF2B5EF4-FFF2-40B4-BE49-F238E27FC236}">
                          <a16:creationId xmlns:a16="http://schemas.microsoft.com/office/drawing/2014/main" id="{C26448E3-729C-450A-954C-134CCBB2713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7" name="Freeform 1689">
                      <a:extLst>
                        <a:ext uri="{FF2B5EF4-FFF2-40B4-BE49-F238E27FC236}">
                          <a16:creationId xmlns:a16="http://schemas.microsoft.com/office/drawing/2014/main" id="{3BD3E1FE-AEA1-4328-A84F-A4C371E93E53}"/>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Freeform 1690">
                      <a:extLst>
                        <a:ext uri="{FF2B5EF4-FFF2-40B4-BE49-F238E27FC236}">
                          <a16:creationId xmlns:a16="http://schemas.microsoft.com/office/drawing/2014/main" id="{B9305820-4255-4D54-AA5C-875C771A9508}"/>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1691">
                      <a:extLst>
                        <a:ext uri="{FF2B5EF4-FFF2-40B4-BE49-F238E27FC236}">
                          <a16:creationId xmlns:a16="http://schemas.microsoft.com/office/drawing/2014/main" id="{B4D941B1-12C7-4728-8E98-021D086752D5}"/>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Freeform 1692">
                      <a:extLst>
                        <a:ext uri="{FF2B5EF4-FFF2-40B4-BE49-F238E27FC236}">
                          <a16:creationId xmlns:a16="http://schemas.microsoft.com/office/drawing/2014/main" id="{D4E3DAA5-AD36-490F-BC2F-CCDCBD04F1C1}"/>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1693">
                      <a:extLst>
                        <a:ext uri="{FF2B5EF4-FFF2-40B4-BE49-F238E27FC236}">
                          <a16:creationId xmlns:a16="http://schemas.microsoft.com/office/drawing/2014/main" id="{B25E74AB-2B33-4B89-8D2F-2CF2A3CA5FF1}"/>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Freeform 1694">
                      <a:extLst>
                        <a:ext uri="{FF2B5EF4-FFF2-40B4-BE49-F238E27FC236}">
                          <a16:creationId xmlns:a16="http://schemas.microsoft.com/office/drawing/2014/main" id="{F52435DE-7F59-4650-B3AD-8BFADAA03FB7}"/>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3" name="Freeform 1695">
                      <a:extLst>
                        <a:ext uri="{FF2B5EF4-FFF2-40B4-BE49-F238E27FC236}">
                          <a16:creationId xmlns:a16="http://schemas.microsoft.com/office/drawing/2014/main" id="{769D5CEB-B6B7-4ED6-9242-7FB96AE18DEF}"/>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4" name="Freeform 1696">
                      <a:extLst>
                        <a:ext uri="{FF2B5EF4-FFF2-40B4-BE49-F238E27FC236}">
                          <a16:creationId xmlns:a16="http://schemas.microsoft.com/office/drawing/2014/main" id="{09590F7C-D577-428E-B3E0-6FBD3903AE7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Freeform 1697">
                      <a:extLst>
                        <a:ext uri="{FF2B5EF4-FFF2-40B4-BE49-F238E27FC236}">
                          <a16:creationId xmlns:a16="http://schemas.microsoft.com/office/drawing/2014/main" id="{F813AC04-3FCD-447D-97B5-B0D4D064BDCA}"/>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31" name="Group 2630">
                <a:extLst>
                  <a:ext uri="{FF2B5EF4-FFF2-40B4-BE49-F238E27FC236}">
                    <a16:creationId xmlns:a16="http://schemas.microsoft.com/office/drawing/2014/main" id="{9DC0EC37-B69E-4481-A6B3-41E462967965}"/>
                  </a:ext>
                </a:extLst>
              </p:cNvPr>
              <p:cNvGrpSpPr/>
              <p:nvPr/>
            </p:nvGrpSpPr>
            <p:grpSpPr>
              <a:xfrm>
                <a:off x="10254370" y="3053480"/>
                <a:ext cx="1231250" cy="1313698"/>
                <a:chOff x="12023909" y="2412144"/>
                <a:chExt cx="1231250" cy="1313698"/>
              </a:xfrm>
            </p:grpSpPr>
            <p:sp>
              <p:nvSpPr>
                <p:cNvPr id="2632" name="Rectangle: Rounded Corners 2631">
                  <a:extLst>
                    <a:ext uri="{FF2B5EF4-FFF2-40B4-BE49-F238E27FC236}">
                      <a16:creationId xmlns:a16="http://schemas.microsoft.com/office/drawing/2014/main" id="{872BD409-63AF-4B3B-8695-7461B7E59C0D}"/>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33" name="Group 2632">
                  <a:extLst>
                    <a:ext uri="{FF2B5EF4-FFF2-40B4-BE49-F238E27FC236}">
                      <a16:creationId xmlns:a16="http://schemas.microsoft.com/office/drawing/2014/main" id="{7EFB7652-EDD3-417D-B1F6-2193FEB4EC84}"/>
                    </a:ext>
                  </a:extLst>
                </p:cNvPr>
                <p:cNvGrpSpPr/>
                <p:nvPr/>
              </p:nvGrpSpPr>
              <p:grpSpPr>
                <a:xfrm>
                  <a:off x="12023909" y="2526190"/>
                  <a:ext cx="1231250" cy="1189484"/>
                  <a:chOff x="7839761" y="1053755"/>
                  <a:chExt cx="927651" cy="896184"/>
                </a:xfrm>
              </p:grpSpPr>
              <p:sp>
                <p:nvSpPr>
                  <p:cNvPr id="2634" name="TextBox 2633">
                    <a:extLst>
                      <a:ext uri="{FF2B5EF4-FFF2-40B4-BE49-F238E27FC236}">
                        <a16:creationId xmlns:a16="http://schemas.microsoft.com/office/drawing/2014/main" id="{3AD29482-D35E-4A63-AE36-958FCFE1AEEE}"/>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35" name="Group 2634">
                    <a:extLst>
                      <a:ext uri="{FF2B5EF4-FFF2-40B4-BE49-F238E27FC236}">
                        <a16:creationId xmlns:a16="http://schemas.microsoft.com/office/drawing/2014/main" id="{E82F8432-1C34-47DF-9960-95FE00D6A3FC}"/>
                      </a:ext>
                    </a:extLst>
                  </p:cNvPr>
                  <p:cNvGrpSpPr/>
                  <p:nvPr/>
                </p:nvGrpSpPr>
                <p:grpSpPr>
                  <a:xfrm>
                    <a:off x="7839761" y="1053755"/>
                    <a:ext cx="927651" cy="523122"/>
                    <a:chOff x="7839761" y="1053755"/>
                    <a:chExt cx="927651" cy="523122"/>
                  </a:xfrm>
                </p:grpSpPr>
                <p:sp>
                  <p:nvSpPr>
                    <p:cNvPr id="2636" name="Line 66">
                      <a:extLst>
                        <a:ext uri="{FF2B5EF4-FFF2-40B4-BE49-F238E27FC236}">
                          <a16:creationId xmlns:a16="http://schemas.microsoft.com/office/drawing/2014/main" id="{FAB5F1AF-D59E-4339-9231-CE6BB136B4D4}"/>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7" name="Line 67">
                      <a:extLst>
                        <a:ext uri="{FF2B5EF4-FFF2-40B4-BE49-F238E27FC236}">
                          <a16:creationId xmlns:a16="http://schemas.microsoft.com/office/drawing/2014/main" id="{E1D82164-9AA1-4BD1-92D2-4375FD6407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8" name="Line 74">
                      <a:extLst>
                        <a:ext uri="{FF2B5EF4-FFF2-40B4-BE49-F238E27FC236}">
                          <a16:creationId xmlns:a16="http://schemas.microsoft.com/office/drawing/2014/main" id="{98A8F6EB-447E-4E55-8539-F57E2B292A2B}"/>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9" name="Freeform 78">
                      <a:extLst>
                        <a:ext uri="{FF2B5EF4-FFF2-40B4-BE49-F238E27FC236}">
                          <a16:creationId xmlns:a16="http://schemas.microsoft.com/office/drawing/2014/main" id="{37AD2296-B127-4E47-8CFB-81D312959AC9}"/>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Freeform 80">
                      <a:extLst>
                        <a:ext uri="{FF2B5EF4-FFF2-40B4-BE49-F238E27FC236}">
                          <a16:creationId xmlns:a16="http://schemas.microsoft.com/office/drawing/2014/main" id="{BEB3D0B5-8622-4780-8C9E-39FFD4AF3021}"/>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1575">
                      <a:extLst>
                        <a:ext uri="{FF2B5EF4-FFF2-40B4-BE49-F238E27FC236}">
                          <a16:creationId xmlns:a16="http://schemas.microsoft.com/office/drawing/2014/main" id="{738F0657-0BD0-4D03-B6EA-BD2D780F9F9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Freeform 1576">
                      <a:extLst>
                        <a:ext uri="{FF2B5EF4-FFF2-40B4-BE49-F238E27FC236}">
                          <a16:creationId xmlns:a16="http://schemas.microsoft.com/office/drawing/2014/main" id="{F010257B-2F86-4267-BF9A-A5018879EABD}"/>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1577">
                      <a:extLst>
                        <a:ext uri="{FF2B5EF4-FFF2-40B4-BE49-F238E27FC236}">
                          <a16:creationId xmlns:a16="http://schemas.microsoft.com/office/drawing/2014/main" id="{0EDEB22E-3329-4B5A-8FAF-6E31ABF12793}"/>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Freeform 1578">
                      <a:extLst>
                        <a:ext uri="{FF2B5EF4-FFF2-40B4-BE49-F238E27FC236}">
                          <a16:creationId xmlns:a16="http://schemas.microsoft.com/office/drawing/2014/main" id="{7938E217-E3D3-4ABE-9338-5E2199DC4778}"/>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5" name="Freeform 1579">
                      <a:extLst>
                        <a:ext uri="{FF2B5EF4-FFF2-40B4-BE49-F238E27FC236}">
                          <a16:creationId xmlns:a16="http://schemas.microsoft.com/office/drawing/2014/main" id="{B9D83343-09AE-4DA8-A30C-77AF8EE87C9A}"/>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6" name="Freeform 1580">
                      <a:extLst>
                        <a:ext uri="{FF2B5EF4-FFF2-40B4-BE49-F238E27FC236}">
                          <a16:creationId xmlns:a16="http://schemas.microsoft.com/office/drawing/2014/main" id="{019577C1-D65C-4469-A36B-7E23AB68A369}"/>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Freeform 1581">
                      <a:extLst>
                        <a:ext uri="{FF2B5EF4-FFF2-40B4-BE49-F238E27FC236}">
                          <a16:creationId xmlns:a16="http://schemas.microsoft.com/office/drawing/2014/main" id="{ADFE94A6-6EBA-4D1F-A39D-0B0D9F5FD2F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Freeform 1582">
                      <a:extLst>
                        <a:ext uri="{FF2B5EF4-FFF2-40B4-BE49-F238E27FC236}">
                          <a16:creationId xmlns:a16="http://schemas.microsoft.com/office/drawing/2014/main" id="{C7BE996B-21C2-40A9-B8E2-9BFFC1106535}"/>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Freeform 1583">
                      <a:extLst>
                        <a:ext uri="{FF2B5EF4-FFF2-40B4-BE49-F238E27FC236}">
                          <a16:creationId xmlns:a16="http://schemas.microsoft.com/office/drawing/2014/main" id="{3E5AE7C4-CA5C-4F64-AE39-1C30461A6F57}"/>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1584">
                      <a:extLst>
                        <a:ext uri="{FF2B5EF4-FFF2-40B4-BE49-F238E27FC236}">
                          <a16:creationId xmlns:a16="http://schemas.microsoft.com/office/drawing/2014/main" id="{A7F346BF-C9DA-4DD1-A359-87EE5863F945}"/>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1585">
                      <a:extLst>
                        <a:ext uri="{FF2B5EF4-FFF2-40B4-BE49-F238E27FC236}">
                          <a16:creationId xmlns:a16="http://schemas.microsoft.com/office/drawing/2014/main" id="{03AF5E99-0265-414D-B000-1B05B67EA63F}"/>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2" name="Freeform 1586">
                      <a:extLst>
                        <a:ext uri="{FF2B5EF4-FFF2-40B4-BE49-F238E27FC236}">
                          <a16:creationId xmlns:a16="http://schemas.microsoft.com/office/drawing/2014/main" id="{9C12FD66-0104-47B6-BA7B-61AEC8752599}"/>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3" name="Freeform 1587">
                      <a:extLst>
                        <a:ext uri="{FF2B5EF4-FFF2-40B4-BE49-F238E27FC236}">
                          <a16:creationId xmlns:a16="http://schemas.microsoft.com/office/drawing/2014/main" id="{9951E013-7E87-410C-8E24-29FDA7A6C6DA}"/>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4" name="Freeform 1588">
                      <a:extLst>
                        <a:ext uri="{FF2B5EF4-FFF2-40B4-BE49-F238E27FC236}">
                          <a16:creationId xmlns:a16="http://schemas.microsoft.com/office/drawing/2014/main" id="{CB66D67A-CD7C-45A5-93A0-17D2076B34FD}"/>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5" name="Rectangle 1589">
                      <a:extLst>
                        <a:ext uri="{FF2B5EF4-FFF2-40B4-BE49-F238E27FC236}">
                          <a16:creationId xmlns:a16="http://schemas.microsoft.com/office/drawing/2014/main" id="{BDF12F17-0C71-4937-9C30-C4456872E9F0}"/>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6" name="Rectangle 1590">
                      <a:extLst>
                        <a:ext uri="{FF2B5EF4-FFF2-40B4-BE49-F238E27FC236}">
                          <a16:creationId xmlns:a16="http://schemas.microsoft.com/office/drawing/2014/main" id="{8B492B29-7280-436E-9AC1-E80545DB4283}"/>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7" name="Freeform 1591">
                      <a:extLst>
                        <a:ext uri="{FF2B5EF4-FFF2-40B4-BE49-F238E27FC236}">
                          <a16:creationId xmlns:a16="http://schemas.microsoft.com/office/drawing/2014/main" id="{76139F27-78A2-42B0-9FDA-A8A0E3A35891}"/>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8" name="Freeform 1592">
                      <a:extLst>
                        <a:ext uri="{FF2B5EF4-FFF2-40B4-BE49-F238E27FC236}">
                          <a16:creationId xmlns:a16="http://schemas.microsoft.com/office/drawing/2014/main" id="{06F68C76-69CC-4184-B71A-BDFFCBBFFEB9}"/>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9" name="Freeform 1593">
                      <a:extLst>
                        <a:ext uri="{FF2B5EF4-FFF2-40B4-BE49-F238E27FC236}">
                          <a16:creationId xmlns:a16="http://schemas.microsoft.com/office/drawing/2014/main" id="{1D2BA2E5-E975-4297-8C48-495935B695B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0" name="Freeform 1594">
                      <a:extLst>
                        <a:ext uri="{FF2B5EF4-FFF2-40B4-BE49-F238E27FC236}">
                          <a16:creationId xmlns:a16="http://schemas.microsoft.com/office/drawing/2014/main" id="{839046DC-F08A-40B0-9130-29568052811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1" name="Freeform 1595">
                      <a:extLst>
                        <a:ext uri="{FF2B5EF4-FFF2-40B4-BE49-F238E27FC236}">
                          <a16:creationId xmlns:a16="http://schemas.microsoft.com/office/drawing/2014/main" id="{C7295905-C88D-4F88-A9B4-A3A04EEA38FC}"/>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2" name="Freeform 1596">
                      <a:extLst>
                        <a:ext uri="{FF2B5EF4-FFF2-40B4-BE49-F238E27FC236}">
                          <a16:creationId xmlns:a16="http://schemas.microsoft.com/office/drawing/2014/main" id="{372FE04C-F613-4FB1-A157-0EF46379F4A6}"/>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3" name="Freeform 1672">
                      <a:extLst>
                        <a:ext uri="{FF2B5EF4-FFF2-40B4-BE49-F238E27FC236}">
                          <a16:creationId xmlns:a16="http://schemas.microsoft.com/office/drawing/2014/main" id="{4E7B2D6E-1B1A-415E-B46A-017DE4077DAC}"/>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4" name="Freeform 1673">
                      <a:extLst>
                        <a:ext uri="{FF2B5EF4-FFF2-40B4-BE49-F238E27FC236}">
                          <a16:creationId xmlns:a16="http://schemas.microsoft.com/office/drawing/2014/main" id="{2480C457-4F1B-4A58-9719-8BCBF0654AA3}"/>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5" name="Freeform 1674">
                      <a:extLst>
                        <a:ext uri="{FF2B5EF4-FFF2-40B4-BE49-F238E27FC236}">
                          <a16:creationId xmlns:a16="http://schemas.microsoft.com/office/drawing/2014/main" id="{AA635A41-34E7-4935-8E2D-F92F15286436}"/>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6" name="Freeform 1675">
                      <a:extLst>
                        <a:ext uri="{FF2B5EF4-FFF2-40B4-BE49-F238E27FC236}">
                          <a16:creationId xmlns:a16="http://schemas.microsoft.com/office/drawing/2014/main" id="{6E9D52F0-964D-46B3-8F20-C7EF8B06F2B5}"/>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7" name="Freeform 1676">
                      <a:extLst>
                        <a:ext uri="{FF2B5EF4-FFF2-40B4-BE49-F238E27FC236}">
                          <a16:creationId xmlns:a16="http://schemas.microsoft.com/office/drawing/2014/main" id="{403901DA-19CB-4CB6-94A8-C4E9EC3E00C4}"/>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8" name="Freeform 1677">
                      <a:extLst>
                        <a:ext uri="{FF2B5EF4-FFF2-40B4-BE49-F238E27FC236}">
                          <a16:creationId xmlns:a16="http://schemas.microsoft.com/office/drawing/2014/main" id="{A549648E-DFDD-48B9-8545-D45CB2E0604A}"/>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9" name="Freeform 1678">
                      <a:extLst>
                        <a:ext uri="{FF2B5EF4-FFF2-40B4-BE49-F238E27FC236}">
                          <a16:creationId xmlns:a16="http://schemas.microsoft.com/office/drawing/2014/main" id="{6FE35CEC-37B7-4A4A-AEFB-51623D2782D4}"/>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0" name="Freeform 1679">
                      <a:extLst>
                        <a:ext uri="{FF2B5EF4-FFF2-40B4-BE49-F238E27FC236}">
                          <a16:creationId xmlns:a16="http://schemas.microsoft.com/office/drawing/2014/main" id="{180E4AD2-44CC-4BCC-9693-9C0750F52BCE}"/>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1" name="Freeform 1680">
                      <a:extLst>
                        <a:ext uri="{FF2B5EF4-FFF2-40B4-BE49-F238E27FC236}">
                          <a16:creationId xmlns:a16="http://schemas.microsoft.com/office/drawing/2014/main" id="{8F417B20-8A1C-4829-94FE-A47DE3B12C61}"/>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2" name="Freeform 1681">
                      <a:extLst>
                        <a:ext uri="{FF2B5EF4-FFF2-40B4-BE49-F238E27FC236}">
                          <a16:creationId xmlns:a16="http://schemas.microsoft.com/office/drawing/2014/main" id="{6D7DC1E0-4038-43AA-8125-8E0CF806B6AD}"/>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3" name="Freeform 1682">
                      <a:extLst>
                        <a:ext uri="{FF2B5EF4-FFF2-40B4-BE49-F238E27FC236}">
                          <a16:creationId xmlns:a16="http://schemas.microsoft.com/office/drawing/2014/main" id="{27DB94BA-2038-4889-A510-D7FE0E61E558}"/>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1683">
                      <a:extLst>
                        <a:ext uri="{FF2B5EF4-FFF2-40B4-BE49-F238E27FC236}">
                          <a16:creationId xmlns:a16="http://schemas.microsoft.com/office/drawing/2014/main" id="{3D210A7C-EA3E-47F3-AE43-70AB53A7C5D0}"/>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1684">
                      <a:extLst>
                        <a:ext uri="{FF2B5EF4-FFF2-40B4-BE49-F238E27FC236}">
                          <a16:creationId xmlns:a16="http://schemas.microsoft.com/office/drawing/2014/main" id="{CFBCD459-E0D1-404C-B043-B077C0C5982C}"/>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1685">
                      <a:extLst>
                        <a:ext uri="{FF2B5EF4-FFF2-40B4-BE49-F238E27FC236}">
                          <a16:creationId xmlns:a16="http://schemas.microsoft.com/office/drawing/2014/main" id="{CA1BEB67-CFD8-4327-A686-A8BB4B8363E1}"/>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1686">
                      <a:extLst>
                        <a:ext uri="{FF2B5EF4-FFF2-40B4-BE49-F238E27FC236}">
                          <a16:creationId xmlns:a16="http://schemas.microsoft.com/office/drawing/2014/main" id="{AD51BBB0-64A2-4678-A9D2-68515D15945C}"/>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1687">
                      <a:extLst>
                        <a:ext uri="{FF2B5EF4-FFF2-40B4-BE49-F238E27FC236}">
                          <a16:creationId xmlns:a16="http://schemas.microsoft.com/office/drawing/2014/main" id="{82164BEB-906C-49C0-8B3A-379BFB8927C4}"/>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1688">
                      <a:extLst>
                        <a:ext uri="{FF2B5EF4-FFF2-40B4-BE49-F238E27FC236}">
                          <a16:creationId xmlns:a16="http://schemas.microsoft.com/office/drawing/2014/main" id="{38C6A769-DFBC-4AE7-B73E-95E236380C09}"/>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1689">
                      <a:extLst>
                        <a:ext uri="{FF2B5EF4-FFF2-40B4-BE49-F238E27FC236}">
                          <a16:creationId xmlns:a16="http://schemas.microsoft.com/office/drawing/2014/main" id="{6C2B4535-51F1-4721-B868-442D390157FE}"/>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1690">
                      <a:extLst>
                        <a:ext uri="{FF2B5EF4-FFF2-40B4-BE49-F238E27FC236}">
                          <a16:creationId xmlns:a16="http://schemas.microsoft.com/office/drawing/2014/main" id="{2168089E-048B-4A03-9C25-750D9257C0C2}"/>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1691">
                      <a:extLst>
                        <a:ext uri="{FF2B5EF4-FFF2-40B4-BE49-F238E27FC236}">
                          <a16:creationId xmlns:a16="http://schemas.microsoft.com/office/drawing/2014/main" id="{DFA2A51B-8DD5-4A89-910D-CA1931958F9C}"/>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3" name="Freeform 1692">
                      <a:extLst>
                        <a:ext uri="{FF2B5EF4-FFF2-40B4-BE49-F238E27FC236}">
                          <a16:creationId xmlns:a16="http://schemas.microsoft.com/office/drawing/2014/main" id="{A9E5E83B-1642-437F-81A9-45B9216C6E76}"/>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4" name="Freeform 1693">
                      <a:extLst>
                        <a:ext uri="{FF2B5EF4-FFF2-40B4-BE49-F238E27FC236}">
                          <a16:creationId xmlns:a16="http://schemas.microsoft.com/office/drawing/2014/main" id="{4D17AC3A-3637-4B47-8F9F-1AD6086B342A}"/>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Freeform 1694">
                      <a:extLst>
                        <a:ext uri="{FF2B5EF4-FFF2-40B4-BE49-F238E27FC236}">
                          <a16:creationId xmlns:a16="http://schemas.microsoft.com/office/drawing/2014/main" id="{22067ED6-B214-45A8-B029-1E440A68DC0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6" name="Freeform 1695">
                      <a:extLst>
                        <a:ext uri="{FF2B5EF4-FFF2-40B4-BE49-F238E27FC236}">
                          <a16:creationId xmlns:a16="http://schemas.microsoft.com/office/drawing/2014/main" id="{1DD1A4F9-2A30-4003-A5DD-89591482972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7" name="Freeform 1696">
                      <a:extLst>
                        <a:ext uri="{FF2B5EF4-FFF2-40B4-BE49-F238E27FC236}">
                          <a16:creationId xmlns:a16="http://schemas.microsoft.com/office/drawing/2014/main" id="{75EC2E55-1218-45BC-85F3-E24F97CC503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Freeform 1697">
                      <a:extLst>
                        <a:ext uri="{FF2B5EF4-FFF2-40B4-BE49-F238E27FC236}">
                          <a16:creationId xmlns:a16="http://schemas.microsoft.com/office/drawing/2014/main" id="{3AD6C380-4F95-4912-9991-EAB99AD4D35D}"/>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801" name="Rectangle 2800">
              <a:extLst>
                <a:ext uri="{FF2B5EF4-FFF2-40B4-BE49-F238E27FC236}">
                  <a16:creationId xmlns:a16="http://schemas.microsoft.com/office/drawing/2014/main" id="{5CC3A915-C0CF-48D9-BE8E-52BB3F9E154F}"/>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15" name="Group 14">
            <a:extLst>
              <a:ext uri="{FF2B5EF4-FFF2-40B4-BE49-F238E27FC236}">
                <a16:creationId xmlns:a16="http://schemas.microsoft.com/office/drawing/2014/main" id="{A3D36A2B-F5C4-4D01-9709-E1957D7DC38A}"/>
              </a:ext>
            </a:extLst>
          </p:cNvPr>
          <p:cNvGrpSpPr/>
          <p:nvPr/>
        </p:nvGrpSpPr>
        <p:grpSpPr>
          <a:xfrm>
            <a:off x="3481621" y="3615964"/>
            <a:ext cx="4581486" cy="2892141"/>
            <a:chOff x="3480940" y="3616012"/>
            <a:chExt cx="4582679" cy="2892894"/>
          </a:xfrm>
        </p:grpSpPr>
        <p:grpSp>
          <p:nvGrpSpPr>
            <p:cNvPr id="7" name="Group 6">
              <a:extLst>
                <a:ext uri="{FF2B5EF4-FFF2-40B4-BE49-F238E27FC236}">
                  <a16:creationId xmlns:a16="http://schemas.microsoft.com/office/drawing/2014/main" id="{692D072B-49CC-4303-8CF2-3D45E20D9312}"/>
                </a:ext>
              </a:extLst>
            </p:cNvPr>
            <p:cNvGrpSpPr/>
            <p:nvPr/>
          </p:nvGrpSpPr>
          <p:grpSpPr>
            <a:xfrm>
              <a:off x="3480940" y="4590574"/>
              <a:ext cx="2021522" cy="1918332"/>
              <a:chOff x="3480940" y="4590574"/>
              <a:chExt cx="2021522" cy="1918332"/>
            </a:xfrm>
          </p:grpSpPr>
          <p:grpSp>
            <p:nvGrpSpPr>
              <p:cNvPr id="2018" name="Group 2017">
                <a:extLst>
                  <a:ext uri="{FF2B5EF4-FFF2-40B4-BE49-F238E27FC236}">
                    <a16:creationId xmlns:a16="http://schemas.microsoft.com/office/drawing/2014/main" id="{56540839-72CD-4906-AEB0-E18EC5A846B9}"/>
                  </a:ext>
                </a:extLst>
              </p:cNvPr>
              <p:cNvGrpSpPr/>
              <p:nvPr/>
            </p:nvGrpSpPr>
            <p:grpSpPr>
              <a:xfrm>
                <a:off x="3480940" y="4590574"/>
                <a:ext cx="2021522" cy="1918332"/>
                <a:chOff x="3489383" y="4562005"/>
                <a:chExt cx="2026683" cy="1923229"/>
              </a:xfrm>
            </p:grpSpPr>
            <p:sp>
              <p:nvSpPr>
                <p:cNvPr id="2019" name="Rectangle 2018">
                  <a:extLst>
                    <a:ext uri="{FF2B5EF4-FFF2-40B4-BE49-F238E27FC236}">
                      <a16:creationId xmlns:a16="http://schemas.microsoft.com/office/drawing/2014/main" id="{748B31C8-D114-4F7B-AF23-309F82F6A9F1}"/>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020" name="Picture 2019">
                  <a:extLst>
                    <a:ext uri="{FF2B5EF4-FFF2-40B4-BE49-F238E27FC236}">
                      <a16:creationId xmlns:a16="http://schemas.microsoft.com/office/drawing/2014/main" id="{29BBB789-058D-4185-8ABF-BA11CF4AA1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021" name="Rectangle 2020">
                  <a:extLst>
                    <a:ext uri="{FF2B5EF4-FFF2-40B4-BE49-F238E27FC236}">
                      <a16:creationId xmlns:a16="http://schemas.microsoft.com/office/drawing/2014/main" id="{19403D70-F06C-4607-9A22-DBDF11EF45BA}"/>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022" name="Group 2021">
                  <a:extLst>
                    <a:ext uri="{FF2B5EF4-FFF2-40B4-BE49-F238E27FC236}">
                      <a16:creationId xmlns:a16="http://schemas.microsoft.com/office/drawing/2014/main" id="{FDD675A8-B8D0-4448-A656-3949DF642096}"/>
                    </a:ext>
                  </a:extLst>
                </p:cNvPr>
                <p:cNvGrpSpPr/>
                <p:nvPr/>
              </p:nvGrpSpPr>
              <p:grpSpPr>
                <a:xfrm>
                  <a:off x="4439956" y="4676083"/>
                  <a:ext cx="1030675" cy="846880"/>
                  <a:chOff x="10800033" y="2297897"/>
                  <a:chExt cx="1600558" cy="1315140"/>
                </a:xfrm>
              </p:grpSpPr>
              <p:grpSp>
                <p:nvGrpSpPr>
                  <p:cNvPr id="2023" name="Group 2022">
                    <a:extLst>
                      <a:ext uri="{FF2B5EF4-FFF2-40B4-BE49-F238E27FC236}">
                        <a16:creationId xmlns:a16="http://schemas.microsoft.com/office/drawing/2014/main" id="{1D61E89D-80B4-4262-AD4B-4F1EFBD7F33F}"/>
                      </a:ext>
                    </a:extLst>
                  </p:cNvPr>
                  <p:cNvGrpSpPr>
                    <a:grpSpLocks/>
                  </p:cNvGrpSpPr>
                  <p:nvPr/>
                </p:nvGrpSpPr>
                <p:grpSpPr>
                  <a:xfrm>
                    <a:off x="10800033" y="2339037"/>
                    <a:ext cx="613092" cy="613092"/>
                    <a:chOff x="745985" y="4768134"/>
                    <a:chExt cx="368776" cy="368777"/>
                  </a:xfrm>
                </p:grpSpPr>
                <p:grpSp>
                  <p:nvGrpSpPr>
                    <p:cNvPr id="2087" name="Group 64">
                      <a:extLst>
                        <a:ext uri="{FF2B5EF4-FFF2-40B4-BE49-F238E27FC236}">
                          <a16:creationId xmlns:a16="http://schemas.microsoft.com/office/drawing/2014/main" id="{01E48BE4-E577-4DA7-A7DA-D47F81E40EA8}"/>
                        </a:ext>
                      </a:extLst>
                    </p:cNvPr>
                    <p:cNvGrpSpPr>
                      <a:grpSpLocks noChangeAspect="1"/>
                    </p:cNvGrpSpPr>
                    <p:nvPr/>
                  </p:nvGrpSpPr>
                  <p:grpSpPr bwMode="auto">
                    <a:xfrm rot="8100000">
                      <a:off x="745985" y="4768134"/>
                      <a:ext cx="368776" cy="368777"/>
                      <a:chOff x="701" y="2170"/>
                      <a:chExt cx="587" cy="587"/>
                    </a:xfrm>
                  </p:grpSpPr>
                  <p:sp>
                    <p:nvSpPr>
                      <p:cNvPr id="2098" name="Oval 65">
                        <a:extLst>
                          <a:ext uri="{FF2B5EF4-FFF2-40B4-BE49-F238E27FC236}">
                            <a16:creationId xmlns:a16="http://schemas.microsoft.com/office/drawing/2014/main" id="{0A886081-F1D0-4AEB-9041-0464331AAF2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Line 66">
                        <a:extLst>
                          <a:ext uri="{FF2B5EF4-FFF2-40B4-BE49-F238E27FC236}">
                            <a16:creationId xmlns:a16="http://schemas.microsoft.com/office/drawing/2014/main" id="{C2E285F7-F1EF-42B3-A7C4-9FB0D6ED700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0" name="Line 67">
                        <a:extLst>
                          <a:ext uri="{FF2B5EF4-FFF2-40B4-BE49-F238E27FC236}">
                            <a16:creationId xmlns:a16="http://schemas.microsoft.com/office/drawing/2014/main" id="{0E350AB0-6D10-4606-B539-2CA4EC77E00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1" name="Line 69">
                        <a:extLst>
                          <a:ext uri="{FF2B5EF4-FFF2-40B4-BE49-F238E27FC236}">
                            <a16:creationId xmlns:a16="http://schemas.microsoft.com/office/drawing/2014/main" id="{7F69DCC6-831C-4C0A-83DB-10573EFA410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2" name="Line 74">
                        <a:extLst>
                          <a:ext uri="{FF2B5EF4-FFF2-40B4-BE49-F238E27FC236}">
                            <a16:creationId xmlns:a16="http://schemas.microsoft.com/office/drawing/2014/main" id="{A945B4C0-A0A8-4357-BDCC-600F0584749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78">
                        <a:extLst>
                          <a:ext uri="{FF2B5EF4-FFF2-40B4-BE49-F238E27FC236}">
                            <a16:creationId xmlns:a16="http://schemas.microsoft.com/office/drawing/2014/main" id="{83080771-497A-49B6-9DD8-EC246B91EE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80">
                        <a:extLst>
                          <a:ext uri="{FF2B5EF4-FFF2-40B4-BE49-F238E27FC236}">
                            <a16:creationId xmlns:a16="http://schemas.microsoft.com/office/drawing/2014/main" id="{35116DAD-749B-45B8-9C86-0FA72B3638F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88" name="Group 2087">
                      <a:extLst>
                        <a:ext uri="{FF2B5EF4-FFF2-40B4-BE49-F238E27FC236}">
                          <a16:creationId xmlns:a16="http://schemas.microsoft.com/office/drawing/2014/main" id="{37B1DD8D-1211-492D-8E3E-883D25B35A83}"/>
                        </a:ext>
                      </a:extLst>
                    </p:cNvPr>
                    <p:cNvGrpSpPr/>
                    <p:nvPr/>
                  </p:nvGrpSpPr>
                  <p:grpSpPr>
                    <a:xfrm>
                      <a:off x="837312" y="4814434"/>
                      <a:ext cx="136805" cy="278689"/>
                      <a:chOff x="2806700" y="2803319"/>
                      <a:chExt cx="433387" cy="882861"/>
                    </a:xfrm>
                  </p:grpSpPr>
                  <p:grpSp>
                    <p:nvGrpSpPr>
                      <p:cNvPr id="2089" name="Group 2088">
                        <a:extLst>
                          <a:ext uri="{FF2B5EF4-FFF2-40B4-BE49-F238E27FC236}">
                            <a16:creationId xmlns:a16="http://schemas.microsoft.com/office/drawing/2014/main" id="{3A754CC2-FAD8-46DE-A50F-546C90D392FC}"/>
                          </a:ext>
                        </a:extLst>
                      </p:cNvPr>
                      <p:cNvGrpSpPr>
                        <a:grpSpLocks noChangeAspect="1"/>
                      </p:cNvGrpSpPr>
                      <p:nvPr/>
                    </p:nvGrpSpPr>
                    <p:grpSpPr bwMode="auto">
                      <a:xfrm>
                        <a:off x="2806700" y="3043242"/>
                        <a:ext cx="433387" cy="642938"/>
                        <a:chOff x="1768" y="1917"/>
                        <a:chExt cx="273" cy="405"/>
                      </a:xfrm>
                    </p:grpSpPr>
                    <p:sp>
                      <p:nvSpPr>
                        <p:cNvPr id="2091" name="Freeform 52">
                          <a:extLst>
                            <a:ext uri="{FF2B5EF4-FFF2-40B4-BE49-F238E27FC236}">
                              <a16:creationId xmlns:a16="http://schemas.microsoft.com/office/drawing/2014/main" id="{C242132A-76D3-438C-AC96-5DB53EFA2BA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2" name="Line 54">
                          <a:extLst>
                            <a:ext uri="{FF2B5EF4-FFF2-40B4-BE49-F238E27FC236}">
                              <a16:creationId xmlns:a16="http://schemas.microsoft.com/office/drawing/2014/main" id="{D462B0C0-A26C-408D-B7F4-25FC0A46FCF6}"/>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3" name="Line 55">
                          <a:extLst>
                            <a:ext uri="{FF2B5EF4-FFF2-40B4-BE49-F238E27FC236}">
                              <a16:creationId xmlns:a16="http://schemas.microsoft.com/office/drawing/2014/main" id="{36CE7D36-8D4E-4E7D-B44E-37EF507C2CFA}"/>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4" name="Freeform 56">
                          <a:extLst>
                            <a:ext uri="{FF2B5EF4-FFF2-40B4-BE49-F238E27FC236}">
                              <a16:creationId xmlns:a16="http://schemas.microsoft.com/office/drawing/2014/main" id="{08EF9AB4-BEA6-467D-A1D8-F77DE6A94B9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5" name="Line 57">
                          <a:extLst>
                            <a:ext uri="{FF2B5EF4-FFF2-40B4-BE49-F238E27FC236}">
                              <a16:creationId xmlns:a16="http://schemas.microsoft.com/office/drawing/2014/main" id="{CF6AEC22-0767-467A-81AD-C0DFD9A4AA36}"/>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6" name="Freeform 58">
                          <a:extLst>
                            <a:ext uri="{FF2B5EF4-FFF2-40B4-BE49-F238E27FC236}">
                              <a16:creationId xmlns:a16="http://schemas.microsoft.com/office/drawing/2014/main" id="{C2604C23-AD38-4566-BAD3-47B5EA86390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7" name="Rectangle 2096">
                          <a:extLst>
                            <a:ext uri="{FF2B5EF4-FFF2-40B4-BE49-F238E27FC236}">
                              <a16:creationId xmlns:a16="http://schemas.microsoft.com/office/drawing/2014/main" id="{8509A289-0E67-4A94-8BC5-CE91EA04DF7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090" name="Oval 2089">
                        <a:extLst>
                          <a:ext uri="{FF2B5EF4-FFF2-40B4-BE49-F238E27FC236}">
                            <a16:creationId xmlns:a16="http://schemas.microsoft.com/office/drawing/2014/main" id="{F0A3E300-0A0E-4060-8DDB-B6EBA012D9C7}"/>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024" name="Group 2023">
                    <a:extLst>
                      <a:ext uri="{FF2B5EF4-FFF2-40B4-BE49-F238E27FC236}">
                        <a16:creationId xmlns:a16="http://schemas.microsoft.com/office/drawing/2014/main" id="{DE0B9681-3DED-44E4-9627-E0B541A48C40}"/>
                      </a:ext>
                    </a:extLst>
                  </p:cNvPr>
                  <p:cNvGrpSpPr>
                    <a:grpSpLocks/>
                  </p:cNvGrpSpPr>
                  <p:nvPr/>
                </p:nvGrpSpPr>
                <p:grpSpPr>
                  <a:xfrm>
                    <a:off x="11166615" y="2825631"/>
                    <a:ext cx="787402" cy="787406"/>
                    <a:chOff x="1454941" y="4721722"/>
                    <a:chExt cx="473625" cy="473627"/>
                  </a:xfrm>
                </p:grpSpPr>
                <p:grpSp>
                  <p:nvGrpSpPr>
                    <p:cNvPr id="2048" name="Group 64">
                      <a:extLst>
                        <a:ext uri="{FF2B5EF4-FFF2-40B4-BE49-F238E27FC236}">
                          <a16:creationId xmlns:a16="http://schemas.microsoft.com/office/drawing/2014/main" id="{72DB5D0F-8955-442F-AE53-3D14F7805B61}"/>
                        </a:ext>
                      </a:extLst>
                    </p:cNvPr>
                    <p:cNvGrpSpPr>
                      <a:grpSpLocks noChangeAspect="1"/>
                    </p:cNvGrpSpPr>
                    <p:nvPr/>
                  </p:nvGrpSpPr>
                  <p:grpSpPr bwMode="auto">
                    <a:xfrm rot="8100000">
                      <a:off x="1454941" y="4721722"/>
                      <a:ext cx="473625" cy="473627"/>
                      <a:chOff x="701" y="2170"/>
                      <a:chExt cx="587" cy="587"/>
                    </a:xfrm>
                  </p:grpSpPr>
                  <p:sp>
                    <p:nvSpPr>
                      <p:cNvPr id="2080" name="Oval 65">
                        <a:extLst>
                          <a:ext uri="{FF2B5EF4-FFF2-40B4-BE49-F238E27FC236}">
                            <a16:creationId xmlns:a16="http://schemas.microsoft.com/office/drawing/2014/main" id="{ACE6D71E-9A7F-44F5-9810-DDC2B399078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81" name="Line 66">
                        <a:extLst>
                          <a:ext uri="{FF2B5EF4-FFF2-40B4-BE49-F238E27FC236}">
                            <a16:creationId xmlns:a16="http://schemas.microsoft.com/office/drawing/2014/main" id="{764A254C-EFAA-4983-9208-C93B7A14743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2" name="Line 67">
                        <a:extLst>
                          <a:ext uri="{FF2B5EF4-FFF2-40B4-BE49-F238E27FC236}">
                            <a16:creationId xmlns:a16="http://schemas.microsoft.com/office/drawing/2014/main" id="{93EADFD0-1ECF-4DD6-B959-0DE85C07259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3" name="Line 69">
                        <a:extLst>
                          <a:ext uri="{FF2B5EF4-FFF2-40B4-BE49-F238E27FC236}">
                            <a16:creationId xmlns:a16="http://schemas.microsoft.com/office/drawing/2014/main" id="{FC151A07-1A6D-489C-8F94-96192C8AF74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4" name="Line 74">
                        <a:extLst>
                          <a:ext uri="{FF2B5EF4-FFF2-40B4-BE49-F238E27FC236}">
                            <a16:creationId xmlns:a16="http://schemas.microsoft.com/office/drawing/2014/main" id="{56564724-9B6C-41A6-A179-CC0E3D81C6D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5" name="Freeform 78">
                        <a:extLst>
                          <a:ext uri="{FF2B5EF4-FFF2-40B4-BE49-F238E27FC236}">
                            <a16:creationId xmlns:a16="http://schemas.microsoft.com/office/drawing/2014/main" id="{8A75B03E-65C6-414B-83C9-15BB05C9A5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6" name="Freeform 80">
                        <a:extLst>
                          <a:ext uri="{FF2B5EF4-FFF2-40B4-BE49-F238E27FC236}">
                            <a16:creationId xmlns:a16="http://schemas.microsoft.com/office/drawing/2014/main" id="{6036BA97-74E3-4525-95A2-587018FBD06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49" name="Group 2048">
                      <a:extLst>
                        <a:ext uri="{FF2B5EF4-FFF2-40B4-BE49-F238E27FC236}">
                          <a16:creationId xmlns:a16="http://schemas.microsoft.com/office/drawing/2014/main" id="{8D9F6327-0B0B-485A-8EC5-F862A7E69C50}"/>
                        </a:ext>
                      </a:extLst>
                    </p:cNvPr>
                    <p:cNvGrpSpPr/>
                    <p:nvPr/>
                  </p:nvGrpSpPr>
                  <p:grpSpPr>
                    <a:xfrm>
                      <a:off x="1511214" y="4789508"/>
                      <a:ext cx="356509" cy="349884"/>
                      <a:chOff x="468738" y="2241878"/>
                      <a:chExt cx="1655483" cy="1624719"/>
                    </a:xfrm>
                  </p:grpSpPr>
                  <p:sp>
                    <p:nvSpPr>
                      <p:cNvPr id="2050" name="Freeform 5">
                        <a:extLst>
                          <a:ext uri="{FF2B5EF4-FFF2-40B4-BE49-F238E27FC236}">
                            <a16:creationId xmlns:a16="http://schemas.microsoft.com/office/drawing/2014/main" id="{8458A5E1-1B47-42D6-B27E-97B06E861C41}"/>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51" name="Freeform 6">
                        <a:extLst>
                          <a:ext uri="{FF2B5EF4-FFF2-40B4-BE49-F238E27FC236}">
                            <a16:creationId xmlns:a16="http://schemas.microsoft.com/office/drawing/2014/main" id="{5E623E06-E501-49AC-B639-E48CD049790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2" name="Line 7">
                        <a:extLst>
                          <a:ext uri="{FF2B5EF4-FFF2-40B4-BE49-F238E27FC236}">
                            <a16:creationId xmlns:a16="http://schemas.microsoft.com/office/drawing/2014/main" id="{8A8AEB48-8EA2-4AE9-A410-03E59D7B8A9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3" name="Freeform 8">
                        <a:extLst>
                          <a:ext uri="{FF2B5EF4-FFF2-40B4-BE49-F238E27FC236}">
                            <a16:creationId xmlns:a16="http://schemas.microsoft.com/office/drawing/2014/main" id="{DA15DEDE-44A2-46BA-91D5-8160FF5EC2E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4" name="Line 9">
                        <a:extLst>
                          <a:ext uri="{FF2B5EF4-FFF2-40B4-BE49-F238E27FC236}">
                            <a16:creationId xmlns:a16="http://schemas.microsoft.com/office/drawing/2014/main" id="{017EFE93-47AA-43AE-B2CC-D9295B6A9F99}"/>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55" name="Group 2054">
                        <a:extLst>
                          <a:ext uri="{FF2B5EF4-FFF2-40B4-BE49-F238E27FC236}">
                            <a16:creationId xmlns:a16="http://schemas.microsoft.com/office/drawing/2014/main" id="{084D1A28-0222-46DD-8E24-FFB39B1A73D9}"/>
                          </a:ext>
                        </a:extLst>
                      </p:cNvPr>
                      <p:cNvGrpSpPr/>
                      <p:nvPr/>
                    </p:nvGrpSpPr>
                    <p:grpSpPr>
                      <a:xfrm>
                        <a:off x="1207113" y="2241878"/>
                        <a:ext cx="178734" cy="348678"/>
                        <a:chOff x="1207113" y="2241878"/>
                        <a:chExt cx="178734" cy="348678"/>
                      </a:xfrm>
                    </p:grpSpPr>
                    <p:sp>
                      <p:nvSpPr>
                        <p:cNvPr id="2078" name="Freeform 10">
                          <a:extLst>
                            <a:ext uri="{FF2B5EF4-FFF2-40B4-BE49-F238E27FC236}">
                              <a16:creationId xmlns:a16="http://schemas.microsoft.com/office/drawing/2014/main" id="{A6C5B11D-8CDC-4FCE-8BD2-323816C319E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9" name="Line 11">
                          <a:extLst>
                            <a:ext uri="{FF2B5EF4-FFF2-40B4-BE49-F238E27FC236}">
                              <a16:creationId xmlns:a16="http://schemas.microsoft.com/office/drawing/2014/main" id="{C71CB6D2-F664-402E-9A23-8E043C87299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056" name="Freeform 12">
                        <a:extLst>
                          <a:ext uri="{FF2B5EF4-FFF2-40B4-BE49-F238E27FC236}">
                            <a16:creationId xmlns:a16="http://schemas.microsoft.com/office/drawing/2014/main" id="{71AF4565-F1DB-4FAA-ACBD-3BE44EDF480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7" name="Line 13">
                        <a:extLst>
                          <a:ext uri="{FF2B5EF4-FFF2-40B4-BE49-F238E27FC236}">
                            <a16:creationId xmlns:a16="http://schemas.microsoft.com/office/drawing/2014/main" id="{FCB036DD-2C22-45DF-89C6-21107DB7F46B}"/>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8" name="Freeform 14">
                        <a:extLst>
                          <a:ext uri="{FF2B5EF4-FFF2-40B4-BE49-F238E27FC236}">
                            <a16:creationId xmlns:a16="http://schemas.microsoft.com/office/drawing/2014/main" id="{ED66D134-CDCF-48B3-BA53-AABFBE5C14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9" name="Line 15">
                        <a:extLst>
                          <a:ext uri="{FF2B5EF4-FFF2-40B4-BE49-F238E27FC236}">
                            <a16:creationId xmlns:a16="http://schemas.microsoft.com/office/drawing/2014/main" id="{954244E4-308D-4F88-9DCF-7194D2801C8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0" name="Freeform 16">
                        <a:extLst>
                          <a:ext uri="{FF2B5EF4-FFF2-40B4-BE49-F238E27FC236}">
                            <a16:creationId xmlns:a16="http://schemas.microsoft.com/office/drawing/2014/main" id="{3F85E511-5E10-48E6-9EBC-83EB630E9B4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1" name="Line 17">
                        <a:extLst>
                          <a:ext uri="{FF2B5EF4-FFF2-40B4-BE49-F238E27FC236}">
                            <a16:creationId xmlns:a16="http://schemas.microsoft.com/office/drawing/2014/main" id="{6B909ABD-1595-4AD4-BC0B-DEC69383D0BC}"/>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2" name="Freeform 18">
                        <a:extLst>
                          <a:ext uri="{FF2B5EF4-FFF2-40B4-BE49-F238E27FC236}">
                            <a16:creationId xmlns:a16="http://schemas.microsoft.com/office/drawing/2014/main" id="{BDCEB189-E1A3-4F61-BE87-F10D87B2710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3" name="Line 19">
                        <a:extLst>
                          <a:ext uri="{FF2B5EF4-FFF2-40B4-BE49-F238E27FC236}">
                            <a16:creationId xmlns:a16="http://schemas.microsoft.com/office/drawing/2014/main" id="{A5801A50-A158-4B52-9E77-FF89C2D442E6}"/>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4" name="Freeform 35">
                        <a:extLst>
                          <a:ext uri="{FF2B5EF4-FFF2-40B4-BE49-F238E27FC236}">
                            <a16:creationId xmlns:a16="http://schemas.microsoft.com/office/drawing/2014/main" id="{A2A5B366-8854-45C4-8BEC-9E9F76CBAEF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5" name="Freeform 36">
                        <a:extLst>
                          <a:ext uri="{FF2B5EF4-FFF2-40B4-BE49-F238E27FC236}">
                            <a16:creationId xmlns:a16="http://schemas.microsoft.com/office/drawing/2014/main" id="{A9959492-14F1-4A2E-AE94-E9959B0345D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6" name="Freeform 37">
                        <a:extLst>
                          <a:ext uri="{FF2B5EF4-FFF2-40B4-BE49-F238E27FC236}">
                            <a16:creationId xmlns:a16="http://schemas.microsoft.com/office/drawing/2014/main" id="{5ED0F6C4-9257-4A26-82FD-6DA64DCDF93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7" name="Freeform 38">
                        <a:extLst>
                          <a:ext uri="{FF2B5EF4-FFF2-40B4-BE49-F238E27FC236}">
                            <a16:creationId xmlns:a16="http://schemas.microsoft.com/office/drawing/2014/main" id="{E6D4C4DE-85DA-4348-BAF1-FBDF5CB75BA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8" name="Freeform 39">
                        <a:extLst>
                          <a:ext uri="{FF2B5EF4-FFF2-40B4-BE49-F238E27FC236}">
                            <a16:creationId xmlns:a16="http://schemas.microsoft.com/office/drawing/2014/main" id="{A53B7A6D-CB31-4EE8-9E58-AC8FFE6CA5C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9" name="Freeform 40">
                        <a:extLst>
                          <a:ext uri="{FF2B5EF4-FFF2-40B4-BE49-F238E27FC236}">
                            <a16:creationId xmlns:a16="http://schemas.microsoft.com/office/drawing/2014/main" id="{090B3AC6-1F4F-43CF-9E4E-C4AB75FB265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0" name="Freeform 41">
                        <a:extLst>
                          <a:ext uri="{FF2B5EF4-FFF2-40B4-BE49-F238E27FC236}">
                            <a16:creationId xmlns:a16="http://schemas.microsoft.com/office/drawing/2014/main" id="{D01F9AD9-90A1-4084-857D-6A0CE0A59B96}"/>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1" name="Line 42">
                        <a:extLst>
                          <a:ext uri="{FF2B5EF4-FFF2-40B4-BE49-F238E27FC236}">
                            <a16:creationId xmlns:a16="http://schemas.microsoft.com/office/drawing/2014/main" id="{1B200E90-00C5-4D47-8EDC-739CE998E99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2" name="Freeform 43">
                        <a:extLst>
                          <a:ext uri="{FF2B5EF4-FFF2-40B4-BE49-F238E27FC236}">
                            <a16:creationId xmlns:a16="http://schemas.microsoft.com/office/drawing/2014/main" id="{57AC4181-E6DE-496C-8CC6-59006C184E4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3" name="Freeform 44">
                        <a:extLst>
                          <a:ext uri="{FF2B5EF4-FFF2-40B4-BE49-F238E27FC236}">
                            <a16:creationId xmlns:a16="http://schemas.microsoft.com/office/drawing/2014/main" id="{79C99E03-D11E-40AF-96F5-7947612FECB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4" name="Freeform 45">
                        <a:extLst>
                          <a:ext uri="{FF2B5EF4-FFF2-40B4-BE49-F238E27FC236}">
                            <a16:creationId xmlns:a16="http://schemas.microsoft.com/office/drawing/2014/main" id="{5317F08E-B27F-4FEC-BF2A-B6314519682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75" name="Group 2074">
                        <a:extLst>
                          <a:ext uri="{FF2B5EF4-FFF2-40B4-BE49-F238E27FC236}">
                            <a16:creationId xmlns:a16="http://schemas.microsoft.com/office/drawing/2014/main" id="{B2BECC28-D7C9-486B-B602-A81655E18478}"/>
                          </a:ext>
                        </a:extLst>
                      </p:cNvPr>
                      <p:cNvGrpSpPr/>
                      <p:nvPr/>
                    </p:nvGrpSpPr>
                    <p:grpSpPr>
                      <a:xfrm flipV="1">
                        <a:off x="1202047" y="3517919"/>
                        <a:ext cx="178734" cy="348678"/>
                        <a:chOff x="1207113" y="2241878"/>
                        <a:chExt cx="178734" cy="348678"/>
                      </a:xfrm>
                    </p:grpSpPr>
                    <p:sp>
                      <p:nvSpPr>
                        <p:cNvPr id="2076" name="Freeform 10">
                          <a:extLst>
                            <a:ext uri="{FF2B5EF4-FFF2-40B4-BE49-F238E27FC236}">
                              <a16:creationId xmlns:a16="http://schemas.microsoft.com/office/drawing/2014/main" id="{E98405F1-35EE-4CF6-B642-4093736BC42E}"/>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7" name="Line 11">
                          <a:extLst>
                            <a:ext uri="{FF2B5EF4-FFF2-40B4-BE49-F238E27FC236}">
                              <a16:creationId xmlns:a16="http://schemas.microsoft.com/office/drawing/2014/main" id="{368D9ED1-B092-4360-B4B0-D9D564B307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25" name="Group 2024">
                    <a:extLst>
                      <a:ext uri="{FF2B5EF4-FFF2-40B4-BE49-F238E27FC236}">
                        <a16:creationId xmlns:a16="http://schemas.microsoft.com/office/drawing/2014/main" id="{B037B739-0AC6-483D-9CD6-C23CB322CDCF}"/>
                      </a:ext>
                    </a:extLst>
                  </p:cNvPr>
                  <p:cNvGrpSpPr>
                    <a:grpSpLocks/>
                  </p:cNvGrpSpPr>
                  <p:nvPr/>
                </p:nvGrpSpPr>
                <p:grpSpPr>
                  <a:xfrm>
                    <a:off x="11709639" y="2297897"/>
                    <a:ext cx="690952" cy="690956"/>
                    <a:chOff x="2268747" y="4723725"/>
                    <a:chExt cx="415610" cy="415612"/>
                  </a:xfrm>
                </p:grpSpPr>
                <p:grpSp>
                  <p:nvGrpSpPr>
                    <p:cNvPr id="2026" name="Group 64">
                      <a:extLst>
                        <a:ext uri="{FF2B5EF4-FFF2-40B4-BE49-F238E27FC236}">
                          <a16:creationId xmlns:a16="http://schemas.microsoft.com/office/drawing/2014/main" id="{08D7E938-A413-4450-A19B-6A75A5009960}"/>
                        </a:ext>
                      </a:extLst>
                    </p:cNvPr>
                    <p:cNvGrpSpPr>
                      <a:grpSpLocks noChangeAspect="1"/>
                    </p:cNvGrpSpPr>
                    <p:nvPr/>
                  </p:nvGrpSpPr>
                  <p:grpSpPr bwMode="auto">
                    <a:xfrm rot="8100000">
                      <a:off x="2268747" y="4723725"/>
                      <a:ext cx="415610" cy="415612"/>
                      <a:chOff x="701" y="2170"/>
                      <a:chExt cx="587" cy="587"/>
                    </a:xfrm>
                  </p:grpSpPr>
                  <p:sp>
                    <p:nvSpPr>
                      <p:cNvPr id="2041" name="Oval 65">
                        <a:extLst>
                          <a:ext uri="{FF2B5EF4-FFF2-40B4-BE49-F238E27FC236}">
                            <a16:creationId xmlns:a16="http://schemas.microsoft.com/office/drawing/2014/main" id="{C0044DE8-339A-40BF-8511-55ED3339CF1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2" name="Line 66">
                        <a:extLst>
                          <a:ext uri="{FF2B5EF4-FFF2-40B4-BE49-F238E27FC236}">
                            <a16:creationId xmlns:a16="http://schemas.microsoft.com/office/drawing/2014/main" id="{E104734A-91B5-4854-B5E4-46A8B4BE5A5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3" name="Line 67">
                        <a:extLst>
                          <a:ext uri="{FF2B5EF4-FFF2-40B4-BE49-F238E27FC236}">
                            <a16:creationId xmlns:a16="http://schemas.microsoft.com/office/drawing/2014/main" id="{F8A00DAE-6A81-4FD7-8577-2A690D709D8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4" name="Line 69">
                        <a:extLst>
                          <a:ext uri="{FF2B5EF4-FFF2-40B4-BE49-F238E27FC236}">
                            <a16:creationId xmlns:a16="http://schemas.microsoft.com/office/drawing/2014/main" id="{E959F45C-F50B-48A5-ACAD-A8FD159609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5" name="Line 74">
                        <a:extLst>
                          <a:ext uri="{FF2B5EF4-FFF2-40B4-BE49-F238E27FC236}">
                            <a16:creationId xmlns:a16="http://schemas.microsoft.com/office/drawing/2014/main" id="{F7A415D4-892E-415D-B52D-4C31737AE6E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6" name="Freeform 78">
                        <a:extLst>
                          <a:ext uri="{FF2B5EF4-FFF2-40B4-BE49-F238E27FC236}">
                            <a16:creationId xmlns:a16="http://schemas.microsoft.com/office/drawing/2014/main" id="{24F79AE3-20DF-4F7B-84B6-6B1B62693B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7" name="Freeform 80">
                        <a:extLst>
                          <a:ext uri="{FF2B5EF4-FFF2-40B4-BE49-F238E27FC236}">
                            <a16:creationId xmlns:a16="http://schemas.microsoft.com/office/drawing/2014/main" id="{DC56F3FF-10DF-4FFC-9360-29442B3474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27" name="Group 2026">
                      <a:extLst>
                        <a:ext uri="{FF2B5EF4-FFF2-40B4-BE49-F238E27FC236}">
                          <a16:creationId xmlns:a16="http://schemas.microsoft.com/office/drawing/2014/main" id="{0E2DCCB4-C702-40DD-A4A1-69BC491A0C03}"/>
                        </a:ext>
                      </a:extLst>
                    </p:cNvPr>
                    <p:cNvGrpSpPr/>
                    <p:nvPr/>
                  </p:nvGrpSpPr>
                  <p:grpSpPr>
                    <a:xfrm>
                      <a:off x="2318076" y="4830163"/>
                      <a:ext cx="313949" cy="233075"/>
                      <a:chOff x="3707533" y="2731244"/>
                      <a:chExt cx="389644" cy="289271"/>
                    </a:xfrm>
                  </p:grpSpPr>
                  <p:sp>
                    <p:nvSpPr>
                      <p:cNvPr id="2028" name="Freeform 33">
                        <a:extLst>
                          <a:ext uri="{FF2B5EF4-FFF2-40B4-BE49-F238E27FC236}">
                            <a16:creationId xmlns:a16="http://schemas.microsoft.com/office/drawing/2014/main" id="{E8B2C79B-4AF1-4A44-A176-891EBCF127A3}"/>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29" name="Freeform 34">
                        <a:extLst>
                          <a:ext uri="{FF2B5EF4-FFF2-40B4-BE49-F238E27FC236}">
                            <a16:creationId xmlns:a16="http://schemas.microsoft.com/office/drawing/2014/main" id="{2B2340E6-B3CE-41D4-93E8-10F66EC1C005}"/>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0" name="Freeform 37">
                        <a:extLst>
                          <a:ext uri="{FF2B5EF4-FFF2-40B4-BE49-F238E27FC236}">
                            <a16:creationId xmlns:a16="http://schemas.microsoft.com/office/drawing/2014/main" id="{70FD9DBD-3EEE-4081-A7C5-623B318DEB6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1" name="Freeform 38">
                        <a:extLst>
                          <a:ext uri="{FF2B5EF4-FFF2-40B4-BE49-F238E27FC236}">
                            <a16:creationId xmlns:a16="http://schemas.microsoft.com/office/drawing/2014/main" id="{6B638651-29FF-47DA-A9EE-190AE460256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2" name="Freeform 32">
                        <a:extLst>
                          <a:ext uri="{FF2B5EF4-FFF2-40B4-BE49-F238E27FC236}">
                            <a16:creationId xmlns:a16="http://schemas.microsoft.com/office/drawing/2014/main" id="{52509299-95E6-477F-B2CE-5C495EFB222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3" name="Freeform 35">
                        <a:extLst>
                          <a:ext uri="{FF2B5EF4-FFF2-40B4-BE49-F238E27FC236}">
                            <a16:creationId xmlns:a16="http://schemas.microsoft.com/office/drawing/2014/main" id="{9D4A156B-550E-40AC-9F3C-1A59E40AD25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4" name="Freeform 36">
                        <a:extLst>
                          <a:ext uri="{FF2B5EF4-FFF2-40B4-BE49-F238E27FC236}">
                            <a16:creationId xmlns:a16="http://schemas.microsoft.com/office/drawing/2014/main" id="{0784B5FD-53DC-459C-9501-0DF1AD18B886}"/>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5" name="Freeform 25">
                        <a:extLst>
                          <a:ext uri="{FF2B5EF4-FFF2-40B4-BE49-F238E27FC236}">
                            <a16:creationId xmlns:a16="http://schemas.microsoft.com/office/drawing/2014/main" id="{063F9560-0D59-42B4-936E-5534763842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6" name="Freeform 39">
                        <a:extLst>
                          <a:ext uri="{FF2B5EF4-FFF2-40B4-BE49-F238E27FC236}">
                            <a16:creationId xmlns:a16="http://schemas.microsoft.com/office/drawing/2014/main" id="{6B294804-F521-46BA-87D4-E7C21805090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7" name="Freeform 26">
                        <a:extLst>
                          <a:ext uri="{FF2B5EF4-FFF2-40B4-BE49-F238E27FC236}">
                            <a16:creationId xmlns:a16="http://schemas.microsoft.com/office/drawing/2014/main" id="{4716EE93-6A1A-44B5-9DA4-72D5176B1770}"/>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8" name="Rectangle 27">
                        <a:extLst>
                          <a:ext uri="{FF2B5EF4-FFF2-40B4-BE49-F238E27FC236}">
                            <a16:creationId xmlns:a16="http://schemas.microsoft.com/office/drawing/2014/main" id="{4E146FFA-8A46-4665-AF88-43ADE3D3650D}"/>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9" name="Line 29">
                        <a:extLst>
                          <a:ext uri="{FF2B5EF4-FFF2-40B4-BE49-F238E27FC236}">
                            <a16:creationId xmlns:a16="http://schemas.microsoft.com/office/drawing/2014/main" id="{ECD43F80-7F01-4A04-AF12-F87ADD6E93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0" name="Line 31">
                        <a:extLst>
                          <a:ext uri="{FF2B5EF4-FFF2-40B4-BE49-F238E27FC236}">
                            <a16:creationId xmlns:a16="http://schemas.microsoft.com/office/drawing/2014/main" id="{494C1B5D-1A30-411F-B0DF-EFA8E546997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423" name="Group 2422">
                <a:extLst>
                  <a:ext uri="{FF2B5EF4-FFF2-40B4-BE49-F238E27FC236}">
                    <a16:creationId xmlns:a16="http://schemas.microsoft.com/office/drawing/2014/main" id="{0861F88F-F86B-4256-871A-619833B675D8}"/>
                  </a:ext>
                </a:extLst>
              </p:cNvPr>
              <p:cNvGrpSpPr/>
              <p:nvPr/>
            </p:nvGrpSpPr>
            <p:grpSpPr>
              <a:xfrm>
                <a:off x="3584215" y="5655005"/>
                <a:ext cx="1001118" cy="830281"/>
                <a:chOff x="3592922" y="5629153"/>
                <a:chExt cx="1003674" cy="832401"/>
              </a:xfrm>
            </p:grpSpPr>
            <p:pic>
              <p:nvPicPr>
                <p:cNvPr id="2424" name="Picture 1">
                  <a:extLst>
                    <a:ext uri="{FF2B5EF4-FFF2-40B4-BE49-F238E27FC236}">
                      <a16:creationId xmlns:a16="http://schemas.microsoft.com/office/drawing/2014/main" id="{2F855582-806F-4F4C-9E3E-ACC2A6B1559B}"/>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5" name="Rectangle 2424">
                  <a:extLst>
                    <a:ext uri="{FF2B5EF4-FFF2-40B4-BE49-F238E27FC236}">
                      <a16:creationId xmlns:a16="http://schemas.microsoft.com/office/drawing/2014/main" id="{46CEBEB8-20DE-4256-87A0-C6931B3E059E}"/>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802" name="Group 2801">
              <a:extLst>
                <a:ext uri="{FF2B5EF4-FFF2-40B4-BE49-F238E27FC236}">
                  <a16:creationId xmlns:a16="http://schemas.microsoft.com/office/drawing/2014/main" id="{B42686BC-04B1-4420-A0D9-BB8E0B6F4E1B}"/>
                </a:ext>
              </a:extLst>
            </p:cNvPr>
            <p:cNvGrpSpPr/>
            <p:nvPr/>
          </p:nvGrpSpPr>
          <p:grpSpPr>
            <a:xfrm>
              <a:off x="4527697" y="3616012"/>
              <a:ext cx="3535922" cy="312851"/>
              <a:chOff x="4538813" y="3457139"/>
              <a:chExt cx="3544948" cy="313650"/>
            </a:xfrm>
          </p:grpSpPr>
          <p:grpSp>
            <p:nvGrpSpPr>
              <p:cNvPr id="2803" name="Group 2802">
                <a:extLst>
                  <a:ext uri="{FF2B5EF4-FFF2-40B4-BE49-F238E27FC236}">
                    <a16:creationId xmlns:a16="http://schemas.microsoft.com/office/drawing/2014/main" id="{042C71BF-029D-49A1-8571-D8CA13FE0977}"/>
                  </a:ext>
                </a:extLst>
              </p:cNvPr>
              <p:cNvGrpSpPr/>
              <p:nvPr/>
            </p:nvGrpSpPr>
            <p:grpSpPr>
              <a:xfrm>
                <a:off x="4538813" y="3463012"/>
                <a:ext cx="3544948" cy="307777"/>
                <a:chOff x="4538813" y="3463012"/>
                <a:chExt cx="3544948" cy="307777"/>
              </a:xfrm>
            </p:grpSpPr>
            <p:sp>
              <p:nvSpPr>
                <p:cNvPr id="2805" name="Rectangle 2804">
                  <a:extLst>
                    <a:ext uri="{FF2B5EF4-FFF2-40B4-BE49-F238E27FC236}">
                      <a16:creationId xmlns:a16="http://schemas.microsoft.com/office/drawing/2014/main" id="{75C3E363-1F35-489E-BA74-0A779425B25C}"/>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6" name="Rectangle 2805">
                  <a:extLst>
                    <a:ext uri="{FF2B5EF4-FFF2-40B4-BE49-F238E27FC236}">
                      <a16:creationId xmlns:a16="http://schemas.microsoft.com/office/drawing/2014/main" id="{BD535703-7C60-48C0-A6F3-77B1BC346C9F}"/>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7" name="Rectangle 2806">
                  <a:extLst>
                    <a:ext uri="{FF2B5EF4-FFF2-40B4-BE49-F238E27FC236}">
                      <a16:creationId xmlns:a16="http://schemas.microsoft.com/office/drawing/2014/main" id="{47F71A10-A782-443A-8CBD-936E26C964D4}"/>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8" name="Rectangle 2807">
                  <a:extLst>
                    <a:ext uri="{FF2B5EF4-FFF2-40B4-BE49-F238E27FC236}">
                      <a16:creationId xmlns:a16="http://schemas.microsoft.com/office/drawing/2014/main" id="{08AC8244-6710-4675-8737-487150EB8633}"/>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9" name="Rectangle 2808">
                  <a:extLst>
                    <a:ext uri="{FF2B5EF4-FFF2-40B4-BE49-F238E27FC236}">
                      <a16:creationId xmlns:a16="http://schemas.microsoft.com/office/drawing/2014/main" id="{09A7514C-CF6A-4EB5-97F3-2B004132D70A}"/>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0" name="Rectangle 2809">
                  <a:extLst>
                    <a:ext uri="{FF2B5EF4-FFF2-40B4-BE49-F238E27FC236}">
                      <a16:creationId xmlns:a16="http://schemas.microsoft.com/office/drawing/2014/main" id="{D4BE4497-2EE1-4340-9A22-F07D1EEA1094}"/>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1" name="Rectangle 2810">
                  <a:extLst>
                    <a:ext uri="{FF2B5EF4-FFF2-40B4-BE49-F238E27FC236}">
                      <a16:creationId xmlns:a16="http://schemas.microsoft.com/office/drawing/2014/main" id="{AC1A6B11-647E-4E78-9141-5AB1BDC7AC86}"/>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804" name="Rectangle 2803">
                <a:extLst>
                  <a:ext uri="{FF2B5EF4-FFF2-40B4-BE49-F238E27FC236}">
                    <a16:creationId xmlns:a16="http://schemas.microsoft.com/office/drawing/2014/main" id="{84BE1BCD-92F1-4234-892B-3E3E3EB97326}"/>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3" name="Group 2">
            <a:extLst>
              <a:ext uri="{FF2B5EF4-FFF2-40B4-BE49-F238E27FC236}">
                <a16:creationId xmlns:a16="http://schemas.microsoft.com/office/drawing/2014/main" id="{F68ED92F-55F2-4796-B592-F951746241DD}"/>
              </a:ext>
            </a:extLst>
          </p:cNvPr>
          <p:cNvGrpSpPr/>
          <p:nvPr/>
        </p:nvGrpSpPr>
        <p:grpSpPr>
          <a:xfrm>
            <a:off x="1944832" y="1841990"/>
            <a:ext cx="1530261" cy="1365012"/>
            <a:chOff x="1943749" y="1841576"/>
            <a:chExt cx="1530660" cy="1365368"/>
          </a:xfrm>
        </p:grpSpPr>
        <p:grpSp>
          <p:nvGrpSpPr>
            <p:cNvPr id="2" name="Group 1">
              <a:extLst>
                <a:ext uri="{FF2B5EF4-FFF2-40B4-BE49-F238E27FC236}">
                  <a16:creationId xmlns:a16="http://schemas.microsoft.com/office/drawing/2014/main" id="{810E02F5-E91A-4A84-B614-26F7833E4F9E}"/>
                </a:ext>
              </a:extLst>
            </p:cNvPr>
            <p:cNvGrpSpPr/>
            <p:nvPr/>
          </p:nvGrpSpPr>
          <p:grpSpPr>
            <a:xfrm>
              <a:off x="1943749" y="2407608"/>
              <a:ext cx="1530660" cy="799336"/>
              <a:chOff x="1943749" y="2407608"/>
              <a:chExt cx="1530660" cy="799336"/>
            </a:xfrm>
          </p:grpSpPr>
          <p:cxnSp>
            <p:nvCxnSpPr>
              <p:cNvPr id="2812" name="Elbow Connector 558">
                <a:extLst>
                  <a:ext uri="{FF2B5EF4-FFF2-40B4-BE49-F238E27FC236}">
                    <a16:creationId xmlns:a16="http://schemas.microsoft.com/office/drawing/2014/main" id="{1935F575-87DC-442A-9CCD-6F852C78EB34}"/>
                  </a:ext>
                </a:extLst>
              </p:cNvPr>
              <p:cNvCxnSpPr>
                <a:cxnSpLocks/>
                <a:endCxn id="2814"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813" name="Elbow Connector 558">
                <a:extLst>
                  <a:ext uri="{FF2B5EF4-FFF2-40B4-BE49-F238E27FC236}">
                    <a16:creationId xmlns:a16="http://schemas.microsoft.com/office/drawing/2014/main" id="{37DBABF8-A9A5-45DD-953F-1B5BE29639BD}"/>
                  </a:ext>
                </a:extLst>
              </p:cNvPr>
              <p:cNvCxnSpPr>
                <a:cxnSpLocks/>
                <a:stCxn id="2814" idx="3"/>
                <a:endCxn id="2105" idx="1"/>
              </p:cNvCxnSpPr>
              <p:nvPr/>
            </p:nvCxnSpPr>
            <p:spPr>
              <a:xfrm flipV="1">
                <a:off x="2543277" y="2407608"/>
                <a:ext cx="931132" cy="374067"/>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814" name="Picture 2813">
                <a:extLst>
                  <a:ext uri="{FF2B5EF4-FFF2-40B4-BE49-F238E27FC236}">
                    <a16:creationId xmlns:a16="http://schemas.microsoft.com/office/drawing/2014/main" id="{B4B3FA98-B76F-474E-9F2A-47EBAD2A5D2E}"/>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815" name="Picture 2814">
              <a:extLst>
                <a:ext uri="{FF2B5EF4-FFF2-40B4-BE49-F238E27FC236}">
                  <a16:creationId xmlns:a16="http://schemas.microsoft.com/office/drawing/2014/main" id="{4A96C1DF-0971-4663-9F6A-90244601521F}"/>
                </a:ext>
              </a:extLst>
            </p:cNvPr>
            <p:cNvPicPr>
              <a:picLocks noChangeAspect="1"/>
            </p:cNvPicPr>
            <p:nvPr/>
          </p:nvPicPr>
          <p:blipFill>
            <a:blip r:embed="rId7"/>
            <a:stretch>
              <a:fillRect/>
            </a:stretch>
          </p:blipFill>
          <p:spPr>
            <a:xfrm>
              <a:off x="2231599" y="1841576"/>
              <a:ext cx="302738" cy="580832"/>
            </a:xfrm>
            <a:prstGeom prst="rect">
              <a:avLst/>
            </a:prstGeom>
          </p:spPr>
        </p:pic>
      </p:grpSp>
      <p:pic>
        <p:nvPicPr>
          <p:cNvPr id="2819" name="Picture 2818">
            <a:extLst>
              <a:ext uri="{FF2B5EF4-FFF2-40B4-BE49-F238E27FC236}">
                <a16:creationId xmlns:a16="http://schemas.microsoft.com/office/drawing/2014/main" id="{6544E938-61F0-46D9-A75C-4BF3D3484FA3}"/>
              </a:ext>
            </a:extLst>
          </p:cNvPr>
          <p:cNvPicPr>
            <a:picLocks noChangeAspect="1"/>
          </p:cNvPicPr>
          <p:nvPr/>
        </p:nvPicPr>
        <p:blipFill>
          <a:blip r:embed="rId8"/>
          <a:stretch>
            <a:fillRect/>
          </a:stretch>
        </p:blipFill>
        <p:spPr>
          <a:xfrm rot="19800000">
            <a:off x="421100" y="4657564"/>
            <a:ext cx="884802" cy="447298"/>
          </a:xfrm>
          <a:prstGeom prst="rect">
            <a:avLst/>
          </a:prstGeom>
        </p:spPr>
      </p:pic>
      <p:graphicFrame>
        <p:nvGraphicFramePr>
          <p:cNvPr id="2820" name="Table 2819">
            <a:extLst>
              <a:ext uri="{FF2B5EF4-FFF2-40B4-BE49-F238E27FC236}">
                <a16:creationId xmlns:a16="http://schemas.microsoft.com/office/drawing/2014/main" id="{89A8A12C-D536-4549-8896-ACAF02458597}"/>
              </a:ext>
            </a:extLst>
          </p:cNvPr>
          <p:cNvGraphicFramePr>
            <a:graphicFrameLocks noGrp="1"/>
          </p:cNvGraphicFramePr>
          <p:nvPr/>
        </p:nvGraphicFramePr>
        <p:xfrm>
          <a:off x="723088" y="3207003"/>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821" name="Group 2820">
            <a:extLst>
              <a:ext uri="{FF2B5EF4-FFF2-40B4-BE49-F238E27FC236}">
                <a16:creationId xmlns:a16="http://schemas.microsoft.com/office/drawing/2014/main" id="{1A72D80C-EC97-4590-90E5-A0435476FCFE}"/>
              </a:ext>
            </a:extLst>
          </p:cNvPr>
          <p:cNvGrpSpPr/>
          <p:nvPr/>
        </p:nvGrpSpPr>
        <p:grpSpPr>
          <a:xfrm>
            <a:off x="766965" y="3483750"/>
            <a:ext cx="381241" cy="766727"/>
            <a:chOff x="765576" y="3316088"/>
            <a:chExt cx="381340" cy="766927"/>
          </a:xfrm>
        </p:grpSpPr>
        <p:pic>
          <p:nvPicPr>
            <p:cNvPr id="2822" name="Picture 2821">
              <a:extLst>
                <a:ext uri="{FF2B5EF4-FFF2-40B4-BE49-F238E27FC236}">
                  <a16:creationId xmlns:a16="http://schemas.microsoft.com/office/drawing/2014/main" id="{FE11C917-2E55-4F7D-A2A1-2EFAB11CDE0C}"/>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823" name="Picture 2822">
              <a:extLst>
                <a:ext uri="{FF2B5EF4-FFF2-40B4-BE49-F238E27FC236}">
                  <a16:creationId xmlns:a16="http://schemas.microsoft.com/office/drawing/2014/main" id="{17224878-9330-48F3-B403-329D12D003CF}"/>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824" name="Picture 2823">
              <a:extLst>
                <a:ext uri="{FF2B5EF4-FFF2-40B4-BE49-F238E27FC236}">
                  <a16:creationId xmlns:a16="http://schemas.microsoft.com/office/drawing/2014/main" id="{852FF2A2-2767-4AFF-951E-8472461D8D9B}"/>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825" name="Rectangle 2824">
            <a:extLst>
              <a:ext uri="{FF2B5EF4-FFF2-40B4-BE49-F238E27FC236}">
                <a16:creationId xmlns:a16="http://schemas.microsoft.com/office/drawing/2014/main" id="{5224E924-2468-41ED-95B1-F5004958C1BE}"/>
              </a:ext>
            </a:extLst>
          </p:cNvPr>
          <p:cNvSpPr>
            <a:spLocks/>
          </p:cNvSpPr>
          <p:nvPr/>
        </p:nvSpPr>
        <p:spPr bwMode="gray">
          <a:xfrm>
            <a:off x="392096" y="1689529"/>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5" name="Group 4">
            <a:extLst>
              <a:ext uri="{FF2B5EF4-FFF2-40B4-BE49-F238E27FC236}">
                <a16:creationId xmlns:a16="http://schemas.microsoft.com/office/drawing/2014/main" id="{5EEE3459-2DC7-42CE-BC3F-E8DC87CB15E6}"/>
              </a:ext>
            </a:extLst>
          </p:cNvPr>
          <p:cNvGrpSpPr/>
          <p:nvPr/>
        </p:nvGrpSpPr>
        <p:grpSpPr>
          <a:xfrm>
            <a:off x="3475092" y="1754090"/>
            <a:ext cx="3106888" cy="2174645"/>
            <a:chOff x="3474409" y="1753652"/>
            <a:chExt cx="3107697" cy="2175211"/>
          </a:xfrm>
        </p:grpSpPr>
        <p:sp>
          <p:nvSpPr>
            <p:cNvPr id="2191" name="Rectangle 2190">
              <a:extLst>
                <a:ext uri="{FF2B5EF4-FFF2-40B4-BE49-F238E27FC236}">
                  <a16:creationId xmlns:a16="http://schemas.microsoft.com/office/drawing/2014/main" id="{89D1F8BB-2ACD-46A8-BABB-497E2F300D91}"/>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4" name="Group 3">
              <a:extLst>
                <a:ext uri="{FF2B5EF4-FFF2-40B4-BE49-F238E27FC236}">
                  <a16:creationId xmlns:a16="http://schemas.microsoft.com/office/drawing/2014/main" id="{D07FDF92-4F18-4D73-938A-6E4D44CEEA44}"/>
                </a:ext>
              </a:extLst>
            </p:cNvPr>
            <p:cNvGrpSpPr/>
            <p:nvPr/>
          </p:nvGrpSpPr>
          <p:grpSpPr>
            <a:xfrm>
              <a:off x="3474409" y="1753652"/>
              <a:ext cx="3107697" cy="1338890"/>
              <a:chOff x="3474409" y="1753652"/>
              <a:chExt cx="3107697" cy="1338890"/>
            </a:xfrm>
          </p:grpSpPr>
          <p:sp>
            <p:nvSpPr>
              <p:cNvPr id="2105" name="Rectangle 2104">
                <a:extLst>
                  <a:ext uri="{FF2B5EF4-FFF2-40B4-BE49-F238E27FC236}">
                    <a16:creationId xmlns:a16="http://schemas.microsoft.com/office/drawing/2014/main" id="{44E516F3-313F-4914-B318-9AB1CD619BCC}"/>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106" name="Group 2105">
                <a:extLst>
                  <a:ext uri="{FF2B5EF4-FFF2-40B4-BE49-F238E27FC236}">
                    <a16:creationId xmlns:a16="http://schemas.microsoft.com/office/drawing/2014/main" id="{5AF1A57A-6041-40E5-95D8-3110D4631C73}"/>
                  </a:ext>
                </a:extLst>
              </p:cNvPr>
              <p:cNvGrpSpPr/>
              <p:nvPr/>
            </p:nvGrpSpPr>
            <p:grpSpPr>
              <a:xfrm>
                <a:off x="3504077" y="2398698"/>
                <a:ext cx="1559613" cy="693844"/>
                <a:chOff x="3512580" y="2236718"/>
                <a:chExt cx="1563594" cy="695615"/>
              </a:xfrm>
            </p:grpSpPr>
            <p:grpSp>
              <p:nvGrpSpPr>
                <p:cNvPr id="2107" name="Group 2106">
                  <a:extLst>
                    <a:ext uri="{FF2B5EF4-FFF2-40B4-BE49-F238E27FC236}">
                      <a16:creationId xmlns:a16="http://schemas.microsoft.com/office/drawing/2014/main" id="{3FAA8F21-0B40-4BFE-ABF3-D6F66711CD94}"/>
                    </a:ext>
                  </a:extLst>
                </p:cNvPr>
                <p:cNvGrpSpPr>
                  <a:grpSpLocks/>
                </p:cNvGrpSpPr>
                <p:nvPr/>
              </p:nvGrpSpPr>
              <p:grpSpPr>
                <a:xfrm>
                  <a:off x="3512580" y="2240647"/>
                  <a:ext cx="418017" cy="418017"/>
                  <a:chOff x="745985" y="4768134"/>
                  <a:chExt cx="368776" cy="368777"/>
                </a:xfrm>
              </p:grpSpPr>
              <p:grpSp>
                <p:nvGrpSpPr>
                  <p:cNvPr id="2171" name="Group 64">
                    <a:extLst>
                      <a:ext uri="{FF2B5EF4-FFF2-40B4-BE49-F238E27FC236}">
                        <a16:creationId xmlns:a16="http://schemas.microsoft.com/office/drawing/2014/main" id="{38EC354A-5F5B-414D-9BE2-F680719CDB0D}"/>
                      </a:ext>
                    </a:extLst>
                  </p:cNvPr>
                  <p:cNvGrpSpPr>
                    <a:grpSpLocks noChangeAspect="1"/>
                  </p:cNvGrpSpPr>
                  <p:nvPr/>
                </p:nvGrpSpPr>
                <p:grpSpPr bwMode="auto">
                  <a:xfrm rot="8100000">
                    <a:off x="745985" y="4768134"/>
                    <a:ext cx="368776" cy="368777"/>
                    <a:chOff x="701" y="2170"/>
                    <a:chExt cx="587" cy="587"/>
                  </a:xfrm>
                </p:grpSpPr>
                <p:sp>
                  <p:nvSpPr>
                    <p:cNvPr id="2182" name="Oval 65">
                      <a:extLst>
                        <a:ext uri="{FF2B5EF4-FFF2-40B4-BE49-F238E27FC236}">
                          <a16:creationId xmlns:a16="http://schemas.microsoft.com/office/drawing/2014/main" id="{E48D45F4-2D4B-4F31-90D7-988033BE94A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3" name="Line 66">
                      <a:extLst>
                        <a:ext uri="{FF2B5EF4-FFF2-40B4-BE49-F238E27FC236}">
                          <a16:creationId xmlns:a16="http://schemas.microsoft.com/office/drawing/2014/main" id="{17980589-1B20-462C-9FD7-541129E1D23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7">
                      <a:extLst>
                        <a:ext uri="{FF2B5EF4-FFF2-40B4-BE49-F238E27FC236}">
                          <a16:creationId xmlns:a16="http://schemas.microsoft.com/office/drawing/2014/main" id="{08F6E583-99D8-4EFD-917A-22B56D6A3AF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69">
                      <a:extLst>
                        <a:ext uri="{FF2B5EF4-FFF2-40B4-BE49-F238E27FC236}">
                          <a16:creationId xmlns:a16="http://schemas.microsoft.com/office/drawing/2014/main" id="{F84751FB-D875-443B-B9F1-00A506F2C9B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Line 74">
                      <a:extLst>
                        <a:ext uri="{FF2B5EF4-FFF2-40B4-BE49-F238E27FC236}">
                          <a16:creationId xmlns:a16="http://schemas.microsoft.com/office/drawing/2014/main" id="{8980D920-70AF-4C24-A8A5-A29A9D314CB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78">
                      <a:extLst>
                        <a:ext uri="{FF2B5EF4-FFF2-40B4-BE49-F238E27FC236}">
                          <a16:creationId xmlns:a16="http://schemas.microsoft.com/office/drawing/2014/main" id="{7278A439-704A-41CA-80D3-8832931F3B3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8" name="Freeform 80">
                      <a:extLst>
                        <a:ext uri="{FF2B5EF4-FFF2-40B4-BE49-F238E27FC236}">
                          <a16:creationId xmlns:a16="http://schemas.microsoft.com/office/drawing/2014/main" id="{4407C87D-B2E5-428A-B68F-9BEE53F202D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72" name="Group 2171">
                    <a:extLst>
                      <a:ext uri="{FF2B5EF4-FFF2-40B4-BE49-F238E27FC236}">
                        <a16:creationId xmlns:a16="http://schemas.microsoft.com/office/drawing/2014/main" id="{AF84420C-E4A9-4F8C-9324-06623783D1A5}"/>
                      </a:ext>
                    </a:extLst>
                  </p:cNvPr>
                  <p:cNvGrpSpPr/>
                  <p:nvPr/>
                </p:nvGrpSpPr>
                <p:grpSpPr>
                  <a:xfrm>
                    <a:off x="837312" y="4814434"/>
                    <a:ext cx="136805" cy="278689"/>
                    <a:chOff x="2806700" y="2803319"/>
                    <a:chExt cx="433387" cy="882861"/>
                  </a:xfrm>
                </p:grpSpPr>
                <p:grpSp>
                  <p:nvGrpSpPr>
                    <p:cNvPr id="2173" name="Group 2172">
                      <a:extLst>
                        <a:ext uri="{FF2B5EF4-FFF2-40B4-BE49-F238E27FC236}">
                          <a16:creationId xmlns:a16="http://schemas.microsoft.com/office/drawing/2014/main" id="{A5E697F8-92AC-4BD0-9129-C67AF64A3869}"/>
                        </a:ext>
                      </a:extLst>
                    </p:cNvPr>
                    <p:cNvGrpSpPr>
                      <a:grpSpLocks noChangeAspect="1"/>
                    </p:cNvGrpSpPr>
                    <p:nvPr/>
                  </p:nvGrpSpPr>
                  <p:grpSpPr bwMode="auto">
                    <a:xfrm>
                      <a:off x="2806700" y="3043242"/>
                      <a:ext cx="433387" cy="642938"/>
                      <a:chOff x="1768" y="1917"/>
                      <a:chExt cx="273" cy="405"/>
                    </a:xfrm>
                  </p:grpSpPr>
                  <p:sp>
                    <p:nvSpPr>
                      <p:cNvPr id="2175" name="Freeform 52">
                        <a:extLst>
                          <a:ext uri="{FF2B5EF4-FFF2-40B4-BE49-F238E27FC236}">
                            <a16:creationId xmlns:a16="http://schemas.microsoft.com/office/drawing/2014/main" id="{C449D0F1-569C-42BE-B5E1-518BB0764D5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Line 54">
                        <a:extLst>
                          <a:ext uri="{FF2B5EF4-FFF2-40B4-BE49-F238E27FC236}">
                            <a16:creationId xmlns:a16="http://schemas.microsoft.com/office/drawing/2014/main" id="{4D088C09-DDB8-43AA-952A-CA9724EC801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7" name="Line 55">
                        <a:extLst>
                          <a:ext uri="{FF2B5EF4-FFF2-40B4-BE49-F238E27FC236}">
                            <a16:creationId xmlns:a16="http://schemas.microsoft.com/office/drawing/2014/main" id="{A7A5D080-91B1-406C-B744-3E56686F247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8" name="Freeform 56">
                        <a:extLst>
                          <a:ext uri="{FF2B5EF4-FFF2-40B4-BE49-F238E27FC236}">
                            <a16:creationId xmlns:a16="http://schemas.microsoft.com/office/drawing/2014/main" id="{2D15C026-04EE-4121-9FF3-3195568DE13D}"/>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9" name="Line 57">
                        <a:extLst>
                          <a:ext uri="{FF2B5EF4-FFF2-40B4-BE49-F238E27FC236}">
                            <a16:creationId xmlns:a16="http://schemas.microsoft.com/office/drawing/2014/main" id="{225C9A12-C9E9-43F5-B14C-4A90A9ECFC3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Freeform 58">
                        <a:extLst>
                          <a:ext uri="{FF2B5EF4-FFF2-40B4-BE49-F238E27FC236}">
                            <a16:creationId xmlns:a16="http://schemas.microsoft.com/office/drawing/2014/main" id="{4EDD10A5-C468-4686-802A-FAF24DE2F2A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1" name="Rectangle 2180">
                        <a:extLst>
                          <a:ext uri="{FF2B5EF4-FFF2-40B4-BE49-F238E27FC236}">
                            <a16:creationId xmlns:a16="http://schemas.microsoft.com/office/drawing/2014/main" id="{5606A2F7-2BC4-41E7-A55B-553E73182730}"/>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174" name="Oval 2173">
                      <a:extLst>
                        <a:ext uri="{FF2B5EF4-FFF2-40B4-BE49-F238E27FC236}">
                          <a16:creationId xmlns:a16="http://schemas.microsoft.com/office/drawing/2014/main" id="{09ACAF1E-A7C8-4DB3-BBC4-2010ACA3D51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08" name="Group 2107">
                  <a:extLst>
                    <a:ext uri="{FF2B5EF4-FFF2-40B4-BE49-F238E27FC236}">
                      <a16:creationId xmlns:a16="http://schemas.microsoft.com/office/drawing/2014/main" id="{792DAFCB-C935-451B-B203-1C3F9D9170FF}"/>
                    </a:ext>
                  </a:extLst>
                </p:cNvPr>
                <p:cNvGrpSpPr>
                  <a:grpSpLocks/>
                </p:cNvGrpSpPr>
                <p:nvPr/>
              </p:nvGrpSpPr>
              <p:grpSpPr>
                <a:xfrm>
                  <a:off x="3989965" y="2395465"/>
                  <a:ext cx="536865" cy="536868"/>
                  <a:chOff x="1454941" y="4721722"/>
                  <a:chExt cx="473625" cy="473627"/>
                </a:xfrm>
              </p:grpSpPr>
              <p:grpSp>
                <p:nvGrpSpPr>
                  <p:cNvPr id="2132" name="Group 64">
                    <a:extLst>
                      <a:ext uri="{FF2B5EF4-FFF2-40B4-BE49-F238E27FC236}">
                        <a16:creationId xmlns:a16="http://schemas.microsoft.com/office/drawing/2014/main" id="{95FC00C3-E804-45A7-A377-AD11BF922982}"/>
                      </a:ext>
                    </a:extLst>
                  </p:cNvPr>
                  <p:cNvGrpSpPr>
                    <a:grpSpLocks noChangeAspect="1"/>
                  </p:cNvGrpSpPr>
                  <p:nvPr/>
                </p:nvGrpSpPr>
                <p:grpSpPr bwMode="auto">
                  <a:xfrm rot="8100000">
                    <a:off x="1454941" y="4721722"/>
                    <a:ext cx="473625" cy="473627"/>
                    <a:chOff x="701" y="2170"/>
                    <a:chExt cx="587" cy="587"/>
                  </a:xfrm>
                </p:grpSpPr>
                <p:sp>
                  <p:nvSpPr>
                    <p:cNvPr id="2164" name="Oval 65">
                      <a:extLst>
                        <a:ext uri="{FF2B5EF4-FFF2-40B4-BE49-F238E27FC236}">
                          <a16:creationId xmlns:a16="http://schemas.microsoft.com/office/drawing/2014/main" id="{EACF8D5C-608F-48E7-B074-B183F86E0A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5" name="Line 66">
                      <a:extLst>
                        <a:ext uri="{FF2B5EF4-FFF2-40B4-BE49-F238E27FC236}">
                          <a16:creationId xmlns:a16="http://schemas.microsoft.com/office/drawing/2014/main" id="{1F6A04EB-1B9D-4A53-BB4E-BE0BBD531D9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6" name="Line 67">
                      <a:extLst>
                        <a:ext uri="{FF2B5EF4-FFF2-40B4-BE49-F238E27FC236}">
                          <a16:creationId xmlns:a16="http://schemas.microsoft.com/office/drawing/2014/main" id="{7EBB1F3F-FBFC-44BA-B0D6-3EE0FD2D410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7" name="Line 69">
                      <a:extLst>
                        <a:ext uri="{FF2B5EF4-FFF2-40B4-BE49-F238E27FC236}">
                          <a16:creationId xmlns:a16="http://schemas.microsoft.com/office/drawing/2014/main" id="{F20ADE09-C140-4F3C-AE4C-A9786262BDD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8" name="Line 74">
                      <a:extLst>
                        <a:ext uri="{FF2B5EF4-FFF2-40B4-BE49-F238E27FC236}">
                          <a16:creationId xmlns:a16="http://schemas.microsoft.com/office/drawing/2014/main" id="{CE1C09F1-0967-4544-8899-A5768B0B4F2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78">
                      <a:extLst>
                        <a:ext uri="{FF2B5EF4-FFF2-40B4-BE49-F238E27FC236}">
                          <a16:creationId xmlns:a16="http://schemas.microsoft.com/office/drawing/2014/main" id="{56EB5BCF-13D1-4C3D-BE9D-3872A5AE096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80">
                      <a:extLst>
                        <a:ext uri="{FF2B5EF4-FFF2-40B4-BE49-F238E27FC236}">
                          <a16:creationId xmlns:a16="http://schemas.microsoft.com/office/drawing/2014/main" id="{7CCAB085-C2B9-460B-BA69-B4D5776216D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33" name="Group 2132">
                    <a:extLst>
                      <a:ext uri="{FF2B5EF4-FFF2-40B4-BE49-F238E27FC236}">
                        <a16:creationId xmlns:a16="http://schemas.microsoft.com/office/drawing/2014/main" id="{2D4DB5BA-3D87-4D38-81F4-383C4020368B}"/>
                      </a:ext>
                    </a:extLst>
                  </p:cNvPr>
                  <p:cNvGrpSpPr/>
                  <p:nvPr/>
                </p:nvGrpSpPr>
                <p:grpSpPr>
                  <a:xfrm>
                    <a:off x="1511214" y="4789508"/>
                    <a:ext cx="356509" cy="349884"/>
                    <a:chOff x="468738" y="2241878"/>
                    <a:chExt cx="1655483" cy="1624719"/>
                  </a:xfrm>
                </p:grpSpPr>
                <p:sp>
                  <p:nvSpPr>
                    <p:cNvPr id="2134" name="Freeform 5">
                      <a:extLst>
                        <a:ext uri="{FF2B5EF4-FFF2-40B4-BE49-F238E27FC236}">
                          <a16:creationId xmlns:a16="http://schemas.microsoft.com/office/drawing/2014/main" id="{AD3029D4-64CC-47C2-B1C4-D8ED8754387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6">
                      <a:extLst>
                        <a:ext uri="{FF2B5EF4-FFF2-40B4-BE49-F238E27FC236}">
                          <a16:creationId xmlns:a16="http://schemas.microsoft.com/office/drawing/2014/main" id="{B5BFE621-131C-4D52-9439-80C4EC959B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Line 7">
                      <a:extLst>
                        <a:ext uri="{FF2B5EF4-FFF2-40B4-BE49-F238E27FC236}">
                          <a16:creationId xmlns:a16="http://schemas.microsoft.com/office/drawing/2014/main" id="{BB28B918-CD33-43C8-879C-64C3265172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8">
                      <a:extLst>
                        <a:ext uri="{FF2B5EF4-FFF2-40B4-BE49-F238E27FC236}">
                          <a16:creationId xmlns:a16="http://schemas.microsoft.com/office/drawing/2014/main" id="{B2F90028-D1CD-4003-860F-9380A5C2844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8" name="Line 9">
                      <a:extLst>
                        <a:ext uri="{FF2B5EF4-FFF2-40B4-BE49-F238E27FC236}">
                          <a16:creationId xmlns:a16="http://schemas.microsoft.com/office/drawing/2014/main" id="{D7D524DB-5ED9-4BEC-BD8E-345DBDE0EA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39" name="Group 2138">
                      <a:extLst>
                        <a:ext uri="{FF2B5EF4-FFF2-40B4-BE49-F238E27FC236}">
                          <a16:creationId xmlns:a16="http://schemas.microsoft.com/office/drawing/2014/main" id="{22510D73-D663-4E1A-9845-701E923B6979}"/>
                        </a:ext>
                      </a:extLst>
                    </p:cNvPr>
                    <p:cNvGrpSpPr/>
                    <p:nvPr/>
                  </p:nvGrpSpPr>
                  <p:grpSpPr>
                    <a:xfrm>
                      <a:off x="1207113" y="2241878"/>
                      <a:ext cx="178734" cy="348678"/>
                      <a:chOff x="1207113" y="2241878"/>
                      <a:chExt cx="178734" cy="348678"/>
                    </a:xfrm>
                  </p:grpSpPr>
                  <p:sp>
                    <p:nvSpPr>
                      <p:cNvPr id="2162" name="Freeform 10">
                        <a:extLst>
                          <a:ext uri="{FF2B5EF4-FFF2-40B4-BE49-F238E27FC236}">
                            <a16:creationId xmlns:a16="http://schemas.microsoft.com/office/drawing/2014/main" id="{6EFEEAC3-1634-423B-A959-6E7830384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3" name="Line 11">
                        <a:extLst>
                          <a:ext uri="{FF2B5EF4-FFF2-40B4-BE49-F238E27FC236}">
                            <a16:creationId xmlns:a16="http://schemas.microsoft.com/office/drawing/2014/main" id="{8F45FDBF-0115-45E1-9B55-D71F0010094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40" name="Freeform 12">
                      <a:extLst>
                        <a:ext uri="{FF2B5EF4-FFF2-40B4-BE49-F238E27FC236}">
                          <a16:creationId xmlns:a16="http://schemas.microsoft.com/office/drawing/2014/main" id="{3C495552-3098-4661-BDFD-B955DD6BCB1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13">
                      <a:extLst>
                        <a:ext uri="{FF2B5EF4-FFF2-40B4-BE49-F238E27FC236}">
                          <a16:creationId xmlns:a16="http://schemas.microsoft.com/office/drawing/2014/main" id="{ECD214C7-EACD-4229-9560-F610FE81A74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14">
                      <a:extLst>
                        <a:ext uri="{FF2B5EF4-FFF2-40B4-BE49-F238E27FC236}">
                          <a16:creationId xmlns:a16="http://schemas.microsoft.com/office/drawing/2014/main" id="{B4CDA5FF-6B69-415F-ADAB-F765E69E2C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Line 15">
                      <a:extLst>
                        <a:ext uri="{FF2B5EF4-FFF2-40B4-BE49-F238E27FC236}">
                          <a16:creationId xmlns:a16="http://schemas.microsoft.com/office/drawing/2014/main" id="{05E8653C-22F0-4581-A223-FEED3790531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16">
                      <a:extLst>
                        <a:ext uri="{FF2B5EF4-FFF2-40B4-BE49-F238E27FC236}">
                          <a16:creationId xmlns:a16="http://schemas.microsoft.com/office/drawing/2014/main" id="{80E39A21-A447-4749-943A-F7C93F46E12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5" name="Line 17">
                      <a:extLst>
                        <a:ext uri="{FF2B5EF4-FFF2-40B4-BE49-F238E27FC236}">
                          <a16:creationId xmlns:a16="http://schemas.microsoft.com/office/drawing/2014/main" id="{83312F89-1163-44C1-AE9E-FC31ABFC0208}"/>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6" name="Freeform 18">
                      <a:extLst>
                        <a:ext uri="{FF2B5EF4-FFF2-40B4-BE49-F238E27FC236}">
                          <a16:creationId xmlns:a16="http://schemas.microsoft.com/office/drawing/2014/main" id="{2F1608BA-2BDB-4E5F-AB8F-D06BB95AEB6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9">
                      <a:extLst>
                        <a:ext uri="{FF2B5EF4-FFF2-40B4-BE49-F238E27FC236}">
                          <a16:creationId xmlns:a16="http://schemas.microsoft.com/office/drawing/2014/main" id="{1CF28B91-606F-47BB-8755-7C9F19B86E1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8" name="Freeform 35">
                      <a:extLst>
                        <a:ext uri="{FF2B5EF4-FFF2-40B4-BE49-F238E27FC236}">
                          <a16:creationId xmlns:a16="http://schemas.microsoft.com/office/drawing/2014/main" id="{0D9FC22C-6B97-4EA5-A232-FBADFB8B1072}"/>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9" name="Freeform 36">
                      <a:extLst>
                        <a:ext uri="{FF2B5EF4-FFF2-40B4-BE49-F238E27FC236}">
                          <a16:creationId xmlns:a16="http://schemas.microsoft.com/office/drawing/2014/main" id="{2280C96F-7F21-4E0E-8D7B-080AE874B62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0" name="Freeform 37">
                      <a:extLst>
                        <a:ext uri="{FF2B5EF4-FFF2-40B4-BE49-F238E27FC236}">
                          <a16:creationId xmlns:a16="http://schemas.microsoft.com/office/drawing/2014/main" id="{208BDDF9-9F22-4BE0-B5C5-C73D78961BE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1" name="Freeform 38">
                      <a:extLst>
                        <a:ext uri="{FF2B5EF4-FFF2-40B4-BE49-F238E27FC236}">
                          <a16:creationId xmlns:a16="http://schemas.microsoft.com/office/drawing/2014/main" id="{8F240DD0-ACA1-4935-8CAD-EBB363D9A10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2" name="Freeform 39">
                      <a:extLst>
                        <a:ext uri="{FF2B5EF4-FFF2-40B4-BE49-F238E27FC236}">
                          <a16:creationId xmlns:a16="http://schemas.microsoft.com/office/drawing/2014/main" id="{431E5ABE-687E-4F2C-A695-BA8B469E494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3" name="Freeform 40">
                      <a:extLst>
                        <a:ext uri="{FF2B5EF4-FFF2-40B4-BE49-F238E27FC236}">
                          <a16:creationId xmlns:a16="http://schemas.microsoft.com/office/drawing/2014/main" id="{C770EBE2-7126-4073-9654-A1DCC6FD2EE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4" name="Freeform 41">
                      <a:extLst>
                        <a:ext uri="{FF2B5EF4-FFF2-40B4-BE49-F238E27FC236}">
                          <a16:creationId xmlns:a16="http://schemas.microsoft.com/office/drawing/2014/main" id="{ECE5DD8B-DAF3-41D3-B6B2-8B48854F1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Line 42">
                      <a:extLst>
                        <a:ext uri="{FF2B5EF4-FFF2-40B4-BE49-F238E27FC236}">
                          <a16:creationId xmlns:a16="http://schemas.microsoft.com/office/drawing/2014/main" id="{D85E7B62-8E0C-40C5-B75A-8D5B4D07F08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43">
                      <a:extLst>
                        <a:ext uri="{FF2B5EF4-FFF2-40B4-BE49-F238E27FC236}">
                          <a16:creationId xmlns:a16="http://schemas.microsoft.com/office/drawing/2014/main" id="{F750F8AA-167B-49D8-8200-E25925C7C5A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7" name="Freeform 44">
                      <a:extLst>
                        <a:ext uri="{FF2B5EF4-FFF2-40B4-BE49-F238E27FC236}">
                          <a16:creationId xmlns:a16="http://schemas.microsoft.com/office/drawing/2014/main" id="{26A05AF0-E552-4E8A-8650-8F2D50EB62BE}"/>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8" name="Freeform 45">
                      <a:extLst>
                        <a:ext uri="{FF2B5EF4-FFF2-40B4-BE49-F238E27FC236}">
                          <a16:creationId xmlns:a16="http://schemas.microsoft.com/office/drawing/2014/main" id="{90A305AF-DC97-4D53-A390-B839E25094CC}"/>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59" name="Group 2158">
                      <a:extLst>
                        <a:ext uri="{FF2B5EF4-FFF2-40B4-BE49-F238E27FC236}">
                          <a16:creationId xmlns:a16="http://schemas.microsoft.com/office/drawing/2014/main" id="{16EBB8D7-590F-405B-AC14-9407C90A88BE}"/>
                        </a:ext>
                      </a:extLst>
                    </p:cNvPr>
                    <p:cNvGrpSpPr/>
                    <p:nvPr/>
                  </p:nvGrpSpPr>
                  <p:grpSpPr>
                    <a:xfrm flipV="1">
                      <a:off x="1202047" y="3517919"/>
                      <a:ext cx="178734" cy="348678"/>
                      <a:chOff x="1207113" y="2241878"/>
                      <a:chExt cx="178734" cy="348678"/>
                    </a:xfrm>
                  </p:grpSpPr>
                  <p:sp>
                    <p:nvSpPr>
                      <p:cNvPr id="2160" name="Freeform 10">
                        <a:extLst>
                          <a:ext uri="{FF2B5EF4-FFF2-40B4-BE49-F238E27FC236}">
                            <a16:creationId xmlns:a16="http://schemas.microsoft.com/office/drawing/2014/main" id="{0260155B-1A8C-4AC0-B5E4-EA605B4CCA8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1" name="Line 11">
                        <a:extLst>
                          <a:ext uri="{FF2B5EF4-FFF2-40B4-BE49-F238E27FC236}">
                            <a16:creationId xmlns:a16="http://schemas.microsoft.com/office/drawing/2014/main" id="{FD8CD03B-2BD9-44F1-9372-51F29A34087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09" name="Group 2108">
                  <a:extLst>
                    <a:ext uri="{FF2B5EF4-FFF2-40B4-BE49-F238E27FC236}">
                      <a16:creationId xmlns:a16="http://schemas.microsoft.com/office/drawing/2014/main" id="{F743C01D-A412-4502-B453-0E322E740488}"/>
                    </a:ext>
                  </a:extLst>
                </p:cNvPr>
                <p:cNvGrpSpPr>
                  <a:grpSpLocks/>
                </p:cNvGrpSpPr>
                <p:nvPr/>
              </p:nvGrpSpPr>
              <p:grpSpPr>
                <a:xfrm>
                  <a:off x="4605070" y="2236718"/>
                  <a:ext cx="471104" cy="471107"/>
                  <a:chOff x="2268747" y="4723725"/>
                  <a:chExt cx="415610" cy="415612"/>
                </a:xfrm>
              </p:grpSpPr>
              <p:grpSp>
                <p:nvGrpSpPr>
                  <p:cNvPr id="2110" name="Group 64">
                    <a:extLst>
                      <a:ext uri="{FF2B5EF4-FFF2-40B4-BE49-F238E27FC236}">
                        <a16:creationId xmlns:a16="http://schemas.microsoft.com/office/drawing/2014/main" id="{3ED6BA51-88C4-475D-8CAE-3A4E1CE80C92}"/>
                      </a:ext>
                    </a:extLst>
                  </p:cNvPr>
                  <p:cNvGrpSpPr>
                    <a:grpSpLocks noChangeAspect="1"/>
                  </p:cNvGrpSpPr>
                  <p:nvPr/>
                </p:nvGrpSpPr>
                <p:grpSpPr bwMode="auto">
                  <a:xfrm rot="8100000">
                    <a:off x="2268747" y="4723725"/>
                    <a:ext cx="415610" cy="415612"/>
                    <a:chOff x="701" y="2170"/>
                    <a:chExt cx="587" cy="587"/>
                  </a:xfrm>
                </p:grpSpPr>
                <p:sp>
                  <p:nvSpPr>
                    <p:cNvPr id="2125" name="Oval 65">
                      <a:extLst>
                        <a:ext uri="{FF2B5EF4-FFF2-40B4-BE49-F238E27FC236}">
                          <a16:creationId xmlns:a16="http://schemas.microsoft.com/office/drawing/2014/main" id="{3F488B35-08AC-4424-88EE-CFC42A9905E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6" name="Line 66">
                      <a:extLst>
                        <a:ext uri="{FF2B5EF4-FFF2-40B4-BE49-F238E27FC236}">
                          <a16:creationId xmlns:a16="http://schemas.microsoft.com/office/drawing/2014/main" id="{E6EEE647-50EC-466A-9CED-4EBA5BAAF6A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67">
                      <a:extLst>
                        <a:ext uri="{FF2B5EF4-FFF2-40B4-BE49-F238E27FC236}">
                          <a16:creationId xmlns:a16="http://schemas.microsoft.com/office/drawing/2014/main" id="{D279D004-E98F-487A-BBC8-DF988B5B044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Line 69">
                      <a:extLst>
                        <a:ext uri="{FF2B5EF4-FFF2-40B4-BE49-F238E27FC236}">
                          <a16:creationId xmlns:a16="http://schemas.microsoft.com/office/drawing/2014/main" id="{0F201E97-2DE5-4039-8A87-56466A0473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74">
                      <a:extLst>
                        <a:ext uri="{FF2B5EF4-FFF2-40B4-BE49-F238E27FC236}">
                          <a16:creationId xmlns:a16="http://schemas.microsoft.com/office/drawing/2014/main" id="{35691D03-9390-4324-8F43-D5A21341F7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78">
                      <a:extLst>
                        <a:ext uri="{FF2B5EF4-FFF2-40B4-BE49-F238E27FC236}">
                          <a16:creationId xmlns:a16="http://schemas.microsoft.com/office/drawing/2014/main" id="{B1E74084-BDAB-40C6-9B50-F0C5FCC255D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Freeform 80">
                      <a:extLst>
                        <a:ext uri="{FF2B5EF4-FFF2-40B4-BE49-F238E27FC236}">
                          <a16:creationId xmlns:a16="http://schemas.microsoft.com/office/drawing/2014/main" id="{B05E470F-89A9-431A-9AD0-683F759B5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1" name="Group 2110">
                    <a:extLst>
                      <a:ext uri="{FF2B5EF4-FFF2-40B4-BE49-F238E27FC236}">
                        <a16:creationId xmlns:a16="http://schemas.microsoft.com/office/drawing/2014/main" id="{9CBA07D6-2EC5-4BE0-8326-6F02B874729E}"/>
                      </a:ext>
                    </a:extLst>
                  </p:cNvPr>
                  <p:cNvGrpSpPr/>
                  <p:nvPr/>
                </p:nvGrpSpPr>
                <p:grpSpPr>
                  <a:xfrm>
                    <a:off x="2318076" y="4830163"/>
                    <a:ext cx="313949" cy="233075"/>
                    <a:chOff x="3707533" y="2731244"/>
                    <a:chExt cx="389644" cy="289271"/>
                  </a:xfrm>
                </p:grpSpPr>
                <p:sp>
                  <p:nvSpPr>
                    <p:cNvPr id="2112" name="Freeform 33">
                      <a:extLst>
                        <a:ext uri="{FF2B5EF4-FFF2-40B4-BE49-F238E27FC236}">
                          <a16:creationId xmlns:a16="http://schemas.microsoft.com/office/drawing/2014/main" id="{C428139F-5A6B-4BA0-A0B1-5076AAFF743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3" name="Freeform 34">
                      <a:extLst>
                        <a:ext uri="{FF2B5EF4-FFF2-40B4-BE49-F238E27FC236}">
                          <a16:creationId xmlns:a16="http://schemas.microsoft.com/office/drawing/2014/main" id="{9F0DD76B-86BA-436E-98AA-27F8CA5AB0EF}"/>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4" name="Freeform 37">
                      <a:extLst>
                        <a:ext uri="{FF2B5EF4-FFF2-40B4-BE49-F238E27FC236}">
                          <a16:creationId xmlns:a16="http://schemas.microsoft.com/office/drawing/2014/main" id="{328E1ECE-0B47-40FF-ADC8-52A869AD539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5" name="Freeform 38">
                      <a:extLst>
                        <a:ext uri="{FF2B5EF4-FFF2-40B4-BE49-F238E27FC236}">
                          <a16:creationId xmlns:a16="http://schemas.microsoft.com/office/drawing/2014/main" id="{FBC1A354-40E6-4BA7-A7FC-12DFA0ED8DF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32">
                      <a:extLst>
                        <a:ext uri="{FF2B5EF4-FFF2-40B4-BE49-F238E27FC236}">
                          <a16:creationId xmlns:a16="http://schemas.microsoft.com/office/drawing/2014/main" id="{44A20234-6690-46A4-AF7F-55903773AB65}"/>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35">
                      <a:extLst>
                        <a:ext uri="{FF2B5EF4-FFF2-40B4-BE49-F238E27FC236}">
                          <a16:creationId xmlns:a16="http://schemas.microsoft.com/office/drawing/2014/main" id="{E8FFE7C3-81CC-46D2-A00F-E52399A2758E}"/>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8" name="Freeform 36">
                      <a:extLst>
                        <a:ext uri="{FF2B5EF4-FFF2-40B4-BE49-F238E27FC236}">
                          <a16:creationId xmlns:a16="http://schemas.microsoft.com/office/drawing/2014/main" id="{80451F71-A3E1-4C02-A56E-4B6B9C65B39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9" name="Freeform 25">
                      <a:extLst>
                        <a:ext uri="{FF2B5EF4-FFF2-40B4-BE49-F238E27FC236}">
                          <a16:creationId xmlns:a16="http://schemas.microsoft.com/office/drawing/2014/main" id="{79CCFFCF-160C-44C1-98F6-600F7AEF940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0" name="Freeform 39">
                      <a:extLst>
                        <a:ext uri="{FF2B5EF4-FFF2-40B4-BE49-F238E27FC236}">
                          <a16:creationId xmlns:a16="http://schemas.microsoft.com/office/drawing/2014/main" id="{96C9F0EB-878A-4903-9840-A01FC702A21C}"/>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26">
                      <a:extLst>
                        <a:ext uri="{FF2B5EF4-FFF2-40B4-BE49-F238E27FC236}">
                          <a16:creationId xmlns:a16="http://schemas.microsoft.com/office/drawing/2014/main" id="{96D32403-D861-4D9C-BCAB-F0E3CBF48F8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2" name="Rectangle 27">
                      <a:extLst>
                        <a:ext uri="{FF2B5EF4-FFF2-40B4-BE49-F238E27FC236}">
                          <a16:creationId xmlns:a16="http://schemas.microsoft.com/office/drawing/2014/main" id="{C3B97169-9DC7-44F5-8846-86615CCD4FEB}"/>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3" name="Line 29">
                      <a:extLst>
                        <a:ext uri="{FF2B5EF4-FFF2-40B4-BE49-F238E27FC236}">
                          <a16:creationId xmlns:a16="http://schemas.microsoft.com/office/drawing/2014/main" id="{064DEB77-4693-426F-9A52-6172A03002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31">
                      <a:extLst>
                        <a:ext uri="{FF2B5EF4-FFF2-40B4-BE49-F238E27FC236}">
                          <a16:creationId xmlns:a16="http://schemas.microsoft.com/office/drawing/2014/main" id="{B5D17F89-315F-44FC-A2F6-8C02B4CAB390}"/>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6" name="Group 2825">
                <a:extLst>
                  <a:ext uri="{FF2B5EF4-FFF2-40B4-BE49-F238E27FC236}">
                    <a16:creationId xmlns:a16="http://schemas.microsoft.com/office/drawing/2014/main" id="{10B0253C-5C94-429F-BBF1-611BB03ABB88}"/>
                  </a:ext>
                </a:extLst>
              </p:cNvPr>
              <p:cNvGrpSpPr/>
              <p:nvPr/>
            </p:nvGrpSpPr>
            <p:grpSpPr>
              <a:xfrm>
                <a:off x="5261891" y="1974470"/>
                <a:ext cx="1115908" cy="967814"/>
                <a:chOff x="7338624" y="178556"/>
                <a:chExt cx="1115908" cy="967814"/>
              </a:xfrm>
            </p:grpSpPr>
            <p:grpSp>
              <p:nvGrpSpPr>
                <p:cNvPr id="2827" name="Group 2826">
                  <a:extLst>
                    <a:ext uri="{FF2B5EF4-FFF2-40B4-BE49-F238E27FC236}">
                      <a16:creationId xmlns:a16="http://schemas.microsoft.com/office/drawing/2014/main" id="{E28F05B0-9772-44E3-B5B8-58C6DAC79255}"/>
                    </a:ext>
                  </a:extLst>
                </p:cNvPr>
                <p:cNvGrpSpPr/>
                <p:nvPr/>
              </p:nvGrpSpPr>
              <p:grpSpPr>
                <a:xfrm flipH="1">
                  <a:off x="7603032" y="178556"/>
                  <a:ext cx="524442" cy="697246"/>
                  <a:chOff x="8607957" y="605299"/>
                  <a:chExt cx="2806962" cy="3731864"/>
                </a:xfrm>
              </p:grpSpPr>
              <p:sp>
                <p:nvSpPr>
                  <p:cNvPr id="2829" name="iBar:31/138">
                    <a:extLst>
                      <a:ext uri="{FF2B5EF4-FFF2-40B4-BE49-F238E27FC236}">
                        <a16:creationId xmlns:a16="http://schemas.microsoft.com/office/drawing/2014/main" id="{76083AC9-51FA-4E2F-83DF-C02B81FEC2E0}"/>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0" name="Rectangle 2829">
                    <a:extLst>
                      <a:ext uri="{FF2B5EF4-FFF2-40B4-BE49-F238E27FC236}">
                        <a16:creationId xmlns:a16="http://schemas.microsoft.com/office/drawing/2014/main" id="{E6C84DCD-DA8A-456D-AF0E-EF979749E31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31" name="Group 2830">
                    <a:extLst>
                      <a:ext uri="{FF2B5EF4-FFF2-40B4-BE49-F238E27FC236}">
                        <a16:creationId xmlns:a16="http://schemas.microsoft.com/office/drawing/2014/main" id="{1AB2D2B6-42E6-45AE-A96E-238D173DB770}"/>
                      </a:ext>
                    </a:extLst>
                  </p:cNvPr>
                  <p:cNvGrpSpPr/>
                  <p:nvPr/>
                </p:nvGrpSpPr>
                <p:grpSpPr>
                  <a:xfrm>
                    <a:off x="8776645" y="2392984"/>
                    <a:ext cx="2463737" cy="1844316"/>
                    <a:chOff x="8566719" y="2617154"/>
                    <a:chExt cx="2463737" cy="1844316"/>
                  </a:xfrm>
                </p:grpSpPr>
                <p:sp>
                  <p:nvSpPr>
                    <p:cNvPr id="2845" name="Rectangle 2844">
                      <a:extLst>
                        <a:ext uri="{FF2B5EF4-FFF2-40B4-BE49-F238E27FC236}">
                          <a16:creationId xmlns:a16="http://schemas.microsoft.com/office/drawing/2014/main" id="{96505904-8AB3-48C5-B8E0-5633CA83587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6" name="Group 2845">
                      <a:extLst>
                        <a:ext uri="{FF2B5EF4-FFF2-40B4-BE49-F238E27FC236}">
                          <a16:creationId xmlns:a16="http://schemas.microsoft.com/office/drawing/2014/main" id="{0757CA4A-A2A4-4482-8ED7-6ABA1D868BBE}"/>
                        </a:ext>
                      </a:extLst>
                    </p:cNvPr>
                    <p:cNvGrpSpPr/>
                    <p:nvPr/>
                  </p:nvGrpSpPr>
                  <p:grpSpPr>
                    <a:xfrm>
                      <a:off x="8720849" y="2791577"/>
                      <a:ext cx="2190282" cy="1669893"/>
                      <a:chOff x="5195358" y="4591383"/>
                      <a:chExt cx="1906459" cy="1380076"/>
                    </a:xfrm>
                  </p:grpSpPr>
                  <p:grpSp>
                    <p:nvGrpSpPr>
                      <p:cNvPr id="2847" name="Group 2846">
                        <a:extLst>
                          <a:ext uri="{FF2B5EF4-FFF2-40B4-BE49-F238E27FC236}">
                            <a16:creationId xmlns:a16="http://schemas.microsoft.com/office/drawing/2014/main" id="{BF629DC0-DE9F-4F1C-AFA9-FD31D01C65DD}"/>
                          </a:ext>
                        </a:extLst>
                      </p:cNvPr>
                      <p:cNvGrpSpPr/>
                      <p:nvPr/>
                    </p:nvGrpSpPr>
                    <p:grpSpPr>
                      <a:xfrm>
                        <a:off x="5195358" y="4591383"/>
                        <a:ext cx="1020183" cy="1224086"/>
                        <a:chOff x="10650533" y="3663550"/>
                        <a:chExt cx="575867" cy="836067"/>
                      </a:xfrm>
                    </p:grpSpPr>
                    <p:grpSp>
                      <p:nvGrpSpPr>
                        <p:cNvPr id="2849" name="Group 2848">
                          <a:extLst>
                            <a:ext uri="{FF2B5EF4-FFF2-40B4-BE49-F238E27FC236}">
                              <a16:creationId xmlns:a16="http://schemas.microsoft.com/office/drawing/2014/main" id="{BB98506A-FA0C-4492-9504-F1365ACE114B}"/>
                            </a:ext>
                          </a:extLst>
                        </p:cNvPr>
                        <p:cNvGrpSpPr/>
                        <p:nvPr/>
                      </p:nvGrpSpPr>
                      <p:grpSpPr>
                        <a:xfrm>
                          <a:off x="10650533" y="3663550"/>
                          <a:ext cx="575867" cy="728623"/>
                          <a:chOff x="5717961" y="2827338"/>
                          <a:chExt cx="282576" cy="387350"/>
                        </a:xfrm>
                      </p:grpSpPr>
                      <p:sp>
                        <p:nvSpPr>
                          <p:cNvPr id="2851" name="Freeform 1754">
                            <a:extLst>
                              <a:ext uri="{FF2B5EF4-FFF2-40B4-BE49-F238E27FC236}">
                                <a16:creationId xmlns:a16="http://schemas.microsoft.com/office/drawing/2014/main" id="{29A43FEB-3397-4D64-8742-218DE128F717}"/>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2" name="Freeform 1755">
                            <a:extLst>
                              <a:ext uri="{FF2B5EF4-FFF2-40B4-BE49-F238E27FC236}">
                                <a16:creationId xmlns:a16="http://schemas.microsoft.com/office/drawing/2014/main" id="{4CA2087B-D49F-46EC-AE28-3B14506FD4B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53" name="Freeform 1756">
                            <a:extLst>
                              <a:ext uri="{FF2B5EF4-FFF2-40B4-BE49-F238E27FC236}">
                                <a16:creationId xmlns:a16="http://schemas.microsoft.com/office/drawing/2014/main" id="{C8403C95-BCEE-465E-ADAC-A020457D09BE}"/>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4" name="Freeform 1757">
                            <a:extLst>
                              <a:ext uri="{FF2B5EF4-FFF2-40B4-BE49-F238E27FC236}">
                                <a16:creationId xmlns:a16="http://schemas.microsoft.com/office/drawing/2014/main" id="{2561EC10-7056-4F74-8284-A8C753A830C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5" name="Freeform 1758">
                            <a:extLst>
                              <a:ext uri="{FF2B5EF4-FFF2-40B4-BE49-F238E27FC236}">
                                <a16:creationId xmlns:a16="http://schemas.microsoft.com/office/drawing/2014/main" id="{931576A2-EA44-463F-A03A-911B6FC5D780}"/>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50" name="TextBox 2849">
                          <a:extLst>
                            <a:ext uri="{FF2B5EF4-FFF2-40B4-BE49-F238E27FC236}">
                              <a16:creationId xmlns:a16="http://schemas.microsoft.com/office/drawing/2014/main" id="{3D98CFE1-0FD4-4645-87E5-09E842BBE60A}"/>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48" name="TextBox 2847">
                        <a:extLst>
                          <a:ext uri="{FF2B5EF4-FFF2-40B4-BE49-F238E27FC236}">
                            <a16:creationId xmlns:a16="http://schemas.microsoft.com/office/drawing/2014/main" id="{89484070-167C-403C-8732-0E81C207859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32" name="Group 2831">
                    <a:extLst>
                      <a:ext uri="{FF2B5EF4-FFF2-40B4-BE49-F238E27FC236}">
                        <a16:creationId xmlns:a16="http://schemas.microsoft.com/office/drawing/2014/main" id="{8B11732F-9CC2-42EE-AB66-BE2E5101BD37}"/>
                      </a:ext>
                    </a:extLst>
                  </p:cNvPr>
                  <p:cNvGrpSpPr/>
                  <p:nvPr/>
                </p:nvGrpSpPr>
                <p:grpSpPr>
                  <a:xfrm>
                    <a:off x="9538998" y="605299"/>
                    <a:ext cx="944881" cy="858986"/>
                    <a:chOff x="3369813" y="4950013"/>
                    <a:chExt cx="440826" cy="400751"/>
                  </a:xfrm>
                </p:grpSpPr>
                <p:sp>
                  <p:nvSpPr>
                    <p:cNvPr id="2841" name="Oval 2840">
                      <a:extLst>
                        <a:ext uri="{FF2B5EF4-FFF2-40B4-BE49-F238E27FC236}">
                          <a16:creationId xmlns:a16="http://schemas.microsoft.com/office/drawing/2014/main" id="{AA81403E-440E-46C0-8AAD-EAF0C5501D0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2" name="Group 226">
                      <a:extLst>
                        <a:ext uri="{FF2B5EF4-FFF2-40B4-BE49-F238E27FC236}">
                          <a16:creationId xmlns:a16="http://schemas.microsoft.com/office/drawing/2014/main" id="{565B5CAF-270F-478D-B29E-678341F504CA}"/>
                        </a:ext>
                      </a:extLst>
                    </p:cNvPr>
                    <p:cNvGrpSpPr>
                      <a:grpSpLocks noChangeAspect="1"/>
                    </p:cNvGrpSpPr>
                    <p:nvPr/>
                  </p:nvGrpSpPr>
                  <p:grpSpPr bwMode="auto">
                    <a:xfrm>
                      <a:off x="3437467" y="4997630"/>
                      <a:ext cx="305517" cy="305517"/>
                      <a:chOff x="5048" y="783"/>
                      <a:chExt cx="340" cy="340"/>
                    </a:xfrm>
                    <a:solidFill>
                      <a:schemeClr val="bg1"/>
                    </a:solidFill>
                  </p:grpSpPr>
                  <p:sp>
                    <p:nvSpPr>
                      <p:cNvPr id="2843" name="Freeform 227">
                        <a:extLst>
                          <a:ext uri="{FF2B5EF4-FFF2-40B4-BE49-F238E27FC236}">
                            <a16:creationId xmlns:a16="http://schemas.microsoft.com/office/drawing/2014/main" id="{366C18A2-9552-40A8-9B31-D9E6E6F42751}"/>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44" name="Freeform 228">
                        <a:extLst>
                          <a:ext uri="{FF2B5EF4-FFF2-40B4-BE49-F238E27FC236}">
                            <a16:creationId xmlns:a16="http://schemas.microsoft.com/office/drawing/2014/main" id="{21FD642E-B72D-4CA8-9986-89D6870F3588}"/>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33" name="Straight Connector 2832">
                    <a:extLst>
                      <a:ext uri="{FF2B5EF4-FFF2-40B4-BE49-F238E27FC236}">
                        <a16:creationId xmlns:a16="http://schemas.microsoft.com/office/drawing/2014/main" id="{383E3174-9BB6-4919-9467-9F8C351AA09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4" name="Straight Connector 2833">
                    <a:extLst>
                      <a:ext uri="{FF2B5EF4-FFF2-40B4-BE49-F238E27FC236}">
                        <a16:creationId xmlns:a16="http://schemas.microsoft.com/office/drawing/2014/main" id="{F9B7EB99-914D-41FC-AF5A-F90C88EDD6CC}"/>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5" name="Straight Connector 2834">
                    <a:extLst>
                      <a:ext uri="{FF2B5EF4-FFF2-40B4-BE49-F238E27FC236}">
                        <a16:creationId xmlns:a16="http://schemas.microsoft.com/office/drawing/2014/main" id="{BC2B2B6B-849E-4DD8-8550-64D70B59D3B9}"/>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6" name="Straight Connector 2835">
                    <a:extLst>
                      <a:ext uri="{FF2B5EF4-FFF2-40B4-BE49-F238E27FC236}">
                        <a16:creationId xmlns:a16="http://schemas.microsoft.com/office/drawing/2014/main" id="{A48ADA09-496D-45B9-96E9-D85E34A3C95D}"/>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7" name="Straight Connector 2836">
                    <a:extLst>
                      <a:ext uri="{FF2B5EF4-FFF2-40B4-BE49-F238E27FC236}">
                        <a16:creationId xmlns:a16="http://schemas.microsoft.com/office/drawing/2014/main" id="{DC4DBB82-431A-4CE8-8A16-3D69C3A21B9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8" name="Straight Connector 2837">
                    <a:extLst>
                      <a:ext uri="{FF2B5EF4-FFF2-40B4-BE49-F238E27FC236}">
                        <a16:creationId xmlns:a16="http://schemas.microsoft.com/office/drawing/2014/main" id="{A16B99CE-E9EE-4DAB-8AE5-A5F1DC8559CC}"/>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9" name="Straight Connector 2838">
                    <a:extLst>
                      <a:ext uri="{FF2B5EF4-FFF2-40B4-BE49-F238E27FC236}">
                        <a16:creationId xmlns:a16="http://schemas.microsoft.com/office/drawing/2014/main" id="{DCCDAB6B-C5CD-4CBF-8E38-210CB00383F7}"/>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0" name="Straight Connector 2839">
                    <a:extLst>
                      <a:ext uri="{FF2B5EF4-FFF2-40B4-BE49-F238E27FC236}">
                        <a16:creationId xmlns:a16="http://schemas.microsoft.com/office/drawing/2014/main" id="{A296BF29-EB62-4597-8850-8C45C724A659}"/>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28" name="Rectangle 2827">
                  <a:extLst>
                    <a:ext uri="{FF2B5EF4-FFF2-40B4-BE49-F238E27FC236}">
                      <a16:creationId xmlns:a16="http://schemas.microsoft.com/office/drawing/2014/main" id="{F06BBE9B-80D6-4DEE-92CB-5CB4F1CBF1C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856" name="Group 2855">
                <a:extLst>
                  <a:ext uri="{FF2B5EF4-FFF2-40B4-BE49-F238E27FC236}">
                    <a16:creationId xmlns:a16="http://schemas.microsoft.com/office/drawing/2014/main" id="{39FBE55D-3B31-4558-AA6D-C82DF7F5AB12}"/>
                  </a:ext>
                </a:extLst>
              </p:cNvPr>
              <p:cNvGrpSpPr/>
              <p:nvPr/>
            </p:nvGrpSpPr>
            <p:grpSpPr>
              <a:xfrm>
                <a:off x="6189282" y="2207036"/>
                <a:ext cx="309777" cy="570271"/>
                <a:chOff x="6298183" y="258138"/>
                <a:chExt cx="309777" cy="570271"/>
              </a:xfrm>
            </p:grpSpPr>
            <p:pic>
              <p:nvPicPr>
                <p:cNvPr id="2857" name="Picture 2856">
                  <a:extLst>
                    <a:ext uri="{FF2B5EF4-FFF2-40B4-BE49-F238E27FC236}">
                      <a16:creationId xmlns:a16="http://schemas.microsoft.com/office/drawing/2014/main" id="{4BBE49CE-786F-4672-A5CA-941B8AF71A9F}"/>
                    </a:ext>
                  </a:extLst>
                </p:cNvPr>
                <p:cNvPicPr>
                  <a:picLocks noChangeAspect="1"/>
                </p:cNvPicPr>
                <p:nvPr/>
              </p:nvPicPr>
              <p:blipFill>
                <a:blip r:embed="rId6"/>
                <a:stretch>
                  <a:fillRect/>
                </a:stretch>
              </p:blipFill>
              <p:spPr>
                <a:xfrm>
                  <a:off x="6298183" y="258138"/>
                  <a:ext cx="309777" cy="570271"/>
                </a:xfrm>
                <a:prstGeom prst="rect">
                  <a:avLst/>
                </a:prstGeom>
              </p:spPr>
            </p:pic>
            <p:sp>
              <p:nvSpPr>
                <p:cNvPr id="2858" name="Freeform 152">
                  <a:extLst>
                    <a:ext uri="{FF2B5EF4-FFF2-40B4-BE49-F238E27FC236}">
                      <a16:creationId xmlns:a16="http://schemas.microsoft.com/office/drawing/2014/main" id="{E3CD1546-4807-4BEC-AEFD-4BC1E9269A7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859" name="Rectangle 2858">
            <a:extLst>
              <a:ext uri="{FF2B5EF4-FFF2-40B4-BE49-F238E27FC236}">
                <a16:creationId xmlns:a16="http://schemas.microsoft.com/office/drawing/2014/main" id="{68B15680-A55E-47F6-8D5C-D956EDAD387E}"/>
              </a:ext>
            </a:extLst>
          </p:cNvPr>
          <p:cNvSpPr>
            <a:spLocks/>
          </p:cNvSpPr>
          <p:nvPr/>
        </p:nvSpPr>
        <p:spPr bwMode="gray">
          <a:xfrm>
            <a:off x="3378079" y="1689529"/>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860" name="Group 2859">
            <a:extLst>
              <a:ext uri="{FF2B5EF4-FFF2-40B4-BE49-F238E27FC236}">
                <a16:creationId xmlns:a16="http://schemas.microsoft.com/office/drawing/2014/main" id="{8469F45A-26BD-4B2C-B9E7-6A5F332A7359}"/>
              </a:ext>
            </a:extLst>
          </p:cNvPr>
          <p:cNvGrpSpPr/>
          <p:nvPr/>
        </p:nvGrpSpPr>
        <p:grpSpPr>
          <a:xfrm>
            <a:off x="412748" y="1219432"/>
            <a:ext cx="11430427" cy="561479"/>
            <a:chOff x="347472" y="1051180"/>
            <a:chExt cx="11667743" cy="561625"/>
          </a:xfrm>
        </p:grpSpPr>
        <p:grpSp>
          <p:nvGrpSpPr>
            <p:cNvPr id="2861" name="Group 2860">
              <a:extLst>
                <a:ext uri="{FF2B5EF4-FFF2-40B4-BE49-F238E27FC236}">
                  <a16:creationId xmlns:a16="http://schemas.microsoft.com/office/drawing/2014/main" id="{4C8E5E70-E4D0-4028-8B01-CF3D9E25E7CD}"/>
                </a:ext>
              </a:extLst>
            </p:cNvPr>
            <p:cNvGrpSpPr/>
            <p:nvPr/>
          </p:nvGrpSpPr>
          <p:grpSpPr>
            <a:xfrm>
              <a:off x="347472" y="1051180"/>
              <a:ext cx="11667743" cy="561625"/>
              <a:chOff x="347472" y="1051180"/>
              <a:chExt cx="11667743" cy="561625"/>
            </a:xfrm>
          </p:grpSpPr>
          <p:grpSp>
            <p:nvGrpSpPr>
              <p:cNvPr id="2863" name="Group 2862">
                <a:extLst>
                  <a:ext uri="{FF2B5EF4-FFF2-40B4-BE49-F238E27FC236}">
                    <a16:creationId xmlns:a16="http://schemas.microsoft.com/office/drawing/2014/main" id="{19B053B6-D501-46E8-8324-28B2181F54E8}"/>
                  </a:ext>
                </a:extLst>
              </p:cNvPr>
              <p:cNvGrpSpPr/>
              <p:nvPr/>
            </p:nvGrpSpPr>
            <p:grpSpPr>
              <a:xfrm>
                <a:off x="347472" y="1154250"/>
                <a:ext cx="11667743" cy="458555"/>
                <a:chOff x="390609" y="1132914"/>
                <a:chExt cx="11511569" cy="458555"/>
              </a:xfrm>
            </p:grpSpPr>
            <p:sp>
              <p:nvSpPr>
                <p:cNvPr id="2865" name="Rectangle: Rounded Corners 2864">
                  <a:extLst>
                    <a:ext uri="{FF2B5EF4-FFF2-40B4-BE49-F238E27FC236}">
                      <a16:creationId xmlns:a16="http://schemas.microsoft.com/office/drawing/2014/main" id="{C0ECC67F-0257-4ADE-8214-7AF66289F9D4}"/>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66" name="Rectangle 2865">
                  <a:extLst>
                    <a:ext uri="{FF2B5EF4-FFF2-40B4-BE49-F238E27FC236}">
                      <a16:creationId xmlns:a16="http://schemas.microsoft.com/office/drawing/2014/main" id="{31A4B2A4-CB38-47F9-918B-83E5241FED48}"/>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867" name="Rectangle 2866">
                  <a:extLst>
                    <a:ext uri="{FF2B5EF4-FFF2-40B4-BE49-F238E27FC236}">
                      <a16:creationId xmlns:a16="http://schemas.microsoft.com/office/drawing/2014/main" id="{D4656027-3B78-4CB3-A1A2-D6BB2C320FF7}"/>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868" name="Rectangle 2867">
                  <a:extLst>
                    <a:ext uri="{FF2B5EF4-FFF2-40B4-BE49-F238E27FC236}">
                      <a16:creationId xmlns:a16="http://schemas.microsoft.com/office/drawing/2014/main" id="{C98E7147-5C83-4907-A983-19382A05947B}"/>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869" name="Isosceles Triangle 2868">
                  <a:extLst>
                    <a:ext uri="{FF2B5EF4-FFF2-40B4-BE49-F238E27FC236}">
                      <a16:creationId xmlns:a16="http://schemas.microsoft.com/office/drawing/2014/main" id="{377B7AEF-DD5C-407A-BC96-22FE913B1FDF}"/>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70" name="Isosceles Triangle 2869">
                  <a:extLst>
                    <a:ext uri="{FF2B5EF4-FFF2-40B4-BE49-F238E27FC236}">
                      <a16:creationId xmlns:a16="http://schemas.microsoft.com/office/drawing/2014/main" id="{9E20B44C-313C-46AE-B0F0-4AB18A509ADA}"/>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4" name="Isosceles Triangle 2863">
                <a:extLst>
                  <a:ext uri="{FF2B5EF4-FFF2-40B4-BE49-F238E27FC236}">
                    <a16:creationId xmlns:a16="http://schemas.microsoft.com/office/drawing/2014/main" id="{A841C7DD-F4A1-4DCA-8EFD-70E365D590F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2" name="Isosceles Triangle 2861">
              <a:extLst>
                <a:ext uri="{FF2B5EF4-FFF2-40B4-BE49-F238E27FC236}">
                  <a16:creationId xmlns:a16="http://schemas.microsoft.com/office/drawing/2014/main" id="{6C5E3EB9-EC10-4A5A-BE32-40C4AD1E2BB9}"/>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Tree>
    <p:custDataLst>
      <p:tags r:id="rId1"/>
    </p:custDataLst>
    <p:extLst>
      <p:ext uri="{BB962C8B-B14F-4D97-AF65-F5344CB8AC3E}">
        <p14:creationId xmlns:p14="http://schemas.microsoft.com/office/powerpoint/2010/main" val="123020208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dirty="0"/>
              <a:t>Sprinting: Perform Sprint Review</a:t>
            </a:r>
            <a:endParaRPr lang="en-US" dirty="0"/>
          </a:p>
        </p:txBody>
      </p:sp>
      <p:graphicFrame>
        <p:nvGraphicFramePr>
          <p:cNvPr id="2189" name="Table 2188">
            <a:extLst>
              <a:ext uri="{FF2B5EF4-FFF2-40B4-BE49-F238E27FC236}">
                <a16:creationId xmlns:a16="http://schemas.microsoft.com/office/drawing/2014/main" id="{F0E03C91-B69E-47A5-BFB5-55222D8F4D7C}"/>
              </a:ext>
            </a:extLst>
          </p:cNvPr>
          <p:cNvGraphicFramePr>
            <a:graphicFrameLocks noGrp="1"/>
          </p:cNvGraphicFramePr>
          <p:nvPr/>
        </p:nvGraphicFramePr>
        <p:xfrm>
          <a:off x="4180215" y="3297078"/>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190" name="Rectangle 2189">
            <a:extLst>
              <a:ext uri="{FF2B5EF4-FFF2-40B4-BE49-F238E27FC236}">
                <a16:creationId xmlns:a16="http://schemas.microsoft.com/office/drawing/2014/main" id="{5B242AB0-D087-45B9-991C-D144B01E7F0A}"/>
              </a:ext>
            </a:extLst>
          </p:cNvPr>
          <p:cNvSpPr>
            <a:spLocks/>
          </p:cNvSpPr>
          <p:nvPr/>
        </p:nvSpPr>
        <p:spPr bwMode="gray">
          <a:xfrm>
            <a:off x="9920415" y="1689529"/>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192" name="Table 2191">
            <a:extLst>
              <a:ext uri="{FF2B5EF4-FFF2-40B4-BE49-F238E27FC236}">
                <a16:creationId xmlns:a16="http://schemas.microsoft.com/office/drawing/2014/main" id="{2AC1EC88-3AC8-4154-AB0C-7952CEFF5CBB}"/>
              </a:ext>
            </a:extLst>
          </p:cNvPr>
          <p:cNvGraphicFramePr>
            <a:graphicFrameLocks noGrp="1"/>
          </p:cNvGraphicFramePr>
          <p:nvPr/>
        </p:nvGraphicFramePr>
        <p:xfrm>
          <a:off x="470204" y="4578245"/>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1" name="Group 20">
            <a:extLst>
              <a:ext uri="{FF2B5EF4-FFF2-40B4-BE49-F238E27FC236}">
                <a16:creationId xmlns:a16="http://schemas.microsoft.com/office/drawing/2014/main" id="{E0FFFACC-468F-4412-AE49-ACAE9C7DF27C}"/>
              </a:ext>
            </a:extLst>
          </p:cNvPr>
          <p:cNvGrpSpPr/>
          <p:nvPr/>
        </p:nvGrpSpPr>
        <p:grpSpPr>
          <a:xfrm>
            <a:off x="5338229" y="3985905"/>
            <a:ext cx="4367346" cy="2539218"/>
            <a:chOff x="5338031" y="3986050"/>
            <a:chExt cx="4368484" cy="2539879"/>
          </a:xfrm>
        </p:grpSpPr>
        <p:grpSp>
          <p:nvGrpSpPr>
            <p:cNvPr id="2337" name="Group 2336">
              <a:extLst>
                <a:ext uri="{FF2B5EF4-FFF2-40B4-BE49-F238E27FC236}">
                  <a16:creationId xmlns:a16="http://schemas.microsoft.com/office/drawing/2014/main" id="{DDA94247-6C21-47BD-8890-27617C827EBD}"/>
                </a:ext>
              </a:extLst>
            </p:cNvPr>
            <p:cNvGrpSpPr/>
            <p:nvPr/>
          </p:nvGrpSpPr>
          <p:grpSpPr>
            <a:xfrm>
              <a:off x="6626435" y="3986050"/>
              <a:ext cx="3080080" cy="2539879"/>
              <a:chOff x="6642908" y="3955938"/>
              <a:chExt cx="3087943" cy="2546363"/>
            </a:xfrm>
          </p:grpSpPr>
          <p:sp>
            <p:nvSpPr>
              <p:cNvPr id="2338" name="Rectangle 2337">
                <a:extLst>
                  <a:ext uri="{FF2B5EF4-FFF2-40B4-BE49-F238E27FC236}">
                    <a16:creationId xmlns:a16="http://schemas.microsoft.com/office/drawing/2014/main" id="{A7B93953-84E2-40F4-93F9-ABD28544EE3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339" name="Group 2338">
                <a:extLst>
                  <a:ext uri="{FF2B5EF4-FFF2-40B4-BE49-F238E27FC236}">
                    <a16:creationId xmlns:a16="http://schemas.microsoft.com/office/drawing/2014/main" id="{8EBD560F-D7D0-41D2-91A0-A393A0E9F35B}"/>
                  </a:ext>
                </a:extLst>
              </p:cNvPr>
              <p:cNvGrpSpPr/>
              <p:nvPr/>
            </p:nvGrpSpPr>
            <p:grpSpPr>
              <a:xfrm>
                <a:off x="8222643" y="5655421"/>
                <a:ext cx="1030675" cy="846880"/>
                <a:chOff x="10800033" y="2297897"/>
                <a:chExt cx="1600558" cy="1315140"/>
              </a:xfrm>
            </p:grpSpPr>
            <p:grpSp>
              <p:nvGrpSpPr>
                <p:cNvPr id="2341" name="Group 2340">
                  <a:extLst>
                    <a:ext uri="{FF2B5EF4-FFF2-40B4-BE49-F238E27FC236}">
                      <a16:creationId xmlns:a16="http://schemas.microsoft.com/office/drawing/2014/main" id="{AC94F9E1-FBAF-41DB-BEF3-9C11C4CFF810}"/>
                    </a:ext>
                  </a:extLst>
                </p:cNvPr>
                <p:cNvGrpSpPr>
                  <a:grpSpLocks/>
                </p:cNvGrpSpPr>
                <p:nvPr/>
              </p:nvGrpSpPr>
              <p:grpSpPr>
                <a:xfrm>
                  <a:off x="10800033" y="2339037"/>
                  <a:ext cx="613092" cy="613092"/>
                  <a:chOff x="745985" y="4768134"/>
                  <a:chExt cx="368776" cy="368777"/>
                </a:xfrm>
              </p:grpSpPr>
              <p:grpSp>
                <p:nvGrpSpPr>
                  <p:cNvPr id="2405" name="Group 64">
                    <a:extLst>
                      <a:ext uri="{FF2B5EF4-FFF2-40B4-BE49-F238E27FC236}">
                        <a16:creationId xmlns:a16="http://schemas.microsoft.com/office/drawing/2014/main" id="{2D467CFE-327F-4C11-8F98-67E4589F53EB}"/>
                      </a:ext>
                    </a:extLst>
                  </p:cNvPr>
                  <p:cNvGrpSpPr>
                    <a:grpSpLocks noChangeAspect="1"/>
                  </p:cNvGrpSpPr>
                  <p:nvPr/>
                </p:nvGrpSpPr>
                <p:grpSpPr bwMode="auto">
                  <a:xfrm rot="8100000">
                    <a:off x="745985" y="4768134"/>
                    <a:ext cx="368776" cy="368777"/>
                    <a:chOff x="701" y="2170"/>
                    <a:chExt cx="587" cy="587"/>
                  </a:xfrm>
                </p:grpSpPr>
                <p:sp>
                  <p:nvSpPr>
                    <p:cNvPr id="2416" name="Oval 65">
                      <a:extLst>
                        <a:ext uri="{FF2B5EF4-FFF2-40B4-BE49-F238E27FC236}">
                          <a16:creationId xmlns:a16="http://schemas.microsoft.com/office/drawing/2014/main" id="{ED0F215B-BA8F-408F-BF8C-FA3F6EFA154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7" name="Line 66">
                      <a:extLst>
                        <a:ext uri="{FF2B5EF4-FFF2-40B4-BE49-F238E27FC236}">
                          <a16:creationId xmlns:a16="http://schemas.microsoft.com/office/drawing/2014/main" id="{1F8CD18C-E8E8-459C-AD51-26757D53317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Line 67">
                      <a:extLst>
                        <a:ext uri="{FF2B5EF4-FFF2-40B4-BE49-F238E27FC236}">
                          <a16:creationId xmlns:a16="http://schemas.microsoft.com/office/drawing/2014/main" id="{DD463698-E1B2-4255-847B-A436D2B5AC1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Line 69">
                      <a:extLst>
                        <a:ext uri="{FF2B5EF4-FFF2-40B4-BE49-F238E27FC236}">
                          <a16:creationId xmlns:a16="http://schemas.microsoft.com/office/drawing/2014/main" id="{B0314370-C385-4F54-B179-55D915F8ABD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Line 74">
                      <a:extLst>
                        <a:ext uri="{FF2B5EF4-FFF2-40B4-BE49-F238E27FC236}">
                          <a16:creationId xmlns:a16="http://schemas.microsoft.com/office/drawing/2014/main" id="{CE969C45-AC61-45CD-BF5A-1B7472E30E2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78">
                      <a:extLst>
                        <a:ext uri="{FF2B5EF4-FFF2-40B4-BE49-F238E27FC236}">
                          <a16:creationId xmlns:a16="http://schemas.microsoft.com/office/drawing/2014/main" id="{7DDFE362-3C90-499D-AFEE-8DF46024377D}"/>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80">
                      <a:extLst>
                        <a:ext uri="{FF2B5EF4-FFF2-40B4-BE49-F238E27FC236}">
                          <a16:creationId xmlns:a16="http://schemas.microsoft.com/office/drawing/2014/main" id="{43213219-1909-4E43-AF35-9ABE9D9A903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06" name="Group 2405">
                    <a:extLst>
                      <a:ext uri="{FF2B5EF4-FFF2-40B4-BE49-F238E27FC236}">
                        <a16:creationId xmlns:a16="http://schemas.microsoft.com/office/drawing/2014/main" id="{A18EEDD0-E7A1-42F6-B034-2DD7587C985A}"/>
                      </a:ext>
                    </a:extLst>
                  </p:cNvPr>
                  <p:cNvGrpSpPr/>
                  <p:nvPr/>
                </p:nvGrpSpPr>
                <p:grpSpPr>
                  <a:xfrm>
                    <a:off x="837312" y="4814434"/>
                    <a:ext cx="136805" cy="278689"/>
                    <a:chOff x="2806700" y="2803319"/>
                    <a:chExt cx="433387" cy="882861"/>
                  </a:xfrm>
                </p:grpSpPr>
                <p:grpSp>
                  <p:nvGrpSpPr>
                    <p:cNvPr id="2407" name="Group 2406">
                      <a:extLst>
                        <a:ext uri="{FF2B5EF4-FFF2-40B4-BE49-F238E27FC236}">
                          <a16:creationId xmlns:a16="http://schemas.microsoft.com/office/drawing/2014/main" id="{2A89FE14-587D-4D2E-BA45-6DE7BA51FF28}"/>
                        </a:ext>
                      </a:extLst>
                    </p:cNvPr>
                    <p:cNvGrpSpPr>
                      <a:grpSpLocks noChangeAspect="1"/>
                    </p:cNvGrpSpPr>
                    <p:nvPr/>
                  </p:nvGrpSpPr>
                  <p:grpSpPr bwMode="auto">
                    <a:xfrm>
                      <a:off x="2806700" y="3043242"/>
                      <a:ext cx="433387" cy="642938"/>
                      <a:chOff x="1768" y="1917"/>
                      <a:chExt cx="273" cy="405"/>
                    </a:xfrm>
                  </p:grpSpPr>
                  <p:sp>
                    <p:nvSpPr>
                      <p:cNvPr id="2409" name="Freeform 52">
                        <a:extLst>
                          <a:ext uri="{FF2B5EF4-FFF2-40B4-BE49-F238E27FC236}">
                            <a16:creationId xmlns:a16="http://schemas.microsoft.com/office/drawing/2014/main" id="{95CD2D06-24F8-4449-9951-6BD7EBAE1AAB}"/>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0" name="Line 54">
                        <a:extLst>
                          <a:ext uri="{FF2B5EF4-FFF2-40B4-BE49-F238E27FC236}">
                            <a16:creationId xmlns:a16="http://schemas.microsoft.com/office/drawing/2014/main" id="{1A539A6E-3242-484B-8613-6F2BA665639C}"/>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Line 55">
                        <a:extLst>
                          <a:ext uri="{FF2B5EF4-FFF2-40B4-BE49-F238E27FC236}">
                            <a16:creationId xmlns:a16="http://schemas.microsoft.com/office/drawing/2014/main" id="{CDABBCFE-228A-48EF-AD10-4DFBD675AF5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56">
                        <a:extLst>
                          <a:ext uri="{FF2B5EF4-FFF2-40B4-BE49-F238E27FC236}">
                            <a16:creationId xmlns:a16="http://schemas.microsoft.com/office/drawing/2014/main" id="{444D8612-3446-4481-891A-621EE811D71C}"/>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Line 57">
                        <a:extLst>
                          <a:ext uri="{FF2B5EF4-FFF2-40B4-BE49-F238E27FC236}">
                            <a16:creationId xmlns:a16="http://schemas.microsoft.com/office/drawing/2014/main" id="{68EC78A2-36FF-47FA-9EFC-0F52E307B26F}"/>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58">
                        <a:extLst>
                          <a:ext uri="{FF2B5EF4-FFF2-40B4-BE49-F238E27FC236}">
                            <a16:creationId xmlns:a16="http://schemas.microsoft.com/office/drawing/2014/main" id="{AFE44C6B-E778-4641-AA4D-415A808CB891}"/>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Rectangle 2414">
                        <a:extLst>
                          <a:ext uri="{FF2B5EF4-FFF2-40B4-BE49-F238E27FC236}">
                            <a16:creationId xmlns:a16="http://schemas.microsoft.com/office/drawing/2014/main" id="{20614383-BF9F-49D7-9A9C-282CFE73CEE7}"/>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408" name="Oval 2407">
                      <a:extLst>
                        <a:ext uri="{FF2B5EF4-FFF2-40B4-BE49-F238E27FC236}">
                          <a16:creationId xmlns:a16="http://schemas.microsoft.com/office/drawing/2014/main" id="{7DD6504C-6A76-4898-A418-811D7A7F346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42" name="Group 2341">
                  <a:extLst>
                    <a:ext uri="{FF2B5EF4-FFF2-40B4-BE49-F238E27FC236}">
                      <a16:creationId xmlns:a16="http://schemas.microsoft.com/office/drawing/2014/main" id="{7862826A-9D36-468A-AB87-67D1C10C33F3}"/>
                    </a:ext>
                  </a:extLst>
                </p:cNvPr>
                <p:cNvGrpSpPr>
                  <a:grpSpLocks/>
                </p:cNvGrpSpPr>
                <p:nvPr/>
              </p:nvGrpSpPr>
              <p:grpSpPr>
                <a:xfrm>
                  <a:off x="11166615" y="2825631"/>
                  <a:ext cx="787402" cy="787406"/>
                  <a:chOff x="1454941" y="4721722"/>
                  <a:chExt cx="473625" cy="473627"/>
                </a:xfrm>
              </p:grpSpPr>
              <p:grpSp>
                <p:nvGrpSpPr>
                  <p:cNvPr id="2366" name="Group 64">
                    <a:extLst>
                      <a:ext uri="{FF2B5EF4-FFF2-40B4-BE49-F238E27FC236}">
                        <a16:creationId xmlns:a16="http://schemas.microsoft.com/office/drawing/2014/main" id="{6D8D3179-A03D-4140-A35D-9ED871DEE497}"/>
                      </a:ext>
                    </a:extLst>
                  </p:cNvPr>
                  <p:cNvGrpSpPr>
                    <a:grpSpLocks noChangeAspect="1"/>
                  </p:cNvGrpSpPr>
                  <p:nvPr/>
                </p:nvGrpSpPr>
                <p:grpSpPr bwMode="auto">
                  <a:xfrm rot="8100000">
                    <a:off x="1454941" y="4721722"/>
                    <a:ext cx="473625" cy="473627"/>
                    <a:chOff x="701" y="2170"/>
                    <a:chExt cx="587" cy="587"/>
                  </a:xfrm>
                </p:grpSpPr>
                <p:sp>
                  <p:nvSpPr>
                    <p:cNvPr id="2398" name="Oval 65">
                      <a:extLst>
                        <a:ext uri="{FF2B5EF4-FFF2-40B4-BE49-F238E27FC236}">
                          <a16:creationId xmlns:a16="http://schemas.microsoft.com/office/drawing/2014/main" id="{A9C2940D-ADE4-4B5C-9D2F-CE7D925DDBE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9" name="Line 66">
                      <a:extLst>
                        <a:ext uri="{FF2B5EF4-FFF2-40B4-BE49-F238E27FC236}">
                          <a16:creationId xmlns:a16="http://schemas.microsoft.com/office/drawing/2014/main" id="{1083C9EE-F127-4DE3-918F-A3CA43958F0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0" name="Line 67">
                      <a:extLst>
                        <a:ext uri="{FF2B5EF4-FFF2-40B4-BE49-F238E27FC236}">
                          <a16:creationId xmlns:a16="http://schemas.microsoft.com/office/drawing/2014/main" id="{9E15F4CB-1172-4731-91B9-D33A02D874E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1" name="Line 69">
                      <a:extLst>
                        <a:ext uri="{FF2B5EF4-FFF2-40B4-BE49-F238E27FC236}">
                          <a16:creationId xmlns:a16="http://schemas.microsoft.com/office/drawing/2014/main" id="{9B8C72DA-58C4-42C5-B9CB-ADA3C34E94F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2" name="Line 74">
                      <a:extLst>
                        <a:ext uri="{FF2B5EF4-FFF2-40B4-BE49-F238E27FC236}">
                          <a16:creationId xmlns:a16="http://schemas.microsoft.com/office/drawing/2014/main" id="{6A1C3B98-9F28-4D4C-A627-B93893FC94C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78">
                      <a:extLst>
                        <a:ext uri="{FF2B5EF4-FFF2-40B4-BE49-F238E27FC236}">
                          <a16:creationId xmlns:a16="http://schemas.microsoft.com/office/drawing/2014/main" id="{20E1F880-8D77-47DC-90B2-33E26040C38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4" name="Freeform 80">
                      <a:extLst>
                        <a:ext uri="{FF2B5EF4-FFF2-40B4-BE49-F238E27FC236}">
                          <a16:creationId xmlns:a16="http://schemas.microsoft.com/office/drawing/2014/main" id="{61247636-7F48-4A31-95CC-1F25BEB816F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67" name="Group 2366">
                    <a:extLst>
                      <a:ext uri="{FF2B5EF4-FFF2-40B4-BE49-F238E27FC236}">
                        <a16:creationId xmlns:a16="http://schemas.microsoft.com/office/drawing/2014/main" id="{7CA603DC-2CB3-4457-BC06-9D9C66995682}"/>
                      </a:ext>
                    </a:extLst>
                  </p:cNvPr>
                  <p:cNvGrpSpPr/>
                  <p:nvPr/>
                </p:nvGrpSpPr>
                <p:grpSpPr>
                  <a:xfrm>
                    <a:off x="1511214" y="4789508"/>
                    <a:ext cx="356509" cy="349884"/>
                    <a:chOff x="468738" y="2241878"/>
                    <a:chExt cx="1655483" cy="1624719"/>
                  </a:xfrm>
                </p:grpSpPr>
                <p:sp>
                  <p:nvSpPr>
                    <p:cNvPr id="2368" name="Freeform 5">
                      <a:extLst>
                        <a:ext uri="{FF2B5EF4-FFF2-40B4-BE49-F238E27FC236}">
                          <a16:creationId xmlns:a16="http://schemas.microsoft.com/office/drawing/2014/main" id="{ADC07B4E-EB60-437D-B88B-7D6F7BAB9233}"/>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Freeform 6">
                      <a:extLst>
                        <a:ext uri="{FF2B5EF4-FFF2-40B4-BE49-F238E27FC236}">
                          <a16:creationId xmlns:a16="http://schemas.microsoft.com/office/drawing/2014/main" id="{4DB7CFF2-1361-40F5-87D8-09A6625F8B7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7">
                      <a:extLst>
                        <a:ext uri="{FF2B5EF4-FFF2-40B4-BE49-F238E27FC236}">
                          <a16:creationId xmlns:a16="http://schemas.microsoft.com/office/drawing/2014/main" id="{953A429A-1E35-4CEE-BA64-D9FC04FA086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Freeform 8">
                      <a:extLst>
                        <a:ext uri="{FF2B5EF4-FFF2-40B4-BE49-F238E27FC236}">
                          <a16:creationId xmlns:a16="http://schemas.microsoft.com/office/drawing/2014/main" id="{C4FE8D59-A063-4D15-B49E-79B6D722D5F7}"/>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9">
                      <a:extLst>
                        <a:ext uri="{FF2B5EF4-FFF2-40B4-BE49-F238E27FC236}">
                          <a16:creationId xmlns:a16="http://schemas.microsoft.com/office/drawing/2014/main" id="{9142A3A8-5AEE-4E91-8FCF-C44DB5FDD00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73" name="Group 2372">
                      <a:extLst>
                        <a:ext uri="{FF2B5EF4-FFF2-40B4-BE49-F238E27FC236}">
                          <a16:creationId xmlns:a16="http://schemas.microsoft.com/office/drawing/2014/main" id="{D0D9E88A-7125-463C-99F6-69E652DF1D6C}"/>
                        </a:ext>
                      </a:extLst>
                    </p:cNvPr>
                    <p:cNvGrpSpPr/>
                    <p:nvPr/>
                  </p:nvGrpSpPr>
                  <p:grpSpPr>
                    <a:xfrm>
                      <a:off x="1207113" y="2241878"/>
                      <a:ext cx="178734" cy="348678"/>
                      <a:chOff x="1207113" y="2241878"/>
                      <a:chExt cx="178734" cy="348678"/>
                    </a:xfrm>
                  </p:grpSpPr>
                  <p:sp>
                    <p:nvSpPr>
                      <p:cNvPr id="2396" name="Freeform 10">
                        <a:extLst>
                          <a:ext uri="{FF2B5EF4-FFF2-40B4-BE49-F238E27FC236}">
                            <a16:creationId xmlns:a16="http://schemas.microsoft.com/office/drawing/2014/main" id="{2A346116-E741-4C3B-B914-47EC427CBE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Line 11">
                        <a:extLst>
                          <a:ext uri="{FF2B5EF4-FFF2-40B4-BE49-F238E27FC236}">
                            <a16:creationId xmlns:a16="http://schemas.microsoft.com/office/drawing/2014/main" id="{89626DE7-3267-48D4-9E34-062FB83C8135}"/>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74" name="Freeform 12">
                      <a:extLst>
                        <a:ext uri="{FF2B5EF4-FFF2-40B4-BE49-F238E27FC236}">
                          <a16:creationId xmlns:a16="http://schemas.microsoft.com/office/drawing/2014/main" id="{CBFF604C-CEE7-486B-9F59-ABD512FE14A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5" name="Line 13">
                      <a:extLst>
                        <a:ext uri="{FF2B5EF4-FFF2-40B4-BE49-F238E27FC236}">
                          <a16:creationId xmlns:a16="http://schemas.microsoft.com/office/drawing/2014/main" id="{011D96E9-7F00-4481-9DDF-B78A8C268821}"/>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6" name="Freeform 14">
                      <a:extLst>
                        <a:ext uri="{FF2B5EF4-FFF2-40B4-BE49-F238E27FC236}">
                          <a16:creationId xmlns:a16="http://schemas.microsoft.com/office/drawing/2014/main" id="{57984474-AE19-49E3-94BE-8BFA97336C0D}"/>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7" name="Line 15">
                      <a:extLst>
                        <a:ext uri="{FF2B5EF4-FFF2-40B4-BE49-F238E27FC236}">
                          <a16:creationId xmlns:a16="http://schemas.microsoft.com/office/drawing/2014/main" id="{594098A5-7450-4664-BEB0-FC2CEF910AA1}"/>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8" name="Freeform 16">
                      <a:extLst>
                        <a:ext uri="{FF2B5EF4-FFF2-40B4-BE49-F238E27FC236}">
                          <a16:creationId xmlns:a16="http://schemas.microsoft.com/office/drawing/2014/main" id="{CE415B0A-B475-47FB-90FA-56BCE302B1D9}"/>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9" name="Line 17">
                      <a:extLst>
                        <a:ext uri="{FF2B5EF4-FFF2-40B4-BE49-F238E27FC236}">
                          <a16:creationId xmlns:a16="http://schemas.microsoft.com/office/drawing/2014/main" id="{BC94CB20-B81C-43DF-B564-C5DF3CF4A340}"/>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0" name="Freeform 18">
                      <a:extLst>
                        <a:ext uri="{FF2B5EF4-FFF2-40B4-BE49-F238E27FC236}">
                          <a16:creationId xmlns:a16="http://schemas.microsoft.com/office/drawing/2014/main" id="{895FC050-8001-4852-A7AF-7F87A6378499}"/>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1" name="Line 19">
                      <a:extLst>
                        <a:ext uri="{FF2B5EF4-FFF2-40B4-BE49-F238E27FC236}">
                          <a16:creationId xmlns:a16="http://schemas.microsoft.com/office/drawing/2014/main" id="{233316F3-03F8-4F7D-8722-2FD8EDA0EAE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2" name="Freeform 35">
                      <a:extLst>
                        <a:ext uri="{FF2B5EF4-FFF2-40B4-BE49-F238E27FC236}">
                          <a16:creationId xmlns:a16="http://schemas.microsoft.com/office/drawing/2014/main" id="{4B42AF4F-2D22-448F-930F-162DB142B27D}"/>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3" name="Freeform 36">
                      <a:extLst>
                        <a:ext uri="{FF2B5EF4-FFF2-40B4-BE49-F238E27FC236}">
                          <a16:creationId xmlns:a16="http://schemas.microsoft.com/office/drawing/2014/main" id="{8DC55D13-4AB8-4C8B-B2E1-2F97079CB3C8}"/>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4" name="Freeform 37">
                      <a:extLst>
                        <a:ext uri="{FF2B5EF4-FFF2-40B4-BE49-F238E27FC236}">
                          <a16:creationId xmlns:a16="http://schemas.microsoft.com/office/drawing/2014/main" id="{6926E905-EFDD-46F5-A590-0959E3EB46F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5" name="Freeform 38">
                      <a:extLst>
                        <a:ext uri="{FF2B5EF4-FFF2-40B4-BE49-F238E27FC236}">
                          <a16:creationId xmlns:a16="http://schemas.microsoft.com/office/drawing/2014/main" id="{466BD8AB-1D34-408E-8594-79176E97B0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6" name="Freeform 39">
                      <a:extLst>
                        <a:ext uri="{FF2B5EF4-FFF2-40B4-BE49-F238E27FC236}">
                          <a16:creationId xmlns:a16="http://schemas.microsoft.com/office/drawing/2014/main" id="{463F6AB8-DE9E-47E4-89F2-3E4897B7F15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7" name="Freeform 40">
                      <a:extLst>
                        <a:ext uri="{FF2B5EF4-FFF2-40B4-BE49-F238E27FC236}">
                          <a16:creationId xmlns:a16="http://schemas.microsoft.com/office/drawing/2014/main" id="{4C784F7D-23CF-492E-A85D-7A42CC055BDB}"/>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41">
                      <a:extLst>
                        <a:ext uri="{FF2B5EF4-FFF2-40B4-BE49-F238E27FC236}">
                          <a16:creationId xmlns:a16="http://schemas.microsoft.com/office/drawing/2014/main" id="{18619CC1-E2C8-4597-8D19-17C051AC5832}"/>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Line 42">
                      <a:extLst>
                        <a:ext uri="{FF2B5EF4-FFF2-40B4-BE49-F238E27FC236}">
                          <a16:creationId xmlns:a16="http://schemas.microsoft.com/office/drawing/2014/main" id="{077688DD-4959-492D-A38B-F7F4DA2D706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43">
                      <a:extLst>
                        <a:ext uri="{FF2B5EF4-FFF2-40B4-BE49-F238E27FC236}">
                          <a16:creationId xmlns:a16="http://schemas.microsoft.com/office/drawing/2014/main" id="{63964BEB-5C80-422C-9B02-903C695A74F9}"/>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44">
                      <a:extLst>
                        <a:ext uri="{FF2B5EF4-FFF2-40B4-BE49-F238E27FC236}">
                          <a16:creationId xmlns:a16="http://schemas.microsoft.com/office/drawing/2014/main" id="{8781F828-477B-454E-BFB9-0F0612F363B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45">
                      <a:extLst>
                        <a:ext uri="{FF2B5EF4-FFF2-40B4-BE49-F238E27FC236}">
                          <a16:creationId xmlns:a16="http://schemas.microsoft.com/office/drawing/2014/main" id="{491C9A09-CF23-4BDC-B52E-C10D665FD5DB}"/>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93" name="Group 2392">
                      <a:extLst>
                        <a:ext uri="{FF2B5EF4-FFF2-40B4-BE49-F238E27FC236}">
                          <a16:creationId xmlns:a16="http://schemas.microsoft.com/office/drawing/2014/main" id="{898AB74D-865B-4AC1-A2E1-6A721810FC08}"/>
                        </a:ext>
                      </a:extLst>
                    </p:cNvPr>
                    <p:cNvGrpSpPr/>
                    <p:nvPr/>
                  </p:nvGrpSpPr>
                  <p:grpSpPr>
                    <a:xfrm flipV="1">
                      <a:off x="1202047" y="3517919"/>
                      <a:ext cx="178734" cy="348678"/>
                      <a:chOff x="1207113" y="2241878"/>
                      <a:chExt cx="178734" cy="348678"/>
                    </a:xfrm>
                  </p:grpSpPr>
                  <p:sp>
                    <p:nvSpPr>
                      <p:cNvPr id="2394" name="Freeform 10">
                        <a:extLst>
                          <a:ext uri="{FF2B5EF4-FFF2-40B4-BE49-F238E27FC236}">
                            <a16:creationId xmlns:a16="http://schemas.microsoft.com/office/drawing/2014/main" id="{32BFCF5B-2A90-4D1E-BC5D-ED90BA60A8E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Line 11">
                        <a:extLst>
                          <a:ext uri="{FF2B5EF4-FFF2-40B4-BE49-F238E27FC236}">
                            <a16:creationId xmlns:a16="http://schemas.microsoft.com/office/drawing/2014/main" id="{940EEEED-205D-45E2-8045-4D4CB193EFC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43" name="Group 2342">
                  <a:extLst>
                    <a:ext uri="{FF2B5EF4-FFF2-40B4-BE49-F238E27FC236}">
                      <a16:creationId xmlns:a16="http://schemas.microsoft.com/office/drawing/2014/main" id="{F2787B05-646C-4D65-9A7A-36A88A926A83}"/>
                    </a:ext>
                  </a:extLst>
                </p:cNvPr>
                <p:cNvGrpSpPr>
                  <a:grpSpLocks/>
                </p:cNvGrpSpPr>
                <p:nvPr/>
              </p:nvGrpSpPr>
              <p:grpSpPr>
                <a:xfrm>
                  <a:off x="11709639" y="2297897"/>
                  <a:ext cx="690952" cy="690956"/>
                  <a:chOff x="2268747" y="4723725"/>
                  <a:chExt cx="415610" cy="415612"/>
                </a:xfrm>
              </p:grpSpPr>
              <p:grpSp>
                <p:nvGrpSpPr>
                  <p:cNvPr id="2344" name="Group 64">
                    <a:extLst>
                      <a:ext uri="{FF2B5EF4-FFF2-40B4-BE49-F238E27FC236}">
                        <a16:creationId xmlns:a16="http://schemas.microsoft.com/office/drawing/2014/main" id="{06346E34-701B-4AD6-964D-7A9F9B49A695}"/>
                      </a:ext>
                    </a:extLst>
                  </p:cNvPr>
                  <p:cNvGrpSpPr>
                    <a:grpSpLocks noChangeAspect="1"/>
                  </p:cNvGrpSpPr>
                  <p:nvPr/>
                </p:nvGrpSpPr>
                <p:grpSpPr bwMode="auto">
                  <a:xfrm rot="8100000">
                    <a:off x="2268747" y="4723725"/>
                    <a:ext cx="415610" cy="415612"/>
                    <a:chOff x="701" y="2170"/>
                    <a:chExt cx="587" cy="587"/>
                  </a:xfrm>
                </p:grpSpPr>
                <p:sp>
                  <p:nvSpPr>
                    <p:cNvPr id="2359" name="Oval 65">
                      <a:extLst>
                        <a:ext uri="{FF2B5EF4-FFF2-40B4-BE49-F238E27FC236}">
                          <a16:creationId xmlns:a16="http://schemas.microsoft.com/office/drawing/2014/main" id="{8EB33C98-7919-40A6-BA81-0DB10021E60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0" name="Line 66">
                      <a:extLst>
                        <a:ext uri="{FF2B5EF4-FFF2-40B4-BE49-F238E27FC236}">
                          <a16:creationId xmlns:a16="http://schemas.microsoft.com/office/drawing/2014/main" id="{8B436F5E-7B09-4197-A9BF-AA3EEB50A01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1" name="Line 67">
                      <a:extLst>
                        <a:ext uri="{FF2B5EF4-FFF2-40B4-BE49-F238E27FC236}">
                          <a16:creationId xmlns:a16="http://schemas.microsoft.com/office/drawing/2014/main" id="{B8415E10-9FE4-423F-A0F8-1E3F1B261D6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2" name="Line 69">
                      <a:extLst>
                        <a:ext uri="{FF2B5EF4-FFF2-40B4-BE49-F238E27FC236}">
                          <a16:creationId xmlns:a16="http://schemas.microsoft.com/office/drawing/2014/main" id="{DE306D38-3265-45BF-8970-3D7CCF01C57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74">
                      <a:extLst>
                        <a:ext uri="{FF2B5EF4-FFF2-40B4-BE49-F238E27FC236}">
                          <a16:creationId xmlns:a16="http://schemas.microsoft.com/office/drawing/2014/main" id="{88B5FD0F-2773-4164-8157-34B9773714E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78">
                      <a:extLst>
                        <a:ext uri="{FF2B5EF4-FFF2-40B4-BE49-F238E27FC236}">
                          <a16:creationId xmlns:a16="http://schemas.microsoft.com/office/drawing/2014/main" id="{B247FC20-0A3F-45C6-9310-F0A34F056B1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Freeform 80">
                      <a:extLst>
                        <a:ext uri="{FF2B5EF4-FFF2-40B4-BE49-F238E27FC236}">
                          <a16:creationId xmlns:a16="http://schemas.microsoft.com/office/drawing/2014/main" id="{1842726F-5069-4D24-AAC7-751E3A3B4E8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45" name="Group 2344">
                    <a:extLst>
                      <a:ext uri="{FF2B5EF4-FFF2-40B4-BE49-F238E27FC236}">
                        <a16:creationId xmlns:a16="http://schemas.microsoft.com/office/drawing/2014/main" id="{20B13210-E291-4DD2-AE8D-C0095A6E585F}"/>
                      </a:ext>
                    </a:extLst>
                  </p:cNvPr>
                  <p:cNvGrpSpPr/>
                  <p:nvPr/>
                </p:nvGrpSpPr>
                <p:grpSpPr>
                  <a:xfrm>
                    <a:off x="2318076" y="4830163"/>
                    <a:ext cx="313949" cy="233075"/>
                    <a:chOff x="3707533" y="2731244"/>
                    <a:chExt cx="389644" cy="289271"/>
                  </a:xfrm>
                </p:grpSpPr>
                <p:sp>
                  <p:nvSpPr>
                    <p:cNvPr id="2346" name="Freeform 33">
                      <a:extLst>
                        <a:ext uri="{FF2B5EF4-FFF2-40B4-BE49-F238E27FC236}">
                          <a16:creationId xmlns:a16="http://schemas.microsoft.com/office/drawing/2014/main" id="{3D2F6D8B-4EF2-4583-94C4-F7B0C276277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7" name="Freeform 34">
                      <a:extLst>
                        <a:ext uri="{FF2B5EF4-FFF2-40B4-BE49-F238E27FC236}">
                          <a16:creationId xmlns:a16="http://schemas.microsoft.com/office/drawing/2014/main" id="{66562D15-4F81-4EC2-94BD-B73F3671CBC9}"/>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8" name="Freeform 37">
                      <a:extLst>
                        <a:ext uri="{FF2B5EF4-FFF2-40B4-BE49-F238E27FC236}">
                          <a16:creationId xmlns:a16="http://schemas.microsoft.com/office/drawing/2014/main" id="{5E1EF50E-8816-410A-B0E5-FE1A6E2996B7}"/>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9" name="Freeform 38">
                      <a:extLst>
                        <a:ext uri="{FF2B5EF4-FFF2-40B4-BE49-F238E27FC236}">
                          <a16:creationId xmlns:a16="http://schemas.microsoft.com/office/drawing/2014/main" id="{FAA8FFD6-4CAD-4586-B4B6-700EE72F8056}"/>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0" name="Freeform 32">
                      <a:extLst>
                        <a:ext uri="{FF2B5EF4-FFF2-40B4-BE49-F238E27FC236}">
                          <a16:creationId xmlns:a16="http://schemas.microsoft.com/office/drawing/2014/main" id="{168CC538-A4CE-43C1-96E6-15B7BEEF59CA}"/>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Freeform 35">
                      <a:extLst>
                        <a:ext uri="{FF2B5EF4-FFF2-40B4-BE49-F238E27FC236}">
                          <a16:creationId xmlns:a16="http://schemas.microsoft.com/office/drawing/2014/main" id="{061EBEBB-DE89-4A39-9F78-9C28C6C763F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2" name="Freeform 36">
                      <a:extLst>
                        <a:ext uri="{FF2B5EF4-FFF2-40B4-BE49-F238E27FC236}">
                          <a16:creationId xmlns:a16="http://schemas.microsoft.com/office/drawing/2014/main" id="{DE766E5A-D0AA-4A96-989C-4929378FA152}"/>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3" name="Freeform 25">
                      <a:extLst>
                        <a:ext uri="{FF2B5EF4-FFF2-40B4-BE49-F238E27FC236}">
                          <a16:creationId xmlns:a16="http://schemas.microsoft.com/office/drawing/2014/main" id="{F9F012C2-0C37-494E-833D-97D5C4B492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4" name="Freeform 39">
                      <a:extLst>
                        <a:ext uri="{FF2B5EF4-FFF2-40B4-BE49-F238E27FC236}">
                          <a16:creationId xmlns:a16="http://schemas.microsoft.com/office/drawing/2014/main" id="{48F7AFF8-F6F7-4916-A70E-D5FDC70A6B2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26">
                      <a:extLst>
                        <a:ext uri="{FF2B5EF4-FFF2-40B4-BE49-F238E27FC236}">
                          <a16:creationId xmlns:a16="http://schemas.microsoft.com/office/drawing/2014/main" id="{53E3DA99-94AD-46F8-954D-8C76941515D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6" name="Rectangle 27">
                      <a:extLst>
                        <a:ext uri="{FF2B5EF4-FFF2-40B4-BE49-F238E27FC236}">
                          <a16:creationId xmlns:a16="http://schemas.microsoft.com/office/drawing/2014/main" id="{8CC9A94E-14AB-4B5F-8C21-11B171CD12F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7" name="Line 29">
                      <a:extLst>
                        <a:ext uri="{FF2B5EF4-FFF2-40B4-BE49-F238E27FC236}">
                          <a16:creationId xmlns:a16="http://schemas.microsoft.com/office/drawing/2014/main" id="{EE064643-6E4D-4CA1-A72B-E8FE744C65B0}"/>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8" name="Line 31">
                      <a:extLst>
                        <a:ext uri="{FF2B5EF4-FFF2-40B4-BE49-F238E27FC236}">
                          <a16:creationId xmlns:a16="http://schemas.microsoft.com/office/drawing/2014/main" id="{8457FEE4-3039-499F-80C6-B2026E6F2B17}"/>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340" name="Rectangle 2339">
                <a:extLst>
                  <a:ext uri="{FF2B5EF4-FFF2-40B4-BE49-F238E27FC236}">
                    <a16:creationId xmlns:a16="http://schemas.microsoft.com/office/drawing/2014/main" id="{6CE99C9D-6327-4B9A-9064-CCAD4C95F15C}"/>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497" name="Rectangle 2496">
              <a:extLst>
                <a:ext uri="{FF2B5EF4-FFF2-40B4-BE49-F238E27FC236}">
                  <a16:creationId xmlns:a16="http://schemas.microsoft.com/office/drawing/2014/main" id="{5321E8A4-5150-488B-82C4-764ADF9097B1}"/>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498" name="Group 2497">
            <a:extLst>
              <a:ext uri="{FF2B5EF4-FFF2-40B4-BE49-F238E27FC236}">
                <a16:creationId xmlns:a16="http://schemas.microsoft.com/office/drawing/2014/main" id="{A22AA78F-EC81-4790-A968-4880B75551F0}"/>
              </a:ext>
            </a:extLst>
          </p:cNvPr>
          <p:cNvGrpSpPr/>
          <p:nvPr/>
        </p:nvGrpSpPr>
        <p:grpSpPr>
          <a:xfrm>
            <a:off x="5583102" y="3985906"/>
            <a:ext cx="2022711" cy="2582790"/>
            <a:chOff x="5596776" y="3955938"/>
            <a:chExt cx="2028403" cy="2590058"/>
          </a:xfrm>
        </p:grpSpPr>
        <p:sp>
          <p:nvSpPr>
            <p:cNvPr id="2499" name="Rectangle 2498">
              <a:extLst>
                <a:ext uri="{FF2B5EF4-FFF2-40B4-BE49-F238E27FC236}">
                  <a16:creationId xmlns:a16="http://schemas.microsoft.com/office/drawing/2014/main" id="{747F3B1D-4231-4467-A673-6484A60D9E94}"/>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500" name="Group 2499">
              <a:extLst>
                <a:ext uri="{FF2B5EF4-FFF2-40B4-BE49-F238E27FC236}">
                  <a16:creationId xmlns:a16="http://schemas.microsoft.com/office/drawing/2014/main" id="{4834553C-37FE-4DD4-B011-F068374A0F7D}"/>
                </a:ext>
              </a:extLst>
            </p:cNvPr>
            <p:cNvGrpSpPr/>
            <p:nvPr/>
          </p:nvGrpSpPr>
          <p:grpSpPr>
            <a:xfrm>
              <a:off x="5596776" y="4804677"/>
              <a:ext cx="2028403" cy="1741319"/>
              <a:chOff x="5596776" y="4804677"/>
              <a:chExt cx="2028403" cy="1741319"/>
            </a:xfrm>
          </p:grpSpPr>
          <p:sp>
            <p:nvSpPr>
              <p:cNvPr id="2501" name="Rectangle 2500">
                <a:extLst>
                  <a:ext uri="{FF2B5EF4-FFF2-40B4-BE49-F238E27FC236}">
                    <a16:creationId xmlns:a16="http://schemas.microsoft.com/office/drawing/2014/main" id="{EDD45DF1-3CD0-4861-94DA-60880A14B3C6}"/>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502" name="Rectangle 2501">
                <a:extLst>
                  <a:ext uri="{FF2B5EF4-FFF2-40B4-BE49-F238E27FC236}">
                    <a16:creationId xmlns:a16="http://schemas.microsoft.com/office/drawing/2014/main" id="{AFC0305D-06B3-4DFB-ACAE-82A4CFE82F6F}"/>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503" name="Picture 2502">
                <a:extLst>
                  <a:ext uri="{FF2B5EF4-FFF2-40B4-BE49-F238E27FC236}">
                    <a16:creationId xmlns:a16="http://schemas.microsoft.com/office/drawing/2014/main" id="{A933AF52-26A1-422B-8C8C-C6BC39FEA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504" name="Group 2503">
                <a:extLst>
                  <a:ext uri="{FF2B5EF4-FFF2-40B4-BE49-F238E27FC236}">
                    <a16:creationId xmlns:a16="http://schemas.microsoft.com/office/drawing/2014/main" id="{FE2D0EDD-D308-4EBF-8BB6-0809850D2B1A}"/>
                  </a:ext>
                </a:extLst>
              </p:cNvPr>
              <p:cNvGrpSpPr>
                <a:grpSpLocks/>
              </p:cNvGrpSpPr>
              <p:nvPr/>
            </p:nvGrpSpPr>
            <p:grpSpPr>
              <a:xfrm>
                <a:off x="6916019" y="5876745"/>
                <a:ext cx="476834" cy="476835"/>
                <a:chOff x="7895435" y="7917966"/>
                <a:chExt cx="473625" cy="473627"/>
              </a:xfrm>
            </p:grpSpPr>
            <p:grpSp>
              <p:nvGrpSpPr>
                <p:cNvPr id="2505" name="Group 64">
                  <a:extLst>
                    <a:ext uri="{FF2B5EF4-FFF2-40B4-BE49-F238E27FC236}">
                      <a16:creationId xmlns:a16="http://schemas.microsoft.com/office/drawing/2014/main" id="{31D78AB9-CECB-4598-B9D6-FBE4C3F66FDB}"/>
                    </a:ext>
                  </a:extLst>
                </p:cNvPr>
                <p:cNvGrpSpPr>
                  <a:grpSpLocks noChangeAspect="1"/>
                </p:cNvGrpSpPr>
                <p:nvPr/>
              </p:nvGrpSpPr>
              <p:grpSpPr bwMode="auto">
                <a:xfrm rot="8100000">
                  <a:off x="7895435" y="7917966"/>
                  <a:ext cx="473625" cy="473627"/>
                  <a:chOff x="701" y="2170"/>
                  <a:chExt cx="587" cy="587"/>
                </a:xfrm>
              </p:grpSpPr>
              <p:sp>
                <p:nvSpPr>
                  <p:cNvPr id="2537" name="Oval 65">
                    <a:extLst>
                      <a:ext uri="{FF2B5EF4-FFF2-40B4-BE49-F238E27FC236}">
                        <a16:creationId xmlns:a16="http://schemas.microsoft.com/office/drawing/2014/main" id="{46CD0B3D-FC8D-40C8-A592-C97C7402BCAD}"/>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8" name="Line 66">
                    <a:extLst>
                      <a:ext uri="{FF2B5EF4-FFF2-40B4-BE49-F238E27FC236}">
                        <a16:creationId xmlns:a16="http://schemas.microsoft.com/office/drawing/2014/main" id="{293808B9-88D3-4773-80AA-F37D257B15B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Line 67">
                    <a:extLst>
                      <a:ext uri="{FF2B5EF4-FFF2-40B4-BE49-F238E27FC236}">
                        <a16:creationId xmlns:a16="http://schemas.microsoft.com/office/drawing/2014/main" id="{50ABD547-5FD6-4567-B008-7210CDE073F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Line 69">
                    <a:extLst>
                      <a:ext uri="{FF2B5EF4-FFF2-40B4-BE49-F238E27FC236}">
                        <a16:creationId xmlns:a16="http://schemas.microsoft.com/office/drawing/2014/main" id="{5B9FD4E6-5AB1-4416-A345-814920CA797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Line 74">
                    <a:extLst>
                      <a:ext uri="{FF2B5EF4-FFF2-40B4-BE49-F238E27FC236}">
                        <a16:creationId xmlns:a16="http://schemas.microsoft.com/office/drawing/2014/main" id="{91FE552D-39A3-4EAD-B688-0B4842DBFDF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78">
                    <a:extLst>
                      <a:ext uri="{FF2B5EF4-FFF2-40B4-BE49-F238E27FC236}">
                        <a16:creationId xmlns:a16="http://schemas.microsoft.com/office/drawing/2014/main" id="{E5F96C76-0E0C-4AE3-BB59-196115BED910}"/>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80">
                    <a:extLst>
                      <a:ext uri="{FF2B5EF4-FFF2-40B4-BE49-F238E27FC236}">
                        <a16:creationId xmlns:a16="http://schemas.microsoft.com/office/drawing/2014/main" id="{811CFDE9-8578-4084-9896-EE967494D5A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06" name="Group 2505">
                  <a:extLst>
                    <a:ext uri="{FF2B5EF4-FFF2-40B4-BE49-F238E27FC236}">
                      <a16:creationId xmlns:a16="http://schemas.microsoft.com/office/drawing/2014/main" id="{D393629C-BC7D-4B72-9D8F-FF7461506E86}"/>
                    </a:ext>
                  </a:extLst>
                </p:cNvPr>
                <p:cNvGrpSpPr/>
                <p:nvPr/>
              </p:nvGrpSpPr>
              <p:grpSpPr>
                <a:xfrm>
                  <a:off x="7951708" y="7985752"/>
                  <a:ext cx="356509" cy="349884"/>
                  <a:chOff x="468738" y="2241878"/>
                  <a:chExt cx="1655483" cy="1624719"/>
                </a:xfrm>
              </p:grpSpPr>
              <p:sp>
                <p:nvSpPr>
                  <p:cNvPr id="2507" name="Freeform 5">
                    <a:extLst>
                      <a:ext uri="{FF2B5EF4-FFF2-40B4-BE49-F238E27FC236}">
                        <a16:creationId xmlns:a16="http://schemas.microsoft.com/office/drawing/2014/main" id="{B6CB8661-51F1-4427-9630-C6FF092E6200}"/>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6">
                    <a:extLst>
                      <a:ext uri="{FF2B5EF4-FFF2-40B4-BE49-F238E27FC236}">
                        <a16:creationId xmlns:a16="http://schemas.microsoft.com/office/drawing/2014/main" id="{4ED5D328-033E-4613-B0F5-9AC2158F6FA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Line 7">
                    <a:extLst>
                      <a:ext uri="{FF2B5EF4-FFF2-40B4-BE49-F238E27FC236}">
                        <a16:creationId xmlns:a16="http://schemas.microsoft.com/office/drawing/2014/main" id="{DBEA3398-AF4F-4885-B6CC-26351AF7282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8">
                    <a:extLst>
                      <a:ext uri="{FF2B5EF4-FFF2-40B4-BE49-F238E27FC236}">
                        <a16:creationId xmlns:a16="http://schemas.microsoft.com/office/drawing/2014/main" id="{C9BA89EA-25F1-4AF6-A8C9-E885829E415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Line 9">
                    <a:extLst>
                      <a:ext uri="{FF2B5EF4-FFF2-40B4-BE49-F238E27FC236}">
                        <a16:creationId xmlns:a16="http://schemas.microsoft.com/office/drawing/2014/main" id="{B4924420-51F8-4E90-A5BC-2B568D0F640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12" name="Group 2511">
                    <a:extLst>
                      <a:ext uri="{FF2B5EF4-FFF2-40B4-BE49-F238E27FC236}">
                        <a16:creationId xmlns:a16="http://schemas.microsoft.com/office/drawing/2014/main" id="{2B1FF5C1-655C-4D84-8357-FBEFF88CD753}"/>
                      </a:ext>
                    </a:extLst>
                  </p:cNvPr>
                  <p:cNvGrpSpPr/>
                  <p:nvPr/>
                </p:nvGrpSpPr>
                <p:grpSpPr>
                  <a:xfrm>
                    <a:off x="1207113" y="2241878"/>
                    <a:ext cx="178734" cy="348678"/>
                    <a:chOff x="1207113" y="2241878"/>
                    <a:chExt cx="178734" cy="348678"/>
                  </a:xfrm>
                </p:grpSpPr>
                <p:sp>
                  <p:nvSpPr>
                    <p:cNvPr id="2535" name="Freeform 10">
                      <a:extLst>
                        <a:ext uri="{FF2B5EF4-FFF2-40B4-BE49-F238E27FC236}">
                          <a16:creationId xmlns:a16="http://schemas.microsoft.com/office/drawing/2014/main" id="{13288FA8-69DE-4B8F-938F-EAFBC8D8689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Line 11">
                      <a:extLst>
                        <a:ext uri="{FF2B5EF4-FFF2-40B4-BE49-F238E27FC236}">
                          <a16:creationId xmlns:a16="http://schemas.microsoft.com/office/drawing/2014/main" id="{05635318-9DD3-47B6-AF53-F2E88F8E7D49}"/>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13" name="Freeform 12">
                    <a:extLst>
                      <a:ext uri="{FF2B5EF4-FFF2-40B4-BE49-F238E27FC236}">
                        <a16:creationId xmlns:a16="http://schemas.microsoft.com/office/drawing/2014/main" id="{75421306-8DF7-42AD-950B-FA9036E7693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4" name="Line 13">
                    <a:extLst>
                      <a:ext uri="{FF2B5EF4-FFF2-40B4-BE49-F238E27FC236}">
                        <a16:creationId xmlns:a16="http://schemas.microsoft.com/office/drawing/2014/main" id="{CF179717-3DEA-4B09-AC03-712A5CB8A00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4">
                    <a:extLst>
                      <a:ext uri="{FF2B5EF4-FFF2-40B4-BE49-F238E27FC236}">
                        <a16:creationId xmlns:a16="http://schemas.microsoft.com/office/drawing/2014/main" id="{3377E841-63A0-48A3-B027-19508466199E}"/>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6" name="Line 15">
                    <a:extLst>
                      <a:ext uri="{FF2B5EF4-FFF2-40B4-BE49-F238E27FC236}">
                        <a16:creationId xmlns:a16="http://schemas.microsoft.com/office/drawing/2014/main" id="{EA066626-FE54-4A5B-B3D9-E39814C33F7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Freeform 16">
                    <a:extLst>
                      <a:ext uri="{FF2B5EF4-FFF2-40B4-BE49-F238E27FC236}">
                        <a16:creationId xmlns:a16="http://schemas.microsoft.com/office/drawing/2014/main" id="{366A3F47-A9AF-42FF-B639-14B6CE96B163}"/>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Line 17">
                    <a:extLst>
                      <a:ext uri="{FF2B5EF4-FFF2-40B4-BE49-F238E27FC236}">
                        <a16:creationId xmlns:a16="http://schemas.microsoft.com/office/drawing/2014/main" id="{084A0566-0D88-40B9-8942-404A11A5775D}"/>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8">
                    <a:extLst>
                      <a:ext uri="{FF2B5EF4-FFF2-40B4-BE49-F238E27FC236}">
                        <a16:creationId xmlns:a16="http://schemas.microsoft.com/office/drawing/2014/main" id="{FFAD812C-E870-46B0-B2C9-8CF5C0FA946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Line 19">
                    <a:extLst>
                      <a:ext uri="{FF2B5EF4-FFF2-40B4-BE49-F238E27FC236}">
                        <a16:creationId xmlns:a16="http://schemas.microsoft.com/office/drawing/2014/main" id="{DA262064-351F-44CF-9B13-A177FF0E84D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35">
                    <a:extLst>
                      <a:ext uri="{FF2B5EF4-FFF2-40B4-BE49-F238E27FC236}">
                        <a16:creationId xmlns:a16="http://schemas.microsoft.com/office/drawing/2014/main" id="{28C2291A-182E-473D-B28F-613B49F49F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36">
                    <a:extLst>
                      <a:ext uri="{FF2B5EF4-FFF2-40B4-BE49-F238E27FC236}">
                        <a16:creationId xmlns:a16="http://schemas.microsoft.com/office/drawing/2014/main" id="{AE5F9676-2C2C-4086-A074-4395A8F1316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37">
                    <a:extLst>
                      <a:ext uri="{FF2B5EF4-FFF2-40B4-BE49-F238E27FC236}">
                        <a16:creationId xmlns:a16="http://schemas.microsoft.com/office/drawing/2014/main" id="{ECCBBBB8-BCA3-4313-A865-509D9DA9DDFD}"/>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38">
                    <a:extLst>
                      <a:ext uri="{FF2B5EF4-FFF2-40B4-BE49-F238E27FC236}">
                        <a16:creationId xmlns:a16="http://schemas.microsoft.com/office/drawing/2014/main" id="{717182B7-9ED3-488D-B869-09159943C40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39">
                    <a:extLst>
                      <a:ext uri="{FF2B5EF4-FFF2-40B4-BE49-F238E27FC236}">
                        <a16:creationId xmlns:a16="http://schemas.microsoft.com/office/drawing/2014/main" id="{FB56E7B4-5069-4EB9-8242-B7F2C922E89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40">
                    <a:extLst>
                      <a:ext uri="{FF2B5EF4-FFF2-40B4-BE49-F238E27FC236}">
                        <a16:creationId xmlns:a16="http://schemas.microsoft.com/office/drawing/2014/main" id="{89F2894D-26FA-4B43-A0E7-A222091799E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41">
                    <a:extLst>
                      <a:ext uri="{FF2B5EF4-FFF2-40B4-BE49-F238E27FC236}">
                        <a16:creationId xmlns:a16="http://schemas.microsoft.com/office/drawing/2014/main" id="{088EBEFD-D722-4C11-9B83-8AFB21AE7838}"/>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Line 42">
                    <a:extLst>
                      <a:ext uri="{FF2B5EF4-FFF2-40B4-BE49-F238E27FC236}">
                        <a16:creationId xmlns:a16="http://schemas.microsoft.com/office/drawing/2014/main" id="{1C001CC8-7999-446D-B698-FEB6F9C469ED}"/>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43">
                    <a:extLst>
                      <a:ext uri="{FF2B5EF4-FFF2-40B4-BE49-F238E27FC236}">
                        <a16:creationId xmlns:a16="http://schemas.microsoft.com/office/drawing/2014/main" id="{308239DF-11B1-4567-AEA1-4968356A70E3}"/>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44">
                    <a:extLst>
                      <a:ext uri="{FF2B5EF4-FFF2-40B4-BE49-F238E27FC236}">
                        <a16:creationId xmlns:a16="http://schemas.microsoft.com/office/drawing/2014/main" id="{E43DD64A-034B-4995-9BA0-CD09EA99263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45">
                    <a:extLst>
                      <a:ext uri="{FF2B5EF4-FFF2-40B4-BE49-F238E27FC236}">
                        <a16:creationId xmlns:a16="http://schemas.microsoft.com/office/drawing/2014/main" id="{71FABE57-4F57-40F4-9656-C826889EF9C9}"/>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32" name="Group 2531">
                    <a:extLst>
                      <a:ext uri="{FF2B5EF4-FFF2-40B4-BE49-F238E27FC236}">
                        <a16:creationId xmlns:a16="http://schemas.microsoft.com/office/drawing/2014/main" id="{3C83AEA8-0A02-4B1D-98DB-F79693425584}"/>
                      </a:ext>
                    </a:extLst>
                  </p:cNvPr>
                  <p:cNvGrpSpPr/>
                  <p:nvPr/>
                </p:nvGrpSpPr>
                <p:grpSpPr>
                  <a:xfrm flipV="1">
                    <a:off x="1202047" y="3517919"/>
                    <a:ext cx="178734" cy="348678"/>
                    <a:chOff x="1207113" y="2241878"/>
                    <a:chExt cx="178734" cy="348678"/>
                  </a:xfrm>
                </p:grpSpPr>
                <p:sp>
                  <p:nvSpPr>
                    <p:cNvPr id="2533" name="Freeform 10">
                      <a:extLst>
                        <a:ext uri="{FF2B5EF4-FFF2-40B4-BE49-F238E27FC236}">
                          <a16:creationId xmlns:a16="http://schemas.microsoft.com/office/drawing/2014/main" id="{4CC281CB-067A-4636-91B4-74D36C97DF7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Line 11">
                      <a:extLst>
                        <a:ext uri="{FF2B5EF4-FFF2-40B4-BE49-F238E27FC236}">
                          <a16:creationId xmlns:a16="http://schemas.microsoft.com/office/drawing/2014/main" id="{F728501F-9AD2-40C4-9BEB-EAE71FEAE25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544" name="Group 2543">
            <a:extLst>
              <a:ext uri="{FF2B5EF4-FFF2-40B4-BE49-F238E27FC236}">
                <a16:creationId xmlns:a16="http://schemas.microsoft.com/office/drawing/2014/main" id="{7CF70DB9-3C21-4F6A-A0D2-87A2EAFF679D}"/>
              </a:ext>
            </a:extLst>
          </p:cNvPr>
          <p:cNvGrpSpPr/>
          <p:nvPr/>
        </p:nvGrpSpPr>
        <p:grpSpPr>
          <a:xfrm>
            <a:off x="496680" y="1864299"/>
            <a:ext cx="1451488" cy="649270"/>
            <a:chOff x="1688915" y="1573673"/>
            <a:chExt cx="1455572" cy="651097"/>
          </a:xfrm>
        </p:grpSpPr>
        <p:sp>
          <p:nvSpPr>
            <p:cNvPr id="2545" name="Right Arrow 551">
              <a:extLst>
                <a:ext uri="{FF2B5EF4-FFF2-40B4-BE49-F238E27FC236}">
                  <a16:creationId xmlns:a16="http://schemas.microsoft.com/office/drawing/2014/main" id="{60716A56-708D-4D57-A035-5566C369D652}"/>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546" name="Group 2545">
              <a:extLst>
                <a:ext uri="{FF2B5EF4-FFF2-40B4-BE49-F238E27FC236}">
                  <a16:creationId xmlns:a16="http://schemas.microsoft.com/office/drawing/2014/main" id="{2A86400A-22B2-422F-88B6-A6CFA4435DE2}"/>
                </a:ext>
              </a:extLst>
            </p:cNvPr>
            <p:cNvGrpSpPr>
              <a:grpSpLocks/>
            </p:cNvGrpSpPr>
            <p:nvPr/>
          </p:nvGrpSpPr>
          <p:grpSpPr>
            <a:xfrm>
              <a:off x="1688915" y="1795002"/>
              <a:ext cx="418017" cy="418017"/>
              <a:chOff x="745985" y="4768134"/>
              <a:chExt cx="368776" cy="368777"/>
            </a:xfrm>
          </p:grpSpPr>
          <p:grpSp>
            <p:nvGrpSpPr>
              <p:cNvPr id="2610" name="Group 64">
                <a:extLst>
                  <a:ext uri="{FF2B5EF4-FFF2-40B4-BE49-F238E27FC236}">
                    <a16:creationId xmlns:a16="http://schemas.microsoft.com/office/drawing/2014/main" id="{37876098-F815-4A75-A3F5-8342895CBBEF}"/>
                  </a:ext>
                </a:extLst>
              </p:cNvPr>
              <p:cNvGrpSpPr>
                <a:grpSpLocks noChangeAspect="1"/>
              </p:cNvGrpSpPr>
              <p:nvPr/>
            </p:nvGrpSpPr>
            <p:grpSpPr bwMode="auto">
              <a:xfrm rot="8100000">
                <a:off x="745985" y="4768134"/>
                <a:ext cx="368776" cy="368777"/>
                <a:chOff x="701" y="2170"/>
                <a:chExt cx="587" cy="587"/>
              </a:xfrm>
            </p:grpSpPr>
            <p:sp>
              <p:nvSpPr>
                <p:cNvPr id="2621" name="Oval 65">
                  <a:extLst>
                    <a:ext uri="{FF2B5EF4-FFF2-40B4-BE49-F238E27FC236}">
                      <a16:creationId xmlns:a16="http://schemas.microsoft.com/office/drawing/2014/main" id="{2DF0D91C-2D49-46A4-8E67-9D5B89E66B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2" name="Line 66">
                  <a:extLst>
                    <a:ext uri="{FF2B5EF4-FFF2-40B4-BE49-F238E27FC236}">
                      <a16:creationId xmlns:a16="http://schemas.microsoft.com/office/drawing/2014/main" id="{54F40249-A4E6-4758-A6D0-B2E796EF826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3" name="Line 67">
                  <a:extLst>
                    <a:ext uri="{FF2B5EF4-FFF2-40B4-BE49-F238E27FC236}">
                      <a16:creationId xmlns:a16="http://schemas.microsoft.com/office/drawing/2014/main" id="{07CC7B68-631A-483D-B0A0-D20552A4A07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69">
                  <a:extLst>
                    <a:ext uri="{FF2B5EF4-FFF2-40B4-BE49-F238E27FC236}">
                      <a16:creationId xmlns:a16="http://schemas.microsoft.com/office/drawing/2014/main" id="{737AEDA1-E4DE-4651-93A7-CDF6E1C2D9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5" name="Line 74">
                  <a:extLst>
                    <a:ext uri="{FF2B5EF4-FFF2-40B4-BE49-F238E27FC236}">
                      <a16:creationId xmlns:a16="http://schemas.microsoft.com/office/drawing/2014/main" id="{E9A3B492-7197-464A-B9EB-B58BA964764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Freeform 78">
                  <a:extLst>
                    <a:ext uri="{FF2B5EF4-FFF2-40B4-BE49-F238E27FC236}">
                      <a16:creationId xmlns:a16="http://schemas.microsoft.com/office/drawing/2014/main" id="{2578CF9C-E829-48FA-AA33-AEA16D6FFD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7" name="Freeform 80">
                  <a:extLst>
                    <a:ext uri="{FF2B5EF4-FFF2-40B4-BE49-F238E27FC236}">
                      <a16:creationId xmlns:a16="http://schemas.microsoft.com/office/drawing/2014/main" id="{E9C922BB-A626-4ADB-B528-1CE3E09729D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11" name="Group 2610">
                <a:extLst>
                  <a:ext uri="{FF2B5EF4-FFF2-40B4-BE49-F238E27FC236}">
                    <a16:creationId xmlns:a16="http://schemas.microsoft.com/office/drawing/2014/main" id="{B05CA430-DBB2-4069-83F5-B0564A8088E4}"/>
                  </a:ext>
                </a:extLst>
              </p:cNvPr>
              <p:cNvGrpSpPr/>
              <p:nvPr/>
            </p:nvGrpSpPr>
            <p:grpSpPr>
              <a:xfrm>
                <a:off x="837312" y="4814434"/>
                <a:ext cx="136805" cy="278689"/>
                <a:chOff x="2806700" y="2803319"/>
                <a:chExt cx="433387" cy="882861"/>
              </a:xfrm>
            </p:grpSpPr>
            <p:grpSp>
              <p:nvGrpSpPr>
                <p:cNvPr id="2612" name="Group 2611">
                  <a:extLst>
                    <a:ext uri="{FF2B5EF4-FFF2-40B4-BE49-F238E27FC236}">
                      <a16:creationId xmlns:a16="http://schemas.microsoft.com/office/drawing/2014/main" id="{0EDC82F8-83D1-4536-A959-C2D2FD5273E9}"/>
                    </a:ext>
                  </a:extLst>
                </p:cNvPr>
                <p:cNvGrpSpPr>
                  <a:grpSpLocks noChangeAspect="1"/>
                </p:cNvGrpSpPr>
                <p:nvPr/>
              </p:nvGrpSpPr>
              <p:grpSpPr bwMode="auto">
                <a:xfrm>
                  <a:off x="2806700" y="3043242"/>
                  <a:ext cx="433387" cy="642938"/>
                  <a:chOff x="1768" y="1917"/>
                  <a:chExt cx="273" cy="405"/>
                </a:xfrm>
              </p:grpSpPr>
              <p:sp>
                <p:nvSpPr>
                  <p:cNvPr id="2614" name="Freeform 52">
                    <a:extLst>
                      <a:ext uri="{FF2B5EF4-FFF2-40B4-BE49-F238E27FC236}">
                        <a16:creationId xmlns:a16="http://schemas.microsoft.com/office/drawing/2014/main" id="{0BCE2018-B6C9-4D30-9121-A67C4EE2AB3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Line 54">
                    <a:extLst>
                      <a:ext uri="{FF2B5EF4-FFF2-40B4-BE49-F238E27FC236}">
                        <a16:creationId xmlns:a16="http://schemas.microsoft.com/office/drawing/2014/main" id="{EC581916-8210-4552-9CD2-6819AC9BAA7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6" name="Line 55">
                    <a:extLst>
                      <a:ext uri="{FF2B5EF4-FFF2-40B4-BE49-F238E27FC236}">
                        <a16:creationId xmlns:a16="http://schemas.microsoft.com/office/drawing/2014/main" id="{258D4DF1-6C6F-424D-9ED5-1E6427BB5C6D}"/>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56">
                    <a:extLst>
                      <a:ext uri="{FF2B5EF4-FFF2-40B4-BE49-F238E27FC236}">
                        <a16:creationId xmlns:a16="http://schemas.microsoft.com/office/drawing/2014/main" id="{EFC4BA31-C988-4E9F-BCA1-A5BE4DA774B7}"/>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57">
                    <a:extLst>
                      <a:ext uri="{FF2B5EF4-FFF2-40B4-BE49-F238E27FC236}">
                        <a16:creationId xmlns:a16="http://schemas.microsoft.com/office/drawing/2014/main" id="{60554008-CF73-4CB7-B029-7BB6BC69B4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58">
                    <a:extLst>
                      <a:ext uri="{FF2B5EF4-FFF2-40B4-BE49-F238E27FC236}">
                        <a16:creationId xmlns:a16="http://schemas.microsoft.com/office/drawing/2014/main" id="{8663360D-1E34-41B4-9F2E-AD0DC682F5E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Rectangle 2619">
                    <a:extLst>
                      <a:ext uri="{FF2B5EF4-FFF2-40B4-BE49-F238E27FC236}">
                        <a16:creationId xmlns:a16="http://schemas.microsoft.com/office/drawing/2014/main" id="{5B65E2D2-857D-40B6-8F41-EA1235FAE848}"/>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13" name="Oval 2612">
                  <a:extLst>
                    <a:ext uri="{FF2B5EF4-FFF2-40B4-BE49-F238E27FC236}">
                      <a16:creationId xmlns:a16="http://schemas.microsoft.com/office/drawing/2014/main" id="{B63520A8-B7C0-44DB-955E-5A06BF0CF4B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47" name="Group 2546">
              <a:extLst>
                <a:ext uri="{FF2B5EF4-FFF2-40B4-BE49-F238E27FC236}">
                  <a16:creationId xmlns:a16="http://schemas.microsoft.com/office/drawing/2014/main" id="{70E3FDAB-8078-4444-B685-4B8E2BB15BF0}"/>
                </a:ext>
              </a:extLst>
            </p:cNvPr>
            <p:cNvGrpSpPr>
              <a:grpSpLocks/>
            </p:cNvGrpSpPr>
            <p:nvPr/>
          </p:nvGrpSpPr>
          <p:grpSpPr>
            <a:xfrm>
              <a:off x="2196256" y="1795002"/>
              <a:ext cx="429139" cy="429142"/>
              <a:chOff x="1454941" y="4721722"/>
              <a:chExt cx="473625" cy="473627"/>
            </a:xfrm>
          </p:grpSpPr>
          <p:grpSp>
            <p:nvGrpSpPr>
              <p:cNvPr id="2571" name="Group 64">
                <a:extLst>
                  <a:ext uri="{FF2B5EF4-FFF2-40B4-BE49-F238E27FC236}">
                    <a16:creationId xmlns:a16="http://schemas.microsoft.com/office/drawing/2014/main" id="{B39C39E7-EA9F-4EBC-9AAB-F9883F63F91C}"/>
                  </a:ext>
                </a:extLst>
              </p:cNvPr>
              <p:cNvGrpSpPr>
                <a:grpSpLocks noChangeAspect="1"/>
              </p:cNvGrpSpPr>
              <p:nvPr/>
            </p:nvGrpSpPr>
            <p:grpSpPr bwMode="auto">
              <a:xfrm rot="8100000">
                <a:off x="1454941" y="4721722"/>
                <a:ext cx="473625" cy="473627"/>
                <a:chOff x="701" y="2170"/>
                <a:chExt cx="587" cy="587"/>
              </a:xfrm>
            </p:grpSpPr>
            <p:sp>
              <p:nvSpPr>
                <p:cNvPr id="2603" name="Oval 65">
                  <a:extLst>
                    <a:ext uri="{FF2B5EF4-FFF2-40B4-BE49-F238E27FC236}">
                      <a16:creationId xmlns:a16="http://schemas.microsoft.com/office/drawing/2014/main" id="{1741B508-5571-4D54-A0EB-547A9E77B78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04" name="Line 66">
                  <a:extLst>
                    <a:ext uri="{FF2B5EF4-FFF2-40B4-BE49-F238E27FC236}">
                      <a16:creationId xmlns:a16="http://schemas.microsoft.com/office/drawing/2014/main" id="{70676CEF-249F-420C-85A3-B991722F7A3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Line 67">
                  <a:extLst>
                    <a:ext uri="{FF2B5EF4-FFF2-40B4-BE49-F238E27FC236}">
                      <a16:creationId xmlns:a16="http://schemas.microsoft.com/office/drawing/2014/main" id="{1EF5F94B-E9B8-4900-A031-222A5CC2040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69">
                  <a:extLst>
                    <a:ext uri="{FF2B5EF4-FFF2-40B4-BE49-F238E27FC236}">
                      <a16:creationId xmlns:a16="http://schemas.microsoft.com/office/drawing/2014/main" id="{2BB013A3-42B7-4018-89D4-5C83D78682F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Line 74">
                  <a:extLst>
                    <a:ext uri="{FF2B5EF4-FFF2-40B4-BE49-F238E27FC236}">
                      <a16:creationId xmlns:a16="http://schemas.microsoft.com/office/drawing/2014/main" id="{00686483-DECD-45BF-9A77-564856213CC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Freeform 78">
                  <a:extLst>
                    <a:ext uri="{FF2B5EF4-FFF2-40B4-BE49-F238E27FC236}">
                      <a16:creationId xmlns:a16="http://schemas.microsoft.com/office/drawing/2014/main" id="{84F7DED2-E0F1-4DE4-A520-B0C26D9E750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80">
                  <a:extLst>
                    <a:ext uri="{FF2B5EF4-FFF2-40B4-BE49-F238E27FC236}">
                      <a16:creationId xmlns:a16="http://schemas.microsoft.com/office/drawing/2014/main" id="{039693EE-14A9-4591-B409-53500D914F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2" name="Group 2571">
                <a:extLst>
                  <a:ext uri="{FF2B5EF4-FFF2-40B4-BE49-F238E27FC236}">
                    <a16:creationId xmlns:a16="http://schemas.microsoft.com/office/drawing/2014/main" id="{89DDA1AB-DB1A-4F2A-A1F6-F55E86107FD2}"/>
                  </a:ext>
                </a:extLst>
              </p:cNvPr>
              <p:cNvGrpSpPr/>
              <p:nvPr/>
            </p:nvGrpSpPr>
            <p:grpSpPr>
              <a:xfrm>
                <a:off x="1511214" y="4789508"/>
                <a:ext cx="356509" cy="349884"/>
                <a:chOff x="468738" y="2241878"/>
                <a:chExt cx="1655483" cy="1624719"/>
              </a:xfrm>
            </p:grpSpPr>
            <p:sp>
              <p:nvSpPr>
                <p:cNvPr id="2573" name="Freeform 5">
                  <a:extLst>
                    <a:ext uri="{FF2B5EF4-FFF2-40B4-BE49-F238E27FC236}">
                      <a16:creationId xmlns:a16="http://schemas.microsoft.com/office/drawing/2014/main" id="{172B99D1-5F8D-43B0-A8CF-683A3625D04B}"/>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4" name="Freeform 6">
                  <a:extLst>
                    <a:ext uri="{FF2B5EF4-FFF2-40B4-BE49-F238E27FC236}">
                      <a16:creationId xmlns:a16="http://schemas.microsoft.com/office/drawing/2014/main" id="{F3FDED16-95F9-45A6-A5C2-AF3C7FBE84F6}"/>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5" name="Line 7">
                  <a:extLst>
                    <a:ext uri="{FF2B5EF4-FFF2-40B4-BE49-F238E27FC236}">
                      <a16:creationId xmlns:a16="http://schemas.microsoft.com/office/drawing/2014/main" id="{AAD0AA96-C242-4B23-8EFA-298E3BEDAA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8">
                  <a:extLst>
                    <a:ext uri="{FF2B5EF4-FFF2-40B4-BE49-F238E27FC236}">
                      <a16:creationId xmlns:a16="http://schemas.microsoft.com/office/drawing/2014/main" id="{65ACEBDE-EC2B-4A9C-8F9A-3E59E956386C}"/>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7" name="Line 9">
                  <a:extLst>
                    <a:ext uri="{FF2B5EF4-FFF2-40B4-BE49-F238E27FC236}">
                      <a16:creationId xmlns:a16="http://schemas.microsoft.com/office/drawing/2014/main" id="{FA37A858-97DB-4449-ACE8-3885E0019D9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78" name="Group 2577">
                  <a:extLst>
                    <a:ext uri="{FF2B5EF4-FFF2-40B4-BE49-F238E27FC236}">
                      <a16:creationId xmlns:a16="http://schemas.microsoft.com/office/drawing/2014/main" id="{79C5D445-41D4-40B0-AF1A-755E76DDC7B4}"/>
                    </a:ext>
                  </a:extLst>
                </p:cNvPr>
                <p:cNvGrpSpPr/>
                <p:nvPr/>
              </p:nvGrpSpPr>
              <p:grpSpPr>
                <a:xfrm>
                  <a:off x="1207113" y="2241878"/>
                  <a:ext cx="178734" cy="348678"/>
                  <a:chOff x="1207113" y="2241878"/>
                  <a:chExt cx="178734" cy="348678"/>
                </a:xfrm>
              </p:grpSpPr>
              <p:sp>
                <p:nvSpPr>
                  <p:cNvPr id="2601" name="Freeform 10">
                    <a:extLst>
                      <a:ext uri="{FF2B5EF4-FFF2-40B4-BE49-F238E27FC236}">
                        <a16:creationId xmlns:a16="http://schemas.microsoft.com/office/drawing/2014/main" id="{54AC54D8-9353-4873-A0D6-DA52C82071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2" name="Line 11">
                    <a:extLst>
                      <a:ext uri="{FF2B5EF4-FFF2-40B4-BE49-F238E27FC236}">
                        <a16:creationId xmlns:a16="http://schemas.microsoft.com/office/drawing/2014/main" id="{67538569-E1FB-43CB-8C4E-E50AB927A62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79" name="Freeform 12">
                  <a:extLst>
                    <a:ext uri="{FF2B5EF4-FFF2-40B4-BE49-F238E27FC236}">
                      <a16:creationId xmlns:a16="http://schemas.microsoft.com/office/drawing/2014/main" id="{23AB89EB-3C17-472E-A344-FA38E6EB684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0" name="Line 13">
                  <a:extLst>
                    <a:ext uri="{FF2B5EF4-FFF2-40B4-BE49-F238E27FC236}">
                      <a16:creationId xmlns:a16="http://schemas.microsoft.com/office/drawing/2014/main" id="{43C11C09-0BC9-4BFF-875F-ABE448A152D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14">
                  <a:extLst>
                    <a:ext uri="{FF2B5EF4-FFF2-40B4-BE49-F238E27FC236}">
                      <a16:creationId xmlns:a16="http://schemas.microsoft.com/office/drawing/2014/main" id="{F0F5FDC1-C77E-42C1-837C-FAF73023CF4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2" name="Line 15">
                  <a:extLst>
                    <a:ext uri="{FF2B5EF4-FFF2-40B4-BE49-F238E27FC236}">
                      <a16:creationId xmlns:a16="http://schemas.microsoft.com/office/drawing/2014/main" id="{D14B5AA4-719D-4159-8916-F2A1A34A91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16">
                  <a:extLst>
                    <a:ext uri="{FF2B5EF4-FFF2-40B4-BE49-F238E27FC236}">
                      <a16:creationId xmlns:a16="http://schemas.microsoft.com/office/drawing/2014/main" id="{F8FBC1AC-6574-47C3-8438-C023623B260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4" name="Line 17">
                  <a:extLst>
                    <a:ext uri="{FF2B5EF4-FFF2-40B4-BE49-F238E27FC236}">
                      <a16:creationId xmlns:a16="http://schemas.microsoft.com/office/drawing/2014/main" id="{08056CE5-759B-45BA-AD64-E8F92BBD2A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5" name="Freeform 18">
                  <a:extLst>
                    <a:ext uri="{FF2B5EF4-FFF2-40B4-BE49-F238E27FC236}">
                      <a16:creationId xmlns:a16="http://schemas.microsoft.com/office/drawing/2014/main" id="{6A51513C-BEE0-4282-A5DF-6205F1EA066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6" name="Line 19">
                  <a:extLst>
                    <a:ext uri="{FF2B5EF4-FFF2-40B4-BE49-F238E27FC236}">
                      <a16:creationId xmlns:a16="http://schemas.microsoft.com/office/drawing/2014/main" id="{AEAAE65E-5999-432E-9C21-5E4FB83DDEB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Freeform 35">
                  <a:extLst>
                    <a:ext uri="{FF2B5EF4-FFF2-40B4-BE49-F238E27FC236}">
                      <a16:creationId xmlns:a16="http://schemas.microsoft.com/office/drawing/2014/main" id="{905B05FD-7A7F-48F9-A413-495E4E3EF3B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8" name="Freeform 36">
                  <a:extLst>
                    <a:ext uri="{FF2B5EF4-FFF2-40B4-BE49-F238E27FC236}">
                      <a16:creationId xmlns:a16="http://schemas.microsoft.com/office/drawing/2014/main" id="{2921A0B4-2BEA-4CE2-8F22-3E172B32B81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9" name="Freeform 37">
                  <a:extLst>
                    <a:ext uri="{FF2B5EF4-FFF2-40B4-BE49-F238E27FC236}">
                      <a16:creationId xmlns:a16="http://schemas.microsoft.com/office/drawing/2014/main" id="{74FD599A-C4E5-4385-B21D-C11D5169B587}"/>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Freeform 38">
                  <a:extLst>
                    <a:ext uri="{FF2B5EF4-FFF2-40B4-BE49-F238E27FC236}">
                      <a16:creationId xmlns:a16="http://schemas.microsoft.com/office/drawing/2014/main" id="{8F85F175-9B1B-40F9-946C-DE9DDA6E8A4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1" name="Freeform 39">
                  <a:extLst>
                    <a:ext uri="{FF2B5EF4-FFF2-40B4-BE49-F238E27FC236}">
                      <a16:creationId xmlns:a16="http://schemas.microsoft.com/office/drawing/2014/main" id="{53790508-4459-4A51-8C21-80B6C72D01A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2" name="Freeform 40">
                  <a:extLst>
                    <a:ext uri="{FF2B5EF4-FFF2-40B4-BE49-F238E27FC236}">
                      <a16:creationId xmlns:a16="http://schemas.microsoft.com/office/drawing/2014/main" id="{E9E238AF-9ECF-452F-B6DB-E6DF88A9C969}"/>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41">
                  <a:extLst>
                    <a:ext uri="{FF2B5EF4-FFF2-40B4-BE49-F238E27FC236}">
                      <a16:creationId xmlns:a16="http://schemas.microsoft.com/office/drawing/2014/main" id="{D11F8F04-D95B-4398-934F-456924E564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Line 42">
                  <a:extLst>
                    <a:ext uri="{FF2B5EF4-FFF2-40B4-BE49-F238E27FC236}">
                      <a16:creationId xmlns:a16="http://schemas.microsoft.com/office/drawing/2014/main" id="{7CA960FB-560C-4E5A-8FE9-85E545A1B2C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5" name="Freeform 43">
                  <a:extLst>
                    <a:ext uri="{FF2B5EF4-FFF2-40B4-BE49-F238E27FC236}">
                      <a16:creationId xmlns:a16="http://schemas.microsoft.com/office/drawing/2014/main" id="{8352DF51-BA50-42A8-AAA7-896B47106C3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6" name="Freeform 44">
                  <a:extLst>
                    <a:ext uri="{FF2B5EF4-FFF2-40B4-BE49-F238E27FC236}">
                      <a16:creationId xmlns:a16="http://schemas.microsoft.com/office/drawing/2014/main" id="{BDD7E630-68FF-4E07-BB6A-C1149D795D9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7" name="Freeform 45">
                  <a:extLst>
                    <a:ext uri="{FF2B5EF4-FFF2-40B4-BE49-F238E27FC236}">
                      <a16:creationId xmlns:a16="http://schemas.microsoft.com/office/drawing/2014/main" id="{861BDD01-35EE-466A-B33F-9A1961BB3060}"/>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98" name="Group 2597">
                  <a:extLst>
                    <a:ext uri="{FF2B5EF4-FFF2-40B4-BE49-F238E27FC236}">
                      <a16:creationId xmlns:a16="http://schemas.microsoft.com/office/drawing/2014/main" id="{7B1758D7-BE5F-464F-BC14-3A269D9754BC}"/>
                    </a:ext>
                  </a:extLst>
                </p:cNvPr>
                <p:cNvGrpSpPr/>
                <p:nvPr/>
              </p:nvGrpSpPr>
              <p:grpSpPr>
                <a:xfrm flipV="1">
                  <a:off x="1202047" y="3517919"/>
                  <a:ext cx="178734" cy="348678"/>
                  <a:chOff x="1207113" y="2241878"/>
                  <a:chExt cx="178734" cy="348678"/>
                </a:xfrm>
              </p:grpSpPr>
              <p:sp>
                <p:nvSpPr>
                  <p:cNvPr id="2599" name="Freeform 10">
                    <a:extLst>
                      <a:ext uri="{FF2B5EF4-FFF2-40B4-BE49-F238E27FC236}">
                        <a16:creationId xmlns:a16="http://schemas.microsoft.com/office/drawing/2014/main" id="{019506FC-658D-4D9A-A18D-8059D37E15F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Line 11">
                    <a:extLst>
                      <a:ext uri="{FF2B5EF4-FFF2-40B4-BE49-F238E27FC236}">
                        <a16:creationId xmlns:a16="http://schemas.microsoft.com/office/drawing/2014/main" id="{99B84B6D-9AFF-4FEA-9FDC-B8BF3387F94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48" name="Group 2547">
              <a:extLst>
                <a:ext uri="{FF2B5EF4-FFF2-40B4-BE49-F238E27FC236}">
                  <a16:creationId xmlns:a16="http://schemas.microsoft.com/office/drawing/2014/main" id="{5EA11509-A1A4-44A6-A1A4-17F4B555AAC6}"/>
                </a:ext>
              </a:extLst>
            </p:cNvPr>
            <p:cNvGrpSpPr>
              <a:grpSpLocks/>
            </p:cNvGrpSpPr>
            <p:nvPr/>
          </p:nvGrpSpPr>
          <p:grpSpPr>
            <a:xfrm>
              <a:off x="2714719" y="1795002"/>
              <a:ext cx="429768" cy="429768"/>
              <a:chOff x="2268747" y="4723725"/>
              <a:chExt cx="415610" cy="415612"/>
            </a:xfrm>
          </p:grpSpPr>
          <p:grpSp>
            <p:nvGrpSpPr>
              <p:cNvPr id="2549" name="Group 64">
                <a:extLst>
                  <a:ext uri="{FF2B5EF4-FFF2-40B4-BE49-F238E27FC236}">
                    <a16:creationId xmlns:a16="http://schemas.microsoft.com/office/drawing/2014/main" id="{9994E78A-F8C7-4ECE-944A-E097AE751DB8}"/>
                  </a:ext>
                </a:extLst>
              </p:cNvPr>
              <p:cNvGrpSpPr>
                <a:grpSpLocks noChangeAspect="1"/>
              </p:cNvGrpSpPr>
              <p:nvPr/>
            </p:nvGrpSpPr>
            <p:grpSpPr bwMode="auto">
              <a:xfrm rot="8100000">
                <a:off x="2268747" y="4723725"/>
                <a:ext cx="415610" cy="415612"/>
                <a:chOff x="701" y="2170"/>
                <a:chExt cx="587" cy="587"/>
              </a:xfrm>
            </p:grpSpPr>
            <p:sp>
              <p:nvSpPr>
                <p:cNvPr id="2564" name="Oval 65">
                  <a:extLst>
                    <a:ext uri="{FF2B5EF4-FFF2-40B4-BE49-F238E27FC236}">
                      <a16:creationId xmlns:a16="http://schemas.microsoft.com/office/drawing/2014/main" id="{B0440BC5-094D-472D-B738-365BFF23A97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5" name="Line 66">
                  <a:extLst>
                    <a:ext uri="{FF2B5EF4-FFF2-40B4-BE49-F238E27FC236}">
                      <a16:creationId xmlns:a16="http://schemas.microsoft.com/office/drawing/2014/main" id="{2A47616E-CFA9-48B9-9249-5868F9E3FC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6" name="Line 67">
                  <a:extLst>
                    <a:ext uri="{FF2B5EF4-FFF2-40B4-BE49-F238E27FC236}">
                      <a16:creationId xmlns:a16="http://schemas.microsoft.com/office/drawing/2014/main" id="{F77ABEAB-5DBD-4EAF-8B07-2263A00DC3F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7" name="Line 69">
                  <a:extLst>
                    <a:ext uri="{FF2B5EF4-FFF2-40B4-BE49-F238E27FC236}">
                      <a16:creationId xmlns:a16="http://schemas.microsoft.com/office/drawing/2014/main" id="{DE510E65-BE79-46F0-B8B4-232037F6B76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8" name="Line 74">
                  <a:extLst>
                    <a:ext uri="{FF2B5EF4-FFF2-40B4-BE49-F238E27FC236}">
                      <a16:creationId xmlns:a16="http://schemas.microsoft.com/office/drawing/2014/main" id="{CD3FFEA8-D4AB-4078-A060-33DF4A788FE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9" name="Freeform 78">
                  <a:extLst>
                    <a:ext uri="{FF2B5EF4-FFF2-40B4-BE49-F238E27FC236}">
                      <a16:creationId xmlns:a16="http://schemas.microsoft.com/office/drawing/2014/main" id="{2EDC1EE5-42BD-4CDA-813D-5E6FB6792E2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0" name="Freeform 80">
                  <a:extLst>
                    <a:ext uri="{FF2B5EF4-FFF2-40B4-BE49-F238E27FC236}">
                      <a16:creationId xmlns:a16="http://schemas.microsoft.com/office/drawing/2014/main" id="{A5B3BECE-23D7-41D4-8D21-E529128AD14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50" name="Group 2549">
                <a:extLst>
                  <a:ext uri="{FF2B5EF4-FFF2-40B4-BE49-F238E27FC236}">
                    <a16:creationId xmlns:a16="http://schemas.microsoft.com/office/drawing/2014/main" id="{CDDC6E90-998A-4279-AA1D-88E0676C2A65}"/>
                  </a:ext>
                </a:extLst>
              </p:cNvPr>
              <p:cNvGrpSpPr/>
              <p:nvPr/>
            </p:nvGrpSpPr>
            <p:grpSpPr>
              <a:xfrm>
                <a:off x="2318076" y="4830163"/>
                <a:ext cx="313949" cy="233075"/>
                <a:chOff x="3707533" y="2731244"/>
                <a:chExt cx="389644" cy="289271"/>
              </a:xfrm>
            </p:grpSpPr>
            <p:sp>
              <p:nvSpPr>
                <p:cNvPr id="2551" name="Freeform 33">
                  <a:extLst>
                    <a:ext uri="{FF2B5EF4-FFF2-40B4-BE49-F238E27FC236}">
                      <a16:creationId xmlns:a16="http://schemas.microsoft.com/office/drawing/2014/main" id="{3E33581A-5603-47FA-8C77-22600BCDE6E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2" name="Freeform 34">
                  <a:extLst>
                    <a:ext uri="{FF2B5EF4-FFF2-40B4-BE49-F238E27FC236}">
                      <a16:creationId xmlns:a16="http://schemas.microsoft.com/office/drawing/2014/main" id="{ACDF47B3-1CA7-4271-867B-F114B297691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3" name="Freeform 37">
                  <a:extLst>
                    <a:ext uri="{FF2B5EF4-FFF2-40B4-BE49-F238E27FC236}">
                      <a16:creationId xmlns:a16="http://schemas.microsoft.com/office/drawing/2014/main" id="{B543CB0C-D03B-4720-A607-0FCD07E9D4B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4" name="Freeform 38">
                  <a:extLst>
                    <a:ext uri="{FF2B5EF4-FFF2-40B4-BE49-F238E27FC236}">
                      <a16:creationId xmlns:a16="http://schemas.microsoft.com/office/drawing/2014/main" id="{372AC087-985F-4869-B0F9-042502D250D4}"/>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5" name="Freeform 32">
                  <a:extLst>
                    <a:ext uri="{FF2B5EF4-FFF2-40B4-BE49-F238E27FC236}">
                      <a16:creationId xmlns:a16="http://schemas.microsoft.com/office/drawing/2014/main" id="{38C5052C-A37E-470F-B686-3D80031B8B8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6" name="Freeform 35">
                  <a:extLst>
                    <a:ext uri="{FF2B5EF4-FFF2-40B4-BE49-F238E27FC236}">
                      <a16:creationId xmlns:a16="http://schemas.microsoft.com/office/drawing/2014/main" id="{B2446279-1BCD-4191-8B55-C5D69A343EE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7" name="Freeform 36">
                  <a:extLst>
                    <a:ext uri="{FF2B5EF4-FFF2-40B4-BE49-F238E27FC236}">
                      <a16:creationId xmlns:a16="http://schemas.microsoft.com/office/drawing/2014/main" id="{C85BCDF6-D6D7-4002-A4B7-F17FFEAB5D3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8" name="Freeform 25">
                  <a:extLst>
                    <a:ext uri="{FF2B5EF4-FFF2-40B4-BE49-F238E27FC236}">
                      <a16:creationId xmlns:a16="http://schemas.microsoft.com/office/drawing/2014/main" id="{C36CC8CF-82FF-428E-BC50-3225F0505AF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9" name="Freeform 39">
                  <a:extLst>
                    <a:ext uri="{FF2B5EF4-FFF2-40B4-BE49-F238E27FC236}">
                      <a16:creationId xmlns:a16="http://schemas.microsoft.com/office/drawing/2014/main" id="{B9E1B1BD-9826-44F1-8BFA-FD3EE138DEA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0" name="Freeform 26">
                  <a:extLst>
                    <a:ext uri="{FF2B5EF4-FFF2-40B4-BE49-F238E27FC236}">
                      <a16:creationId xmlns:a16="http://schemas.microsoft.com/office/drawing/2014/main" id="{E70AECCB-A7E1-4AF4-AD81-97B4AD7E5A3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1" name="Rectangle 27">
                  <a:extLst>
                    <a:ext uri="{FF2B5EF4-FFF2-40B4-BE49-F238E27FC236}">
                      <a16:creationId xmlns:a16="http://schemas.microsoft.com/office/drawing/2014/main" id="{AE5DB8C7-52CD-4F4D-AD7D-713470DD0519}"/>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2" name="Line 29">
                  <a:extLst>
                    <a:ext uri="{FF2B5EF4-FFF2-40B4-BE49-F238E27FC236}">
                      <a16:creationId xmlns:a16="http://schemas.microsoft.com/office/drawing/2014/main" id="{C1EDC3FA-8CEB-4FB2-816D-A14C07043183}"/>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3" name="Line 31">
                  <a:extLst>
                    <a:ext uri="{FF2B5EF4-FFF2-40B4-BE49-F238E27FC236}">
                      <a16:creationId xmlns:a16="http://schemas.microsoft.com/office/drawing/2014/main" id="{2438B17F-954A-450B-8F24-DD7E7E7D6E0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 name="Group 21">
            <a:extLst>
              <a:ext uri="{FF2B5EF4-FFF2-40B4-BE49-F238E27FC236}">
                <a16:creationId xmlns:a16="http://schemas.microsoft.com/office/drawing/2014/main" id="{6E4C0B98-8312-4240-91AD-56D15DC8F0EB}"/>
              </a:ext>
            </a:extLst>
          </p:cNvPr>
          <p:cNvGrpSpPr/>
          <p:nvPr/>
        </p:nvGrpSpPr>
        <p:grpSpPr>
          <a:xfrm>
            <a:off x="10071532" y="2269806"/>
            <a:ext cx="1723479" cy="3110477"/>
            <a:chOff x="10072567" y="2269503"/>
            <a:chExt cx="1723928" cy="3111287"/>
          </a:xfrm>
        </p:grpSpPr>
        <p:grpSp>
          <p:nvGrpSpPr>
            <p:cNvPr id="2628" name="Group 2627">
              <a:extLst>
                <a:ext uri="{FF2B5EF4-FFF2-40B4-BE49-F238E27FC236}">
                  <a16:creationId xmlns:a16="http://schemas.microsoft.com/office/drawing/2014/main" id="{5CB17104-CCCA-4F2F-BCBE-97E71FB6F56C}"/>
                </a:ext>
              </a:extLst>
            </p:cNvPr>
            <p:cNvGrpSpPr/>
            <p:nvPr/>
          </p:nvGrpSpPr>
          <p:grpSpPr>
            <a:xfrm>
              <a:off x="10075218" y="2269503"/>
              <a:ext cx="1586257" cy="2254230"/>
              <a:chOff x="9895314" y="2107193"/>
              <a:chExt cx="1590306" cy="2259985"/>
            </a:xfrm>
          </p:grpSpPr>
          <p:grpSp>
            <p:nvGrpSpPr>
              <p:cNvPr id="2629" name="Group 2628">
                <a:extLst>
                  <a:ext uri="{FF2B5EF4-FFF2-40B4-BE49-F238E27FC236}">
                    <a16:creationId xmlns:a16="http://schemas.microsoft.com/office/drawing/2014/main" id="{75F7C261-4B8F-45FE-824C-8DB0963CCF23}"/>
                  </a:ext>
                </a:extLst>
              </p:cNvPr>
              <p:cNvGrpSpPr/>
              <p:nvPr/>
            </p:nvGrpSpPr>
            <p:grpSpPr>
              <a:xfrm>
                <a:off x="9895314" y="2107193"/>
                <a:ext cx="1231250" cy="1189486"/>
                <a:chOff x="7839761" y="1053755"/>
                <a:chExt cx="927651" cy="896185"/>
              </a:xfrm>
            </p:grpSpPr>
            <p:sp>
              <p:nvSpPr>
                <p:cNvPr id="2746" name="TextBox 2745">
                  <a:extLst>
                    <a:ext uri="{FF2B5EF4-FFF2-40B4-BE49-F238E27FC236}">
                      <a16:creationId xmlns:a16="http://schemas.microsoft.com/office/drawing/2014/main" id="{A89C0F18-FA20-4891-8E84-A8A00C5A9499}"/>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47" name="Group 2746">
                  <a:extLst>
                    <a:ext uri="{FF2B5EF4-FFF2-40B4-BE49-F238E27FC236}">
                      <a16:creationId xmlns:a16="http://schemas.microsoft.com/office/drawing/2014/main" id="{41A641A2-BA06-4CF0-B09C-EF17BDDDA17C}"/>
                    </a:ext>
                  </a:extLst>
                </p:cNvPr>
                <p:cNvGrpSpPr/>
                <p:nvPr/>
              </p:nvGrpSpPr>
              <p:grpSpPr>
                <a:xfrm>
                  <a:off x="7839761" y="1053755"/>
                  <a:ext cx="927651" cy="523122"/>
                  <a:chOff x="7839761" y="1053755"/>
                  <a:chExt cx="927651" cy="523122"/>
                </a:xfrm>
              </p:grpSpPr>
              <p:sp>
                <p:nvSpPr>
                  <p:cNvPr id="2748" name="Line 66">
                    <a:extLst>
                      <a:ext uri="{FF2B5EF4-FFF2-40B4-BE49-F238E27FC236}">
                        <a16:creationId xmlns:a16="http://schemas.microsoft.com/office/drawing/2014/main" id="{EF576319-484F-4E1A-83E5-E731B3A05C8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Line 67">
                    <a:extLst>
                      <a:ext uri="{FF2B5EF4-FFF2-40B4-BE49-F238E27FC236}">
                        <a16:creationId xmlns:a16="http://schemas.microsoft.com/office/drawing/2014/main" id="{4C11F583-E796-42B1-B36E-F135E3677C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0" name="Line 74">
                    <a:extLst>
                      <a:ext uri="{FF2B5EF4-FFF2-40B4-BE49-F238E27FC236}">
                        <a16:creationId xmlns:a16="http://schemas.microsoft.com/office/drawing/2014/main" id="{A3D791A1-8161-4216-9837-9D5C6939A3A7}"/>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1" name="Freeform 78">
                    <a:extLst>
                      <a:ext uri="{FF2B5EF4-FFF2-40B4-BE49-F238E27FC236}">
                        <a16:creationId xmlns:a16="http://schemas.microsoft.com/office/drawing/2014/main" id="{71B5307A-0003-42E4-A2BB-6E78B51CF045}"/>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2" name="Freeform 80">
                    <a:extLst>
                      <a:ext uri="{FF2B5EF4-FFF2-40B4-BE49-F238E27FC236}">
                        <a16:creationId xmlns:a16="http://schemas.microsoft.com/office/drawing/2014/main" id="{12E186D9-86A8-4315-B5A9-558C950A79EF}"/>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3" name="Freeform 1575">
                    <a:extLst>
                      <a:ext uri="{FF2B5EF4-FFF2-40B4-BE49-F238E27FC236}">
                        <a16:creationId xmlns:a16="http://schemas.microsoft.com/office/drawing/2014/main" id="{C8E9D922-B157-4514-9971-B03785F0ACC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4" name="Freeform 1576">
                    <a:extLst>
                      <a:ext uri="{FF2B5EF4-FFF2-40B4-BE49-F238E27FC236}">
                        <a16:creationId xmlns:a16="http://schemas.microsoft.com/office/drawing/2014/main" id="{C3C1296B-EC9F-49B6-ACCF-2210563B18AA}"/>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5" name="Freeform 1577">
                    <a:extLst>
                      <a:ext uri="{FF2B5EF4-FFF2-40B4-BE49-F238E27FC236}">
                        <a16:creationId xmlns:a16="http://schemas.microsoft.com/office/drawing/2014/main" id="{9363EDAB-65B6-45DE-9953-CC2140D357BB}"/>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1578">
                    <a:extLst>
                      <a:ext uri="{FF2B5EF4-FFF2-40B4-BE49-F238E27FC236}">
                        <a16:creationId xmlns:a16="http://schemas.microsoft.com/office/drawing/2014/main" id="{4B747CE4-EE46-4782-A953-6C0BE6CE175A}"/>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9">
                    <a:extLst>
                      <a:ext uri="{FF2B5EF4-FFF2-40B4-BE49-F238E27FC236}">
                        <a16:creationId xmlns:a16="http://schemas.microsoft.com/office/drawing/2014/main" id="{C5BBF474-3AE4-4A00-91FE-30C4D12C3F0E}"/>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80">
                    <a:extLst>
                      <a:ext uri="{FF2B5EF4-FFF2-40B4-BE49-F238E27FC236}">
                        <a16:creationId xmlns:a16="http://schemas.microsoft.com/office/drawing/2014/main" id="{AC37283D-B98B-427A-B0E6-8E1697E106F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81">
                    <a:extLst>
                      <a:ext uri="{FF2B5EF4-FFF2-40B4-BE49-F238E27FC236}">
                        <a16:creationId xmlns:a16="http://schemas.microsoft.com/office/drawing/2014/main" id="{2712851D-4408-49D2-B71D-BC8549552CE6}"/>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82">
                    <a:extLst>
                      <a:ext uri="{FF2B5EF4-FFF2-40B4-BE49-F238E27FC236}">
                        <a16:creationId xmlns:a16="http://schemas.microsoft.com/office/drawing/2014/main" id="{BA067DA5-B09F-4290-BC07-39E7ACAE2522}"/>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3">
                    <a:extLst>
                      <a:ext uri="{FF2B5EF4-FFF2-40B4-BE49-F238E27FC236}">
                        <a16:creationId xmlns:a16="http://schemas.microsoft.com/office/drawing/2014/main" id="{8600E721-4879-4205-BA8C-6FF01585C4B6}"/>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4">
                    <a:extLst>
                      <a:ext uri="{FF2B5EF4-FFF2-40B4-BE49-F238E27FC236}">
                        <a16:creationId xmlns:a16="http://schemas.microsoft.com/office/drawing/2014/main" id="{6C52C4E5-C141-43AA-A779-84596D472BE1}"/>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5">
                    <a:extLst>
                      <a:ext uri="{FF2B5EF4-FFF2-40B4-BE49-F238E27FC236}">
                        <a16:creationId xmlns:a16="http://schemas.microsoft.com/office/drawing/2014/main" id="{DACFF4D9-98B0-4EC9-8EF9-8A4BEF530A08}"/>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6">
                    <a:extLst>
                      <a:ext uri="{FF2B5EF4-FFF2-40B4-BE49-F238E27FC236}">
                        <a16:creationId xmlns:a16="http://schemas.microsoft.com/office/drawing/2014/main" id="{5CE3602F-29E5-4849-AC85-A181EF04DF4A}"/>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7">
                    <a:extLst>
                      <a:ext uri="{FF2B5EF4-FFF2-40B4-BE49-F238E27FC236}">
                        <a16:creationId xmlns:a16="http://schemas.microsoft.com/office/drawing/2014/main" id="{AD26EE88-98D6-4D97-BFBE-71841124747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8">
                    <a:extLst>
                      <a:ext uri="{FF2B5EF4-FFF2-40B4-BE49-F238E27FC236}">
                        <a16:creationId xmlns:a16="http://schemas.microsoft.com/office/drawing/2014/main" id="{4B71DBF9-CCCE-4B50-9211-994E7BB25A66}"/>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Rectangle 1589">
                    <a:extLst>
                      <a:ext uri="{FF2B5EF4-FFF2-40B4-BE49-F238E27FC236}">
                        <a16:creationId xmlns:a16="http://schemas.microsoft.com/office/drawing/2014/main" id="{E19A6D98-F107-4271-8471-B1B5EEB975F8}"/>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8" name="Rectangle 1590">
                    <a:extLst>
                      <a:ext uri="{FF2B5EF4-FFF2-40B4-BE49-F238E27FC236}">
                        <a16:creationId xmlns:a16="http://schemas.microsoft.com/office/drawing/2014/main" id="{7122575D-1BF0-4900-9BDA-5CCB8705DEC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91">
                    <a:extLst>
                      <a:ext uri="{FF2B5EF4-FFF2-40B4-BE49-F238E27FC236}">
                        <a16:creationId xmlns:a16="http://schemas.microsoft.com/office/drawing/2014/main" id="{FB79298F-73E1-4FD1-B18F-ECF09E695349}"/>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0" name="Freeform 1592">
                    <a:extLst>
                      <a:ext uri="{FF2B5EF4-FFF2-40B4-BE49-F238E27FC236}">
                        <a16:creationId xmlns:a16="http://schemas.microsoft.com/office/drawing/2014/main" id="{FF735AAF-A3E5-47C6-B26B-4C4C16042FD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Freeform 1593">
                    <a:extLst>
                      <a:ext uri="{FF2B5EF4-FFF2-40B4-BE49-F238E27FC236}">
                        <a16:creationId xmlns:a16="http://schemas.microsoft.com/office/drawing/2014/main" id="{B39FBEE9-F252-4A22-8264-2A1D60F5A03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4">
                    <a:extLst>
                      <a:ext uri="{FF2B5EF4-FFF2-40B4-BE49-F238E27FC236}">
                        <a16:creationId xmlns:a16="http://schemas.microsoft.com/office/drawing/2014/main" id="{A29FD2F8-9C95-4F0B-B897-4B5A4B10D567}"/>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5">
                    <a:extLst>
                      <a:ext uri="{FF2B5EF4-FFF2-40B4-BE49-F238E27FC236}">
                        <a16:creationId xmlns:a16="http://schemas.microsoft.com/office/drawing/2014/main" id="{8F7A0336-F79D-42EE-8B74-35B637B42972}"/>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6">
                    <a:extLst>
                      <a:ext uri="{FF2B5EF4-FFF2-40B4-BE49-F238E27FC236}">
                        <a16:creationId xmlns:a16="http://schemas.microsoft.com/office/drawing/2014/main" id="{E704E2E2-425C-405C-B59B-B09A9DAC05E3}"/>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672">
                    <a:extLst>
                      <a:ext uri="{FF2B5EF4-FFF2-40B4-BE49-F238E27FC236}">
                        <a16:creationId xmlns:a16="http://schemas.microsoft.com/office/drawing/2014/main" id="{58BEAE7A-63F2-4A3E-A465-6CAE93E908D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6" name="Freeform 1673">
                    <a:extLst>
                      <a:ext uri="{FF2B5EF4-FFF2-40B4-BE49-F238E27FC236}">
                        <a16:creationId xmlns:a16="http://schemas.microsoft.com/office/drawing/2014/main" id="{BF103C68-5C78-437C-B8F9-00C278917209}"/>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7" name="Freeform 1674">
                    <a:extLst>
                      <a:ext uri="{FF2B5EF4-FFF2-40B4-BE49-F238E27FC236}">
                        <a16:creationId xmlns:a16="http://schemas.microsoft.com/office/drawing/2014/main" id="{101D078E-1E0B-4970-9DE6-08C78AC150F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8" name="Freeform 1675">
                    <a:extLst>
                      <a:ext uri="{FF2B5EF4-FFF2-40B4-BE49-F238E27FC236}">
                        <a16:creationId xmlns:a16="http://schemas.microsoft.com/office/drawing/2014/main" id="{D1AF199D-33F3-4BC3-A642-B2EA8C8D0BCC}"/>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9" name="Freeform 1676">
                    <a:extLst>
                      <a:ext uri="{FF2B5EF4-FFF2-40B4-BE49-F238E27FC236}">
                        <a16:creationId xmlns:a16="http://schemas.microsoft.com/office/drawing/2014/main" id="{3CC628BB-8473-481C-9A04-3B24474C37F0}"/>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0" name="Freeform 1677">
                    <a:extLst>
                      <a:ext uri="{FF2B5EF4-FFF2-40B4-BE49-F238E27FC236}">
                        <a16:creationId xmlns:a16="http://schemas.microsoft.com/office/drawing/2014/main" id="{8A7374C2-2413-4C93-B716-E567E539CAB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1" name="Freeform 1678">
                    <a:extLst>
                      <a:ext uri="{FF2B5EF4-FFF2-40B4-BE49-F238E27FC236}">
                        <a16:creationId xmlns:a16="http://schemas.microsoft.com/office/drawing/2014/main" id="{8529CFF3-4A2F-4293-A8C3-12FD1EE8C27E}"/>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2" name="Freeform 1679">
                    <a:extLst>
                      <a:ext uri="{FF2B5EF4-FFF2-40B4-BE49-F238E27FC236}">
                        <a16:creationId xmlns:a16="http://schemas.microsoft.com/office/drawing/2014/main" id="{F1D1EC2E-B9B6-4DE5-AE78-4AAF84AD21F5}"/>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3" name="Freeform 1680">
                    <a:extLst>
                      <a:ext uri="{FF2B5EF4-FFF2-40B4-BE49-F238E27FC236}">
                        <a16:creationId xmlns:a16="http://schemas.microsoft.com/office/drawing/2014/main" id="{87D879A7-2CA4-43AF-A70E-B0F6582C7648}"/>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4" name="Freeform 1681">
                    <a:extLst>
                      <a:ext uri="{FF2B5EF4-FFF2-40B4-BE49-F238E27FC236}">
                        <a16:creationId xmlns:a16="http://schemas.microsoft.com/office/drawing/2014/main" id="{9C2394F2-1F2D-4793-BBE1-59163EF9C2B8}"/>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5" name="Freeform 1682">
                    <a:extLst>
                      <a:ext uri="{FF2B5EF4-FFF2-40B4-BE49-F238E27FC236}">
                        <a16:creationId xmlns:a16="http://schemas.microsoft.com/office/drawing/2014/main" id="{56C73A33-D3CA-4FE3-B422-3B52E4830496}"/>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6" name="Freeform 1683">
                    <a:extLst>
                      <a:ext uri="{FF2B5EF4-FFF2-40B4-BE49-F238E27FC236}">
                        <a16:creationId xmlns:a16="http://schemas.microsoft.com/office/drawing/2014/main" id="{E1FE82CE-C9EF-4092-8A68-1AAF8E855F8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7" name="Freeform 1684">
                    <a:extLst>
                      <a:ext uri="{FF2B5EF4-FFF2-40B4-BE49-F238E27FC236}">
                        <a16:creationId xmlns:a16="http://schemas.microsoft.com/office/drawing/2014/main" id="{0F03233A-E0A2-4D93-8E4E-D5E4E5F5D838}"/>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8" name="Freeform 1685">
                    <a:extLst>
                      <a:ext uri="{FF2B5EF4-FFF2-40B4-BE49-F238E27FC236}">
                        <a16:creationId xmlns:a16="http://schemas.microsoft.com/office/drawing/2014/main" id="{E0895045-18EC-4FB1-AAF6-795CAE8A8712}"/>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9" name="Freeform 1686">
                    <a:extLst>
                      <a:ext uri="{FF2B5EF4-FFF2-40B4-BE49-F238E27FC236}">
                        <a16:creationId xmlns:a16="http://schemas.microsoft.com/office/drawing/2014/main" id="{076A71FE-C096-464F-811B-4B53BFCF0D9E}"/>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0" name="Freeform 1687">
                    <a:extLst>
                      <a:ext uri="{FF2B5EF4-FFF2-40B4-BE49-F238E27FC236}">
                        <a16:creationId xmlns:a16="http://schemas.microsoft.com/office/drawing/2014/main" id="{5D0860EE-8598-4911-BB8A-8FCCF93123F9}"/>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1" name="Freeform 1688">
                    <a:extLst>
                      <a:ext uri="{FF2B5EF4-FFF2-40B4-BE49-F238E27FC236}">
                        <a16:creationId xmlns:a16="http://schemas.microsoft.com/office/drawing/2014/main" id="{87035EA2-95A4-4FE3-AAA4-3EE997309AC6}"/>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2" name="Freeform 1689">
                    <a:extLst>
                      <a:ext uri="{FF2B5EF4-FFF2-40B4-BE49-F238E27FC236}">
                        <a16:creationId xmlns:a16="http://schemas.microsoft.com/office/drawing/2014/main" id="{03B0CAB4-E6D2-4AD1-82FA-C4C6530AA120}"/>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3" name="Freeform 1690">
                    <a:extLst>
                      <a:ext uri="{FF2B5EF4-FFF2-40B4-BE49-F238E27FC236}">
                        <a16:creationId xmlns:a16="http://schemas.microsoft.com/office/drawing/2014/main" id="{A87F4AFD-7BFE-49CC-B161-040D7981115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4" name="Freeform 1691">
                    <a:extLst>
                      <a:ext uri="{FF2B5EF4-FFF2-40B4-BE49-F238E27FC236}">
                        <a16:creationId xmlns:a16="http://schemas.microsoft.com/office/drawing/2014/main" id="{A550F790-F21F-454D-BB0C-C78B801D0FF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5" name="Freeform 1692">
                    <a:extLst>
                      <a:ext uri="{FF2B5EF4-FFF2-40B4-BE49-F238E27FC236}">
                        <a16:creationId xmlns:a16="http://schemas.microsoft.com/office/drawing/2014/main" id="{3DA499CB-99FF-466E-B9C3-1C07C4DA9999}"/>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6" name="Freeform 1693">
                    <a:extLst>
                      <a:ext uri="{FF2B5EF4-FFF2-40B4-BE49-F238E27FC236}">
                        <a16:creationId xmlns:a16="http://schemas.microsoft.com/office/drawing/2014/main" id="{B0673750-09B7-4844-BCD6-D8B77703CBCC}"/>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7" name="Freeform 1694">
                    <a:extLst>
                      <a:ext uri="{FF2B5EF4-FFF2-40B4-BE49-F238E27FC236}">
                        <a16:creationId xmlns:a16="http://schemas.microsoft.com/office/drawing/2014/main" id="{3A5E945C-07AA-4DC8-9235-A4E604F5D6F3}"/>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8" name="Freeform 1695">
                    <a:extLst>
                      <a:ext uri="{FF2B5EF4-FFF2-40B4-BE49-F238E27FC236}">
                        <a16:creationId xmlns:a16="http://schemas.microsoft.com/office/drawing/2014/main" id="{F9203E1B-DDEA-4683-92CF-8791003D3C51}"/>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9" name="Freeform 1696">
                    <a:extLst>
                      <a:ext uri="{FF2B5EF4-FFF2-40B4-BE49-F238E27FC236}">
                        <a16:creationId xmlns:a16="http://schemas.microsoft.com/office/drawing/2014/main" id="{9FF08ADD-648E-4896-9B4F-86A830ACA1A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800" name="Freeform 1697">
                    <a:extLst>
                      <a:ext uri="{FF2B5EF4-FFF2-40B4-BE49-F238E27FC236}">
                        <a16:creationId xmlns:a16="http://schemas.microsoft.com/office/drawing/2014/main" id="{F4256F3D-1F56-47B8-AB85-9A61C6E953CF}"/>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30" name="Group 2629">
                <a:extLst>
                  <a:ext uri="{FF2B5EF4-FFF2-40B4-BE49-F238E27FC236}">
                    <a16:creationId xmlns:a16="http://schemas.microsoft.com/office/drawing/2014/main" id="{D1BCEA53-D951-4F05-8FB7-4C9D8228522E}"/>
                  </a:ext>
                </a:extLst>
              </p:cNvPr>
              <p:cNvGrpSpPr/>
              <p:nvPr/>
            </p:nvGrpSpPr>
            <p:grpSpPr>
              <a:xfrm>
                <a:off x="10074842" y="2518176"/>
                <a:ext cx="1231250" cy="1313698"/>
                <a:chOff x="12023909" y="2412144"/>
                <a:chExt cx="1231250" cy="1313698"/>
              </a:xfrm>
            </p:grpSpPr>
            <p:sp>
              <p:nvSpPr>
                <p:cNvPr id="2689" name="Rectangle: Rounded Corners 2688">
                  <a:extLst>
                    <a:ext uri="{FF2B5EF4-FFF2-40B4-BE49-F238E27FC236}">
                      <a16:creationId xmlns:a16="http://schemas.microsoft.com/office/drawing/2014/main" id="{91A53174-C73B-4A41-A639-68B5892DC955}"/>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90" name="Group 2689">
                  <a:extLst>
                    <a:ext uri="{FF2B5EF4-FFF2-40B4-BE49-F238E27FC236}">
                      <a16:creationId xmlns:a16="http://schemas.microsoft.com/office/drawing/2014/main" id="{59FDA0AC-DAD5-4EAB-9FA8-C8C9E032B070}"/>
                    </a:ext>
                  </a:extLst>
                </p:cNvPr>
                <p:cNvGrpSpPr/>
                <p:nvPr/>
              </p:nvGrpSpPr>
              <p:grpSpPr>
                <a:xfrm>
                  <a:off x="12023909" y="2526190"/>
                  <a:ext cx="1231250" cy="1189484"/>
                  <a:chOff x="7839761" y="1053755"/>
                  <a:chExt cx="927651" cy="896184"/>
                </a:xfrm>
              </p:grpSpPr>
              <p:sp>
                <p:nvSpPr>
                  <p:cNvPr id="2691" name="TextBox 2690">
                    <a:extLst>
                      <a:ext uri="{FF2B5EF4-FFF2-40B4-BE49-F238E27FC236}">
                        <a16:creationId xmlns:a16="http://schemas.microsoft.com/office/drawing/2014/main" id="{951F8931-F331-4D77-92A1-4D698A2F44A9}"/>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92" name="Group 2691">
                    <a:extLst>
                      <a:ext uri="{FF2B5EF4-FFF2-40B4-BE49-F238E27FC236}">
                        <a16:creationId xmlns:a16="http://schemas.microsoft.com/office/drawing/2014/main" id="{D2EF0292-F278-4306-8E39-9E45FF9C395F}"/>
                      </a:ext>
                    </a:extLst>
                  </p:cNvPr>
                  <p:cNvGrpSpPr/>
                  <p:nvPr/>
                </p:nvGrpSpPr>
                <p:grpSpPr>
                  <a:xfrm>
                    <a:off x="7839761" y="1053755"/>
                    <a:ext cx="927651" cy="523122"/>
                    <a:chOff x="7839761" y="1053755"/>
                    <a:chExt cx="927651" cy="523122"/>
                  </a:xfrm>
                </p:grpSpPr>
                <p:sp>
                  <p:nvSpPr>
                    <p:cNvPr id="2693" name="Line 66">
                      <a:extLst>
                        <a:ext uri="{FF2B5EF4-FFF2-40B4-BE49-F238E27FC236}">
                          <a16:creationId xmlns:a16="http://schemas.microsoft.com/office/drawing/2014/main" id="{D1724EA5-C098-405F-B785-A50FF3E283C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4" name="Line 67">
                      <a:extLst>
                        <a:ext uri="{FF2B5EF4-FFF2-40B4-BE49-F238E27FC236}">
                          <a16:creationId xmlns:a16="http://schemas.microsoft.com/office/drawing/2014/main" id="{2E4BAB87-A458-4ADA-8E65-BD063B95D12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5" name="Line 74">
                      <a:extLst>
                        <a:ext uri="{FF2B5EF4-FFF2-40B4-BE49-F238E27FC236}">
                          <a16:creationId xmlns:a16="http://schemas.microsoft.com/office/drawing/2014/main" id="{E831C2F1-FE8A-491F-912D-5519707E7C6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78">
                      <a:extLst>
                        <a:ext uri="{FF2B5EF4-FFF2-40B4-BE49-F238E27FC236}">
                          <a16:creationId xmlns:a16="http://schemas.microsoft.com/office/drawing/2014/main" id="{F462DEB7-EC2F-4AF6-BBDF-732A07AD7EFE}"/>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Freeform 80">
                      <a:extLst>
                        <a:ext uri="{FF2B5EF4-FFF2-40B4-BE49-F238E27FC236}">
                          <a16:creationId xmlns:a16="http://schemas.microsoft.com/office/drawing/2014/main" id="{C5616C0F-90D5-43A2-89DE-9531D6399EC2}"/>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1575">
                      <a:extLst>
                        <a:ext uri="{FF2B5EF4-FFF2-40B4-BE49-F238E27FC236}">
                          <a16:creationId xmlns:a16="http://schemas.microsoft.com/office/drawing/2014/main" id="{EC1D94CD-F268-409B-817D-B3E9ADBB7485}"/>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Freeform 1576">
                      <a:extLst>
                        <a:ext uri="{FF2B5EF4-FFF2-40B4-BE49-F238E27FC236}">
                          <a16:creationId xmlns:a16="http://schemas.microsoft.com/office/drawing/2014/main" id="{BCE8E171-ACD3-4BD1-A640-E8DD0D1C102B}"/>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0" name="Freeform 1577">
                      <a:extLst>
                        <a:ext uri="{FF2B5EF4-FFF2-40B4-BE49-F238E27FC236}">
                          <a16:creationId xmlns:a16="http://schemas.microsoft.com/office/drawing/2014/main" id="{9C320188-957D-491D-95A5-ED14741EA2E7}"/>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1" name="Freeform 1578">
                      <a:extLst>
                        <a:ext uri="{FF2B5EF4-FFF2-40B4-BE49-F238E27FC236}">
                          <a16:creationId xmlns:a16="http://schemas.microsoft.com/office/drawing/2014/main" id="{22C479F3-80B7-46D3-A222-FDFB5FE1CE7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Freeform 1579">
                      <a:extLst>
                        <a:ext uri="{FF2B5EF4-FFF2-40B4-BE49-F238E27FC236}">
                          <a16:creationId xmlns:a16="http://schemas.microsoft.com/office/drawing/2014/main" id="{0C8E3682-ABAB-4DE4-8355-7FC9789A3823}"/>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580">
                      <a:extLst>
                        <a:ext uri="{FF2B5EF4-FFF2-40B4-BE49-F238E27FC236}">
                          <a16:creationId xmlns:a16="http://schemas.microsoft.com/office/drawing/2014/main" id="{AA16A155-6C7E-4264-8FAD-610A15F64D6B}"/>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Freeform 1581">
                      <a:extLst>
                        <a:ext uri="{FF2B5EF4-FFF2-40B4-BE49-F238E27FC236}">
                          <a16:creationId xmlns:a16="http://schemas.microsoft.com/office/drawing/2014/main" id="{FE5E1229-9FDD-483D-AD60-960FB0F825CA}"/>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582">
                      <a:extLst>
                        <a:ext uri="{FF2B5EF4-FFF2-40B4-BE49-F238E27FC236}">
                          <a16:creationId xmlns:a16="http://schemas.microsoft.com/office/drawing/2014/main" id="{9CE62FEB-6A4F-4FF1-8073-B9DAAC73C340}"/>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Freeform 1583">
                      <a:extLst>
                        <a:ext uri="{FF2B5EF4-FFF2-40B4-BE49-F238E27FC236}">
                          <a16:creationId xmlns:a16="http://schemas.microsoft.com/office/drawing/2014/main" id="{BBD5B248-B8BC-4B5D-BD47-414597690FF2}"/>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584">
                      <a:extLst>
                        <a:ext uri="{FF2B5EF4-FFF2-40B4-BE49-F238E27FC236}">
                          <a16:creationId xmlns:a16="http://schemas.microsoft.com/office/drawing/2014/main" id="{FD17B1F5-285E-415E-8560-0E05239B32FA}"/>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8" name="Freeform 1585">
                      <a:extLst>
                        <a:ext uri="{FF2B5EF4-FFF2-40B4-BE49-F238E27FC236}">
                          <a16:creationId xmlns:a16="http://schemas.microsoft.com/office/drawing/2014/main" id="{3EAFE9E0-D08C-41B2-86BD-8F32994102B7}"/>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1586">
                      <a:extLst>
                        <a:ext uri="{FF2B5EF4-FFF2-40B4-BE49-F238E27FC236}">
                          <a16:creationId xmlns:a16="http://schemas.microsoft.com/office/drawing/2014/main" id="{5C65412E-9468-4106-9F48-7986D3F5F43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1587">
                      <a:extLst>
                        <a:ext uri="{FF2B5EF4-FFF2-40B4-BE49-F238E27FC236}">
                          <a16:creationId xmlns:a16="http://schemas.microsoft.com/office/drawing/2014/main" id="{DE20BEC4-0D49-4293-81E2-EF5DAFE71D5E}"/>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1588">
                      <a:extLst>
                        <a:ext uri="{FF2B5EF4-FFF2-40B4-BE49-F238E27FC236}">
                          <a16:creationId xmlns:a16="http://schemas.microsoft.com/office/drawing/2014/main" id="{28C1646F-B8FB-4CE9-AB8B-CBBE74C4BBAC}"/>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2" name="Rectangle 1589">
                      <a:extLst>
                        <a:ext uri="{FF2B5EF4-FFF2-40B4-BE49-F238E27FC236}">
                          <a16:creationId xmlns:a16="http://schemas.microsoft.com/office/drawing/2014/main" id="{CEDA4D48-ADBF-440A-8BF8-D42CDB1A2637}"/>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3" name="Rectangle 1590">
                      <a:extLst>
                        <a:ext uri="{FF2B5EF4-FFF2-40B4-BE49-F238E27FC236}">
                          <a16:creationId xmlns:a16="http://schemas.microsoft.com/office/drawing/2014/main" id="{C8C4E0AE-7A5E-468F-9CA8-6A6CD03E672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1591">
                      <a:extLst>
                        <a:ext uri="{FF2B5EF4-FFF2-40B4-BE49-F238E27FC236}">
                          <a16:creationId xmlns:a16="http://schemas.microsoft.com/office/drawing/2014/main" id="{8BDFE8BA-7AFC-4C63-9271-063CFC257A9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1592">
                      <a:extLst>
                        <a:ext uri="{FF2B5EF4-FFF2-40B4-BE49-F238E27FC236}">
                          <a16:creationId xmlns:a16="http://schemas.microsoft.com/office/drawing/2014/main" id="{0FD1EE23-4C1E-47A2-9790-BDA2A1D5EDCB}"/>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Freeform 1593">
                      <a:extLst>
                        <a:ext uri="{FF2B5EF4-FFF2-40B4-BE49-F238E27FC236}">
                          <a16:creationId xmlns:a16="http://schemas.microsoft.com/office/drawing/2014/main" id="{DB2B39AB-BCC9-4A15-9D95-704AFDB8A40F}"/>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1594">
                      <a:extLst>
                        <a:ext uri="{FF2B5EF4-FFF2-40B4-BE49-F238E27FC236}">
                          <a16:creationId xmlns:a16="http://schemas.microsoft.com/office/drawing/2014/main" id="{B05ED7C0-526A-4E3D-981D-0BE77988113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1595">
                      <a:extLst>
                        <a:ext uri="{FF2B5EF4-FFF2-40B4-BE49-F238E27FC236}">
                          <a16:creationId xmlns:a16="http://schemas.microsoft.com/office/drawing/2014/main" id="{00ED5C3D-3E08-4299-AE7B-F9E6D1C150D6}"/>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1596">
                      <a:extLst>
                        <a:ext uri="{FF2B5EF4-FFF2-40B4-BE49-F238E27FC236}">
                          <a16:creationId xmlns:a16="http://schemas.microsoft.com/office/drawing/2014/main" id="{CA35C96E-07DF-4F04-AF18-B3B6732185CF}"/>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0" name="Freeform 1672">
                      <a:extLst>
                        <a:ext uri="{FF2B5EF4-FFF2-40B4-BE49-F238E27FC236}">
                          <a16:creationId xmlns:a16="http://schemas.microsoft.com/office/drawing/2014/main" id="{DC177AC4-10E0-4F84-905E-C94B565B604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1" name="Freeform 1673">
                      <a:extLst>
                        <a:ext uri="{FF2B5EF4-FFF2-40B4-BE49-F238E27FC236}">
                          <a16:creationId xmlns:a16="http://schemas.microsoft.com/office/drawing/2014/main" id="{11BFE0DA-7415-41AE-95B4-F4895BD91ABF}"/>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Freeform 1674">
                      <a:extLst>
                        <a:ext uri="{FF2B5EF4-FFF2-40B4-BE49-F238E27FC236}">
                          <a16:creationId xmlns:a16="http://schemas.microsoft.com/office/drawing/2014/main" id="{506ECD3B-A929-4E98-8457-A36A8609D63C}"/>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3" name="Freeform 1675">
                      <a:extLst>
                        <a:ext uri="{FF2B5EF4-FFF2-40B4-BE49-F238E27FC236}">
                          <a16:creationId xmlns:a16="http://schemas.microsoft.com/office/drawing/2014/main" id="{14B5096B-D826-425D-A2A2-2523BBCF6B5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Freeform 1676">
                      <a:extLst>
                        <a:ext uri="{FF2B5EF4-FFF2-40B4-BE49-F238E27FC236}">
                          <a16:creationId xmlns:a16="http://schemas.microsoft.com/office/drawing/2014/main" id="{737F7F6E-2D63-4E6C-81D7-91AFFDDD556A}"/>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5" name="Freeform 1677">
                      <a:extLst>
                        <a:ext uri="{FF2B5EF4-FFF2-40B4-BE49-F238E27FC236}">
                          <a16:creationId xmlns:a16="http://schemas.microsoft.com/office/drawing/2014/main" id="{8E64054A-2936-4A57-839F-7FA708078D60}"/>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6" name="Freeform 1678">
                      <a:extLst>
                        <a:ext uri="{FF2B5EF4-FFF2-40B4-BE49-F238E27FC236}">
                          <a16:creationId xmlns:a16="http://schemas.microsoft.com/office/drawing/2014/main" id="{C29FD5A6-29A3-4401-A8BF-39DC8B8B6655}"/>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Freeform 1679">
                      <a:extLst>
                        <a:ext uri="{FF2B5EF4-FFF2-40B4-BE49-F238E27FC236}">
                          <a16:creationId xmlns:a16="http://schemas.microsoft.com/office/drawing/2014/main" id="{14AD96D0-BC0A-4E33-960F-29938829B668}"/>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Freeform 1680">
                      <a:extLst>
                        <a:ext uri="{FF2B5EF4-FFF2-40B4-BE49-F238E27FC236}">
                          <a16:creationId xmlns:a16="http://schemas.microsoft.com/office/drawing/2014/main" id="{0D92EF58-DE3A-4CCA-97D0-DC4A871C0AF4}"/>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Freeform 1681">
                      <a:extLst>
                        <a:ext uri="{FF2B5EF4-FFF2-40B4-BE49-F238E27FC236}">
                          <a16:creationId xmlns:a16="http://schemas.microsoft.com/office/drawing/2014/main" id="{46830979-AF97-4F96-AB0B-347AA1CAA3F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1682">
                      <a:extLst>
                        <a:ext uri="{FF2B5EF4-FFF2-40B4-BE49-F238E27FC236}">
                          <a16:creationId xmlns:a16="http://schemas.microsoft.com/office/drawing/2014/main" id="{39CA5108-DB0E-4809-BEAE-DD3DC99EE4A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1683">
                      <a:extLst>
                        <a:ext uri="{FF2B5EF4-FFF2-40B4-BE49-F238E27FC236}">
                          <a16:creationId xmlns:a16="http://schemas.microsoft.com/office/drawing/2014/main" id="{737C8CB1-174C-4C3A-9686-8D9736AEE847}"/>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2" name="Freeform 1684">
                      <a:extLst>
                        <a:ext uri="{FF2B5EF4-FFF2-40B4-BE49-F238E27FC236}">
                          <a16:creationId xmlns:a16="http://schemas.microsoft.com/office/drawing/2014/main" id="{F344A9A7-FED2-4359-8651-4407D9421D5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3" name="Freeform 1685">
                      <a:extLst>
                        <a:ext uri="{FF2B5EF4-FFF2-40B4-BE49-F238E27FC236}">
                          <a16:creationId xmlns:a16="http://schemas.microsoft.com/office/drawing/2014/main" id="{93F29FDC-67C7-4633-8C80-AB75AFBC8A19}"/>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4" name="Freeform 1686">
                      <a:extLst>
                        <a:ext uri="{FF2B5EF4-FFF2-40B4-BE49-F238E27FC236}">
                          <a16:creationId xmlns:a16="http://schemas.microsoft.com/office/drawing/2014/main" id="{9D3A2E45-B7CC-41C6-B50D-FF964AC72DE6}"/>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5" name="Freeform 1687">
                      <a:extLst>
                        <a:ext uri="{FF2B5EF4-FFF2-40B4-BE49-F238E27FC236}">
                          <a16:creationId xmlns:a16="http://schemas.microsoft.com/office/drawing/2014/main" id="{26372EFF-07B2-4A49-8C56-E7E82317E75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6" name="Freeform 1688">
                      <a:extLst>
                        <a:ext uri="{FF2B5EF4-FFF2-40B4-BE49-F238E27FC236}">
                          <a16:creationId xmlns:a16="http://schemas.microsoft.com/office/drawing/2014/main" id="{C26448E3-729C-450A-954C-134CCBB2713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7" name="Freeform 1689">
                      <a:extLst>
                        <a:ext uri="{FF2B5EF4-FFF2-40B4-BE49-F238E27FC236}">
                          <a16:creationId xmlns:a16="http://schemas.microsoft.com/office/drawing/2014/main" id="{3BD3E1FE-AEA1-4328-A84F-A4C371E93E53}"/>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Freeform 1690">
                      <a:extLst>
                        <a:ext uri="{FF2B5EF4-FFF2-40B4-BE49-F238E27FC236}">
                          <a16:creationId xmlns:a16="http://schemas.microsoft.com/office/drawing/2014/main" id="{B9305820-4255-4D54-AA5C-875C771A9508}"/>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1691">
                      <a:extLst>
                        <a:ext uri="{FF2B5EF4-FFF2-40B4-BE49-F238E27FC236}">
                          <a16:creationId xmlns:a16="http://schemas.microsoft.com/office/drawing/2014/main" id="{B4D941B1-12C7-4728-8E98-021D086752D5}"/>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Freeform 1692">
                      <a:extLst>
                        <a:ext uri="{FF2B5EF4-FFF2-40B4-BE49-F238E27FC236}">
                          <a16:creationId xmlns:a16="http://schemas.microsoft.com/office/drawing/2014/main" id="{D4E3DAA5-AD36-490F-BC2F-CCDCBD04F1C1}"/>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1693">
                      <a:extLst>
                        <a:ext uri="{FF2B5EF4-FFF2-40B4-BE49-F238E27FC236}">
                          <a16:creationId xmlns:a16="http://schemas.microsoft.com/office/drawing/2014/main" id="{B25E74AB-2B33-4B89-8D2F-2CF2A3CA5FF1}"/>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Freeform 1694">
                      <a:extLst>
                        <a:ext uri="{FF2B5EF4-FFF2-40B4-BE49-F238E27FC236}">
                          <a16:creationId xmlns:a16="http://schemas.microsoft.com/office/drawing/2014/main" id="{F52435DE-7F59-4650-B3AD-8BFADAA03FB7}"/>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3" name="Freeform 1695">
                      <a:extLst>
                        <a:ext uri="{FF2B5EF4-FFF2-40B4-BE49-F238E27FC236}">
                          <a16:creationId xmlns:a16="http://schemas.microsoft.com/office/drawing/2014/main" id="{769D5CEB-B6B7-4ED6-9242-7FB96AE18DEF}"/>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4" name="Freeform 1696">
                      <a:extLst>
                        <a:ext uri="{FF2B5EF4-FFF2-40B4-BE49-F238E27FC236}">
                          <a16:creationId xmlns:a16="http://schemas.microsoft.com/office/drawing/2014/main" id="{09590F7C-D577-428E-B3E0-6FBD3903AE7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Freeform 1697">
                      <a:extLst>
                        <a:ext uri="{FF2B5EF4-FFF2-40B4-BE49-F238E27FC236}">
                          <a16:creationId xmlns:a16="http://schemas.microsoft.com/office/drawing/2014/main" id="{F813AC04-3FCD-447D-97B5-B0D4D064BDCA}"/>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31" name="Group 2630">
                <a:extLst>
                  <a:ext uri="{FF2B5EF4-FFF2-40B4-BE49-F238E27FC236}">
                    <a16:creationId xmlns:a16="http://schemas.microsoft.com/office/drawing/2014/main" id="{9DC0EC37-B69E-4481-A6B3-41E462967965}"/>
                  </a:ext>
                </a:extLst>
              </p:cNvPr>
              <p:cNvGrpSpPr/>
              <p:nvPr/>
            </p:nvGrpSpPr>
            <p:grpSpPr>
              <a:xfrm>
                <a:off x="10254370" y="3053480"/>
                <a:ext cx="1231250" cy="1313698"/>
                <a:chOff x="12023909" y="2412144"/>
                <a:chExt cx="1231250" cy="1313698"/>
              </a:xfrm>
            </p:grpSpPr>
            <p:sp>
              <p:nvSpPr>
                <p:cNvPr id="2632" name="Rectangle: Rounded Corners 2631">
                  <a:extLst>
                    <a:ext uri="{FF2B5EF4-FFF2-40B4-BE49-F238E27FC236}">
                      <a16:creationId xmlns:a16="http://schemas.microsoft.com/office/drawing/2014/main" id="{872BD409-63AF-4B3B-8695-7461B7E59C0D}"/>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33" name="Group 2632">
                  <a:extLst>
                    <a:ext uri="{FF2B5EF4-FFF2-40B4-BE49-F238E27FC236}">
                      <a16:creationId xmlns:a16="http://schemas.microsoft.com/office/drawing/2014/main" id="{7EFB7652-EDD3-417D-B1F6-2193FEB4EC84}"/>
                    </a:ext>
                  </a:extLst>
                </p:cNvPr>
                <p:cNvGrpSpPr/>
                <p:nvPr/>
              </p:nvGrpSpPr>
              <p:grpSpPr>
                <a:xfrm>
                  <a:off x="12023909" y="2526190"/>
                  <a:ext cx="1231250" cy="1189484"/>
                  <a:chOff x="7839761" y="1053755"/>
                  <a:chExt cx="927651" cy="896184"/>
                </a:xfrm>
              </p:grpSpPr>
              <p:sp>
                <p:nvSpPr>
                  <p:cNvPr id="2634" name="TextBox 2633">
                    <a:extLst>
                      <a:ext uri="{FF2B5EF4-FFF2-40B4-BE49-F238E27FC236}">
                        <a16:creationId xmlns:a16="http://schemas.microsoft.com/office/drawing/2014/main" id="{3AD29482-D35E-4A63-AE36-958FCFE1AEEE}"/>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35" name="Group 2634">
                    <a:extLst>
                      <a:ext uri="{FF2B5EF4-FFF2-40B4-BE49-F238E27FC236}">
                        <a16:creationId xmlns:a16="http://schemas.microsoft.com/office/drawing/2014/main" id="{E82F8432-1C34-47DF-9960-95FE00D6A3FC}"/>
                      </a:ext>
                    </a:extLst>
                  </p:cNvPr>
                  <p:cNvGrpSpPr/>
                  <p:nvPr/>
                </p:nvGrpSpPr>
                <p:grpSpPr>
                  <a:xfrm>
                    <a:off x="7839761" y="1053755"/>
                    <a:ext cx="927651" cy="523122"/>
                    <a:chOff x="7839761" y="1053755"/>
                    <a:chExt cx="927651" cy="523122"/>
                  </a:xfrm>
                </p:grpSpPr>
                <p:sp>
                  <p:nvSpPr>
                    <p:cNvPr id="2636" name="Line 66">
                      <a:extLst>
                        <a:ext uri="{FF2B5EF4-FFF2-40B4-BE49-F238E27FC236}">
                          <a16:creationId xmlns:a16="http://schemas.microsoft.com/office/drawing/2014/main" id="{FAB5F1AF-D59E-4339-9231-CE6BB136B4D4}"/>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7" name="Line 67">
                      <a:extLst>
                        <a:ext uri="{FF2B5EF4-FFF2-40B4-BE49-F238E27FC236}">
                          <a16:creationId xmlns:a16="http://schemas.microsoft.com/office/drawing/2014/main" id="{E1D82164-9AA1-4BD1-92D2-4375FD6407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8" name="Line 74">
                      <a:extLst>
                        <a:ext uri="{FF2B5EF4-FFF2-40B4-BE49-F238E27FC236}">
                          <a16:creationId xmlns:a16="http://schemas.microsoft.com/office/drawing/2014/main" id="{98A8F6EB-447E-4E55-8539-F57E2B292A2B}"/>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9" name="Freeform 78">
                      <a:extLst>
                        <a:ext uri="{FF2B5EF4-FFF2-40B4-BE49-F238E27FC236}">
                          <a16:creationId xmlns:a16="http://schemas.microsoft.com/office/drawing/2014/main" id="{37AD2296-B127-4E47-8CFB-81D312959AC9}"/>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Freeform 80">
                      <a:extLst>
                        <a:ext uri="{FF2B5EF4-FFF2-40B4-BE49-F238E27FC236}">
                          <a16:creationId xmlns:a16="http://schemas.microsoft.com/office/drawing/2014/main" id="{BEB3D0B5-8622-4780-8C9E-39FFD4AF3021}"/>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1575">
                      <a:extLst>
                        <a:ext uri="{FF2B5EF4-FFF2-40B4-BE49-F238E27FC236}">
                          <a16:creationId xmlns:a16="http://schemas.microsoft.com/office/drawing/2014/main" id="{738F0657-0BD0-4D03-B6EA-BD2D780F9F9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Freeform 1576">
                      <a:extLst>
                        <a:ext uri="{FF2B5EF4-FFF2-40B4-BE49-F238E27FC236}">
                          <a16:creationId xmlns:a16="http://schemas.microsoft.com/office/drawing/2014/main" id="{F010257B-2F86-4267-BF9A-A5018879EABD}"/>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1577">
                      <a:extLst>
                        <a:ext uri="{FF2B5EF4-FFF2-40B4-BE49-F238E27FC236}">
                          <a16:creationId xmlns:a16="http://schemas.microsoft.com/office/drawing/2014/main" id="{0EDEB22E-3329-4B5A-8FAF-6E31ABF12793}"/>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Freeform 1578">
                      <a:extLst>
                        <a:ext uri="{FF2B5EF4-FFF2-40B4-BE49-F238E27FC236}">
                          <a16:creationId xmlns:a16="http://schemas.microsoft.com/office/drawing/2014/main" id="{7938E217-E3D3-4ABE-9338-5E2199DC4778}"/>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5" name="Freeform 1579">
                      <a:extLst>
                        <a:ext uri="{FF2B5EF4-FFF2-40B4-BE49-F238E27FC236}">
                          <a16:creationId xmlns:a16="http://schemas.microsoft.com/office/drawing/2014/main" id="{B9D83343-09AE-4DA8-A30C-77AF8EE87C9A}"/>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6" name="Freeform 1580">
                      <a:extLst>
                        <a:ext uri="{FF2B5EF4-FFF2-40B4-BE49-F238E27FC236}">
                          <a16:creationId xmlns:a16="http://schemas.microsoft.com/office/drawing/2014/main" id="{019577C1-D65C-4469-A36B-7E23AB68A369}"/>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Freeform 1581">
                      <a:extLst>
                        <a:ext uri="{FF2B5EF4-FFF2-40B4-BE49-F238E27FC236}">
                          <a16:creationId xmlns:a16="http://schemas.microsoft.com/office/drawing/2014/main" id="{ADFE94A6-6EBA-4D1F-A39D-0B0D9F5FD2F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Freeform 1582">
                      <a:extLst>
                        <a:ext uri="{FF2B5EF4-FFF2-40B4-BE49-F238E27FC236}">
                          <a16:creationId xmlns:a16="http://schemas.microsoft.com/office/drawing/2014/main" id="{C7BE996B-21C2-40A9-B8E2-9BFFC1106535}"/>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Freeform 1583">
                      <a:extLst>
                        <a:ext uri="{FF2B5EF4-FFF2-40B4-BE49-F238E27FC236}">
                          <a16:creationId xmlns:a16="http://schemas.microsoft.com/office/drawing/2014/main" id="{3E5AE7C4-CA5C-4F64-AE39-1C30461A6F57}"/>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1584">
                      <a:extLst>
                        <a:ext uri="{FF2B5EF4-FFF2-40B4-BE49-F238E27FC236}">
                          <a16:creationId xmlns:a16="http://schemas.microsoft.com/office/drawing/2014/main" id="{A7F346BF-C9DA-4DD1-A359-87EE5863F945}"/>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1585">
                      <a:extLst>
                        <a:ext uri="{FF2B5EF4-FFF2-40B4-BE49-F238E27FC236}">
                          <a16:creationId xmlns:a16="http://schemas.microsoft.com/office/drawing/2014/main" id="{03AF5E99-0265-414D-B000-1B05B67EA63F}"/>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2" name="Freeform 1586">
                      <a:extLst>
                        <a:ext uri="{FF2B5EF4-FFF2-40B4-BE49-F238E27FC236}">
                          <a16:creationId xmlns:a16="http://schemas.microsoft.com/office/drawing/2014/main" id="{9C12FD66-0104-47B6-BA7B-61AEC8752599}"/>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3" name="Freeform 1587">
                      <a:extLst>
                        <a:ext uri="{FF2B5EF4-FFF2-40B4-BE49-F238E27FC236}">
                          <a16:creationId xmlns:a16="http://schemas.microsoft.com/office/drawing/2014/main" id="{9951E013-7E87-410C-8E24-29FDA7A6C6DA}"/>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4" name="Freeform 1588">
                      <a:extLst>
                        <a:ext uri="{FF2B5EF4-FFF2-40B4-BE49-F238E27FC236}">
                          <a16:creationId xmlns:a16="http://schemas.microsoft.com/office/drawing/2014/main" id="{CB66D67A-CD7C-45A5-93A0-17D2076B34FD}"/>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5" name="Rectangle 1589">
                      <a:extLst>
                        <a:ext uri="{FF2B5EF4-FFF2-40B4-BE49-F238E27FC236}">
                          <a16:creationId xmlns:a16="http://schemas.microsoft.com/office/drawing/2014/main" id="{BDF12F17-0C71-4937-9C30-C4456872E9F0}"/>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6" name="Rectangle 1590">
                      <a:extLst>
                        <a:ext uri="{FF2B5EF4-FFF2-40B4-BE49-F238E27FC236}">
                          <a16:creationId xmlns:a16="http://schemas.microsoft.com/office/drawing/2014/main" id="{8B492B29-7280-436E-9AC1-E80545DB4283}"/>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7" name="Freeform 1591">
                      <a:extLst>
                        <a:ext uri="{FF2B5EF4-FFF2-40B4-BE49-F238E27FC236}">
                          <a16:creationId xmlns:a16="http://schemas.microsoft.com/office/drawing/2014/main" id="{76139F27-78A2-42B0-9FDA-A8A0E3A35891}"/>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8" name="Freeform 1592">
                      <a:extLst>
                        <a:ext uri="{FF2B5EF4-FFF2-40B4-BE49-F238E27FC236}">
                          <a16:creationId xmlns:a16="http://schemas.microsoft.com/office/drawing/2014/main" id="{06F68C76-69CC-4184-B71A-BDFFCBBFFEB9}"/>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9" name="Freeform 1593">
                      <a:extLst>
                        <a:ext uri="{FF2B5EF4-FFF2-40B4-BE49-F238E27FC236}">
                          <a16:creationId xmlns:a16="http://schemas.microsoft.com/office/drawing/2014/main" id="{1D2BA2E5-E975-4297-8C48-495935B695B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0" name="Freeform 1594">
                      <a:extLst>
                        <a:ext uri="{FF2B5EF4-FFF2-40B4-BE49-F238E27FC236}">
                          <a16:creationId xmlns:a16="http://schemas.microsoft.com/office/drawing/2014/main" id="{839046DC-F08A-40B0-9130-29568052811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1" name="Freeform 1595">
                      <a:extLst>
                        <a:ext uri="{FF2B5EF4-FFF2-40B4-BE49-F238E27FC236}">
                          <a16:creationId xmlns:a16="http://schemas.microsoft.com/office/drawing/2014/main" id="{C7295905-C88D-4F88-A9B4-A3A04EEA38FC}"/>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2" name="Freeform 1596">
                      <a:extLst>
                        <a:ext uri="{FF2B5EF4-FFF2-40B4-BE49-F238E27FC236}">
                          <a16:creationId xmlns:a16="http://schemas.microsoft.com/office/drawing/2014/main" id="{372FE04C-F613-4FB1-A157-0EF46379F4A6}"/>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3" name="Freeform 1672">
                      <a:extLst>
                        <a:ext uri="{FF2B5EF4-FFF2-40B4-BE49-F238E27FC236}">
                          <a16:creationId xmlns:a16="http://schemas.microsoft.com/office/drawing/2014/main" id="{4E7B2D6E-1B1A-415E-B46A-017DE4077DAC}"/>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4" name="Freeform 1673">
                      <a:extLst>
                        <a:ext uri="{FF2B5EF4-FFF2-40B4-BE49-F238E27FC236}">
                          <a16:creationId xmlns:a16="http://schemas.microsoft.com/office/drawing/2014/main" id="{2480C457-4F1B-4A58-9719-8BCBF0654AA3}"/>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5" name="Freeform 1674">
                      <a:extLst>
                        <a:ext uri="{FF2B5EF4-FFF2-40B4-BE49-F238E27FC236}">
                          <a16:creationId xmlns:a16="http://schemas.microsoft.com/office/drawing/2014/main" id="{AA635A41-34E7-4935-8E2D-F92F15286436}"/>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6" name="Freeform 1675">
                      <a:extLst>
                        <a:ext uri="{FF2B5EF4-FFF2-40B4-BE49-F238E27FC236}">
                          <a16:creationId xmlns:a16="http://schemas.microsoft.com/office/drawing/2014/main" id="{6E9D52F0-964D-46B3-8F20-C7EF8B06F2B5}"/>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7" name="Freeform 1676">
                      <a:extLst>
                        <a:ext uri="{FF2B5EF4-FFF2-40B4-BE49-F238E27FC236}">
                          <a16:creationId xmlns:a16="http://schemas.microsoft.com/office/drawing/2014/main" id="{403901DA-19CB-4CB6-94A8-C4E9EC3E00C4}"/>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8" name="Freeform 1677">
                      <a:extLst>
                        <a:ext uri="{FF2B5EF4-FFF2-40B4-BE49-F238E27FC236}">
                          <a16:creationId xmlns:a16="http://schemas.microsoft.com/office/drawing/2014/main" id="{A549648E-DFDD-48B9-8545-D45CB2E0604A}"/>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9" name="Freeform 1678">
                      <a:extLst>
                        <a:ext uri="{FF2B5EF4-FFF2-40B4-BE49-F238E27FC236}">
                          <a16:creationId xmlns:a16="http://schemas.microsoft.com/office/drawing/2014/main" id="{6FE35CEC-37B7-4A4A-AEFB-51623D2782D4}"/>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0" name="Freeform 1679">
                      <a:extLst>
                        <a:ext uri="{FF2B5EF4-FFF2-40B4-BE49-F238E27FC236}">
                          <a16:creationId xmlns:a16="http://schemas.microsoft.com/office/drawing/2014/main" id="{180E4AD2-44CC-4BCC-9693-9C0750F52BCE}"/>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1" name="Freeform 1680">
                      <a:extLst>
                        <a:ext uri="{FF2B5EF4-FFF2-40B4-BE49-F238E27FC236}">
                          <a16:creationId xmlns:a16="http://schemas.microsoft.com/office/drawing/2014/main" id="{8F417B20-8A1C-4829-94FE-A47DE3B12C61}"/>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2" name="Freeform 1681">
                      <a:extLst>
                        <a:ext uri="{FF2B5EF4-FFF2-40B4-BE49-F238E27FC236}">
                          <a16:creationId xmlns:a16="http://schemas.microsoft.com/office/drawing/2014/main" id="{6D7DC1E0-4038-43AA-8125-8E0CF806B6AD}"/>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3" name="Freeform 1682">
                      <a:extLst>
                        <a:ext uri="{FF2B5EF4-FFF2-40B4-BE49-F238E27FC236}">
                          <a16:creationId xmlns:a16="http://schemas.microsoft.com/office/drawing/2014/main" id="{27DB94BA-2038-4889-A510-D7FE0E61E558}"/>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1683">
                      <a:extLst>
                        <a:ext uri="{FF2B5EF4-FFF2-40B4-BE49-F238E27FC236}">
                          <a16:creationId xmlns:a16="http://schemas.microsoft.com/office/drawing/2014/main" id="{3D210A7C-EA3E-47F3-AE43-70AB53A7C5D0}"/>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1684">
                      <a:extLst>
                        <a:ext uri="{FF2B5EF4-FFF2-40B4-BE49-F238E27FC236}">
                          <a16:creationId xmlns:a16="http://schemas.microsoft.com/office/drawing/2014/main" id="{CFBCD459-E0D1-404C-B043-B077C0C5982C}"/>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1685">
                      <a:extLst>
                        <a:ext uri="{FF2B5EF4-FFF2-40B4-BE49-F238E27FC236}">
                          <a16:creationId xmlns:a16="http://schemas.microsoft.com/office/drawing/2014/main" id="{CA1BEB67-CFD8-4327-A686-A8BB4B8363E1}"/>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1686">
                      <a:extLst>
                        <a:ext uri="{FF2B5EF4-FFF2-40B4-BE49-F238E27FC236}">
                          <a16:creationId xmlns:a16="http://schemas.microsoft.com/office/drawing/2014/main" id="{AD51BBB0-64A2-4678-A9D2-68515D15945C}"/>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1687">
                      <a:extLst>
                        <a:ext uri="{FF2B5EF4-FFF2-40B4-BE49-F238E27FC236}">
                          <a16:creationId xmlns:a16="http://schemas.microsoft.com/office/drawing/2014/main" id="{82164BEB-906C-49C0-8B3A-379BFB8927C4}"/>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1688">
                      <a:extLst>
                        <a:ext uri="{FF2B5EF4-FFF2-40B4-BE49-F238E27FC236}">
                          <a16:creationId xmlns:a16="http://schemas.microsoft.com/office/drawing/2014/main" id="{38C6A769-DFBC-4AE7-B73E-95E236380C09}"/>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1689">
                      <a:extLst>
                        <a:ext uri="{FF2B5EF4-FFF2-40B4-BE49-F238E27FC236}">
                          <a16:creationId xmlns:a16="http://schemas.microsoft.com/office/drawing/2014/main" id="{6C2B4535-51F1-4721-B868-442D390157FE}"/>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1690">
                      <a:extLst>
                        <a:ext uri="{FF2B5EF4-FFF2-40B4-BE49-F238E27FC236}">
                          <a16:creationId xmlns:a16="http://schemas.microsoft.com/office/drawing/2014/main" id="{2168089E-048B-4A03-9C25-750D9257C0C2}"/>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1691">
                      <a:extLst>
                        <a:ext uri="{FF2B5EF4-FFF2-40B4-BE49-F238E27FC236}">
                          <a16:creationId xmlns:a16="http://schemas.microsoft.com/office/drawing/2014/main" id="{DFA2A51B-8DD5-4A89-910D-CA1931958F9C}"/>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3" name="Freeform 1692">
                      <a:extLst>
                        <a:ext uri="{FF2B5EF4-FFF2-40B4-BE49-F238E27FC236}">
                          <a16:creationId xmlns:a16="http://schemas.microsoft.com/office/drawing/2014/main" id="{A9E5E83B-1642-437F-81A9-45B9216C6E76}"/>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4" name="Freeform 1693">
                      <a:extLst>
                        <a:ext uri="{FF2B5EF4-FFF2-40B4-BE49-F238E27FC236}">
                          <a16:creationId xmlns:a16="http://schemas.microsoft.com/office/drawing/2014/main" id="{4D17AC3A-3637-4B47-8F9F-1AD6086B342A}"/>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Freeform 1694">
                      <a:extLst>
                        <a:ext uri="{FF2B5EF4-FFF2-40B4-BE49-F238E27FC236}">
                          <a16:creationId xmlns:a16="http://schemas.microsoft.com/office/drawing/2014/main" id="{22067ED6-B214-45A8-B029-1E440A68DC0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6" name="Freeform 1695">
                      <a:extLst>
                        <a:ext uri="{FF2B5EF4-FFF2-40B4-BE49-F238E27FC236}">
                          <a16:creationId xmlns:a16="http://schemas.microsoft.com/office/drawing/2014/main" id="{1DD1A4F9-2A30-4003-A5DD-89591482972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7" name="Freeform 1696">
                      <a:extLst>
                        <a:ext uri="{FF2B5EF4-FFF2-40B4-BE49-F238E27FC236}">
                          <a16:creationId xmlns:a16="http://schemas.microsoft.com/office/drawing/2014/main" id="{75EC2E55-1218-45BC-85F3-E24F97CC503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Freeform 1697">
                      <a:extLst>
                        <a:ext uri="{FF2B5EF4-FFF2-40B4-BE49-F238E27FC236}">
                          <a16:creationId xmlns:a16="http://schemas.microsoft.com/office/drawing/2014/main" id="{3AD6C380-4F95-4912-9991-EAB99AD4D35D}"/>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801" name="Rectangle 2800">
              <a:extLst>
                <a:ext uri="{FF2B5EF4-FFF2-40B4-BE49-F238E27FC236}">
                  <a16:creationId xmlns:a16="http://schemas.microsoft.com/office/drawing/2014/main" id="{5CC3A915-C0CF-48D9-BE8E-52BB3F9E154F}"/>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15" name="Group 14">
            <a:extLst>
              <a:ext uri="{FF2B5EF4-FFF2-40B4-BE49-F238E27FC236}">
                <a16:creationId xmlns:a16="http://schemas.microsoft.com/office/drawing/2014/main" id="{A3D36A2B-F5C4-4D01-9709-E1957D7DC38A}"/>
              </a:ext>
            </a:extLst>
          </p:cNvPr>
          <p:cNvGrpSpPr/>
          <p:nvPr/>
        </p:nvGrpSpPr>
        <p:grpSpPr>
          <a:xfrm>
            <a:off x="3481621" y="3615964"/>
            <a:ext cx="4581486" cy="2892141"/>
            <a:chOff x="3480940" y="3616012"/>
            <a:chExt cx="4582679" cy="2892894"/>
          </a:xfrm>
        </p:grpSpPr>
        <p:grpSp>
          <p:nvGrpSpPr>
            <p:cNvPr id="7" name="Group 6">
              <a:extLst>
                <a:ext uri="{FF2B5EF4-FFF2-40B4-BE49-F238E27FC236}">
                  <a16:creationId xmlns:a16="http://schemas.microsoft.com/office/drawing/2014/main" id="{692D072B-49CC-4303-8CF2-3D45E20D9312}"/>
                </a:ext>
              </a:extLst>
            </p:cNvPr>
            <p:cNvGrpSpPr/>
            <p:nvPr/>
          </p:nvGrpSpPr>
          <p:grpSpPr>
            <a:xfrm>
              <a:off x="3480940" y="4590574"/>
              <a:ext cx="2021522" cy="1918332"/>
              <a:chOff x="3480940" y="4590574"/>
              <a:chExt cx="2021522" cy="1918332"/>
            </a:xfrm>
          </p:grpSpPr>
          <p:grpSp>
            <p:nvGrpSpPr>
              <p:cNvPr id="2018" name="Group 2017">
                <a:extLst>
                  <a:ext uri="{FF2B5EF4-FFF2-40B4-BE49-F238E27FC236}">
                    <a16:creationId xmlns:a16="http://schemas.microsoft.com/office/drawing/2014/main" id="{56540839-72CD-4906-AEB0-E18EC5A846B9}"/>
                  </a:ext>
                </a:extLst>
              </p:cNvPr>
              <p:cNvGrpSpPr/>
              <p:nvPr/>
            </p:nvGrpSpPr>
            <p:grpSpPr>
              <a:xfrm>
                <a:off x="3480940" y="4590574"/>
                <a:ext cx="2021522" cy="1918332"/>
                <a:chOff x="3489383" y="4562005"/>
                <a:chExt cx="2026683" cy="1923229"/>
              </a:xfrm>
            </p:grpSpPr>
            <p:sp>
              <p:nvSpPr>
                <p:cNvPr id="2019" name="Rectangle 2018">
                  <a:extLst>
                    <a:ext uri="{FF2B5EF4-FFF2-40B4-BE49-F238E27FC236}">
                      <a16:creationId xmlns:a16="http://schemas.microsoft.com/office/drawing/2014/main" id="{748B31C8-D114-4F7B-AF23-309F82F6A9F1}"/>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020" name="Picture 2019">
                  <a:extLst>
                    <a:ext uri="{FF2B5EF4-FFF2-40B4-BE49-F238E27FC236}">
                      <a16:creationId xmlns:a16="http://schemas.microsoft.com/office/drawing/2014/main" id="{29BBB789-058D-4185-8ABF-BA11CF4AA1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021" name="Rectangle 2020">
                  <a:extLst>
                    <a:ext uri="{FF2B5EF4-FFF2-40B4-BE49-F238E27FC236}">
                      <a16:creationId xmlns:a16="http://schemas.microsoft.com/office/drawing/2014/main" id="{19403D70-F06C-4607-9A22-DBDF11EF45BA}"/>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022" name="Group 2021">
                  <a:extLst>
                    <a:ext uri="{FF2B5EF4-FFF2-40B4-BE49-F238E27FC236}">
                      <a16:creationId xmlns:a16="http://schemas.microsoft.com/office/drawing/2014/main" id="{FDD675A8-B8D0-4448-A656-3949DF642096}"/>
                    </a:ext>
                  </a:extLst>
                </p:cNvPr>
                <p:cNvGrpSpPr/>
                <p:nvPr/>
              </p:nvGrpSpPr>
              <p:grpSpPr>
                <a:xfrm>
                  <a:off x="4439956" y="4676083"/>
                  <a:ext cx="1030675" cy="846880"/>
                  <a:chOff x="10800033" y="2297897"/>
                  <a:chExt cx="1600558" cy="1315140"/>
                </a:xfrm>
              </p:grpSpPr>
              <p:grpSp>
                <p:nvGrpSpPr>
                  <p:cNvPr id="2023" name="Group 2022">
                    <a:extLst>
                      <a:ext uri="{FF2B5EF4-FFF2-40B4-BE49-F238E27FC236}">
                        <a16:creationId xmlns:a16="http://schemas.microsoft.com/office/drawing/2014/main" id="{1D61E89D-80B4-4262-AD4B-4F1EFBD7F33F}"/>
                      </a:ext>
                    </a:extLst>
                  </p:cNvPr>
                  <p:cNvGrpSpPr>
                    <a:grpSpLocks/>
                  </p:cNvGrpSpPr>
                  <p:nvPr/>
                </p:nvGrpSpPr>
                <p:grpSpPr>
                  <a:xfrm>
                    <a:off x="10800033" y="2339037"/>
                    <a:ext cx="613092" cy="613092"/>
                    <a:chOff x="745985" y="4768134"/>
                    <a:chExt cx="368776" cy="368777"/>
                  </a:xfrm>
                </p:grpSpPr>
                <p:grpSp>
                  <p:nvGrpSpPr>
                    <p:cNvPr id="2087" name="Group 64">
                      <a:extLst>
                        <a:ext uri="{FF2B5EF4-FFF2-40B4-BE49-F238E27FC236}">
                          <a16:creationId xmlns:a16="http://schemas.microsoft.com/office/drawing/2014/main" id="{01E48BE4-E577-4DA7-A7DA-D47F81E40EA8}"/>
                        </a:ext>
                      </a:extLst>
                    </p:cNvPr>
                    <p:cNvGrpSpPr>
                      <a:grpSpLocks noChangeAspect="1"/>
                    </p:cNvGrpSpPr>
                    <p:nvPr/>
                  </p:nvGrpSpPr>
                  <p:grpSpPr bwMode="auto">
                    <a:xfrm rot="8100000">
                      <a:off x="745985" y="4768134"/>
                      <a:ext cx="368776" cy="368777"/>
                      <a:chOff x="701" y="2170"/>
                      <a:chExt cx="587" cy="587"/>
                    </a:xfrm>
                  </p:grpSpPr>
                  <p:sp>
                    <p:nvSpPr>
                      <p:cNvPr id="2098" name="Oval 65">
                        <a:extLst>
                          <a:ext uri="{FF2B5EF4-FFF2-40B4-BE49-F238E27FC236}">
                            <a16:creationId xmlns:a16="http://schemas.microsoft.com/office/drawing/2014/main" id="{0A886081-F1D0-4AEB-9041-0464331AAF2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Line 66">
                        <a:extLst>
                          <a:ext uri="{FF2B5EF4-FFF2-40B4-BE49-F238E27FC236}">
                            <a16:creationId xmlns:a16="http://schemas.microsoft.com/office/drawing/2014/main" id="{C2E285F7-F1EF-42B3-A7C4-9FB0D6ED700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0" name="Line 67">
                        <a:extLst>
                          <a:ext uri="{FF2B5EF4-FFF2-40B4-BE49-F238E27FC236}">
                            <a16:creationId xmlns:a16="http://schemas.microsoft.com/office/drawing/2014/main" id="{0E350AB0-6D10-4606-B539-2CA4EC77E00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1" name="Line 69">
                        <a:extLst>
                          <a:ext uri="{FF2B5EF4-FFF2-40B4-BE49-F238E27FC236}">
                            <a16:creationId xmlns:a16="http://schemas.microsoft.com/office/drawing/2014/main" id="{7F69DCC6-831C-4C0A-83DB-10573EFA410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2" name="Line 74">
                        <a:extLst>
                          <a:ext uri="{FF2B5EF4-FFF2-40B4-BE49-F238E27FC236}">
                            <a16:creationId xmlns:a16="http://schemas.microsoft.com/office/drawing/2014/main" id="{A945B4C0-A0A8-4357-BDCC-600F0584749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78">
                        <a:extLst>
                          <a:ext uri="{FF2B5EF4-FFF2-40B4-BE49-F238E27FC236}">
                            <a16:creationId xmlns:a16="http://schemas.microsoft.com/office/drawing/2014/main" id="{83080771-497A-49B6-9DD8-EC246B91EE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80">
                        <a:extLst>
                          <a:ext uri="{FF2B5EF4-FFF2-40B4-BE49-F238E27FC236}">
                            <a16:creationId xmlns:a16="http://schemas.microsoft.com/office/drawing/2014/main" id="{35116DAD-749B-45B8-9C86-0FA72B3638F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88" name="Group 2087">
                      <a:extLst>
                        <a:ext uri="{FF2B5EF4-FFF2-40B4-BE49-F238E27FC236}">
                          <a16:creationId xmlns:a16="http://schemas.microsoft.com/office/drawing/2014/main" id="{37B1DD8D-1211-492D-8E3E-883D25B35A83}"/>
                        </a:ext>
                      </a:extLst>
                    </p:cNvPr>
                    <p:cNvGrpSpPr/>
                    <p:nvPr/>
                  </p:nvGrpSpPr>
                  <p:grpSpPr>
                    <a:xfrm>
                      <a:off x="837312" y="4814434"/>
                      <a:ext cx="136805" cy="278689"/>
                      <a:chOff x="2806700" y="2803319"/>
                      <a:chExt cx="433387" cy="882861"/>
                    </a:xfrm>
                  </p:grpSpPr>
                  <p:grpSp>
                    <p:nvGrpSpPr>
                      <p:cNvPr id="2089" name="Group 2088">
                        <a:extLst>
                          <a:ext uri="{FF2B5EF4-FFF2-40B4-BE49-F238E27FC236}">
                            <a16:creationId xmlns:a16="http://schemas.microsoft.com/office/drawing/2014/main" id="{3A754CC2-FAD8-46DE-A50F-546C90D392FC}"/>
                          </a:ext>
                        </a:extLst>
                      </p:cNvPr>
                      <p:cNvGrpSpPr>
                        <a:grpSpLocks noChangeAspect="1"/>
                      </p:cNvGrpSpPr>
                      <p:nvPr/>
                    </p:nvGrpSpPr>
                    <p:grpSpPr bwMode="auto">
                      <a:xfrm>
                        <a:off x="2806700" y="3043242"/>
                        <a:ext cx="433387" cy="642938"/>
                        <a:chOff x="1768" y="1917"/>
                        <a:chExt cx="273" cy="405"/>
                      </a:xfrm>
                    </p:grpSpPr>
                    <p:sp>
                      <p:nvSpPr>
                        <p:cNvPr id="2091" name="Freeform 52">
                          <a:extLst>
                            <a:ext uri="{FF2B5EF4-FFF2-40B4-BE49-F238E27FC236}">
                              <a16:creationId xmlns:a16="http://schemas.microsoft.com/office/drawing/2014/main" id="{C242132A-76D3-438C-AC96-5DB53EFA2BA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2" name="Line 54">
                          <a:extLst>
                            <a:ext uri="{FF2B5EF4-FFF2-40B4-BE49-F238E27FC236}">
                              <a16:creationId xmlns:a16="http://schemas.microsoft.com/office/drawing/2014/main" id="{D462B0C0-A26C-408D-B7F4-25FC0A46FCF6}"/>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3" name="Line 55">
                          <a:extLst>
                            <a:ext uri="{FF2B5EF4-FFF2-40B4-BE49-F238E27FC236}">
                              <a16:creationId xmlns:a16="http://schemas.microsoft.com/office/drawing/2014/main" id="{36CE7D36-8D4E-4E7D-B44E-37EF507C2CFA}"/>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4" name="Freeform 56">
                          <a:extLst>
                            <a:ext uri="{FF2B5EF4-FFF2-40B4-BE49-F238E27FC236}">
                              <a16:creationId xmlns:a16="http://schemas.microsoft.com/office/drawing/2014/main" id="{08EF9AB4-BEA6-467D-A1D8-F77DE6A94B9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5" name="Line 57">
                          <a:extLst>
                            <a:ext uri="{FF2B5EF4-FFF2-40B4-BE49-F238E27FC236}">
                              <a16:creationId xmlns:a16="http://schemas.microsoft.com/office/drawing/2014/main" id="{CF6AEC22-0767-467A-81AD-C0DFD9A4AA36}"/>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6" name="Freeform 58">
                          <a:extLst>
                            <a:ext uri="{FF2B5EF4-FFF2-40B4-BE49-F238E27FC236}">
                              <a16:creationId xmlns:a16="http://schemas.microsoft.com/office/drawing/2014/main" id="{C2604C23-AD38-4566-BAD3-47B5EA86390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7" name="Rectangle 2096">
                          <a:extLst>
                            <a:ext uri="{FF2B5EF4-FFF2-40B4-BE49-F238E27FC236}">
                              <a16:creationId xmlns:a16="http://schemas.microsoft.com/office/drawing/2014/main" id="{8509A289-0E67-4A94-8BC5-CE91EA04DF7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090" name="Oval 2089">
                        <a:extLst>
                          <a:ext uri="{FF2B5EF4-FFF2-40B4-BE49-F238E27FC236}">
                            <a16:creationId xmlns:a16="http://schemas.microsoft.com/office/drawing/2014/main" id="{F0A3E300-0A0E-4060-8DDB-B6EBA012D9C7}"/>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024" name="Group 2023">
                    <a:extLst>
                      <a:ext uri="{FF2B5EF4-FFF2-40B4-BE49-F238E27FC236}">
                        <a16:creationId xmlns:a16="http://schemas.microsoft.com/office/drawing/2014/main" id="{DE0B9681-3DED-44E4-9627-E0B541A48C40}"/>
                      </a:ext>
                    </a:extLst>
                  </p:cNvPr>
                  <p:cNvGrpSpPr>
                    <a:grpSpLocks/>
                  </p:cNvGrpSpPr>
                  <p:nvPr/>
                </p:nvGrpSpPr>
                <p:grpSpPr>
                  <a:xfrm>
                    <a:off x="11166615" y="2825631"/>
                    <a:ext cx="787402" cy="787406"/>
                    <a:chOff x="1454941" y="4721722"/>
                    <a:chExt cx="473625" cy="473627"/>
                  </a:xfrm>
                </p:grpSpPr>
                <p:grpSp>
                  <p:nvGrpSpPr>
                    <p:cNvPr id="2048" name="Group 64">
                      <a:extLst>
                        <a:ext uri="{FF2B5EF4-FFF2-40B4-BE49-F238E27FC236}">
                          <a16:creationId xmlns:a16="http://schemas.microsoft.com/office/drawing/2014/main" id="{72DB5D0F-8955-442F-AE53-3D14F7805B61}"/>
                        </a:ext>
                      </a:extLst>
                    </p:cNvPr>
                    <p:cNvGrpSpPr>
                      <a:grpSpLocks noChangeAspect="1"/>
                    </p:cNvGrpSpPr>
                    <p:nvPr/>
                  </p:nvGrpSpPr>
                  <p:grpSpPr bwMode="auto">
                    <a:xfrm rot="8100000">
                      <a:off x="1454941" y="4721722"/>
                      <a:ext cx="473625" cy="473627"/>
                      <a:chOff x="701" y="2170"/>
                      <a:chExt cx="587" cy="587"/>
                    </a:xfrm>
                  </p:grpSpPr>
                  <p:sp>
                    <p:nvSpPr>
                      <p:cNvPr id="2080" name="Oval 65">
                        <a:extLst>
                          <a:ext uri="{FF2B5EF4-FFF2-40B4-BE49-F238E27FC236}">
                            <a16:creationId xmlns:a16="http://schemas.microsoft.com/office/drawing/2014/main" id="{ACE6D71E-9A7F-44F5-9810-DDC2B399078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81" name="Line 66">
                        <a:extLst>
                          <a:ext uri="{FF2B5EF4-FFF2-40B4-BE49-F238E27FC236}">
                            <a16:creationId xmlns:a16="http://schemas.microsoft.com/office/drawing/2014/main" id="{764A254C-EFAA-4983-9208-C93B7A14743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2" name="Line 67">
                        <a:extLst>
                          <a:ext uri="{FF2B5EF4-FFF2-40B4-BE49-F238E27FC236}">
                            <a16:creationId xmlns:a16="http://schemas.microsoft.com/office/drawing/2014/main" id="{93EADFD0-1ECF-4DD6-B959-0DE85C07259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3" name="Line 69">
                        <a:extLst>
                          <a:ext uri="{FF2B5EF4-FFF2-40B4-BE49-F238E27FC236}">
                            <a16:creationId xmlns:a16="http://schemas.microsoft.com/office/drawing/2014/main" id="{FC151A07-1A6D-489C-8F94-96192C8AF74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4" name="Line 74">
                        <a:extLst>
                          <a:ext uri="{FF2B5EF4-FFF2-40B4-BE49-F238E27FC236}">
                            <a16:creationId xmlns:a16="http://schemas.microsoft.com/office/drawing/2014/main" id="{56564724-9B6C-41A6-A179-CC0E3D81C6D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5" name="Freeform 78">
                        <a:extLst>
                          <a:ext uri="{FF2B5EF4-FFF2-40B4-BE49-F238E27FC236}">
                            <a16:creationId xmlns:a16="http://schemas.microsoft.com/office/drawing/2014/main" id="{8A75B03E-65C6-414B-83C9-15BB05C9A5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6" name="Freeform 80">
                        <a:extLst>
                          <a:ext uri="{FF2B5EF4-FFF2-40B4-BE49-F238E27FC236}">
                            <a16:creationId xmlns:a16="http://schemas.microsoft.com/office/drawing/2014/main" id="{6036BA97-74E3-4525-95A2-587018FBD06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49" name="Group 2048">
                      <a:extLst>
                        <a:ext uri="{FF2B5EF4-FFF2-40B4-BE49-F238E27FC236}">
                          <a16:creationId xmlns:a16="http://schemas.microsoft.com/office/drawing/2014/main" id="{8D9F6327-0B0B-485A-8EC5-F862A7E69C50}"/>
                        </a:ext>
                      </a:extLst>
                    </p:cNvPr>
                    <p:cNvGrpSpPr/>
                    <p:nvPr/>
                  </p:nvGrpSpPr>
                  <p:grpSpPr>
                    <a:xfrm>
                      <a:off x="1511214" y="4789508"/>
                      <a:ext cx="356509" cy="349884"/>
                      <a:chOff x="468738" y="2241878"/>
                      <a:chExt cx="1655483" cy="1624719"/>
                    </a:xfrm>
                  </p:grpSpPr>
                  <p:sp>
                    <p:nvSpPr>
                      <p:cNvPr id="2050" name="Freeform 5">
                        <a:extLst>
                          <a:ext uri="{FF2B5EF4-FFF2-40B4-BE49-F238E27FC236}">
                            <a16:creationId xmlns:a16="http://schemas.microsoft.com/office/drawing/2014/main" id="{8458A5E1-1B47-42D6-B27E-97B06E861C41}"/>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51" name="Freeform 6">
                        <a:extLst>
                          <a:ext uri="{FF2B5EF4-FFF2-40B4-BE49-F238E27FC236}">
                            <a16:creationId xmlns:a16="http://schemas.microsoft.com/office/drawing/2014/main" id="{5E623E06-E501-49AC-B639-E48CD049790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2" name="Line 7">
                        <a:extLst>
                          <a:ext uri="{FF2B5EF4-FFF2-40B4-BE49-F238E27FC236}">
                            <a16:creationId xmlns:a16="http://schemas.microsoft.com/office/drawing/2014/main" id="{8A8AEB48-8EA2-4AE9-A410-03E59D7B8A9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3" name="Freeform 8">
                        <a:extLst>
                          <a:ext uri="{FF2B5EF4-FFF2-40B4-BE49-F238E27FC236}">
                            <a16:creationId xmlns:a16="http://schemas.microsoft.com/office/drawing/2014/main" id="{DA15DEDE-44A2-46BA-91D5-8160FF5EC2E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4" name="Line 9">
                        <a:extLst>
                          <a:ext uri="{FF2B5EF4-FFF2-40B4-BE49-F238E27FC236}">
                            <a16:creationId xmlns:a16="http://schemas.microsoft.com/office/drawing/2014/main" id="{017EFE93-47AA-43AE-B2CC-D9295B6A9F99}"/>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55" name="Group 2054">
                        <a:extLst>
                          <a:ext uri="{FF2B5EF4-FFF2-40B4-BE49-F238E27FC236}">
                            <a16:creationId xmlns:a16="http://schemas.microsoft.com/office/drawing/2014/main" id="{084D1A28-0222-46DD-8E24-FFB39B1A73D9}"/>
                          </a:ext>
                        </a:extLst>
                      </p:cNvPr>
                      <p:cNvGrpSpPr/>
                      <p:nvPr/>
                    </p:nvGrpSpPr>
                    <p:grpSpPr>
                      <a:xfrm>
                        <a:off x="1207113" y="2241878"/>
                        <a:ext cx="178734" cy="348678"/>
                        <a:chOff x="1207113" y="2241878"/>
                        <a:chExt cx="178734" cy="348678"/>
                      </a:xfrm>
                    </p:grpSpPr>
                    <p:sp>
                      <p:nvSpPr>
                        <p:cNvPr id="2078" name="Freeform 10">
                          <a:extLst>
                            <a:ext uri="{FF2B5EF4-FFF2-40B4-BE49-F238E27FC236}">
                              <a16:creationId xmlns:a16="http://schemas.microsoft.com/office/drawing/2014/main" id="{A6C5B11D-8CDC-4FCE-8BD2-323816C319E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9" name="Line 11">
                          <a:extLst>
                            <a:ext uri="{FF2B5EF4-FFF2-40B4-BE49-F238E27FC236}">
                              <a16:creationId xmlns:a16="http://schemas.microsoft.com/office/drawing/2014/main" id="{C71CB6D2-F664-402E-9A23-8E043C87299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056" name="Freeform 12">
                        <a:extLst>
                          <a:ext uri="{FF2B5EF4-FFF2-40B4-BE49-F238E27FC236}">
                            <a16:creationId xmlns:a16="http://schemas.microsoft.com/office/drawing/2014/main" id="{71AF4565-F1DB-4FAA-ACBD-3BE44EDF480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7" name="Line 13">
                        <a:extLst>
                          <a:ext uri="{FF2B5EF4-FFF2-40B4-BE49-F238E27FC236}">
                            <a16:creationId xmlns:a16="http://schemas.microsoft.com/office/drawing/2014/main" id="{FCB036DD-2C22-45DF-89C6-21107DB7F46B}"/>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8" name="Freeform 14">
                        <a:extLst>
                          <a:ext uri="{FF2B5EF4-FFF2-40B4-BE49-F238E27FC236}">
                            <a16:creationId xmlns:a16="http://schemas.microsoft.com/office/drawing/2014/main" id="{ED66D134-CDCF-48B3-BA53-AABFBE5C14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9" name="Line 15">
                        <a:extLst>
                          <a:ext uri="{FF2B5EF4-FFF2-40B4-BE49-F238E27FC236}">
                            <a16:creationId xmlns:a16="http://schemas.microsoft.com/office/drawing/2014/main" id="{954244E4-308D-4F88-9DCF-7194D2801C8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0" name="Freeform 16">
                        <a:extLst>
                          <a:ext uri="{FF2B5EF4-FFF2-40B4-BE49-F238E27FC236}">
                            <a16:creationId xmlns:a16="http://schemas.microsoft.com/office/drawing/2014/main" id="{3F85E511-5E10-48E6-9EBC-83EB630E9B4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1" name="Line 17">
                        <a:extLst>
                          <a:ext uri="{FF2B5EF4-FFF2-40B4-BE49-F238E27FC236}">
                            <a16:creationId xmlns:a16="http://schemas.microsoft.com/office/drawing/2014/main" id="{6B909ABD-1595-4AD4-BC0B-DEC69383D0BC}"/>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2" name="Freeform 18">
                        <a:extLst>
                          <a:ext uri="{FF2B5EF4-FFF2-40B4-BE49-F238E27FC236}">
                            <a16:creationId xmlns:a16="http://schemas.microsoft.com/office/drawing/2014/main" id="{BDCEB189-E1A3-4F61-BE87-F10D87B2710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3" name="Line 19">
                        <a:extLst>
                          <a:ext uri="{FF2B5EF4-FFF2-40B4-BE49-F238E27FC236}">
                            <a16:creationId xmlns:a16="http://schemas.microsoft.com/office/drawing/2014/main" id="{A5801A50-A158-4B52-9E77-FF89C2D442E6}"/>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4" name="Freeform 35">
                        <a:extLst>
                          <a:ext uri="{FF2B5EF4-FFF2-40B4-BE49-F238E27FC236}">
                            <a16:creationId xmlns:a16="http://schemas.microsoft.com/office/drawing/2014/main" id="{A2A5B366-8854-45C4-8BEC-9E9F76CBAEF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5" name="Freeform 36">
                        <a:extLst>
                          <a:ext uri="{FF2B5EF4-FFF2-40B4-BE49-F238E27FC236}">
                            <a16:creationId xmlns:a16="http://schemas.microsoft.com/office/drawing/2014/main" id="{A9959492-14F1-4A2E-AE94-E9959B0345D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6" name="Freeform 37">
                        <a:extLst>
                          <a:ext uri="{FF2B5EF4-FFF2-40B4-BE49-F238E27FC236}">
                            <a16:creationId xmlns:a16="http://schemas.microsoft.com/office/drawing/2014/main" id="{5ED0F6C4-9257-4A26-82FD-6DA64DCDF93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7" name="Freeform 38">
                        <a:extLst>
                          <a:ext uri="{FF2B5EF4-FFF2-40B4-BE49-F238E27FC236}">
                            <a16:creationId xmlns:a16="http://schemas.microsoft.com/office/drawing/2014/main" id="{E6D4C4DE-85DA-4348-BAF1-FBDF5CB75BA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8" name="Freeform 39">
                        <a:extLst>
                          <a:ext uri="{FF2B5EF4-FFF2-40B4-BE49-F238E27FC236}">
                            <a16:creationId xmlns:a16="http://schemas.microsoft.com/office/drawing/2014/main" id="{A53B7A6D-CB31-4EE8-9E58-AC8FFE6CA5C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9" name="Freeform 40">
                        <a:extLst>
                          <a:ext uri="{FF2B5EF4-FFF2-40B4-BE49-F238E27FC236}">
                            <a16:creationId xmlns:a16="http://schemas.microsoft.com/office/drawing/2014/main" id="{090B3AC6-1F4F-43CF-9E4E-C4AB75FB265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0" name="Freeform 41">
                        <a:extLst>
                          <a:ext uri="{FF2B5EF4-FFF2-40B4-BE49-F238E27FC236}">
                            <a16:creationId xmlns:a16="http://schemas.microsoft.com/office/drawing/2014/main" id="{D01F9AD9-90A1-4084-857D-6A0CE0A59B96}"/>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1" name="Line 42">
                        <a:extLst>
                          <a:ext uri="{FF2B5EF4-FFF2-40B4-BE49-F238E27FC236}">
                            <a16:creationId xmlns:a16="http://schemas.microsoft.com/office/drawing/2014/main" id="{1B200E90-00C5-4D47-8EDC-739CE998E99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2" name="Freeform 43">
                        <a:extLst>
                          <a:ext uri="{FF2B5EF4-FFF2-40B4-BE49-F238E27FC236}">
                            <a16:creationId xmlns:a16="http://schemas.microsoft.com/office/drawing/2014/main" id="{57AC4181-E6DE-496C-8CC6-59006C184E4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3" name="Freeform 44">
                        <a:extLst>
                          <a:ext uri="{FF2B5EF4-FFF2-40B4-BE49-F238E27FC236}">
                            <a16:creationId xmlns:a16="http://schemas.microsoft.com/office/drawing/2014/main" id="{79C99E03-D11E-40AF-96F5-7947612FECB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4" name="Freeform 45">
                        <a:extLst>
                          <a:ext uri="{FF2B5EF4-FFF2-40B4-BE49-F238E27FC236}">
                            <a16:creationId xmlns:a16="http://schemas.microsoft.com/office/drawing/2014/main" id="{5317F08E-B27F-4FEC-BF2A-B6314519682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75" name="Group 2074">
                        <a:extLst>
                          <a:ext uri="{FF2B5EF4-FFF2-40B4-BE49-F238E27FC236}">
                            <a16:creationId xmlns:a16="http://schemas.microsoft.com/office/drawing/2014/main" id="{B2BECC28-D7C9-486B-B602-A81655E18478}"/>
                          </a:ext>
                        </a:extLst>
                      </p:cNvPr>
                      <p:cNvGrpSpPr/>
                      <p:nvPr/>
                    </p:nvGrpSpPr>
                    <p:grpSpPr>
                      <a:xfrm flipV="1">
                        <a:off x="1202047" y="3517919"/>
                        <a:ext cx="178734" cy="348678"/>
                        <a:chOff x="1207113" y="2241878"/>
                        <a:chExt cx="178734" cy="348678"/>
                      </a:xfrm>
                    </p:grpSpPr>
                    <p:sp>
                      <p:nvSpPr>
                        <p:cNvPr id="2076" name="Freeform 10">
                          <a:extLst>
                            <a:ext uri="{FF2B5EF4-FFF2-40B4-BE49-F238E27FC236}">
                              <a16:creationId xmlns:a16="http://schemas.microsoft.com/office/drawing/2014/main" id="{E98405F1-35EE-4CF6-B642-4093736BC42E}"/>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7" name="Line 11">
                          <a:extLst>
                            <a:ext uri="{FF2B5EF4-FFF2-40B4-BE49-F238E27FC236}">
                              <a16:creationId xmlns:a16="http://schemas.microsoft.com/office/drawing/2014/main" id="{368D9ED1-B092-4360-B4B0-D9D564B307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25" name="Group 2024">
                    <a:extLst>
                      <a:ext uri="{FF2B5EF4-FFF2-40B4-BE49-F238E27FC236}">
                        <a16:creationId xmlns:a16="http://schemas.microsoft.com/office/drawing/2014/main" id="{B037B739-0AC6-483D-9CD6-C23CB322CDCF}"/>
                      </a:ext>
                    </a:extLst>
                  </p:cNvPr>
                  <p:cNvGrpSpPr>
                    <a:grpSpLocks/>
                  </p:cNvGrpSpPr>
                  <p:nvPr/>
                </p:nvGrpSpPr>
                <p:grpSpPr>
                  <a:xfrm>
                    <a:off x="11709639" y="2297897"/>
                    <a:ext cx="690952" cy="690956"/>
                    <a:chOff x="2268747" y="4723725"/>
                    <a:chExt cx="415610" cy="415612"/>
                  </a:xfrm>
                </p:grpSpPr>
                <p:grpSp>
                  <p:nvGrpSpPr>
                    <p:cNvPr id="2026" name="Group 64">
                      <a:extLst>
                        <a:ext uri="{FF2B5EF4-FFF2-40B4-BE49-F238E27FC236}">
                          <a16:creationId xmlns:a16="http://schemas.microsoft.com/office/drawing/2014/main" id="{08D7E938-A413-4450-A19B-6A75A5009960}"/>
                        </a:ext>
                      </a:extLst>
                    </p:cNvPr>
                    <p:cNvGrpSpPr>
                      <a:grpSpLocks noChangeAspect="1"/>
                    </p:cNvGrpSpPr>
                    <p:nvPr/>
                  </p:nvGrpSpPr>
                  <p:grpSpPr bwMode="auto">
                    <a:xfrm rot="8100000">
                      <a:off x="2268747" y="4723725"/>
                      <a:ext cx="415610" cy="415612"/>
                      <a:chOff x="701" y="2170"/>
                      <a:chExt cx="587" cy="587"/>
                    </a:xfrm>
                  </p:grpSpPr>
                  <p:sp>
                    <p:nvSpPr>
                      <p:cNvPr id="2041" name="Oval 65">
                        <a:extLst>
                          <a:ext uri="{FF2B5EF4-FFF2-40B4-BE49-F238E27FC236}">
                            <a16:creationId xmlns:a16="http://schemas.microsoft.com/office/drawing/2014/main" id="{C0044DE8-339A-40BF-8511-55ED3339CF1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2" name="Line 66">
                        <a:extLst>
                          <a:ext uri="{FF2B5EF4-FFF2-40B4-BE49-F238E27FC236}">
                            <a16:creationId xmlns:a16="http://schemas.microsoft.com/office/drawing/2014/main" id="{E104734A-91B5-4854-B5E4-46A8B4BE5A5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3" name="Line 67">
                        <a:extLst>
                          <a:ext uri="{FF2B5EF4-FFF2-40B4-BE49-F238E27FC236}">
                            <a16:creationId xmlns:a16="http://schemas.microsoft.com/office/drawing/2014/main" id="{F8A00DAE-6A81-4FD7-8577-2A690D709D8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4" name="Line 69">
                        <a:extLst>
                          <a:ext uri="{FF2B5EF4-FFF2-40B4-BE49-F238E27FC236}">
                            <a16:creationId xmlns:a16="http://schemas.microsoft.com/office/drawing/2014/main" id="{E959F45C-F50B-48A5-ACAD-A8FD159609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5" name="Line 74">
                        <a:extLst>
                          <a:ext uri="{FF2B5EF4-FFF2-40B4-BE49-F238E27FC236}">
                            <a16:creationId xmlns:a16="http://schemas.microsoft.com/office/drawing/2014/main" id="{F7A415D4-892E-415D-B52D-4C31737AE6E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6" name="Freeform 78">
                        <a:extLst>
                          <a:ext uri="{FF2B5EF4-FFF2-40B4-BE49-F238E27FC236}">
                            <a16:creationId xmlns:a16="http://schemas.microsoft.com/office/drawing/2014/main" id="{24F79AE3-20DF-4F7B-84B6-6B1B62693B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7" name="Freeform 80">
                        <a:extLst>
                          <a:ext uri="{FF2B5EF4-FFF2-40B4-BE49-F238E27FC236}">
                            <a16:creationId xmlns:a16="http://schemas.microsoft.com/office/drawing/2014/main" id="{DC56F3FF-10DF-4FFC-9360-29442B3474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27" name="Group 2026">
                      <a:extLst>
                        <a:ext uri="{FF2B5EF4-FFF2-40B4-BE49-F238E27FC236}">
                          <a16:creationId xmlns:a16="http://schemas.microsoft.com/office/drawing/2014/main" id="{0E2DCCB4-C702-40DD-A4A1-69BC491A0C03}"/>
                        </a:ext>
                      </a:extLst>
                    </p:cNvPr>
                    <p:cNvGrpSpPr/>
                    <p:nvPr/>
                  </p:nvGrpSpPr>
                  <p:grpSpPr>
                    <a:xfrm>
                      <a:off x="2318076" y="4830163"/>
                      <a:ext cx="313949" cy="233075"/>
                      <a:chOff x="3707533" y="2731244"/>
                      <a:chExt cx="389644" cy="289271"/>
                    </a:xfrm>
                  </p:grpSpPr>
                  <p:sp>
                    <p:nvSpPr>
                      <p:cNvPr id="2028" name="Freeform 33">
                        <a:extLst>
                          <a:ext uri="{FF2B5EF4-FFF2-40B4-BE49-F238E27FC236}">
                            <a16:creationId xmlns:a16="http://schemas.microsoft.com/office/drawing/2014/main" id="{E8B2C79B-4AF1-4A44-A176-891EBCF127A3}"/>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29" name="Freeform 34">
                        <a:extLst>
                          <a:ext uri="{FF2B5EF4-FFF2-40B4-BE49-F238E27FC236}">
                            <a16:creationId xmlns:a16="http://schemas.microsoft.com/office/drawing/2014/main" id="{2B2340E6-B3CE-41D4-93E8-10F66EC1C005}"/>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0" name="Freeform 37">
                        <a:extLst>
                          <a:ext uri="{FF2B5EF4-FFF2-40B4-BE49-F238E27FC236}">
                            <a16:creationId xmlns:a16="http://schemas.microsoft.com/office/drawing/2014/main" id="{70FD9DBD-3EEE-4081-A7C5-623B318DEB6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1" name="Freeform 38">
                        <a:extLst>
                          <a:ext uri="{FF2B5EF4-FFF2-40B4-BE49-F238E27FC236}">
                            <a16:creationId xmlns:a16="http://schemas.microsoft.com/office/drawing/2014/main" id="{6B638651-29FF-47DA-A9EE-190AE460256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2" name="Freeform 32">
                        <a:extLst>
                          <a:ext uri="{FF2B5EF4-FFF2-40B4-BE49-F238E27FC236}">
                            <a16:creationId xmlns:a16="http://schemas.microsoft.com/office/drawing/2014/main" id="{52509299-95E6-477F-B2CE-5C495EFB222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3" name="Freeform 35">
                        <a:extLst>
                          <a:ext uri="{FF2B5EF4-FFF2-40B4-BE49-F238E27FC236}">
                            <a16:creationId xmlns:a16="http://schemas.microsoft.com/office/drawing/2014/main" id="{9D4A156B-550E-40AC-9F3C-1A59E40AD25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4" name="Freeform 36">
                        <a:extLst>
                          <a:ext uri="{FF2B5EF4-FFF2-40B4-BE49-F238E27FC236}">
                            <a16:creationId xmlns:a16="http://schemas.microsoft.com/office/drawing/2014/main" id="{0784B5FD-53DC-459C-9501-0DF1AD18B886}"/>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5" name="Freeform 25">
                        <a:extLst>
                          <a:ext uri="{FF2B5EF4-FFF2-40B4-BE49-F238E27FC236}">
                            <a16:creationId xmlns:a16="http://schemas.microsoft.com/office/drawing/2014/main" id="{063F9560-0D59-42B4-936E-5534763842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6" name="Freeform 39">
                        <a:extLst>
                          <a:ext uri="{FF2B5EF4-FFF2-40B4-BE49-F238E27FC236}">
                            <a16:creationId xmlns:a16="http://schemas.microsoft.com/office/drawing/2014/main" id="{6B294804-F521-46BA-87D4-E7C21805090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7" name="Freeform 26">
                        <a:extLst>
                          <a:ext uri="{FF2B5EF4-FFF2-40B4-BE49-F238E27FC236}">
                            <a16:creationId xmlns:a16="http://schemas.microsoft.com/office/drawing/2014/main" id="{4716EE93-6A1A-44B5-9DA4-72D5176B1770}"/>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8" name="Rectangle 27">
                        <a:extLst>
                          <a:ext uri="{FF2B5EF4-FFF2-40B4-BE49-F238E27FC236}">
                            <a16:creationId xmlns:a16="http://schemas.microsoft.com/office/drawing/2014/main" id="{4E146FFA-8A46-4665-AF88-43ADE3D3650D}"/>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9" name="Line 29">
                        <a:extLst>
                          <a:ext uri="{FF2B5EF4-FFF2-40B4-BE49-F238E27FC236}">
                            <a16:creationId xmlns:a16="http://schemas.microsoft.com/office/drawing/2014/main" id="{ECD43F80-7F01-4A04-AF12-F87ADD6E93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0" name="Line 31">
                        <a:extLst>
                          <a:ext uri="{FF2B5EF4-FFF2-40B4-BE49-F238E27FC236}">
                            <a16:creationId xmlns:a16="http://schemas.microsoft.com/office/drawing/2014/main" id="{494C1B5D-1A30-411F-B0DF-EFA8E546997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423" name="Group 2422">
                <a:extLst>
                  <a:ext uri="{FF2B5EF4-FFF2-40B4-BE49-F238E27FC236}">
                    <a16:creationId xmlns:a16="http://schemas.microsoft.com/office/drawing/2014/main" id="{0861F88F-F86B-4256-871A-619833B675D8}"/>
                  </a:ext>
                </a:extLst>
              </p:cNvPr>
              <p:cNvGrpSpPr/>
              <p:nvPr/>
            </p:nvGrpSpPr>
            <p:grpSpPr>
              <a:xfrm>
                <a:off x="3584215" y="5655005"/>
                <a:ext cx="1001118" cy="830281"/>
                <a:chOff x="3592922" y="5629153"/>
                <a:chExt cx="1003674" cy="832401"/>
              </a:xfrm>
            </p:grpSpPr>
            <p:pic>
              <p:nvPicPr>
                <p:cNvPr id="2424" name="Picture 1">
                  <a:extLst>
                    <a:ext uri="{FF2B5EF4-FFF2-40B4-BE49-F238E27FC236}">
                      <a16:creationId xmlns:a16="http://schemas.microsoft.com/office/drawing/2014/main" id="{2F855582-806F-4F4C-9E3E-ACC2A6B1559B}"/>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5" name="Rectangle 2424">
                  <a:extLst>
                    <a:ext uri="{FF2B5EF4-FFF2-40B4-BE49-F238E27FC236}">
                      <a16:creationId xmlns:a16="http://schemas.microsoft.com/office/drawing/2014/main" id="{46CEBEB8-20DE-4256-87A0-C6931B3E059E}"/>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802" name="Group 2801">
              <a:extLst>
                <a:ext uri="{FF2B5EF4-FFF2-40B4-BE49-F238E27FC236}">
                  <a16:creationId xmlns:a16="http://schemas.microsoft.com/office/drawing/2014/main" id="{B42686BC-04B1-4420-A0D9-BB8E0B6F4E1B}"/>
                </a:ext>
              </a:extLst>
            </p:cNvPr>
            <p:cNvGrpSpPr/>
            <p:nvPr/>
          </p:nvGrpSpPr>
          <p:grpSpPr>
            <a:xfrm>
              <a:off x="4527697" y="3616012"/>
              <a:ext cx="3535922" cy="312851"/>
              <a:chOff x="4538813" y="3457139"/>
              <a:chExt cx="3544948" cy="313650"/>
            </a:xfrm>
          </p:grpSpPr>
          <p:grpSp>
            <p:nvGrpSpPr>
              <p:cNvPr id="2803" name="Group 2802">
                <a:extLst>
                  <a:ext uri="{FF2B5EF4-FFF2-40B4-BE49-F238E27FC236}">
                    <a16:creationId xmlns:a16="http://schemas.microsoft.com/office/drawing/2014/main" id="{042C71BF-029D-49A1-8571-D8CA13FE0977}"/>
                  </a:ext>
                </a:extLst>
              </p:cNvPr>
              <p:cNvGrpSpPr/>
              <p:nvPr/>
            </p:nvGrpSpPr>
            <p:grpSpPr>
              <a:xfrm>
                <a:off x="4538813" y="3463012"/>
                <a:ext cx="3544948" cy="307777"/>
                <a:chOff x="4538813" y="3463012"/>
                <a:chExt cx="3544948" cy="307777"/>
              </a:xfrm>
            </p:grpSpPr>
            <p:sp>
              <p:nvSpPr>
                <p:cNvPr id="2805" name="Rectangle 2804">
                  <a:extLst>
                    <a:ext uri="{FF2B5EF4-FFF2-40B4-BE49-F238E27FC236}">
                      <a16:creationId xmlns:a16="http://schemas.microsoft.com/office/drawing/2014/main" id="{75C3E363-1F35-489E-BA74-0A779425B25C}"/>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6" name="Rectangle 2805">
                  <a:extLst>
                    <a:ext uri="{FF2B5EF4-FFF2-40B4-BE49-F238E27FC236}">
                      <a16:creationId xmlns:a16="http://schemas.microsoft.com/office/drawing/2014/main" id="{BD535703-7C60-48C0-A6F3-77B1BC346C9F}"/>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7" name="Rectangle 2806">
                  <a:extLst>
                    <a:ext uri="{FF2B5EF4-FFF2-40B4-BE49-F238E27FC236}">
                      <a16:creationId xmlns:a16="http://schemas.microsoft.com/office/drawing/2014/main" id="{47F71A10-A782-443A-8CBD-936E26C964D4}"/>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8" name="Rectangle 2807">
                  <a:extLst>
                    <a:ext uri="{FF2B5EF4-FFF2-40B4-BE49-F238E27FC236}">
                      <a16:creationId xmlns:a16="http://schemas.microsoft.com/office/drawing/2014/main" id="{08AC8244-6710-4675-8737-487150EB8633}"/>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9" name="Rectangle 2808">
                  <a:extLst>
                    <a:ext uri="{FF2B5EF4-FFF2-40B4-BE49-F238E27FC236}">
                      <a16:creationId xmlns:a16="http://schemas.microsoft.com/office/drawing/2014/main" id="{09A7514C-CF6A-4EB5-97F3-2B004132D70A}"/>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0" name="Rectangle 2809">
                  <a:extLst>
                    <a:ext uri="{FF2B5EF4-FFF2-40B4-BE49-F238E27FC236}">
                      <a16:creationId xmlns:a16="http://schemas.microsoft.com/office/drawing/2014/main" id="{D4BE4497-2EE1-4340-9A22-F07D1EEA1094}"/>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1" name="Rectangle 2810">
                  <a:extLst>
                    <a:ext uri="{FF2B5EF4-FFF2-40B4-BE49-F238E27FC236}">
                      <a16:creationId xmlns:a16="http://schemas.microsoft.com/office/drawing/2014/main" id="{AC1A6B11-647E-4E78-9141-5AB1BDC7AC86}"/>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804" name="Rectangle 2803">
                <a:extLst>
                  <a:ext uri="{FF2B5EF4-FFF2-40B4-BE49-F238E27FC236}">
                    <a16:creationId xmlns:a16="http://schemas.microsoft.com/office/drawing/2014/main" id="{84BE1BCD-92F1-4234-892B-3E3E3EB97326}"/>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3" name="Group 2">
            <a:extLst>
              <a:ext uri="{FF2B5EF4-FFF2-40B4-BE49-F238E27FC236}">
                <a16:creationId xmlns:a16="http://schemas.microsoft.com/office/drawing/2014/main" id="{F68ED92F-55F2-4796-B592-F951746241DD}"/>
              </a:ext>
            </a:extLst>
          </p:cNvPr>
          <p:cNvGrpSpPr/>
          <p:nvPr/>
        </p:nvGrpSpPr>
        <p:grpSpPr>
          <a:xfrm>
            <a:off x="1944832" y="1841990"/>
            <a:ext cx="1530261" cy="1365012"/>
            <a:chOff x="1943749" y="1841576"/>
            <a:chExt cx="1530660" cy="1365368"/>
          </a:xfrm>
        </p:grpSpPr>
        <p:grpSp>
          <p:nvGrpSpPr>
            <p:cNvPr id="2" name="Group 1">
              <a:extLst>
                <a:ext uri="{FF2B5EF4-FFF2-40B4-BE49-F238E27FC236}">
                  <a16:creationId xmlns:a16="http://schemas.microsoft.com/office/drawing/2014/main" id="{810E02F5-E91A-4A84-B614-26F7833E4F9E}"/>
                </a:ext>
              </a:extLst>
            </p:cNvPr>
            <p:cNvGrpSpPr/>
            <p:nvPr/>
          </p:nvGrpSpPr>
          <p:grpSpPr>
            <a:xfrm>
              <a:off x="1943749" y="2407608"/>
              <a:ext cx="1530660" cy="799336"/>
              <a:chOff x="1943749" y="2407608"/>
              <a:chExt cx="1530660" cy="799336"/>
            </a:xfrm>
          </p:grpSpPr>
          <p:cxnSp>
            <p:nvCxnSpPr>
              <p:cNvPr id="2812" name="Elbow Connector 558">
                <a:extLst>
                  <a:ext uri="{FF2B5EF4-FFF2-40B4-BE49-F238E27FC236}">
                    <a16:creationId xmlns:a16="http://schemas.microsoft.com/office/drawing/2014/main" id="{1935F575-87DC-442A-9CCD-6F852C78EB34}"/>
                  </a:ext>
                </a:extLst>
              </p:cNvPr>
              <p:cNvCxnSpPr>
                <a:cxnSpLocks/>
                <a:endCxn id="2814"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813" name="Elbow Connector 558">
                <a:extLst>
                  <a:ext uri="{FF2B5EF4-FFF2-40B4-BE49-F238E27FC236}">
                    <a16:creationId xmlns:a16="http://schemas.microsoft.com/office/drawing/2014/main" id="{37DBABF8-A9A5-45DD-953F-1B5BE29639BD}"/>
                  </a:ext>
                </a:extLst>
              </p:cNvPr>
              <p:cNvCxnSpPr>
                <a:cxnSpLocks/>
                <a:stCxn id="2814" idx="3"/>
                <a:endCxn id="2105" idx="1"/>
              </p:cNvCxnSpPr>
              <p:nvPr/>
            </p:nvCxnSpPr>
            <p:spPr>
              <a:xfrm flipV="1">
                <a:off x="2543277" y="2407608"/>
                <a:ext cx="931132" cy="374067"/>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814" name="Picture 2813">
                <a:extLst>
                  <a:ext uri="{FF2B5EF4-FFF2-40B4-BE49-F238E27FC236}">
                    <a16:creationId xmlns:a16="http://schemas.microsoft.com/office/drawing/2014/main" id="{B4B3FA98-B76F-474E-9F2A-47EBAD2A5D2E}"/>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815" name="Picture 2814">
              <a:extLst>
                <a:ext uri="{FF2B5EF4-FFF2-40B4-BE49-F238E27FC236}">
                  <a16:creationId xmlns:a16="http://schemas.microsoft.com/office/drawing/2014/main" id="{4A96C1DF-0971-4663-9F6A-90244601521F}"/>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17" name="Group 16">
            <a:extLst>
              <a:ext uri="{FF2B5EF4-FFF2-40B4-BE49-F238E27FC236}">
                <a16:creationId xmlns:a16="http://schemas.microsoft.com/office/drawing/2014/main" id="{33600B55-E1D3-4227-A53F-AD77EF5DC265}"/>
              </a:ext>
            </a:extLst>
          </p:cNvPr>
          <p:cNvGrpSpPr/>
          <p:nvPr/>
        </p:nvGrpSpPr>
        <p:grpSpPr>
          <a:xfrm>
            <a:off x="2967087" y="1754090"/>
            <a:ext cx="6753931" cy="2719939"/>
            <a:chOff x="2966271" y="1753652"/>
            <a:chExt cx="6755690" cy="2720648"/>
          </a:xfrm>
        </p:grpSpPr>
        <p:grpSp>
          <p:nvGrpSpPr>
            <p:cNvPr id="2492" name="Group 2491">
              <a:extLst>
                <a:ext uri="{FF2B5EF4-FFF2-40B4-BE49-F238E27FC236}">
                  <a16:creationId xmlns:a16="http://schemas.microsoft.com/office/drawing/2014/main" id="{C156E434-0C35-4614-A2F1-117C750B774A}"/>
                </a:ext>
              </a:extLst>
            </p:cNvPr>
            <p:cNvGrpSpPr/>
            <p:nvPr/>
          </p:nvGrpSpPr>
          <p:grpSpPr>
            <a:xfrm>
              <a:off x="2966271" y="3623425"/>
              <a:ext cx="5559816" cy="850875"/>
              <a:chOff x="2941193" y="3591455"/>
              <a:chExt cx="5574010" cy="853047"/>
            </a:xfrm>
          </p:grpSpPr>
          <p:grpSp>
            <p:nvGrpSpPr>
              <p:cNvPr id="2493" name="Group 2492">
                <a:extLst>
                  <a:ext uri="{FF2B5EF4-FFF2-40B4-BE49-F238E27FC236}">
                    <a16:creationId xmlns:a16="http://schemas.microsoft.com/office/drawing/2014/main" id="{8864D1B4-31CE-45B9-B68E-E0D72F5AEC42}"/>
                  </a:ext>
                </a:extLst>
              </p:cNvPr>
              <p:cNvGrpSpPr/>
              <p:nvPr/>
            </p:nvGrpSpPr>
            <p:grpSpPr>
              <a:xfrm>
                <a:off x="2941193" y="3710094"/>
                <a:ext cx="5483474" cy="734408"/>
                <a:chOff x="2941193" y="3710094"/>
                <a:chExt cx="5483474" cy="734408"/>
              </a:xfrm>
            </p:grpSpPr>
            <p:cxnSp>
              <p:nvCxnSpPr>
                <p:cNvPr id="2495" name="Elbow Connector 558">
                  <a:extLst>
                    <a:ext uri="{FF2B5EF4-FFF2-40B4-BE49-F238E27FC236}">
                      <a16:creationId xmlns:a16="http://schemas.microsoft.com/office/drawing/2014/main" id="{7A9F4266-D077-44DF-AE7B-293210D40A2B}"/>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496" name="Rectangle 2495">
                  <a:extLst>
                    <a:ext uri="{FF2B5EF4-FFF2-40B4-BE49-F238E27FC236}">
                      <a16:creationId xmlns:a16="http://schemas.microsoft.com/office/drawing/2014/main" id="{9ED04E6C-C783-43AF-B9D7-462D0CC74E93}"/>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494" name="Rectangle 2493">
                <a:extLst>
                  <a:ext uri="{FF2B5EF4-FFF2-40B4-BE49-F238E27FC236}">
                    <a16:creationId xmlns:a16="http://schemas.microsoft.com/office/drawing/2014/main" id="{6D209AB9-0138-4950-9BFB-7D6BE135A81D}"/>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16" name="Group 15">
              <a:extLst>
                <a:ext uri="{FF2B5EF4-FFF2-40B4-BE49-F238E27FC236}">
                  <a16:creationId xmlns:a16="http://schemas.microsoft.com/office/drawing/2014/main" id="{A333C4F2-11D6-4CD6-A48B-C540504BA326}"/>
                </a:ext>
              </a:extLst>
            </p:cNvPr>
            <p:cNvGrpSpPr/>
            <p:nvPr/>
          </p:nvGrpSpPr>
          <p:grpSpPr>
            <a:xfrm>
              <a:off x="6614264" y="1753652"/>
              <a:ext cx="3107697" cy="1310210"/>
              <a:chOff x="6614264" y="1753652"/>
              <a:chExt cx="3107697" cy="1310210"/>
            </a:xfrm>
          </p:grpSpPr>
          <p:sp>
            <p:nvSpPr>
              <p:cNvPr id="2193" name="Rectangle 2192">
                <a:extLst>
                  <a:ext uri="{FF2B5EF4-FFF2-40B4-BE49-F238E27FC236}">
                    <a16:creationId xmlns:a16="http://schemas.microsoft.com/office/drawing/2014/main" id="{04D16098-D91C-43FE-B655-4F16746A527E}"/>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194" name="Group 2193">
                <a:extLst>
                  <a:ext uri="{FF2B5EF4-FFF2-40B4-BE49-F238E27FC236}">
                    <a16:creationId xmlns:a16="http://schemas.microsoft.com/office/drawing/2014/main" id="{0DEF170E-3C53-4FE6-AD1B-1F5AA6C41BA8}"/>
                  </a:ext>
                </a:extLst>
              </p:cNvPr>
              <p:cNvGrpSpPr/>
              <p:nvPr/>
            </p:nvGrpSpPr>
            <p:grpSpPr>
              <a:xfrm>
                <a:off x="6970489" y="2381238"/>
                <a:ext cx="876005" cy="682624"/>
                <a:chOff x="8153924" y="1224949"/>
                <a:chExt cx="927652" cy="722869"/>
              </a:xfrm>
            </p:grpSpPr>
            <p:sp>
              <p:nvSpPr>
                <p:cNvPr id="2195" name="TextBox 2194">
                  <a:extLst>
                    <a:ext uri="{FF2B5EF4-FFF2-40B4-BE49-F238E27FC236}">
                      <a16:creationId xmlns:a16="http://schemas.microsoft.com/office/drawing/2014/main" id="{824EE8B9-F191-41E4-9E22-E40FF6265E49}"/>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196" name="Group 2195">
                  <a:extLst>
                    <a:ext uri="{FF2B5EF4-FFF2-40B4-BE49-F238E27FC236}">
                      <a16:creationId xmlns:a16="http://schemas.microsoft.com/office/drawing/2014/main" id="{97B3AC04-FD4F-464A-BF56-D40A68297AA4}"/>
                    </a:ext>
                  </a:extLst>
                </p:cNvPr>
                <p:cNvGrpSpPr/>
                <p:nvPr/>
              </p:nvGrpSpPr>
              <p:grpSpPr>
                <a:xfrm>
                  <a:off x="8153924" y="1224949"/>
                  <a:ext cx="927652" cy="402840"/>
                  <a:chOff x="8153924" y="1224949"/>
                  <a:chExt cx="927652" cy="402840"/>
                </a:xfrm>
              </p:grpSpPr>
              <p:sp>
                <p:nvSpPr>
                  <p:cNvPr id="2200" name="Freeform 78">
                    <a:extLst>
                      <a:ext uri="{FF2B5EF4-FFF2-40B4-BE49-F238E27FC236}">
                        <a16:creationId xmlns:a16="http://schemas.microsoft.com/office/drawing/2014/main" id="{BEF58473-7D8F-48A0-991C-D8D87A91540C}"/>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Freeform 80">
                    <a:extLst>
                      <a:ext uri="{FF2B5EF4-FFF2-40B4-BE49-F238E27FC236}">
                        <a16:creationId xmlns:a16="http://schemas.microsoft.com/office/drawing/2014/main" id="{327E6B47-E2EB-49E5-9A55-1DDEE77B94F9}"/>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Freeform 1576">
                    <a:extLst>
                      <a:ext uri="{FF2B5EF4-FFF2-40B4-BE49-F238E27FC236}">
                        <a16:creationId xmlns:a16="http://schemas.microsoft.com/office/drawing/2014/main" id="{D47E6B54-388A-47E6-A88D-82E39A0A150B}"/>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1577">
                    <a:extLst>
                      <a:ext uri="{FF2B5EF4-FFF2-40B4-BE49-F238E27FC236}">
                        <a16:creationId xmlns:a16="http://schemas.microsoft.com/office/drawing/2014/main" id="{CA03811B-4E2A-49E9-B01C-A03B133B9947}"/>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1578">
                    <a:extLst>
                      <a:ext uri="{FF2B5EF4-FFF2-40B4-BE49-F238E27FC236}">
                        <a16:creationId xmlns:a16="http://schemas.microsoft.com/office/drawing/2014/main" id="{7534C028-D396-4227-AE0D-3F8B78D92E79}"/>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1579">
                    <a:extLst>
                      <a:ext uri="{FF2B5EF4-FFF2-40B4-BE49-F238E27FC236}">
                        <a16:creationId xmlns:a16="http://schemas.microsoft.com/office/drawing/2014/main" id="{40686DC3-F18E-482F-99E4-7023BBFC12E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1580">
                    <a:extLst>
                      <a:ext uri="{FF2B5EF4-FFF2-40B4-BE49-F238E27FC236}">
                        <a16:creationId xmlns:a16="http://schemas.microsoft.com/office/drawing/2014/main" id="{931D6EF7-E1B2-4D53-AE4C-E5998F82EC9F}"/>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1581">
                    <a:extLst>
                      <a:ext uri="{FF2B5EF4-FFF2-40B4-BE49-F238E27FC236}">
                        <a16:creationId xmlns:a16="http://schemas.microsoft.com/office/drawing/2014/main" id="{E2B3C2B6-ECD7-4CE5-857E-595729D1D7BA}"/>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1582">
                    <a:extLst>
                      <a:ext uri="{FF2B5EF4-FFF2-40B4-BE49-F238E27FC236}">
                        <a16:creationId xmlns:a16="http://schemas.microsoft.com/office/drawing/2014/main" id="{8A045F3A-6F6F-4986-A97F-24BD7F224E2B}"/>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1583">
                    <a:extLst>
                      <a:ext uri="{FF2B5EF4-FFF2-40B4-BE49-F238E27FC236}">
                        <a16:creationId xmlns:a16="http://schemas.microsoft.com/office/drawing/2014/main" id="{057FD777-6EAB-4469-9C3A-6FF4E9FEEA9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Freeform 1584">
                    <a:extLst>
                      <a:ext uri="{FF2B5EF4-FFF2-40B4-BE49-F238E27FC236}">
                        <a16:creationId xmlns:a16="http://schemas.microsoft.com/office/drawing/2014/main" id="{88CF09A3-214A-4DDE-BCF6-0C5C938EFABE}"/>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1585">
                    <a:extLst>
                      <a:ext uri="{FF2B5EF4-FFF2-40B4-BE49-F238E27FC236}">
                        <a16:creationId xmlns:a16="http://schemas.microsoft.com/office/drawing/2014/main" id="{A9693C23-CAAF-44C8-AA56-29ADD4984252}"/>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1586">
                    <a:extLst>
                      <a:ext uri="{FF2B5EF4-FFF2-40B4-BE49-F238E27FC236}">
                        <a16:creationId xmlns:a16="http://schemas.microsoft.com/office/drawing/2014/main" id="{FDAAD9FE-FEC4-4690-9F45-517DC82D194A}"/>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1587">
                    <a:extLst>
                      <a:ext uri="{FF2B5EF4-FFF2-40B4-BE49-F238E27FC236}">
                        <a16:creationId xmlns:a16="http://schemas.microsoft.com/office/drawing/2014/main" id="{4318389F-9D63-4534-A104-FB617913DAB0}"/>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5" name="Freeform 1588">
                    <a:extLst>
                      <a:ext uri="{FF2B5EF4-FFF2-40B4-BE49-F238E27FC236}">
                        <a16:creationId xmlns:a16="http://schemas.microsoft.com/office/drawing/2014/main" id="{D016AAB5-CB66-4CBD-9774-2524E682D3C2}"/>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6" name="Rectangle 1589">
                    <a:extLst>
                      <a:ext uri="{FF2B5EF4-FFF2-40B4-BE49-F238E27FC236}">
                        <a16:creationId xmlns:a16="http://schemas.microsoft.com/office/drawing/2014/main" id="{17A56E3F-1447-4D06-9A4D-BB6FD2FAA6CE}"/>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Rectangle 1590">
                    <a:extLst>
                      <a:ext uri="{FF2B5EF4-FFF2-40B4-BE49-F238E27FC236}">
                        <a16:creationId xmlns:a16="http://schemas.microsoft.com/office/drawing/2014/main" id="{D9147DB1-38ED-402D-9211-821A252C5E1C}"/>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8" name="Freeform 1591">
                    <a:extLst>
                      <a:ext uri="{FF2B5EF4-FFF2-40B4-BE49-F238E27FC236}">
                        <a16:creationId xmlns:a16="http://schemas.microsoft.com/office/drawing/2014/main" id="{7DB3C441-9633-4B8F-BB72-F116B61E5E01}"/>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Freeform 1592">
                    <a:extLst>
                      <a:ext uri="{FF2B5EF4-FFF2-40B4-BE49-F238E27FC236}">
                        <a16:creationId xmlns:a16="http://schemas.microsoft.com/office/drawing/2014/main" id="{05BC030C-DE2B-44CA-A36B-40B8460CA415}"/>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20" name="Freeform 1593">
                    <a:extLst>
                      <a:ext uri="{FF2B5EF4-FFF2-40B4-BE49-F238E27FC236}">
                        <a16:creationId xmlns:a16="http://schemas.microsoft.com/office/drawing/2014/main" id="{5F8E574F-A395-4515-93A0-85FC183285A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Freeform 1596">
                    <a:extLst>
                      <a:ext uri="{FF2B5EF4-FFF2-40B4-BE49-F238E27FC236}">
                        <a16:creationId xmlns:a16="http://schemas.microsoft.com/office/drawing/2014/main" id="{724BE479-F3CC-4D83-99F2-8C8213FE3F45}"/>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50" name="Group 2249">
                <a:extLst>
                  <a:ext uri="{FF2B5EF4-FFF2-40B4-BE49-F238E27FC236}">
                    <a16:creationId xmlns:a16="http://schemas.microsoft.com/office/drawing/2014/main" id="{D70A11B7-6F64-47DA-8A7A-4040F6B9646E}"/>
                  </a:ext>
                </a:extLst>
              </p:cNvPr>
              <p:cNvGrpSpPr/>
              <p:nvPr/>
            </p:nvGrpSpPr>
            <p:grpSpPr>
              <a:xfrm>
                <a:off x="7508988" y="1995190"/>
                <a:ext cx="2049581" cy="1005869"/>
                <a:chOff x="8356478" y="3790294"/>
                <a:chExt cx="3013725" cy="1479041"/>
              </a:xfrm>
            </p:grpSpPr>
            <p:sp>
              <p:nvSpPr>
                <p:cNvPr id="2251" name="Rectangle 2250">
                  <a:extLst>
                    <a:ext uri="{FF2B5EF4-FFF2-40B4-BE49-F238E27FC236}">
                      <a16:creationId xmlns:a16="http://schemas.microsoft.com/office/drawing/2014/main" id="{3ED95D22-5E94-4761-94DD-A54B165BACF5}"/>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252" name="Rectangle 2251">
                  <a:extLst>
                    <a:ext uri="{FF2B5EF4-FFF2-40B4-BE49-F238E27FC236}">
                      <a16:creationId xmlns:a16="http://schemas.microsoft.com/office/drawing/2014/main" id="{EED4F708-8071-4275-9E31-8505C7FD8A44}"/>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253" name="Straight Arrow Connector 2252">
                  <a:extLst>
                    <a:ext uri="{FF2B5EF4-FFF2-40B4-BE49-F238E27FC236}">
                      <a16:creationId xmlns:a16="http://schemas.microsoft.com/office/drawing/2014/main" id="{2AA744CC-9F4A-455B-9006-7EEAC9DB6BCB}"/>
                    </a:ext>
                  </a:extLst>
                </p:cNvPr>
                <p:cNvCxnSpPr>
                  <a:cxnSpLocks/>
                  <a:stCxn id="2251"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54" name="Group 2253">
                <a:extLst>
                  <a:ext uri="{FF2B5EF4-FFF2-40B4-BE49-F238E27FC236}">
                    <a16:creationId xmlns:a16="http://schemas.microsoft.com/office/drawing/2014/main" id="{963BF23F-F68D-4BE6-8CA5-B08509740B15}"/>
                  </a:ext>
                </a:extLst>
              </p:cNvPr>
              <p:cNvGrpSpPr/>
              <p:nvPr/>
            </p:nvGrpSpPr>
            <p:grpSpPr>
              <a:xfrm>
                <a:off x="8556157" y="1876097"/>
                <a:ext cx="1088511" cy="894403"/>
                <a:chOff x="10800033" y="2297897"/>
                <a:chExt cx="1600558" cy="1315140"/>
              </a:xfrm>
            </p:grpSpPr>
            <p:grpSp>
              <p:nvGrpSpPr>
                <p:cNvPr id="2255" name="Group 2254">
                  <a:extLst>
                    <a:ext uri="{FF2B5EF4-FFF2-40B4-BE49-F238E27FC236}">
                      <a16:creationId xmlns:a16="http://schemas.microsoft.com/office/drawing/2014/main" id="{C8C784BB-19F1-406E-B59C-36FB6E7F259A}"/>
                    </a:ext>
                  </a:extLst>
                </p:cNvPr>
                <p:cNvGrpSpPr>
                  <a:grpSpLocks/>
                </p:cNvGrpSpPr>
                <p:nvPr/>
              </p:nvGrpSpPr>
              <p:grpSpPr>
                <a:xfrm>
                  <a:off x="10800033" y="2339037"/>
                  <a:ext cx="613092" cy="613092"/>
                  <a:chOff x="745985" y="4768134"/>
                  <a:chExt cx="368776" cy="368777"/>
                </a:xfrm>
              </p:grpSpPr>
              <p:grpSp>
                <p:nvGrpSpPr>
                  <p:cNvPr id="2319" name="Group 64">
                    <a:extLst>
                      <a:ext uri="{FF2B5EF4-FFF2-40B4-BE49-F238E27FC236}">
                        <a16:creationId xmlns:a16="http://schemas.microsoft.com/office/drawing/2014/main" id="{28586376-98DE-4204-92A9-3C759DF31E19}"/>
                      </a:ext>
                    </a:extLst>
                  </p:cNvPr>
                  <p:cNvGrpSpPr>
                    <a:grpSpLocks noChangeAspect="1"/>
                  </p:cNvGrpSpPr>
                  <p:nvPr/>
                </p:nvGrpSpPr>
                <p:grpSpPr bwMode="auto">
                  <a:xfrm rot="8100000">
                    <a:off x="745985" y="4768134"/>
                    <a:ext cx="368776" cy="368777"/>
                    <a:chOff x="701" y="2170"/>
                    <a:chExt cx="587" cy="587"/>
                  </a:xfrm>
                </p:grpSpPr>
                <p:sp>
                  <p:nvSpPr>
                    <p:cNvPr id="2330" name="Oval 65">
                      <a:extLst>
                        <a:ext uri="{FF2B5EF4-FFF2-40B4-BE49-F238E27FC236}">
                          <a16:creationId xmlns:a16="http://schemas.microsoft.com/office/drawing/2014/main" id="{286BE6FE-9FBA-4C95-BBE8-74EF00253D7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1" name="Line 66">
                      <a:extLst>
                        <a:ext uri="{FF2B5EF4-FFF2-40B4-BE49-F238E27FC236}">
                          <a16:creationId xmlns:a16="http://schemas.microsoft.com/office/drawing/2014/main" id="{FDA59EFF-5D40-49A4-9ED1-4CFCE8B73F7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Line 67">
                      <a:extLst>
                        <a:ext uri="{FF2B5EF4-FFF2-40B4-BE49-F238E27FC236}">
                          <a16:creationId xmlns:a16="http://schemas.microsoft.com/office/drawing/2014/main" id="{60FB569F-8A3D-4DA4-BB3D-6AC5EB8E64A4}"/>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69">
                      <a:extLst>
                        <a:ext uri="{FF2B5EF4-FFF2-40B4-BE49-F238E27FC236}">
                          <a16:creationId xmlns:a16="http://schemas.microsoft.com/office/drawing/2014/main" id="{85A77D11-EA84-4456-B02C-854AEE672F5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Line 74">
                      <a:extLst>
                        <a:ext uri="{FF2B5EF4-FFF2-40B4-BE49-F238E27FC236}">
                          <a16:creationId xmlns:a16="http://schemas.microsoft.com/office/drawing/2014/main" id="{7DD60C16-9C83-4FFD-9696-C1692E8AE99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78">
                      <a:extLst>
                        <a:ext uri="{FF2B5EF4-FFF2-40B4-BE49-F238E27FC236}">
                          <a16:creationId xmlns:a16="http://schemas.microsoft.com/office/drawing/2014/main" id="{D58AF235-6886-4EE5-8E1E-DD472C984A46}"/>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80">
                      <a:extLst>
                        <a:ext uri="{FF2B5EF4-FFF2-40B4-BE49-F238E27FC236}">
                          <a16:creationId xmlns:a16="http://schemas.microsoft.com/office/drawing/2014/main" id="{62009741-4586-4C75-A8B6-9A7F152F5F4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20" name="Group 2319">
                    <a:extLst>
                      <a:ext uri="{FF2B5EF4-FFF2-40B4-BE49-F238E27FC236}">
                        <a16:creationId xmlns:a16="http://schemas.microsoft.com/office/drawing/2014/main" id="{A72F4352-F5AE-4A8D-A9DB-718879387E83}"/>
                      </a:ext>
                    </a:extLst>
                  </p:cNvPr>
                  <p:cNvGrpSpPr/>
                  <p:nvPr/>
                </p:nvGrpSpPr>
                <p:grpSpPr>
                  <a:xfrm>
                    <a:off x="837312" y="4814434"/>
                    <a:ext cx="136805" cy="278689"/>
                    <a:chOff x="2806700" y="2803319"/>
                    <a:chExt cx="433387" cy="882861"/>
                  </a:xfrm>
                </p:grpSpPr>
                <p:grpSp>
                  <p:nvGrpSpPr>
                    <p:cNvPr id="2321" name="Group 2320">
                      <a:extLst>
                        <a:ext uri="{FF2B5EF4-FFF2-40B4-BE49-F238E27FC236}">
                          <a16:creationId xmlns:a16="http://schemas.microsoft.com/office/drawing/2014/main" id="{8226CFC8-1121-4F85-B51B-ED7288DE0663}"/>
                        </a:ext>
                      </a:extLst>
                    </p:cNvPr>
                    <p:cNvGrpSpPr>
                      <a:grpSpLocks noChangeAspect="1"/>
                    </p:cNvGrpSpPr>
                    <p:nvPr/>
                  </p:nvGrpSpPr>
                  <p:grpSpPr bwMode="auto">
                    <a:xfrm>
                      <a:off x="2806700" y="3043242"/>
                      <a:ext cx="433387" cy="642938"/>
                      <a:chOff x="1768" y="1917"/>
                      <a:chExt cx="273" cy="405"/>
                    </a:xfrm>
                  </p:grpSpPr>
                  <p:sp>
                    <p:nvSpPr>
                      <p:cNvPr id="2323" name="Freeform 52">
                        <a:extLst>
                          <a:ext uri="{FF2B5EF4-FFF2-40B4-BE49-F238E27FC236}">
                            <a16:creationId xmlns:a16="http://schemas.microsoft.com/office/drawing/2014/main" id="{8F916E64-9176-45EF-B6BD-542BB871AA28}"/>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4" name="Line 54">
                        <a:extLst>
                          <a:ext uri="{FF2B5EF4-FFF2-40B4-BE49-F238E27FC236}">
                            <a16:creationId xmlns:a16="http://schemas.microsoft.com/office/drawing/2014/main" id="{F32349BC-E762-4775-A2C4-2FED49E03842}"/>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5" name="Line 55">
                        <a:extLst>
                          <a:ext uri="{FF2B5EF4-FFF2-40B4-BE49-F238E27FC236}">
                            <a16:creationId xmlns:a16="http://schemas.microsoft.com/office/drawing/2014/main" id="{ECDE6D1F-2512-4CE7-8B21-305CCE6898E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6" name="Freeform 56">
                        <a:extLst>
                          <a:ext uri="{FF2B5EF4-FFF2-40B4-BE49-F238E27FC236}">
                            <a16:creationId xmlns:a16="http://schemas.microsoft.com/office/drawing/2014/main" id="{4B93A918-E18A-41AB-B94E-1728F138E0BA}"/>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57">
                        <a:extLst>
                          <a:ext uri="{FF2B5EF4-FFF2-40B4-BE49-F238E27FC236}">
                            <a16:creationId xmlns:a16="http://schemas.microsoft.com/office/drawing/2014/main" id="{C814B30C-1691-49DC-A7D1-74881FA9CC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58">
                        <a:extLst>
                          <a:ext uri="{FF2B5EF4-FFF2-40B4-BE49-F238E27FC236}">
                            <a16:creationId xmlns:a16="http://schemas.microsoft.com/office/drawing/2014/main" id="{0C9E511B-A7E9-4088-882B-8904E92B7C8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Rectangle 2328">
                        <a:extLst>
                          <a:ext uri="{FF2B5EF4-FFF2-40B4-BE49-F238E27FC236}">
                            <a16:creationId xmlns:a16="http://schemas.microsoft.com/office/drawing/2014/main" id="{0D382042-197D-49FF-AB83-A1DA3315DA0F}"/>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22" name="Oval 2321">
                      <a:extLst>
                        <a:ext uri="{FF2B5EF4-FFF2-40B4-BE49-F238E27FC236}">
                          <a16:creationId xmlns:a16="http://schemas.microsoft.com/office/drawing/2014/main" id="{88AD37F8-65CD-4867-AF7F-5DCEBDAC6D2D}"/>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56" name="Group 2255">
                  <a:extLst>
                    <a:ext uri="{FF2B5EF4-FFF2-40B4-BE49-F238E27FC236}">
                      <a16:creationId xmlns:a16="http://schemas.microsoft.com/office/drawing/2014/main" id="{B310D40B-2040-47A0-A781-C7B19F426D3E}"/>
                    </a:ext>
                  </a:extLst>
                </p:cNvPr>
                <p:cNvGrpSpPr>
                  <a:grpSpLocks/>
                </p:cNvGrpSpPr>
                <p:nvPr/>
              </p:nvGrpSpPr>
              <p:grpSpPr>
                <a:xfrm>
                  <a:off x="11166615" y="2825631"/>
                  <a:ext cx="787402" cy="787406"/>
                  <a:chOff x="1454941" y="4721722"/>
                  <a:chExt cx="473625" cy="473627"/>
                </a:xfrm>
              </p:grpSpPr>
              <p:grpSp>
                <p:nvGrpSpPr>
                  <p:cNvPr id="2280" name="Group 64">
                    <a:extLst>
                      <a:ext uri="{FF2B5EF4-FFF2-40B4-BE49-F238E27FC236}">
                        <a16:creationId xmlns:a16="http://schemas.microsoft.com/office/drawing/2014/main" id="{44165CC7-83EE-4033-B931-B535DCA7D595}"/>
                      </a:ext>
                    </a:extLst>
                  </p:cNvPr>
                  <p:cNvGrpSpPr>
                    <a:grpSpLocks noChangeAspect="1"/>
                  </p:cNvGrpSpPr>
                  <p:nvPr/>
                </p:nvGrpSpPr>
                <p:grpSpPr bwMode="auto">
                  <a:xfrm rot="8100000">
                    <a:off x="1454941" y="4721722"/>
                    <a:ext cx="473625" cy="473627"/>
                    <a:chOff x="701" y="2170"/>
                    <a:chExt cx="587" cy="587"/>
                  </a:xfrm>
                </p:grpSpPr>
                <p:sp>
                  <p:nvSpPr>
                    <p:cNvPr id="2312" name="Oval 65">
                      <a:extLst>
                        <a:ext uri="{FF2B5EF4-FFF2-40B4-BE49-F238E27FC236}">
                          <a16:creationId xmlns:a16="http://schemas.microsoft.com/office/drawing/2014/main" id="{AC6CEA27-6C62-43E7-A9BE-CEFEB056B58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3" name="Line 66">
                      <a:extLst>
                        <a:ext uri="{FF2B5EF4-FFF2-40B4-BE49-F238E27FC236}">
                          <a16:creationId xmlns:a16="http://schemas.microsoft.com/office/drawing/2014/main" id="{A7E90AC8-5A63-46C2-952A-0C80F8D6550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7">
                      <a:extLst>
                        <a:ext uri="{FF2B5EF4-FFF2-40B4-BE49-F238E27FC236}">
                          <a16:creationId xmlns:a16="http://schemas.microsoft.com/office/drawing/2014/main" id="{2F3CB1E3-A4C6-4ED6-8D8B-74D9DE25D43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69">
                      <a:extLst>
                        <a:ext uri="{FF2B5EF4-FFF2-40B4-BE49-F238E27FC236}">
                          <a16:creationId xmlns:a16="http://schemas.microsoft.com/office/drawing/2014/main" id="{B6689590-AA68-408D-A328-BEDB4AC98D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Line 74">
                      <a:extLst>
                        <a:ext uri="{FF2B5EF4-FFF2-40B4-BE49-F238E27FC236}">
                          <a16:creationId xmlns:a16="http://schemas.microsoft.com/office/drawing/2014/main" id="{92CFBBEB-06C6-462E-9492-A2CB23D7A0B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78">
                      <a:extLst>
                        <a:ext uri="{FF2B5EF4-FFF2-40B4-BE49-F238E27FC236}">
                          <a16:creationId xmlns:a16="http://schemas.microsoft.com/office/drawing/2014/main" id="{C7CCC532-5538-475F-ADA6-B6D75D71209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8" name="Freeform 80">
                      <a:extLst>
                        <a:ext uri="{FF2B5EF4-FFF2-40B4-BE49-F238E27FC236}">
                          <a16:creationId xmlns:a16="http://schemas.microsoft.com/office/drawing/2014/main" id="{5E1F4A4B-A6AC-4DF5-ACA4-8081C09BC651}"/>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81" name="Group 2280">
                    <a:extLst>
                      <a:ext uri="{FF2B5EF4-FFF2-40B4-BE49-F238E27FC236}">
                        <a16:creationId xmlns:a16="http://schemas.microsoft.com/office/drawing/2014/main" id="{5759AB8D-CB6E-4B7D-B2D7-DCB0BA1A9B5E}"/>
                      </a:ext>
                    </a:extLst>
                  </p:cNvPr>
                  <p:cNvGrpSpPr/>
                  <p:nvPr/>
                </p:nvGrpSpPr>
                <p:grpSpPr>
                  <a:xfrm>
                    <a:off x="1511214" y="4789508"/>
                    <a:ext cx="356509" cy="349884"/>
                    <a:chOff x="468738" y="2241878"/>
                    <a:chExt cx="1655483" cy="1624719"/>
                  </a:xfrm>
                </p:grpSpPr>
                <p:sp>
                  <p:nvSpPr>
                    <p:cNvPr id="2282" name="Freeform 5">
                      <a:extLst>
                        <a:ext uri="{FF2B5EF4-FFF2-40B4-BE49-F238E27FC236}">
                          <a16:creationId xmlns:a16="http://schemas.microsoft.com/office/drawing/2014/main" id="{951560DE-6EE5-49BC-8309-BCBFB2520EDE}"/>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3" name="Freeform 6">
                      <a:extLst>
                        <a:ext uri="{FF2B5EF4-FFF2-40B4-BE49-F238E27FC236}">
                          <a16:creationId xmlns:a16="http://schemas.microsoft.com/office/drawing/2014/main" id="{C8A60117-4A28-42E3-9277-E9B5BEB4C47C}"/>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4" name="Line 7">
                      <a:extLst>
                        <a:ext uri="{FF2B5EF4-FFF2-40B4-BE49-F238E27FC236}">
                          <a16:creationId xmlns:a16="http://schemas.microsoft.com/office/drawing/2014/main" id="{A513A69F-1DAB-474C-9D79-602D69B7938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5" name="Freeform 8">
                      <a:extLst>
                        <a:ext uri="{FF2B5EF4-FFF2-40B4-BE49-F238E27FC236}">
                          <a16:creationId xmlns:a16="http://schemas.microsoft.com/office/drawing/2014/main" id="{2894406B-3D41-4130-BD4C-7FA8ADD3C530}"/>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9">
                      <a:extLst>
                        <a:ext uri="{FF2B5EF4-FFF2-40B4-BE49-F238E27FC236}">
                          <a16:creationId xmlns:a16="http://schemas.microsoft.com/office/drawing/2014/main" id="{4983E88B-02D0-443D-A8E4-109B266442A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87" name="Group 2286">
                      <a:extLst>
                        <a:ext uri="{FF2B5EF4-FFF2-40B4-BE49-F238E27FC236}">
                          <a16:creationId xmlns:a16="http://schemas.microsoft.com/office/drawing/2014/main" id="{54BC51B2-8E56-47FC-85F4-E996BDBFE4CA}"/>
                        </a:ext>
                      </a:extLst>
                    </p:cNvPr>
                    <p:cNvGrpSpPr/>
                    <p:nvPr/>
                  </p:nvGrpSpPr>
                  <p:grpSpPr>
                    <a:xfrm>
                      <a:off x="1207113" y="2241878"/>
                      <a:ext cx="178734" cy="348678"/>
                      <a:chOff x="1207113" y="2241878"/>
                      <a:chExt cx="178734" cy="348678"/>
                    </a:xfrm>
                  </p:grpSpPr>
                  <p:sp>
                    <p:nvSpPr>
                      <p:cNvPr id="2310" name="Freeform 10">
                        <a:extLst>
                          <a:ext uri="{FF2B5EF4-FFF2-40B4-BE49-F238E27FC236}">
                            <a16:creationId xmlns:a16="http://schemas.microsoft.com/office/drawing/2014/main" id="{6C2989C1-8072-4F03-A61E-43B91E9D549F}"/>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1" name="Line 11">
                        <a:extLst>
                          <a:ext uri="{FF2B5EF4-FFF2-40B4-BE49-F238E27FC236}">
                            <a16:creationId xmlns:a16="http://schemas.microsoft.com/office/drawing/2014/main" id="{0301896B-7DBD-415E-ADE2-3A87AE6A8C4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88" name="Freeform 12">
                      <a:extLst>
                        <a:ext uri="{FF2B5EF4-FFF2-40B4-BE49-F238E27FC236}">
                          <a16:creationId xmlns:a16="http://schemas.microsoft.com/office/drawing/2014/main" id="{0EC32524-89B0-4DEB-BD97-B96C42D7F6C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Line 13">
                      <a:extLst>
                        <a:ext uri="{FF2B5EF4-FFF2-40B4-BE49-F238E27FC236}">
                          <a16:creationId xmlns:a16="http://schemas.microsoft.com/office/drawing/2014/main" id="{73F7FBEC-CB36-4691-A985-43E561464932}"/>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14">
                      <a:extLst>
                        <a:ext uri="{FF2B5EF4-FFF2-40B4-BE49-F238E27FC236}">
                          <a16:creationId xmlns:a16="http://schemas.microsoft.com/office/drawing/2014/main" id="{58E0825E-0424-40B4-AB08-AC62A9844FF8}"/>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1" name="Line 15">
                      <a:extLst>
                        <a:ext uri="{FF2B5EF4-FFF2-40B4-BE49-F238E27FC236}">
                          <a16:creationId xmlns:a16="http://schemas.microsoft.com/office/drawing/2014/main" id="{C2C69BCE-F279-4966-8F4A-2DD1ADDA579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2" name="Freeform 16">
                      <a:extLst>
                        <a:ext uri="{FF2B5EF4-FFF2-40B4-BE49-F238E27FC236}">
                          <a16:creationId xmlns:a16="http://schemas.microsoft.com/office/drawing/2014/main" id="{6E789726-F51E-4926-BFEC-F979E358871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3" name="Line 17">
                      <a:extLst>
                        <a:ext uri="{FF2B5EF4-FFF2-40B4-BE49-F238E27FC236}">
                          <a16:creationId xmlns:a16="http://schemas.microsoft.com/office/drawing/2014/main" id="{D47BFB8E-F127-4215-881F-2EAC3FD1A3D6}"/>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4" name="Freeform 18">
                      <a:extLst>
                        <a:ext uri="{FF2B5EF4-FFF2-40B4-BE49-F238E27FC236}">
                          <a16:creationId xmlns:a16="http://schemas.microsoft.com/office/drawing/2014/main" id="{246B6867-150F-4628-905D-EA7A93B1AE1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5" name="Line 19">
                      <a:extLst>
                        <a:ext uri="{FF2B5EF4-FFF2-40B4-BE49-F238E27FC236}">
                          <a16:creationId xmlns:a16="http://schemas.microsoft.com/office/drawing/2014/main" id="{796D3A11-69AD-4D1E-8E23-1B67194C2A8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6" name="Freeform 35">
                      <a:extLst>
                        <a:ext uri="{FF2B5EF4-FFF2-40B4-BE49-F238E27FC236}">
                          <a16:creationId xmlns:a16="http://schemas.microsoft.com/office/drawing/2014/main" id="{57D76E0E-0C9F-486F-9AB6-F21B4CAEF5E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7" name="Freeform 36">
                      <a:extLst>
                        <a:ext uri="{FF2B5EF4-FFF2-40B4-BE49-F238E27FC236}">
                          <a16:creationId xmlns:a16="http://schemas.microsoft.com/office/drawing/2014/main" id="{2FF9A1E2-286D-4FA2-A459-EA349B9B9DAF}"/>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8" name="Freeform 37">
                      <a:extLst>
                        <a:ext uri="{FF2B5EF4-FFF2-40B4-BE49-F238E27FC236}">
                          <a16:creationId xmlns:a16="http://schemas.microsoft.com/office/drawing/2014/main" id="{AD5AC173-D913-4236-AFE8-FB2185560EE2}"/>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8">
                      <a:extLst>
                        <a:ext uri="{FF2B5EF4-FFF2-40B4-BE49-F238E27FC236}">
                          <a16:creationId xmlns:a16="http://schemas.microsoft.com/office/drawing/2014/main" id="{4EF0C878-6C78-4A40-8BF3-09CD74FE827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9">
                      <a:extLst>
                        <a:ext uri="{FF2B5EF4-FFF2-40B4-BE49-F238E27FC236}">
                          <a16:creationId xmlns:a16="http://schemas.microsoft.com/office/drawing/2014/main" id="{425A2A43-590B-4467-BBB2-3D4ADD82E0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40">
                      <a:extLst>
                        <a:ext uri="{FF2B5EF4-FFF2-40B4-BE49-F238E27FC236}">
                          <a16:creationId xmlns:a16="http://schemas.microsoft.com/office/drawing/2014/main" id="{1EADE06F-C13E-460C-8520-800624459926}"/>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41">
                      <a:extLst>
                        <a:ext uri="{FF2B5EF4-FFF2-40B4-BE49-F238E27FC236}">
                          <a16:creationId xmlns:a16="http://schemas.microsoft.com/office/drawing/2014/main" id="{AF4EDC2D-16F1-4F8F-8C09-FA664401471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3" name="Line 42">
                      <a:extLst>
                        <a:ext uri="{FF2B5EF4-FFF2-40B4-BE49-F238E27FC236}">
                          <a16:creationId xmlns:a16="http://schemas.microsoft.com/office/drawing/2014/main" id="{85EA9BCD-6BDF-4635-BD6D-4EF5F18FFB8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43">
                      <a:extLst>
                        <a:ext uri="{FF2B5EF4-FFF2-40B4-BE49-F238E27FC236}">
                          <a16:creationId xmlns:a16="http://schemas.microsoft.com/office/drawing/2014/main" id="{C38D20FD-BD40-485F-B654-3CCFD71FFAC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44">
                      <a:extLst>
                        <a:ext uri="{FF2B5EF4-FFF2-40B4-BE49-F238E27FC236}">
                          <a16:creationId xmlns:a16="http://schemas.microsoft.com/office/drawing/2014/main" id="{3A52AB7B-E857-4C55-BE93-1AD49193949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45">
                      <a:extLst>
                        <a:ext uri="{FF2B5EF4-FFF2-40B4-BE49-F238E27FC236}">
                          <a16:creationId xmlns:a16="http://schemas.microsoft.com/office/drawing/2014/main" id="{34F50FA1-A883-405B-A52C-A75782AFF624}"/>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07" name="Group 2306">
                      <a:extLst>
                        <a:ext uri="{FF2B5EF4-FFF2-40B4-BE49-F238E27FC236}">
                          <a16:creationId xmlns:a16="http://schemas.microsoft.com/office/drawing/2014/main" id="{B1A9EBE2-6A5F-4B6C-96DC-E627DCECAA7D}"/>
                        </a:ext>
                      </a:extLst>
                    </p:cNvPr>
                    <p:cNvGrpSpPr/>
                    <p:nvPr/>
                  </p:nvGrpSpPr>
                  <p:grpSpPr>
                    <a:xfrm flipV="1">
                      <a:off x="1202047" y="3517919"/>
                      <a:ext cx="178734" cy="348678"/>
                      <a:chOff x="1207113" y="2241878"/>
                      <a:chExt cx="178734" cy="348678"/>
                    </a:xfrm>
                  </p:grpSpPr>
                  <p:sp>
                    <p:nvSpPr>
                      <p:cNvPr id="2308" name="Freeform 10">
                        <a:extLst>
                          <a:ext uri="{FF2B5EF4-FFF2-40B4-BE49-F238E27FC236}">
                            <a16:creationId xmlns:a16="http://schemas.microsoft.com/office/drawing/2014/main" id="{F8AF0355-F600-4EF6-925F-1B282A05D59C}"/>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9" name="Line 11">
                        <a:extLst>
                          <a:ext uri="{FF2B5EF4-FFF2-40B4-BE49-F238E27FC236}">
                            <a16:creationId xmlns:a16="http://schemas.microsoft.com/office/drawing/2014/main" id="{1943D528-BC61-435A-BCCF-F220FBB4ABA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57" name="Group 2256">
                  <a:extLst>
                    <a:ext uri="{FF2B5EF4-FFF2-40B4-BE49-F238E27FC236}">
                      <a16:creationId xmlns:a16="http://schemas.microsoft.com/office/drawing/2014/main" id="{8C6B2209-8961-4089-BCEC-4C63B52CC961}"/>
                    </a:ext>
                  </a:extLst>
                </p:cNvPr>
                <p:cNvGrpSpPr>
                  <a:grpSpLocks/>
                </p:cNvGrpSpPr>
                <p:nvPr/>
              </p:nvGrpSpPr>
              <p:grpSpPr>
                <a:xfrm>
                  <a:off x="11709639" y="2297897"/>
                  <a:ext cx="690952" cy="690956"/>
                  <a:chOff x="2268747" y="4723725"/>
                  <a:chExt cx="415610" cy="415612"/>
                </a:xfrm>
              </p:grpSpPr>
              <p:grpSp>
                <p:nvGrpSpPr>
                  <p:cNvPr id="2258" name="Group 64">
                    <a:extLst>
                      <a:ext uri="{FF2B5EF4-FFF2-40B4-BE49-F238E27FC236}">
                        <a16:creationId xmlns:a16="http://schemas.microsoft.com/office/drawing/2014/main" id="{867FAEE0-2D04-4E3C-AE38-C9592A0000FD}"/>
                      </a:ext>
                    </a:extLst>
                  </p:cNvPr>
                  <p:cNvGrpSpPr>
                    <a:grpSpLocks noChangeAspect="1"/>
                  </p:cNvGrpSpPr>
                  <p:nvPr/>
                </p:nvGrpSpPr>
                <p:grpSpPr bwMode="auto">
                  <a:xfrm rot="8100000">
                    <a:off x="2268747" y="4723725"/>
                    <a:ext cx="415610" cy="415612"/>
                    <a:chOff x="701" y="2170"/>
                    <a:chExt cx="587" cy="587"/>
                  </a:xfrm>
                </p:grpSpPr>
                <p:sp>
                  <p:nvSpPr>
                    <p:cNvPr id="2273" name="Oval 65">
                      <a:extLst>
                        <a:ext uri="{FF2B5EF4-FFF2-40B4-BE49-F238E27FC236}">
                          <a16:creationId xmlns:a16="http://schemas.microsoft.com/office/drawing/2014/main" id="{2D30A910-537A-44BD-8D3C-B2531C63D10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Line 66">
                      <a:extLst>
                        <a:ext uri="{FF2B5EF4-FFF2-40B4-BE49-F238E27FC236}">
                          <a16:creationId xmlns:a16="http://schemas.microsoft.com/office/drawing/2014/main" id="{A3FB047A-6916-4966-8E37-F240AD19858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67">
                      <a:extLst>
                        <a:ext uri="{FF2B5EF4-FFF2-40B4-BE49-F238E27FC236}">
                          <a16:creationId xmlns:a16="http://schemas.microsoft.com/office/drawing/2014/main" id="{C545B188-8835-4CBB-8F48-99A3CA90A3D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Line 69">
                      <a:extLst>
                        <a:ext uri="{FF2B5EF4-FFF2-40B4-BE49-F238E27FC236}">
                          <a16:creationId xmlns:a16="http://schemas.microsoft.com/office/drawing/2014/main" id="{52769506-D07D-408B-ACCF-3272D7D8C96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Line 74">
                      <a:extLst>
                        <a:ext uri="{FF2B5EF4-FFF2-40B4-BE49-F238E27FC236}">
                          <a16:creationId xmlns:a16="http://schemas.microsoft.com/office/drawing/2014/main" id="{54E708BD-39A2-4099-B662-7D5020D598C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78">
                      <a:extLst>
                        <a:ext uri="{FF2B5EF4-FFF2-40B4-BE49-F238E27FC236}">
                          <a16:creationId xmlns:a16="http://schemas.microsoft.com/office/drawing/2014/main" id="{2CDE9587-AEC6-4A14-9D23-A609DD1063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9" name="Freeform 80">
                      <a:extLst>
                        <a:ext uri="{FF2B5EF4-FFF2-40B4-BE49-F238E27FC236}">
                          <a16:creationId xmlns:a16="http://schemas.microsoft.com/office/drawing/2014/main" id="{DB301EE2-DFB4-4909-8F90-436561CC40D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9" name="Group 2258">
                    <a:extLst>
                      <a:ext uri="{FF2B5EF4-FFF2-40B4-BE49-F238E27FC236}">
                        <a16:creationId xmlns:a16="http://schemas.microsoft.com/office/drawing/2014/main" id="{242CEC30-89C0-4D6A-A16D-951F24084E42}"/>
                      </a:ext>
                    </a:extLst>
                  </p:cNvPr>
                  <p:cNvGrpSpPr/>
                  <p:nvPr/>
                </p:nvGrpSpPr>
                <p:grpSpPr>
                  <a:xfrm>
                    <a:off x="2318076" y="4830163"/>
                    <a:ext cx="313949" cy="233075"/>
                    <a:chOff x="3707533" y="2731244"/>
                    <a:chExt cx="389644" cy="289271"/>
                  </a:xfrm>
                </p:grpSpPr>
                <p:sp>
                  <p:nvSpPr>
                    <p:cNvPr id="2260" name="Freeform 33">
                      <a:extLst>
                        <a:ext uri="{FF2B5EF4-FFF2-40B4-BE49-F238E27FC236}">
                          <a16:creationId xmlns:a16="http://schemas.microsoft.com/office/drawing/2014/main" id="{59784E4B-68D3-42AF-B089-C1F1BDF9EEE4}"/>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1" name="Freeform 34">
                      <a:extLst>
                        <a:ext uri="{FF2B5EF4-FFF2-40B4-BE49-F238E27FC236}">
                          <a16:creationId xmlns:a16="http://schemas.microsoft.com/office/drawing/2014/main" id="{C2C6D420-A586-49AC-B57F-8DE6886C1E0D}"/>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37">
                      <a:extLst>
                        <a:ext uri="{FF2B5EF4-FFF2-40B4-BE49-F238E27FC236}">
                          <a16:creationId xmlns:a16="http://schemas.microsoft.com/office/drawing/2014/main" id="{A9210B00-A6F1-4F07-98B9-9931A4177B0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3" name="Freeform 38">
                      <a:extLst>
                        <a:ext uri="{FF2B5EF4-FFF2-40B4-BE49-F238E27FC236}">
                          <a16:creationId xmlns:a16="http://schemas.microsoft.com/office/drawing/2014/main" id="{D1E78EBA-035E-4FFC-A183-6A904EF5668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32">
                      <a:extLst>
                        <a:ext uri="{FF2B5EF4-FFF2-40B4-BE49-F238E27FC236}">
                          <a16:creationId xmlns:a16="http://schemas.microsoft.com/office/drawing/2014/main" id="{D60C9B6A-A919-4748-BC27-A46A1F5053E3}"/>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5" name="Freeform 35">
                      <a:extLst>
                        <a:ext uri="{FF2B5EF4-FFF2-40B4-BE49-F238E27FC236}">
                          <a16:creationId xmlns:a16="http://schemas.microsoft.com/office/drawing/2014/main" id="{9059E0AB-2383-4C75-A025-9E690335644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36">
                      <a:extLst>
                        <a:ext uri="{FF2B5EF4-FFF2-40B4-BE49-F238E27FC236}">
                          <a16:creationId xmlns:a16="http://schemas.microsoft.com/office/drawing/2014/main" id="{21366FDE-FD8F-4797-975D-08893A37E31A}"/>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7" name="Freeform 25">
                      <a:extLst>
                        <a:ext uri="{FF2B5EF4-FFF2-40B4-BE49-F238E27FC236}">
                          <a16:creationId xmlns:a16="http://schemas.microsoft.com/office/drawing/2014/main" id="{AECB81F4-CB9D-4D47-93EA-B4E073B580C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9">
                      <a:extLst>
                        <a:ext uri="{FF2B5EF4-FFF2-40B4-BE49-F238E27FC236}">
                          <a16:creationId xmlns:a16="http://schemas.microsoft.com/office/drawing/2014/main" id="{2E2DA5F3-8449-46DD-8F67-78CF4CFF952D}"/>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26">
                      <a:extLst>
                        <a:ext uri="{FF2B5EF4-FFF2-40B4-BE49-F238E27FC236}">
                          <a16:creationId xmlns:a16="http://schemas.microsoft.com/office/drawing/2014/main" id="{564F2F0C-C423-44E0-81F0-264D8E480D2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0" name="Rectangle 27">
                      <a:extLst>
                        <a:ext uri="{FF2B5EF4-FFF2-40B4-BE49-F238E27FC236}">
                          <a16:creationId xmlns:a16="http://schemas.microsoft.com/office/drawing/2014/main" id="{02C9AAC2-93ED-4623-9BDC-F5F9B73C59DE}"/>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1" name="Line 29">
                      <a:extLst>
                        <a:ext uri="{FF2B5EF4-FFF2-40B4-BE49-F238E27FC236}">
                          <a16:creationId xmlns:a16="http://schemas.microsoft.com/office/drawing/2014/main" id="{D2C6A72A-AB29-4D59-AB6D-C832C3D2C68A}"/>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2" name="Line 31">
                      <a:extLst>
                        <a:ext uri="{FF2B5EF4-FFF2-40B4-BE49-F238E27FC236}">
                          <a16:creationId xmlns:a16="http://schemas.microsoft.com/office/drawing/2014/main" id="{DD5CC3D3-3BB4-4134-B783-4C7E859A2518}"/>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16" name="Group 2815">
                <a:extLst>
                  <a:ext uri="{FF2B5EF4-FFF2-40B4-BE49-F238E27FC236}">
                    <a16:creationId xmlns:a16="http://schemas.microsoft.com/office/drawing/2014/main" id="{5B1B28BD-A612-42D7-A8A3-F8F1CE7C3B2F}"/>
                  </a:ext>
                </a:extLst>
              </p:cNvPr>
              <p:cNvGrpSpPr/>
              <p:nvPr/>
            </p:nvGrpSpPr>
            <p:grpSpPr>
              <a:xfrm>
                <a:off x="6802541" y="1842565"/>
                <a:ext cx="314357" cy="580832"/>
                <a:chOff x="6355981" y="199813"/>
                <a:chExt cx="314357" cy="580832"/>
              </a:xfrm>
            </p:grpSpPr>
            <p:pic>
              <p:nvPicPr>
                <p:cNvPr id="2817" name="Picture 2816">
                  <a:extLst>
                    <a:ext uri="{FF2B5EF4-FFF2-40B4-BE49-F238E27FC236}">
                      <a16:creationId xmlns:a16="http://schemas.microsoft.com/office/drawing/2014/main" id="{A106E996-A475-40B1-BD5E-C9C9B7915933}"/>
                    </a:ext>
                  </a:extLst>
                </p:cNvPr>
                <p:cNvPicPr>
                  <a:picLocks noChangeAspect="1"/>
                </p:cNvPicPr>
                <p:nvPr/>
              </p:nvPicPr>
              <p:blipFill>
                <a:blip r:embed="rId7"/>
                <a:stretch>
                  <a:fillRect/>
                </a:stretch>
              </p:blipFill>
              <p:spPr>
                <a:xfrm>
                  <a:off x="6355981" y="199813"/>
                  <a:ext cx="302738" cy="580832"/>
                </a:xfrm>
                <a:prstGeom prst="rect">
                  <a:avLst/>
                </a:prstGeom>
              </p:spPr>
            </p:pic>
            <p:sp>
              <p:nvSpPr>
                <p:cNvPr id="2818" name="Freeform 152">
                  <a:extLst>
                    <a:ext uri="{FF2B5EF4-FFF2-40B4-BE49-F238E27FC236}">
                      <a16:creationId xmlns:a16="http://schemas.microsoft.com/office/drawing/2014/main" id="{CB4974FC-A5CE-4B39-A5CF-6BC57603010B}"/>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819" name="Picture 2818">
            <a:extLst>
              <a:ext uri="{FF2B5EF4-FFF2-40B4-BE49-F238E27FC236}">
                <a16:creationId xmlns:a16="http://schemas.microsoft.com/office/drawing/2014/main" id="{6544E938-61F0-46D9-A75C-4BF3D3484FA3}"/>
              </a:ext>
            </a:extLst>
          </p:cNvPr>
          <p:cNvPicPr>
            <a:picLocks noChangeAspect="1"/>
          </p:cNvPicPr>
          <p:nvPr/>
        </p:nvPicPr>
        <p:blipFill>
          <a:blip r:embed="rId8"/>
          <a:stretch>
            <a:fillRect/>
          </a:stretch>
        </p:blipFill>
        <p:spPr>
          <a:xfrm rot="19800000">
            <a:off x="421100" y="4657564"/>
            <a:ext cx="884802" cy="447298"/>
          </a:xfrm>
          <a:prstGeom prst="rect">
            <a:avLst/>
          </a:prstGeom>
        </p:spPr>
      </p:pic>
      <p:graphicFrame>
        <p:nvGraphicFramePr>
          <p:cNvPr id="2820" name="Table 2819">
            <a:extLst>
              <a:ext uri="{FF2B5EF4-FFF2-40B4-BE49-F238E27FC236}">
                <a16:creationId xmlns:a16="http://schemas.microsoft.com/office/drawing/2014/main" id="{89A8A12C-D536-4549-8896-ACAF02458597}"/>
              </a:ext>
            </a:extLst>
          </p:cNvPr>
          <p:cNvGraphicFramePr>
            <a:graphicFrameLocks noGrp="1"/>
          </p:cNvGraphicFramePr>
          <p:nvPr/>
        </p:nvGraphicFramePr>
        <p:xfrm>
          <a:off x="723088" y="3207003"/>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821" name="Group 2820">
            <a:extLst>
              <a:ext uri="{FF2B5EF4-FFF2-40B4-BE49-F238E27FC236}">
                <a16:creationId xmlns:a16="http://schemas.microsoft.com/office/drawing/2014/main" id="{1A72D80C-EC97-4590-90E5-A0435476FCFE}"/>
              </a:ext>
            </a:extLst>
          </p:cNvPr>
          <p:cNvGrpSpPr/>
          <p:nvPr/>
        </p:nvGrpSpPr>
        <p:grpSpPr>
          <a:xfrm>
            <a:off x="766965" y="3483750"/>
            <a:ext cx="381241" cy="766727"/>
            <a:chOff x="765576" y="3316088"/>
            <a:chExt cx="381340" cy="766927"/>
          </a:xfrm>
        </p:grpSpPr>
        <p:pic>
          <p:nvPicPr>
            <p:cNvPr id="2822" name="Picture 2821">
              <a:extLst>
                <a:ext uri="{FF2B5EF4-FFF2-40B4-BE49-F238E27FC236}">
                  <a16:creationId xmlns:a16="http://schemas.microsoft.com/office/drawing/2014/main" id="{FE11C917-2E55-4F7D-A2A1-2EFAB11CDE0C}"/>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823" name="Picture 2822">
              <a:extLst>
                <a:ext uri="{FF2B5EF4-FFF2-40B4-BE49-F238E27FC236}">
                  <a16:creationId xmlns:a16="http://schemas.microsoft.com/office/drawing/2014/main" id="{17224878-9330-48F3-B403-329D12D003CF}"/>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824" name="Picture 2823">
              <a:extLst>
                <a:ext uri="{FF2B5EF4-FFF2-40B4-BE49-F238E27FC236}">
                  <a16:creationId xmlns:a16="http://schemas.microsoft.com/office/drawing/2014/main" id="{852FF2A2-2767-4AFF-951E-8472461D8D9B}"/>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825" name="Rectangle 2824">
            <a:extLst>
              <a:ext uri="{FF2B5EF4-FFF2-40B4-BE49-F238E27FC236}">
                <a16:creationId xmlns:a16="http://schemas.microsoft.com/office/drawing/2014/main" id="{5224E924-2468-41ED-95B1-F5004958C1BE}"/>
              </a:ext>
            </a:extLst>
          </p:cNvPr>
          <p:cNvSpPr>
            <a:spLocks/>
          </p:cNvSpPr>
          <p:nvPr/>
        </p:nvSpPr>
        <p:spPr bwMode="gray">
          <a:xfrm>
            <a:off x="392096" y="1689529"/>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5" name="Group 4">
            <a:extLst>
              <a:ext uri="{FF2B5EF4-FFF2-40B4-BE49-F238E27FC236}">
                <a16:creationId xmlns:a16="http://schemas.microsoft.com/office/drawing/2014/main" id="{5EEE3459-2DC7-42CE-BC3F-E8DC87CB15E6}"/>
              </a:ext>
            </a:extLst>
          </p:cNvPr>
          <p:cNvGrpSpPr/>
          <p:nvPr/>
        </p:nvGrpSpPr>
        <p:grpSpPr>
          <a:xfrm>
            <a:off x="3475092" y="1754090"/>
            <a:ext cx="3106888" cy="2174645"/>
            <a:chOff x="3474409" y="1753652"/>
            <a:chExt cx="3107697" cy="2175211"/>
          </a:xfrm>
        </p:grpSpPr>
        <p:sp>
          <p:nvSpPr>
            <p:cNvPr id="2191" name="Rectangle 2190">
              <a:extLst>
                <a:ext uri="{FF2B5EF4-FFF2-40B4-BE49-F238E27FC236}">
                  <a16:creationId xmlns:a16="http://schemas.microsoft.com/office/drawing/2014/main" id="{89D1F8BB-2ACD-46A8-BABB-497E2F300D91}"/>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4" name="Group 3">
              <a:extLst>
                <a:ext uri="{FF2B5EF4-FFF2-40B4-BE49-F238E27FC236}">
                  <a16:creationId xmlns:a16="http://schemas.microsoft.com/office/drawing/2014/main" id="{D07FDF92-4F18-4D73-938A-6E4D44CEEA44}"/>
                </a:ext>
              </a:extLst>
            </p:cNvPr>
            <p:cNvGrpSpPr/>
            <p:nvPr/>
          </p:nvGrpSpPr>
          <p:grpSpPr>
            <a:xfrm>
              <a:off x="3474409" y="1753652"/>
              <a:ext cx="3107697" cy="1338890"/>
              <a:chOff x="3474409" y="1753652"/>
              <a:chExt cx="3107697" cy="1338890"/>
            </a:xfrm>
          </p:grpSpPr>
          <p:sp>
            <p:nvSpPr>
              <p:cNvPr id="2105" name="Rectangle 2104">
                <a:extLst>
                  <a:ext uri="{FF2B5EF4-FFF2-40B4-BE49-F238E27FC236}">
                    <a16:creationId xmlns:a16="http://schemas.microsoft.com/office/drawing/2014/main" id="{44E516F3-313F-4914-B318-9AB1CD619BCC}"/>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106" name="Group 2105">
                <a:extLst>
                  <a:ext uri="{FF2B5EF4-FFF2-40B4-BE49-F238E27FC236}">
                    <a16:creationId xmlns:a16="http://schemas.microsoft.com/office/drawing/2014/main" id="{5AF1A57A-6041-40E5-95D8-3110D4631C73}"/>
                  </a:ext>
                </a:extLst>
              </p:cNvPr>
              <p:cNvGrpSpPr/>
              <p:nvPr/>
            </p:nvGrpSpPr>
            <p:grpSpPr>
              <a:xfrm>
                <a:off x="3504077" y="2398698"/>
                <a:ext cx="1559613" cy="693844"/>
                <a:chOff x="3512580" y="2236718"/>
                <a:chExt cx="1563594" cy="695615"/>
              </a:xfrm>
            </p:grpSpPr>
            <p:grpSp>
              <p:nvGrpSpPr>
                <p:cNvPr id="2107" name="Group 2106">
                  <a:extLst>
                    <a:ext uri="{FF2B5EF4-FFF2-40B4-BE49-F238E27FC236}">
                      <a16:creationId xmlns:a16="http://schemas.microsoft.com/office/drawing/2014/main" id="{3FAA8F21-0B40-4BFE-ABF3-D6F66711CD94}"/>
                    </a:ext>
                  </a:extLst>
                </p:cNvPr>
                <p:cNvGrpSpPr>
                  <a:grpSpLocks/>
                </p:cNvGrpSpPr>
                <p:nvPr/>
              </p:nvGrpSpPr>
              <p:grpSpPr>
                <a:xfrm>
                  <a:off x="3512580" y="2240647"/>
                  <a:ext cx="418017" cy="418017"/>
                  <a:chOff x="745985" y="4768134"/>
                  <a:chExt cx="368776" cy="368777"/>
                </a:xfrm>
              </p:grpSpPr>
              <p:grpSp>
                <p:nvGrpSpPr>
                  <p:cNvPr id="2171" name="Group 64">
                    <a:extLst>
                      <a:ext uri="{FF2B5EF4-FFF2-40B4-BE49-F238E27FC236}">
                        <a16:creationId xmlns:a16="http://schemas.microsoft.com/office/drawing/2014/main" id="{38EC354A-5F5B-414D-9BE2-F680719CDB0D}"/>
                      </a:ext>
                    </a:extLst>
                  </p:cNvPr>
                  <p:cNvGrpSpPr>
                    <a:grpSpLocks noChangeAspect="1"/>
                  </p:cNvGrpSpPr>
                  <p:nvPr/>
                </p:nvGrpSpPr>
                <p:grpSpPr bwMode="auto">
                  <a:xfrm rot="8100000">
                    <a:off x="745985" y="4768134"/>
                    <a:ext cx="368776" cy="368777"/>
                    <a:chOff x="701" y="2170"/>
                    <a:chExt cx="587" cy="587"/>
                  </a:xfrm>
                </p:grpSpPr>
                <p:sp>
                  <p:nvSpPr>
                    <p:cNvPr id="2182" name="Oval 65">
                      <a:extLst>
                        <a:ext uri="{FF2B5EF4-FFF2-40B4-BE49-F238E27FC236}">
                          <a16:creationId xmlns:a16="http://schemas.microsoft.com/office/drawing/2014/main" id="{E48D45F4-2D4B-4F31-90D7-988033BE94A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3" name="Line 66">
                      <a:extLst>
                        <a:ext uri="{FF2B5EF4-FFF2-40B4-BE49-F238E27FC236}">
                          <a16:creationId xmlns:a16="http://schemas.microsoft.com/office/drawing/2014/main" id="{17980589-1B20-462C-9FD7-541129E1D23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7">
                      <a:extLst>
                        <a:ext uri="{FF2B5EF4-FFF2-40B4-BE49-F238E27FC236}">
                          <a16:creationId xmlns:a16="http://schemas.microsoft.com/office/drawing/2014/main" id="{08F6E583-99D8-4EFD-917A-22B56D6A3AF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69">
                      <a:extLst>
                        <a:ext uri="{FF2B5EF4-FFF2-40B4-BE49-F238E27FC236}">
                          <a16:creationId xmlns:a16="http://schemas.microsoft.com/office/drawing/2014/main" id="{F84751FB-D875-443B-B9F1-00A506F2C9B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Line 74">
                      <a:extLst>
                        <a:ext uri="{FF2B5EF4-FFF2-40B4-BE49-F238E27FC236}">
                          <a16:creationId xmlns:a16="http://schemas.microsoft.com/office/drawing/2014/main" id="{8980D920-70AF-4C24-A8A5-A29A9D314CB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78">
                      <a:extLst>
                        <a:ext uri="{FF2B5EF4-FFF2-40B4-BE49-F238E27FC236}">
                          <a16:creationId xmlns:a16="http://schemas.microsoft.com/office/drawing/2014/main" id="{7278A439-704A-41CA-80D3-8832931F3B3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8" name="Freeform 80">
                      <a:extLst>
                        <a:ext uri="{FF2B5EF4-FFF2-40B4-BE49-F238E27FC236}">
                          <a16:creationId xmlns:a16="http://schemas.microsoft.com/office/drawing/2014/main" id="{4407C87D-B2E5-428A-B68F-9BEE53F202D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72" name="Group 2171">
                    <a:extLst>
                      <a:ext uri="{FF2B5EF4-FFF2-40B4-BE49-F238E27FC236}">
                        <a16:creationId xmlns:a16="http://schemas.microsoft.com/office/drawing/2014/main" id="{AF84420C-E4A9-4F8C-9324-06623783D1A5}"/>
                      </a:ext>
                    </a:extLst>
                  </p:cNvPr>
                  <p:cNvGrpSpPr/>
                  <p:nvPr/>
                </p:nvGrpSpPr>
                <p:grpSpPr>
                  <a:xfrm>
                    <a:off x="837312" y="4814434"/>
                    <a:ext cx="136805" cy="278689"/>
                    <a:chOff x="2806700" y="2803319"/>
                    <a:chExt cx="433387" cy="882861"/>
                  </a:xfrm>
                </p:grpSpPr>
                <p:grpSp>
                  <p:nvGrpSpPr>
                    <p:cNvPr id="2173" name="Group 2172">
                      <a:extLst>
                        <a:ext uri="{FF2B5EF4-FFF2-40B4-BE49-F238E27FC236}">
                          <a16:creationId xmlns:a16="http://schemas.microsoft.com/office/drawing/2014/main" id="{A5E697F8-92AC-4BD0-9129-C67AF64A3869}"/>
                        </a:ext>
                      </a:extLst>
                    </p:cNvPr>
                    <p:cNvGrpSpPr>
                      <a:grpSpLocks noChangeAspect="1"/>
                    </p:cNvGrpSpPr>
                    <p:nvPr/>
                  </p:nvGrpSpPr>
                  <p:grpSpPr bwMode="auto">
                    <a:xfrm>
                      <a:off x="2806700" y="3043242"/>
                      <a:ext cx="433387" cy="642938"/>
                      <a:chOff x="1768" y="1917"/>
                      <a:chExt cx="273" cy="405"/>
                    </a:xfrm>
                  </p:grpSpPr>
                  <p:sp>
                    <p:nvSpPr>
                      <p:cNvPr id="2175" name="Freeform 52">
                        <a:extLst>
                          <a:ext uri="{FF2B5EF4-FFF2-40B4-BE49-F238E27FC236}">
                            <a16:creationId xmlns:a16="http://schemas.microsoft.com/office/drawing/2014/main" id="{C449D0F1-569C-42BE-B5E1-518BB0764D5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Line 54">
                        <a:extLst>
                          <a:ext uri="{FF2B5EF4-FFF2-40B4-BE49-F238E27FC236}">
                            <a16:creationId xmlns:a16="http://schemas.microsoft.com/office/drawing/2014/main" id="{4D088C09-DDB8-43AA-952A-CA9724EC801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7" name="Line 55">
                        <a:extLst>
                          <a:ext uri="{FF2B5EF4-FFF2-40B4-BE49-F238E27FC236}">
                            <a16:creationId xmlns:a16="http://schemas.microsoft.com/office/drawing/2014/main" id="{A7A5D080-91B1-406C-B744-3E56686F247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8" name="Freeform 56">
                        <a:extLst>
                          <a:ext uri="{FF2B5EF4-FFF2-40B4-BE49-F238E27FC236}">
                            <a16:creationId xmlns:a16="http://schemas.microsoft.com/office/drawing/2014/main" id="{2D15C026-04EE-4121-9FF3-3195568DE13D}"/>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9" name="Line 57">
                        <a:extLst>
                          <a:ext uri="{FF2B5EF4-FFF2-40B4-BE49-F238E27FC236}">
                            <a16:creationId xmlns:a16="http://schemas.microsoft.com/office/drawing/2014/main" id="{225C9A12-C9E9-43F5-B14C-4A90A9ECFC3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Freeform 58">
                        <a:extLst>
                          <a:ext uri="{FF2B5EF4-FFF2-40B4-BE49-F238E27FC236}">
                            <a16:creationId xmlns:a16="http://schemas.microsoft.com/office/drawing/2014/main" id="{4EDD10A5-C468-4686-802A-FAF24DE2F2A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1" name="Rectangle 2180">
                        <a:extLst>
                          <a:ext uri="{FF2B5EF4-FFF2-40B4-BE49-F238E27FC236}">
                            <a16:creationId xmlns:a16="http://schemas.microsoft.com/office/drawing/2014/main" id="{5606A2F7-2BC4-41E7-A55B-553E73182730}"/>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174" name="Oval 2173">
                      <a:extLst>
                        <a:ext uri="{FF2B5EF4-FFF2-40B4-BE49-F238E27FC236}">
                          <a16:creationId xmlns:a16="http://schemas.microsoft.com/office/drawing/2014/main" id="{09ACAF1E-A7C8-4DB3-BBC4-2010ACA3D51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08" name="Group 2107">
                  <a:extLst>
                    <a:ext uri="{FF2B5EF4-FFF2-40B4-BE49-F238E27FC236}">
                      <a16:creationId xmlns:a16="http://schemas.microsoft.com/office/drawing/2014/main" id="{792DAFCB-C935-451B-B203-1C3F9D9170FF}"/>
                    </a:ext>
                  </a:extLst>
                </p:cNvPr>
                <p:cNvGrpSpPr>
                  <a:grpSpLocks/>
                </p:cNvGrpSpPr>
                <p:nvPr/>
              </p:nvGrpSpPr>
              <p:grpSpPr>
                <a:xfrm>
                  <a:off x="3989965" y="2395465"/>
                  <a:ext cx="536865" cy="536868"/>
                  <a:chOff x="1454941" y="4721722"/>
                  <a:chExt cx="473625" cy="473627"/>
                </a:xfrm>
              </p:grpSpPr>
              <p:grpSp>
                <p:nvGrpSpPr>
                  <p:cNvPr id="2132" name="Group 64">
                    <a:extLst>
                      <a:ext uri="{FF2B5EF4-FFF2-40B4-BE49-F238E27FC236}">
                        <a16:creationId xmlns:a16="http://schemas.microsoft.com/office/drawing/2014/main" id="{95FC00C3-E804-45A7-A377-AD11BF922982}"/>
                      </a:ext>
                    </a:extLst>
                  </p:cNvPr>
                  <p:cNvGrpSpPr>
                    <a:grpSpLocks noChangeAspect="1"/>
                  </p:cNvGrpSpPr>
                  <p:nvPr/>
                </p:nvGrpSpPr>
                <p:grpSpPr bwMode="auto">
                  <a:xfrm rot="8100000">
                    <a:off x="1454941" y="4721722"/>
                    <a:ext cx="473625" cy="473627"/>
                    <a:chOff x="701" y="2170"/>
                    <a:chExt cx="587" cy="587"/>
                  </a:xfrm>
                </p:grpSpPr>
                <p:sp>
                  <p:nvSpPr>
                    <p:cNvPr id="2164" name="Oval 65">
                      <a:extLst>
                        <a:ext uri="{FF2B5EF4-FFF2-40B4-BE49-F238E27FC236}">
                          <a16:creationId xmlns:a16="http://schemas.microsoft.com/office/drawing/2014/main" id="{EACF8D5C-608F-48E7-B074-B183F86E0A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5" name="Line 66">
                      <a:extLst>
                        <a:ext uri="{FF2B5EF4-FFF2-40B4-BE49-F238E27FC236}">
                          <a16:creationId xmlns:a16="http://schemas.microsoft.com/office/drawing/2014/main" id="{1F6A04EB-1B9D-4A53-BB4E-BE0BBD531D9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6" name="Line 67">
                      <a:extLst>
                        <a:ext uri="{FF2B5EF4-FFF2-40B4-BE49-F238E27FC236}">
                          <a16:creationId xmlns:a16="http://schemas.microsoft.com/office/drawing/2014/main" id="{7EBB1F3F-FBFC-44BA-B0D6-3EE0FD2D410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7" name="Line 69">
                      <a:extLst>
                        <a:ext uri="{FF2B5EF4-FFF2-40B4-BE49-F238E27FC236}">
                          <a16:creationId xmlns:a16="http://schemas.microsoft.com/office/drawing/2014/main" id="{F20ADE09-C140-4F3C-AE4C-A9786262BDD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8" name="Line 74">
                      <a:extLst>
                        <a:ext uri="{FF2B5EF4-FFF2-40B4-BE49-F238E27FC236}">
                          <a16:creationId xmlns:a16="http://schemas.microsoft.com/office/drawing/2014/main" id="{CE1C09F1-0967-4544-8899-A5768B0B4F2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78">
                      <a:extLst>
                        <a:ext uri="{FF2B5EF4-FFF2-40B4-BE49-F238E27FC236}">
                          <a16:creationId xmlns:a16="http://schemas.microsoft.com/office/drawing/2014/main" id="{56EB5BCF-13D1-4C3D-BE9D-3872A5AE096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80">
                      <a:extLst>
                        <a:ext uri="{FF2B5EF4-FFF2-40B4-BE49-F238E27FC236}">
                          <a16:creationId xmlns:a16="http://schemas.microsoft.com/office/drawing/2014/main" id="{7CCAB085-C2B9-460B-BA69-B4D5776216D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33" name="Group 2132">
                    <a:extLst>
                      <a:ext uri="{FF2B5EF4-FFF2-40B4-BE49-F238E27FC236}">
                        <a16:creationId xmlns:a16="http://schemas.microsoft.com/office/drawing/2014/main" id="{2D4DB5BA-3D87-4D38-81F4-383C4020368B}"/>
                      </a:ext>
                    </a:extLst>
                  </p:cNvPr>
                  <p:cNvGrpSpPr/>
                  <p:nvPr/>
                </p:nvGrpSpPr>
                <p:grpSpPr>
                  <a:xfrm>
                    <a:off x="1511214" y="4789508"/>
                    <a:ext cx="356509" cy="349884"/>
                    <a:chOff x="468738" y="2241878"/>
                    <a:chExt cx="1655483" cy="1624719"/>
                  </a:xfrm>
                </p:grpSpPr>
                <p:sp>
                  <p:nvSpPr>
                    <p:cNvPr id="2134" name="Freeform 5">
                      <a:extLst>
                        <a:ext uri="{FF2B5EF4-FFF2-40B4-BE49-F238E27FC236}">
                          <a16:creationId xmlns:a16="http://schemas.microsoft.com/office/drawing/2014/main" id="{AD3029D4-64CC-47C2-B1C4-D8ED8754387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6">
                      <a:extLst>
                        <a:ext uri="{FF2B5EF4-FFF2-40B4-BE49-F238E27FC236}">
                          <a16:creationId xmlns:a16="http://schemas.microsoft.com/office/drawing/2014/main" id="{B5BFE621-131C-4D52-9439-80C4EC959B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Line 7">
                      <a:extLst>
                        <a:ext uri="{FF2B5EF4-FFF2-40B4-BE49-F238E27FC236}">
                          <a16:creationId xmlns:a16="http://schemas.microsoft.com/office/drawing/2014/main" id="{BB28B918-CD33-43C8-879C-64C3265172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8">
                      <a:extLst>
                        <a:ext uri="{FF2B5EF4-FFF2-40B4-BE49-F238E27FC236}">
                          <a16:creationId xmlns:a16="http://schemas.microsoft.com/office/drawing/2014/main" id="{B2F90028-D1CD-4003-860F-9380A5C2844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8" name="Line 9">
                      <a:extLst>
                        <a:ext uri="{FF2B5EF4-FFF2-40B4-BE49-F238E27FC236}">
                          <a16:creationId xmlns:a16="http://schemas.microsoft.com/office/drawing/2014/main" id="{D7D524DB-5ED9-4BEC-BD8E-345DBDE0EA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39" name="Group 2138">
                      <a:extLst>
                        <a:ext uri="{FF2B5EF4-FFF2-40B4-BE49-F238E27FC236}">
                          <a16:creationId xmlns:a16="http://schemas.microsoft.com/office/drawing/2014/main" id="{22510D73-D663-4E1A-9845-701E923B6979}"/>
                        </a:ext>
                      </a:extLst>
                    </p:cNvPr>
                    <p:cNvGrpSpPr/>
                    <p:nvPr/>
                  </p:nvGrpSpPr>
                  <p:grpSpPr>
                    <a:xfrm>
                      <a:off x="1207113" y="2241878"/>
                      <a:ext cx="178734" cy="348678"/>
                      <a:chOff x="1207113" y="2241878"/>
                      <a:chExt cx="178734" cy="348678"/>
                    </a:xfrm>
                  </p:grpSpPr>
                  <p:sp>
                    <p:nvSpPr>
                      <p:cNvPr id="2162" name="Freeform 10">
                        <a:extLst>
                          <a:ext uri="{FF2B5EF4-FFF2-40B4-BE49-F238E27FC236}">
                            <a16:creationId xmlns:a16="http://schemas.microsoft.com/office/drawing/2014/main" id="{6EFEEAC3-1634-423B-A959-6E7830384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3" name="Line 11">
                        <a:extLst>
                          <a:ext uri="{FF2B5EF4-FFF2-40B4-BE49-F238E27FC236}">
                            <a16:creationId xmlns:a16="http://schemas.microsoft.com/office/drawing/2014/main" id="{8F45FDBF-0115-45E1-9B55-D71F0010094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40" name="Freeform 12">
                      <a:extLst>
                        <a:ext uri="{FF2B5EF4-FFF2-40B4-BE49-F238E27FC236}">
                          <a16:creationId xmlns:a16="http://schemas.microsoft.com/office/drawing/2014/main" id="{3C495552-3098-4661-BDFD-B955DD6BCB1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13">
                      <a:extLst>
                        <a:ext uri="{FF2B5EF4-FFF2-40B4-BE49-F238E27FC236}">
                          <a16:creationId xmlns:a16="http://schemas.microsoft.com/office/drawing/2014/main" id="{ECD214C7-EACD-4229-9560-F610FE81A74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14">
                      <a:extLst>
                        <a:ext uri="{FF2B5EF4-FFF2-40B4-BE49-F238E27FC236}">
                          <a16:creationId xmlns:a16="http://schemas.microsoft.com/office/drawing/2014/main" id="{B4CDA5FF-6B69-415F-ADAB-F765E69E2C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Line 15">
                      <a:extLst>
                        <a:ext uri="{FF2B5EF4-FFF2-40B4-BE49-F238E27FC236}">
                          <a16:creationId xmlns:a16="http://schemas.microsoft.com/office/drawing/2014/main" id="{05E8653C-22F0-4581-A223-FEED3790531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16">
                      <a:extLst>
                        <a:ext uri="{FF2B5EF4-FFF2-40B4-BE49-F238E27FC236}">
                          <a16:creationId xmlns:a16="http://schemas.microsoft.com/office/drawing/2014/main" id="{80E39A21-A447-4749-943A-F7C93F46E12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5" name="Line 17">
                      <a:extLst>
                        <a:ext uri="{FF2B5EF4-FFF2-40B4-BE49-F238E27FC236}">
                          <a16:creationId xmlns:a16="http://schemas.microsoft.com/office/drawing/2014/main" id="{83312F89-1163-44C1-AE9E-FC31ABFC0208}"/>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6" name="Freeform 18">
                      <a:extLst>
                        <a:ext uri="{FF2B5EF4-FFF2-40B4-BE49-F238E27FC236}">
                          <a16:creationId xmlns:a16="http://schemas.microsoft.com/office/drawing/2014/main" id="{2F1608BA-2BDB-4E5F-AB8F-D06BB95AEB6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9">
                      <a:extLst>
                        <a:ext uri="{FF2B5EF4-FFF2-40B4-BE49-F238E27FC236}">
                          <a16:creationId xmlns:a16="http://schemas.microsoft.com/office/drawing/2014/main" id="{1CF28B91-606F-47BB-8755-7C9F19B86E1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8" name="Freeform 35">
                      <a:extLst>
                        <a:ext uri="{FF2B5EF4-FFF2-40B4-BE49-F238E27FC236}">
                          <a16:creationId xmlns:a16="http://schemas.microsoft.com/office/drawing/2014/main" id="{0D9FC22C-6B97-4EA5-A232-FBADFB8B1072}"/>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9" name="Freeform 36">
                      <a:extLst>
                        <a:ext uri="{FF2B5EF4-FFF2-40B4-BE49-F238E27FC236}">
                          <a16:creationId xmlns:a16="http://schemas.microsoft.com/office/drawing/2014/main" id="{2280C96F-7F21-4E0E-8D7B-080AE874B62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0" name="Freeform 37">
                      <a:extLst>
                        <a:ext uri="{FF2B5EF4-FFF2-40B4-BE49-F238E27FC236}">
                          <a16:creationId xmlns:a16="http://schemas.microsoft.com/office/drawing/2014/main" id="{208BDDF9-9F22-4BE0-B5C5-C73D78961BE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1" name="Freeform 38">
                      <a:extLst>
                        <a:ext uri="{FF2B5EF4-FFF2-40B4-BE49-F238E27FC236}">
                          <a16:creationId xmlns:a16="http://schemas.microsoft.com/office/drawing/2014/main" id="{8F240DD0-ACA1-4935-8CAD-EBB363D9A10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2" name="Freeform 39">
                      <a:extLst>
                        <a:ext uri="{FF2B5EF4-FFF2-40B4-BE49-F238E27FC236}">
                          <a16:creationId xmlns:a16="http://schemas.microsoft.com/office/drawing/2014/main" id="{431E5ABE-687E-4F2C-A695-BA8B469E494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3" name="Freeform 40">
                      <a:extLst>
                        <a:ext uri="{FF2B5EF4-FFF2-40B4-BE49-F238E27FC236}">
                          <a16:creationId xmlns:a16="http://schemas.microsoft.com/office/drawing/2014/main" id="{C770EBE2-7126-4073-9654-A1DCC6FD2EE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4" name="Freeform 41">
                      <a:extLst>
                        <a:ext uri="{FF2B5EF4-FFF2-40B4-BE49-F238E27FC236}">
                          <a16:creationId xmlns:a16="http://schemas.microsoft.com/office/drawing/2014/main" id="{ECE5DD8B-DAF3-41D3-B6B2-8B48854F1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Line 42">
                      <a:extLst>
                        <a:ext uri="{FF2B5EF4-FFF2-40B4-BE49-F238E27FC236}">
                          <a16:creationId xmlns:a16="http://schemas.microsoft.com/office/drawing/2014/main" id="{D85E7B62-8E0C-40C5-B75A-8D5B4D07F08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43">
                      <a:extLst>
                        <a:ext uri="{FF2B5EF4-FFF2-40B4-BE49-F238E27FC236}">
                          <a16:creationId xmlns:a16="http://schemas.microsoft.com/office/drawing/2014/main" id="{F750F8AA-167B-49D8-8200-E25925C7C5A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7" name="Freeform 44">
                      <a:extLst>
                        <a:ext uri="{FF2B5EF4-FFF2-40B4-BE49-F238E27FC236}">
                          <a16:creationId xmlns:a16="http://schemas.microsoft.com/office/drawing/2014/main" id="{26A05AF0-E552-4E8A-8650-8F2D50EB62BE}"/>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8" name="Freeform 45">
                      <a:extLst>
                        <a:ext uri="{FF2B5EF4-FFF2-40B4-BE49-F238E27FC236}">
                          <a16:creationId xmlns:a16="http://schemas.microsoft.com/office/drawing/2014/main" id="{90A305AF-DC97-4D53-A390-B839E25094CC}"/>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59" name="Group 2158">
                      <a:extLst>
                        <a:ext uri="{FF2B5EF4-FFF2-40B4-BE49-F238E27FC236}">
                          <a16:creationId xmlns:a16="http://schemas.microsoft.com/office/drawing/2014/main" id="{16EBB8D7-590F-405B-AC14-9407C90A88BE}"/>
                        </a:ext>
                      </a:extLst>
                    </p:cNvPr>
                    <p:cNvGrpSpPr/>
                    <p:nvPr/>
                  </p:nvGrpSpPr>
                  <p:grpSpPr>
                    <a:xfrm flipV="1">
                      <a:off x="1202047" y="3517919"/>
                      <a:ext cx="178734" cy="348678"/>
                      <a:chOff x="1207113" y="2241878"/>
                      <a:chExt cx="178734" cy="348678"/>
                    </a:xfrm>
                  </p:grpSpPr>
                  <p:sp>
                    <p:nvSpPr>
                      <p:cNvPr id="2160" name="Freeform 10">
                        <a:extLst>
                          <a:ext uri="{FF2B5EF4-FFF2-40B4-BE49-F238E27FC236}">
                            <a16:creationId xmlns:a16="http://schemas.microsoft.com/office/drawing/2014/main" id="{0260155B-1A8C-4AC0-B5E4-EA605B4CCA8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1" name="Line 11">
                        <a:extLst>
                          <a:ext uri="{FF2B5EF4-FFF2-40B4-BE49-F238E27FC236}">
                            <a16:creationId xmlns:a16="http://schemas.microsoft.com/office/drawing/2014/main" id="{FD8CD03B-2BD9-44F1-9372-51F29A34087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09" name="Group 2108">
                  <a:extLst>
                    <a:ext uri="{FF2B5EF4-FFF2-40B4-BE49-F238E27FC236}">
                      <a16:creationId xmlns:a16="http://schemas.microsoft.com/office/drawing/2014/main" id="{F743C01D-A412-4502-B453-0E322E740488}"/>
                    </a:ext>
                  </a:extLst>
                </p:cNvPr>
                <p:cNvGrpSpPr>
                  <a:grpSpLocks/>
                </p:cNvGrpSpPr>
                <p:nvPr/>
              </p:nvGrpSpPr>
              <p:grpSpPr>
                <a:xfrm>
                  <a:off x="4605070" y="2236718"/>
                  <a:ext cx="471104" cy="471107"/>
                  <a:chOff x="2268747" y="4723725"/>
                  <a:chExt cx="415610" cy="415612"/>
                </a:xfrm>
              </p:grpSpPr>
              <p:grpSp>
                <p:nvGrpSpPr>
                  <p:cNvPr id="2110" name="Group 64">
                    <a:extLst>
                      <a:ext uri="{FF2B5EF4-FFF2-40B4-BE49-F238E27FC236}">
                        <a16:creationId xmlns:a16="http://schemas.microsoft.com/office/drawing/2014/main" id="{3ED6BA51-88C4-475D-8CAE-3A4E1CE80C92}"/>
                      </a:ext>
                    </a:extLst>
                  </p:cNvPr>
                  <p:cNvGrpSpPr>
                    <a:grpSpLocks noChangeAspect="1"/>
                  </p:cNvGrpSpPr>
                  <p:nvPr/>
                </p:nvGrpSpPr>
                <p:grpSpPr bwMode="auto">
                  <a:xfrm rot="8100000">
                    <a:off x="2268747" y="4723725"/>
                    <a:ext cx="415610" cy="415612"/>
                    <a:chOff x="701" y="2170"/>
                    <a:chExt cx="587" cy="587"/>
                  </a:xfrm>
                </p:grpSpPr>
                <p:sp>
                  <p:nvSpPr>
                    <p:cNvPr id="2125" name="Oval 65">
                      <a:extLst>
                        <a:ext uri="{FF2B5EF4-FFF2-40B4-BE49-F238E27FC236}">
                          <a16:creationId xmlns:a16="http://schemas.microsoft.com/office/drawing/2014/main" id="{3F488B35-08AC-4424-88EE-CFC42A9905E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6" name="Line 66">
                      <a:extLst>
                        <a:ext uri="{FF2B5EF4-FFF2-40B4-BE49-F238E27FC236}">
                          <a16:creationId xmlns:a16="http://schemas.microsoft.com/office/drawing/2014/main" id="{E6EEE647-50EC-466A-9CED-4EBA5BAAF6A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67">
                      <a:extLst>
                        <a:ext uri="{FF2B5EF4-FFF2-40B4-BE49-F238E27FC236}">
                          <a16:creationId xmlns:a16="http://schemas.microsoft.com/office/drawing/2014/main" id="{D279D004-E98F-487A-BBC8-DF988B5B044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Line 69">
                      <a:extLst>
                        <a:ext uri="{FF2B5EF4-FFF2-40B4-BE49-F238E27FC236}">
                          <a16:creationId xmlns:a16="http://schemas.microsoft.com/office/drawing/2014/main" id="{0F201E97-2DE5-4039-8A87-56466A0473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74">
                      <a:extLst>
                        <a:ext uri="{FF2B5EF4-FFF2-40B4-BE49-F238E27FC236}">
                          <a16:creationId xmlns:a16="http://schemas.microsoft.com/office/drawing/2014/main" id="{35691D03-9390-4324-8F43-D5A21341F7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78">
                      <a:extLst>
                        <a:ext uri="{FF2B5EF4-FFF2-40B4-BE49-F238E27FC236}">
                          <a16:creationId xmlns:a16="http://schemas.microsoft.com/office/drawing/2014/main" id="{B1E74084-BDAB-40C6-9B50-F0C5FCC255D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Freeform 80">
                      <a:extLst>
                        <a:ext uri="{FF2B5EF4-FFF2-40B4-BE49-F238E27FC236}">
                          <a16:creationId xmlns:a16="http://schemas.microsoft.com/office/drawing/2014/main" id="{B05E470F-89A9-431A-9AD0-683F759B5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1" name="Group 2110">
                    <a:extLst>
                      <a:ext uri="{FF2B5EF4-FFF2-40B4-BE49-F238E27FC236}">
                        <a16:creationId xmlns:a16="http://schemas.microsoft.com/office/drawing/2014/main" id="{9CBA07D6-2EC5-4BE0-8326-6F02B874729E}"/>
                      </a:ext>
                    </a:extLst>
                  </p:cNvPr>
                  <p:cNvGrpSpPr/>
                  <p:nvPr/>
                </p:nvGrpSpPr>
                <p:grpSpPr>
                  <a:xfrm>
                    <a:off x="2318076" y="4830163"/>
                    <a:ext cx="313949" cy="233075"/>
                    <a:chOff x="3707533" y="2731244"/>
                    <a:chExt cx="389644" cy="289271"/>
                  </a:xfrm>
                </p:grpSpPr>
                <p:sp>
                  <p:nvSpPr>
                    <p:cNvPr id="2112" name="Freeform 33">
                      <a:extLst>
                        <a:ext uri="{FF2B5EF4-FFF2-40B4-BE49-F238E27FC236}">
                          <a16:creationId xmlns:a16="http://schemas.microsoft.com/office/drawing/2014/main" id="{C428139F-5A6B-4BA0-A0B1-5076AAFF743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3" name="Freeform 34">
                      <a:extLst>
                        <a:ext uri="{FF2B5EF4-FFF2-40B4-BE49-F238E27FC236}">
                          <a16:creationId xmlns:a16="http://schemas.microsoft.com/office/drawing/2014/main" id="{9F0DD76B-86BA-436E-98AA-27F8CA5AB0EF}"/>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4" name="Freeform 37">
                      <a:extLst>
                        <a:ext uri="{FF2B5EF4-FFF2-40B4-BE49-F238E27FC236}">
                          <a16:creationId xmlns:a16="http://schemas.microsoft.com/office/drawing/2014/main" id="{328E1ECE-0B47-40FF-ADC8-52A869AD539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5" name="Freeform 38">
                      <a:extLst>
                        <a:ext uri="{FF2B5EF4-FFF2-40B4-BE49-F238E27FC236}">
                          <a16:creationId xmlns:a16="http://schemas.microsoft.com/office/drawing/2014/main" id="{FBC1A354-40E6-4BA7-A7FC-12DFA0ED8DF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32">
                      <a:extLst>
                        <a:ext uri="{FF2B5EF4-FFF2-40B4-BE49-F238E27FC236}">
                          <a16:creationId xmlns:a16="http://schemas.microsoft.com/office/drawing/2014/main" id="{44A20234-6690-46A4-AF7F-55903773AB65}"/>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35">
                      <a:extLst>
                        <a:ext uri="{FF2B5EF4-FFF2-40B4-BE49-F238E27FC236}">
                          <a16:creationId xmlns:a16="http://schemas.microsoft.com/office/drawing/2014/main" id="{E8FFE7C3-81CC-46D2-A00F-E52399A2758E}"/>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8" name="Freeform 36">
                      <a:extLst>
                        <a:ext uri="{FF2B5EF4-FFF2-40B4-BE49-F238E27FC236}">
                          <a16:creationId xmlns:a16="http://schemas.microsoft.com/office/drawing/2014/main" id="{80451F71-A3E1-4C02-A56E-4B6B9C65B39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9" name="Freeform 25">
                      <a:extLst>
                        <a:ext uri="{FF2B5EF4-FFF2-40B4-BE49-F238E27FC236}">
                          <a16:creationId xmlns:a16="http://schemas.microsoft.com/office/drawing/2014/main" id="{79CCFFCF-160C-44C1-98F6-600F7AEF940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0" name="Freeform 39">
                      <a:extLst>
                        <a:ext uri="{FF2B5EF4-FFF2-40B4-BE49-F238E27FC236}">
                          <a16:creationId xmlns:a16="http://schemas.microsoft.com/office/drawing/2014/main" id="{96C9F0EB-878A-4903-9840-A01FC702A21C}"/>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26">
                      <a:extLst>
                        <a:ext uri="{FF2B5EF4-FFF2-40B4-BE49-F238E27FC236}">
                          <a16:creationId xmlns:a16="http://schemas.microsoft.com/office/drawing/2014/main" id="{96D32403-D861-4D9C-BCAB-F0E3CBF48F8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2" name="Rectangle 27">
                      <a:extLst>
                        <a:ext uri="{FF2B5EF4-FFF2-40B4-BE49-F238E27FC236}">
                          <a16:creationId xmlns:a16="http://schemas.microsoft.com/office/drawing/2014/main" id="{C3B97169-9DC7-44F5-8846-86615CCD4FEB}"/>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3" name="Line 29">
                      <a:extLst>
                        <a:ext uri="{FF2B5EF4-FFF2-40B4-BE49-F238E27FC236}">
                          <a16:creationId xmlns:a16="http://schemas.microsoft.com/office/drawing/2014/main" id="{064DEB77-4693-426F-9A52-6172A03002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31">
                      <a:extLst>
                        <a:ext uri="{FF2B5EF4-FFF2-40B4-BE49-F238E27FC236}">
                          <a16:creationId xmlns:a16="http://schemas.microsoft.com/office/drawing/2014/main" id="{B5D17F89-315F-44FC-A2F6-8C02B4CAB390}"/>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6" name="Group 2825">
                <a:extLst>
                  <a:ext uri="{FF2B5EF4-FFF2-40B4-BE49-F238E27FC236}">
                    <a16:creationId xmlns:a16="http://schemas.microsoft.com/office/drawing/2014/main" id="{10B0253C-5C94-429F-BBF1-611BB03ABB88}"/>
                  </a:ext>
                </a:extLst>
              </p:cNvPr>
              <p:cNvGrpSpPr/>
              <p:nvPr/>
            </p:nvGrpSpPr>
            <p:grpSpPr>
              <a:xfrm>
                <a:off x="5261891" y="1974470"/>
                <a:ext cx="1115908" cy="967814"/>
                <a:chOff x="7338624" y="178556"/>
                <a:chExt cx="1115908" cy="967814"/>
              </a:xfrm>
            </p:grpSpPr>
            <p:grpSp>
              <p:nvGrpSpPr>
                <p:cNvPr id="2827" name="Group 2826">
                  <a:extLst>
                    <a:ext uri="{FF2B5EF4-FFF2-40B4-BE49-F238E27FC236}">
                      <a16:creationId xmlns:a16="http://schemas.microsoft.com/office/drawing/2014/main" id="{E28F05B0-9772-44E3-B5B8-58C6DAC79255}"/>
                    </a:ext>
                  </a:extLst>
                </p:cNvPr>
                <p:cNvGrpSpPr/>
                <p:nvPr/>
              </p:nvGrpSpPr>
              <p:grpSpPr>
                <a:xfrm flipH="1">
                  <a:off x="7603032" y="178556"/>
                  <a:ext cx="524442" cy="697246"/>
                  <a:chOff x="8607957" y="605299"/>
                  <a:chExt cx="2806962" cy="3731864"/>
                </a:xfrm>
              </p:grpSpPr>
              <p:sp>
                <p:nvSpPr>
                  <p:cNvPr id="2829" name="iBar:31/138">
                    <a:extLst>
                      <a:ext uri="{FF2B5EF4-FFF2-40B4-BE49-F238E27FC236}">
                        <a16:creationId xmlns:a16="http://schemas.microsoft.com/office/drawing/2014/main" id="{76083AC9-51FA-4E2F-83DF-C02B81FEC2E0}"/>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0" name="Rectangle 2829">
                    <a:extLst>
                      <a:ext uri="{FF2B5EF4-FFF2-40B4-BE49-F238E27FC236}">
                        <a16:creationId xmlns:a16="http://schemas.microsoft.com/office/drawing/2014/main" id="{E6C84DCD-DA8A-456D-AF0E-EF979749E31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31" name="Group 2830">
                    <a:extLst>
                      <a:ext uri="{FF2B5EF4-FFF2-40B4-BE49-F238E27FC236}">
                        <a16:creationId xmlns:a16="http://schemas.microsoft.com/office/drawing/2014/main" id="{1AB2D2B6-42E6-45AE-A96E-238D173DB770}"/>
                      </a:ext>
                    </a:extLst>
                  </p:cNvPr>
                  <p:cNvGrpSpPr/>
                  <p:nvPr/>
                </p:nvGrpSpPr>
                <p:grpSpPr>
                  <a:xfrm>
                    <a:off x="8776645" y="2392984"/>
                    <a:ext cx="2463737" cy="1844316"/>
                    <a:chOff x="8566719" y="2617154"/>
                    <a:chExt cx="2463737" cy="1844316"/>
                  </a:xfrm>
                </p:grpSpPr>
                <p:sp>
                  <p:nvSpPr>
                    <p:cNvPr id="2845" name="Rectangle 2844">
                      <a:extLst>
                        <a:ext uri="{FF2B5EF4-FFF2-40B4-BE49-F238E27FC236}">
                          <a16:creationId xmlns:a16="http://schemas.microsoft.com/office/drawing/2014/main" id="{96505904-8AB3-48C5-B8E0-5633CA83587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6" name="Group 2845">
                      <a:extLst>
                        <a:ext uri="{FF2B5EF4-FFF2-40B4-BE49-F238E27FC236}">
                          <a16:creationId xmlns:a16="http://schemas.microsoft.com/office/drawing/2014/main" id="{0757CA4A-A2A4-4482-8ED7-6ABA1D868BBE}"/>
                        </a:ext>
                      </a:extLst>
                    </p:cNvPr>
                    <p:cNvGrpSpPr/>
                    <p:nvPr/>
                  </p:nvGrpSpPr>
                  <p:grpSpPr>
                    <a:xfrm>
                      <a:off x="8720849" y="2791577"/>
                      <a:ext cx="2190282" cy="1669893"/>
                      <a:chOff x="5195358" y="4591383"/>
                      <a:chExt cx="1906459" cy="1380076"/>
                    </a:xfrm>
                  </p:grpSpPr>
                  <p:grpSp>
                    <p:nvGrpSpPr>
                      <p:cNvPr id="2847" name="Group 2846">
                        <a:extLst>
                          <a:ext uri="{FF2B5EF4-FFF2-40B4-BE49-F238E27FC236}">
                            <a16:creationId xmlns:a16="http://schemas.microsoft.com/office/drawing/2014/main" id="{BF629DC0-DE9F-4F1C-AFA9-FD31D01C65DD}"/>
                          </a:ext>
                        </a:extLst>
                      </p:cNvPr>
                      <p:cNvGrpSpPr/>
                      <p:nvPr/>
                    </p:nvGrpSpPr>
                    <p:grpSpPr>
                      <a:xfrm>
                        <a:off x="5195358" y="4591383"/>
                        <a:ext cx="1020183" cy="1224086"/>
                        <a:chOff x="10650533" y="3663550"/>
                        <a:chExt cx="575867" cy="836067"/>
                      </a:xfrm>
                    </p:grpSpPr>
                    <p:grpSp>
                      <p:nvGrpSpPr>
                        <p:cNvPr id="2849" name="Group 2848">
                          <a:extLst>
                            <a:ext uri="{FF2B5EF4-FFF2-40B4-BE49-F238E27FC236}">
                              <a16:creationId xmlns:a16="http://schemas.microsoft.com/office/drawing/2014/main" id="{BB98506A-FA0C-4492-9504-F1365ACE114B}"/>
                            </a:ext>
                          </a:extLst>
                        </p:cNvPr>
                        <p:cNvGrpSpPr/>
                        <p:nvPr/>
                      </p:nvGrpSpPr>
                      <p:grpSpPr>
                        <a:xfrm>
                          <a:off x="10650533" y="3663550"/>
                          <a:ext cx="575867" cy="728623"/>
                          <a:chOff x="5717961" y="2827338"/>
                          <a:chExt cx="282576" cy="387350"/>
                        </a:xfrm>
                      </p:grpSpPr>
                      <p:sp>
                        <p:nvSpPr>
                          <p:cNvPr id="2851" name="Freeform 1754">
                            <a:extLst>
                              <a:ext uri="{FF2B5EF4-FFF2-40B4-BE49-F238E27FC236}">
                                <a16:creationId xmlns:a16="http://schemas.microsoft.com/office/drawing/2014/main" id="{29A43FEB-3397-4D64-8742-218DE128F717}"/>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2" name="Freeform 1755">
                            <a:extLst>
                              <a:ext uri="{FF2B5EF4-FFF2-40B4-BE49-F238E27FC236}">
                                <a16:creationId xmlns:a16="http://schemas.microsoft.com/office/drawing/2014/main" id="{4CA2087B-D49F-46EC-AE28-3B14506FD4B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53" name="Freeform 1756">
                            <a:extLst>
                              <a:ext uri="{FF2B5EF4-FFF2-40B4-BE49-F238E27FC236}">
                                <a16:creationId xmlns:a16="http://schemas.microsoft.com/office/drawing/2014/main" id="{C8403C95-BCEE-465E-ADAC-A020457D09BE}"/>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4" name="Freeform 1757">
                            <a:extLst>
                              <a:ext uri="{FF2B5EF4-FFF2-40B4-BE49-F238E27FC236}">
                                <a16:creationId xmlns:a16="http://schemas.microsoft.com/office/drawing/2014/main" id="{2561EC10-7056-4F74-8284-A8C753A830C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5" name="Freeform 1758">
                            <a:extLst>
                              <a:ext uri="{FF2B5EF4-FFF2-40B4-BE49-F238E27FC236}">
                                <a16:creationId xmlns:a16="http://schemas.microsoft.com/office/drawing/2014/main" id="{931576A2-EA44-463F-A03A-911B6FC5D780}"/>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50" name="TextBox 2849">
                          <a:extLst>
                            <a:ext uri="{FF2B5EF4-FFF2-40B4-BE49-F238E27FC236}">
                              <a16:creationId xmlns:a16="http://schemas.microsoft.com/office/drawing/2014/main" id="{3D98CFE1-0FD4-4645-87E5-09E842BBE60A}"/>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48" name="TextBox 2847">
                        <a:extLst>
                          <a:ext uri="{FF2B5EF4-FFF2-40B4-BE49-F238E27FC236}">
                            <a16:creationId xmlns:a16="http://schemas.microsoft.com/office/drawing/2014/main" id="{89484070-167C-403C-8732-0E81C207859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32" name="Group 2831">
                    <a:extLst>
                      <a:ext uri="{FF2B5EF4-FFF2-40B4-BE49-F238E27FC236}">
                        <a16:creationId xmlns:a16="http://schemas.microsoft.com/office/drawing/2014/main" id="{8B11732F-9CC2-42EE-AB66-BE2E5101BD37}"/>
                      </a:ext>
                    </a:extLst>
                  </p:cNvPr>
                  <p:cNvGrpSpPr/>
                  <p:nvPr/>
                </p:nvGrpSpPr>
                <p:grpSpPr>
                  <a:xfrm>
                    <a:off x="9538998" y="605299"/>
                    <a:ext cx="944881" cy="858986"/>
                    <a:chOff x="3369813" y="4950013"/>
                    <a:chExt cx="440826" cy="400751"/>
                  </a:xfrm>
                </p:grpSpPr>
                <p:sp>
                  <p:nvSpPr>
                    <p:cNvPr id="2841" name="Oval 2840">
                      <a:extLst>
                        <a:ext uri="{FF2B5EF4-FFF2-40B4-BE49-F238E27FC236}">
                          <a16:creationId xmlns:a16="http://schemas.microsoft.com/office/drawing/2014/main" id="{AA81403E-440E-46C0-8AAD-EAF0C5501D0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2" name="Group 226">
                      <a:extLst>
                        <a:ext uri="{FF2B5EF4-FFF2-40B4-BE49-F238E27FC236}">
                          <a16:creationId xmlns:a16="http://schemas.microsoft.com/office/drawing/2014/main" id="{565B5CAF-270F-478D-B29E-678341F504CA}"/>
                        </a:ext>
                      </a:extLst>
                    </p:cNvPr>
                    <p:cNvGrpSpPr>
                      <a:grpSpLocks noChangeAspect="1"/>
                    </p:cNvGrpSpPr>
                    <p:nvPr/>
                  </p:nvGrpSpPr>
                  <p:grpSpPr bwMode="auto">
                    <a:xfrm>
                      <a:off x="3437467" y="4997630"/>
                      <a:ext cx="305517" cy="305517"/>
                      <a:chOff x="5048" y="783"/>
                      <a:chExt cx="340" cy="340"/>
                    </a:xfrm>
                    <a:solidFill>
                      <a:schemeClr val="bg1"/>
                    </a:solidFill>
                  </p:grpSpPr>
                  <p:sp>
                    <p:nvSpPr>
                      <p:cNvPr id="2843" name="Freeform 227">
                        <a:extLst>
                          <a:ext uri="{FF2B5EF4-FFF2-40B4-BE49-F238E27FC236}">
                            <a16:creationId xmlns:a16="http://schemas.microsoft.com/office/drawing/2014/main" id="{366C18A2-9552-40A8-9B31-D9E6E6F42751}"/>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44" name="Freeform 228">
                        <a:extLst>
                          <a:ext uri="{FF2B5EF4-FFF2-40B4-BE49-F238E27FC236}">
                            <a16:creationId xmlns:a16="http://schemas.microsoft.com/office/drawing/2014/main" id="{21FD642E-B72D-4CA8-9986-89D6870F3588}"/>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33" name="Straight Connector 2832">
                    <a:extLst>
                      <a:ext uri="{FF2B5EF4-FFF2-40B4-BE49-F238E27FC236}">
                        <a16:creationId xmlns:a16="http://schemas.microsoft.com/office/drawing/2014/main" id="{383E3174-9BB6-4919-9467-9F8C351AA09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4" name="Straight Connector 2833">
                    <a:extLst>
                      <a:ext uri="{FF2B5EF4-FFF2-40B4-BE49-F238E27FC236}">
                        <a16:creationId xmlns:a16="http://schemas.microsoft.com/office/drawing/2014/main" id="{F9B7EB99-914D-41FC-AF5A-F90C88EDD6CC}"/>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5" name="Straight Connector 2834">
                    <a:extLst>
                      <a:ext uri="{FF2B5EF4-FFF2-40B4-BE49-F238E27FC236}">
                        <a16:creationId xmlns:a16="http://schemas.microsoft.com/office/drawing/2014/main" id="{BC2B2B6B-849E-4DD8-8550-64D70B59D3B9}"/>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6" name="Straight Connector 2835">
                    <a:extLst>
                      <a:ext uri="{FF2B5EF4-FFF2-40B4-BE49-F238E27FC236}">
                        <a16:creationId xmlns:a16="http://schemas.microsoft.com/office/drawing/2014/main" id="{A48ADA09-496D-45B9-96E9-D85E34A3C95D}"/>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7" name="Straight Connector 2836">
                    <a:extLst>
                      <a:ext uri="{FF2B5EF4-FFF2-40B4-BE49-F238E27FC236}">
                        <a16:creationId xmlns:a16="http://schemas.microsoft.com/office/drawing/2014/main" id="{DC4DBB82-431A-4CE8-8A16-3D69C3A21B9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8" name="Straight Connector 2837">
                    <a:extLst>
                      <a:ext uri="{FF2B5EF4-FFF2-40B4-BE49-F238E27FC236}">
                        <a16:creationId xmlns:a16="http://schemas.microsoft.com/office/drawing/2014/main" id="{A16B99CE-E9EE-4DAB-8AE5-A5F1DC8559CC}"/>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9" name="Straight Connector 2838">
                    <a:extLst>
                      <a:ext uri="{FF2B5EF4-FFF2-40B4-BE49-F238E27FC236}">
                        <a16:creationId xmlns:a16="http://schemas.microsoft.com/office/drawing/2014/main" id="{DCCDAB6B-C5CD-4CBF-8E38-210CB00383F7}"/>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0" name="Straight Connector 2839">
                    <a:extLst>
                      <a:ext uri="{FF2B5EF4-FFF2-40B4-BE49-F238E27FC236}">
                        <a16:creationId xmlns:a16="http://schemas.microsoft.com/office/drawing/2014/main" id="{A296BF29-EB62-4597-8850-8C45C724A659}"/>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28" name="Rectangle 2827">
                  <a:extLst>
                    <a:ext uri="{FF2B5EF4-FFF2-40B4-BE49-F238E27FC236}">
                      <a16:creationId xmlns:a16="http://schemas.microsoft.com/office/drawing/2014/main" id="{F06BBE9B-80D6-4DEE-92CB-5CB4F1CBF1C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856" name="Group 2855">
                <a:extLst>
                  <a:ext uri="{FF2B5EF4-FFF2-40B4-BE49-F238E27FC236}">
                    <a16:creationId xmlns:a16="http://schemas.microsoft.com/office/drawing/2014/main" id="{39FBE55D-3B31-4558-AA6D-C82DF7F5AB12}"/>
                  </a:ext>
                </a:extLst>
              </p:cNvPr>
              <p:cNvGrpSpPr/>
              <p:nvPr/>
            </p:nvGrpSpPr>
            <p:grpSpPr>
              <a:xfrm>
                <a:off x="6189282" y="2207036"/>
                <a:ext cx="309777" cy="570271"/>
                <a:chOff x="6298183" y="258138"/>
                <a:chExt cx="309777" cy="570271"/>
              </a:xfrm>
            </p:grpSpPr>
            <p:pic>
              <p:nvPicPr>
                <p:cNvPr id="2857" name="Picture 2856">
                  <a:extLst>
                    <a:ext uri="{FF2B5EF4-FFF2-40B4-BE49-F238E27FC236}">
                      <a16:creationId xmlns:a16="http://schemas.microsoft.com/office/drawing/2014/main" id="{4BBE49CE-786F-4672-A5CA-941B8AF71A9F}"/>
                    </a:ext>
                  </a:extLst>
                </p:cNvPr>
                <p:cNvPicPr>
                  <a:picLocks noChangeAspect="1"/>
                </p:cNvPicPr>
                <p:nvPr/>
              </p:nvPicPr>
              <p:blipFill>
                <a:blip r:embed="rId6"/>
                <a:stretch>
                  <a:fillRect/>
                </a:stretch>
              </p:blipFill>
              <p:spPr>
                <a:xfrm>
                  <a:off x="6298183" y="258138"/>
                  <a:ext cx="309777" cy="570271"/>
                </a:xfrm>
                <a:prstGeom prst="rect">
                  <a:avLst/>
                </a:prstGeom>
              </p:spPr>
            </p:pic>
            <p:sp>
              <p:nvSpPr>
                <p:cNvPr id="2858" name="Freeform 152">
                  <a:extLst>
                    <a:ext uri="{FF2B5EF4-FFF2-40B4-BE49-F238E27FC236}">
                      <a16:creationId xmlns:a16="http://schemas.microsoft.com/office/drawing/2014/main" id="{E3CD1546-4807-4BEC-AEFD-4BC1E9269A7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859" name="Rectangle 2858">
            <a:extLst>
              <a:ext uri="{FF2B5EF4-FFF2-40B4-BE49-F238E27FC236}">
                <a16:creationId xmlns:a16="http://schemas.microsoft.com/office/drawing/2014/main" id="{68B15680-A55E-47F6-8D5C-D956EDAD387E}"/>
              </a:ext>
            </a:extLst>
          </p:cNvPr>
          <p:cNvSpPr>
            <a:spLocks/>
          </p:cNvSpPr>
          <p:nvPr/>
        </p:nvSpPr>
        <p:spPr bwMode="gray">
          <a:xfrm>
            <a:off x="3378079" y="1689529"/>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860" name="Group 2859">
            <a:extLst>
              <a:ext uri="{FF2B5EF4-FFF2-40B4-BE49-F238E27FC236}">
                <a16:creationId xmlns:a16="http://schemas.microsoft.com/office/drawing/2014/main" id="{8469F45A-26BD-4B2C-B9E7-6A5F332A7359}"/>
              </a:ext>
            </a:extLst>
          </p:cNvPr>
          <p:cNvGrpSpPr/>
          <p:nvPr/>
        </p:nvGrpSpPr>
        <p:grpSpPr>
          <a:xfrm>
            <a:off x="412748" y="1219432"/>
            <a:ext cx="11430427" cy="561479"/>
            <a:chOff x="347472" y="1051180"/>
            <a:chExt cx="11667743" cy="561625"/>
          </a:xfrm>
        </p:grpSpPr>
        <p:grpSp>
          <p:nvGrpSpPr>
            <p:cNvPr id="2861" name="Group 2860">
              <a:extLst>
                <a:ext uri="{FF2B5EF4-FFF2-40B4-BE49-F238E27FC236}">
                  <a16:creationId xmlns:a16="http://schemas.microsoft.com/office/drawing/2014/main" id="{4C8E5E70-E4D0-4028-8B01-CF3D9E25E7CD}"/>
                </a:ext>
              </a:extLst>
            </p:cNvPr>
            <p:cNvGrpSpPr/>
            <p:nvPr/>
          </p:nvGrpSpPr>
          <p:grpSpPr>
            <a:xfrm>
              <a:off x="347472" y="1051180"/>
              <a:ext cx="11667743" cy="561625"/>
              <a:chOff x="347472" y="1051180"/>
              <a:chExt cx="11667743" cy="561625"/>
            </a:xfrm>
          </p:grpSpPr>
          <p:grpSp>
            <p:nvGrpSpPr>
              <p:cNvPr id="2863" name="Group 2862">
                <a:extLst>
                  <a:ext uri="{FF2B5EF4-FFF2-40B4-BE49-F238E27FC236}">
                    <a16:creationId xmlns:a16="http://schemas.microsoft.com/office/drawing/2014/main" id="{19B053B6-D501-46E8-8324-28B2181F54E8}"/>
                  </a:ext>
                </a:extLst>
              </p:cNvPr>
              <p:cNvGrpSpPr/>
              <p:nvPr/>
            </p:nvGrpSpPr>
            <p:grpSpPr>
              <a:xfrm>
                <a:off x="347472" y="1154250"/>
                <a:ext cx="11667743" cy="458555"/>
                <a:chOff x="390609" y="1132914"/>
                <a:chExt cx="11511569" cy="458555"/>
              </a:xfrm>
            </p:grpSpPr>
            <p:sp>
              <p:nvSpPr>
                <p:cNvPr id="2865" name="Rectangle: Rounded Corners 2864">
                  <a:extLst>
                    <a:ext uri="{FF2B5EF4-FFF2-40B4-BE49-F238E27FC236}">
                      <a16:creationId xmlns:a16="http://schemas.microsoft.com/office/drawing/2014/main" id="{C0ECC67F-0257-4ADE-8214-7AF66289F9D4}"/>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66" name="Rectangle 2865">
                  <a:extLst>
                    <a:ext uri="{FF2B5EF4-FFF2-40B4-BE49-F238E27FC236}">
                      <a16:creationId xmlns:a16="http://schemas.microsoft.com/office/drawing/2014/main" id="{31A4B2A4-CB38-47F9-918B-83E5241FED48}"/>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867" name="Rectangle 2866">
                  <a:extLst>
                    <a:ext uri="{FF2B5EF4-FFF2-40B4-BE49-F238E27FC236}">
                      <a16:creationId xmlns:a16="http://schemas.microsoft.com/office/drawing/2014/main" id="{D4656027-3B78-4CB3-A1A2-D6BB2C320FF7}"/>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868" name="Rectangle 2867">
                  <a:extLst>
                    <a:ext uri="{FF2B5EF4-FFF2-40B4-BE49-F238E27FC236}">
                      <a16:creationId xmlns:a16="http://schemas.microsoft.com/office/drawing/2014/main" id="{C98E7147-5C83-4907-A983-19382A05947B}"/>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869" name="Isosceles Triangle 2868">
                  <a:extLst>
                    <a:ext uri="{FF2B5EF4-FFF2-40B4-BE49-F238E27FC236}">
                      <a16:creationId xmlns:a16="http://schemas.microsoft.com/office/drawing/2014/main" id="{377B7AEF-DD5C-407A-BC96-22FE913B1FDF}"/>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70" name="Isosceles Triangle 2869">
                  <a:extLst>
                    <a:ext uri="{FF2B5EF4-FFF2-40B4-BE49-F238E27FC236}">
                      <a16:creationId xmlns:a16="http://schemas.microsoft.com/office/drawing/2014/main" id="{9E20B44C-313C-46AE-B0F0-4AB18A509ADA}"/>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4" name="Isosceles Triangle 2863">
                <a:extLst>
                  <a:ext uri="{FF2B5EF4-FFF2-40B4-BE49-F238E27FC236}">
                    <a16:creationId xmlns:a16="http://schemas.microsoft.com/office/drawing/2014/main" id="{A841C7DD-F4A1-4DCA-8EFD-70E365D590F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2" name="Isosceles Triangle 2861">
              <a:extLst>
                <a:ext uri="{FF2B5EF4-FFF2-40B4-BE49-F238E27FC236}">
                  <a16:creationId xmlns:a16="http://schemas.microsoft.com/office/drawing/2014/main" id="{6C5E3EB9-EC10-4A5A-BE32-40C4AD1E2BB9}"/>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834" name="Rectangle 833">
            <a:extLst>
              <a:ext uri="{FF2B5EF4-FFF2-40B4-BE49-F238E27FC236}">
                <a16:creationId xmlns:a16="http://schemas.microsoft.com/office/drawing/2014/main" id="{09D63263-2CCD-45C6-A222-792ECEF75332}"/>
              </a:ext>
            </a:extLst>
          </p:cNvPr>
          <p:cNvSpPr/>
          <p:nvPr/>
        </p:nvSpPr>
        <p:spPr>
          <a:xfrm>
            <a:off x="7011392" y="474389"/>
            <a:ext cx="4360636" cy="425758"/>
          </a:xfrm>
          <a:prstGeom prst="rect">
            <a:avLst/>
          </a:prstGeom>
          <a:solidFill>
            <a:schemeClr val="bg1"/>
          </a:solidFill>
          <a:ln w="28575">
            <a:solidFill>
              <a:schemeClr val="accent3"/>
            </a:solidFill>
          </a:ln>
        </p:spPr>
        <p:txBody>
          <a:bodyPr wrap="square">
            <a:spAutoFit/>
          </a:bodyPr>
          <a:lstStyle/>
          <a:p>
            <a:pPr>
              <a:lnSpc>
                <a:spcPts val="1278"/>
              </a:lnSpc>
              <a:spcAft>
                <a:spcPts val="602"/>
              </a:spcAft>
              <a:tabLst>
                <a:tab pos="343739" algn="l"/>
              </a:tabLst>
            </a:pPr>
            <a:r>
              <a:rPr lang="en-US" sz="1200" b="1" dirty="0">
                <a:cs typeface="Times New Roman" panose="02020603050405020304" pitchFamily="18" charset="0"/>
              </a:rPr>
              <a:t>Purpose: </a:t>
            </a:r>
            <a:r>
              <a:rPr lang="en-US" sz="1200" dirty="0">
                <a:cs typeface="Times New Roman" panose="02020603050405020304" pitchFamily="18" charset="0"/>
              </a:rPr>
              <a:t>Share the outcomes of the sprint (accepted User Stories) with stakeholders, elicit feedback, and foster collaboration.</a:t>
            </a:r>
          </a:p>
        </p:txBody>
      </p:sp>
    </p:spTree>
    <p:custDataLst>
      <p:tags r:id="rId1"/>
    </p:custDataLst>
    <p:extLst>
      <p:ext uri="{BB962C8B-B14F-4D97-AF65-F5344CB8AC3E}">
        <p14:creationId xmlns:p14="http://schemas.microsoft.com/office/powerpoint/2010/main" val="6284384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B32586-A329-42A3-B725-35EBB6CD32D8}"/>
              </a:ext>
            </a:extLst>
          </p:cNvPr>
          <p:cNvSpPr>
            <a:spLocks noGrp="1"/>
          </p:cNvSpPr>
          <p:nvPr>
            <p:ph type="title"/>
          </p:nvPr>
        </p:nvSpPr>
        <p:spPr/>
        <p:txBody>
          <a:bodyPr/>
          <a:lstStyle/>
          <a:p>
            <a:r>
              <a:rPr lang="en-US" dirty="0"/>
              <a:t>Housekeeping </a:t>
            </a:r>
          </a:p>
        </p:txBody>
      </p:sp>
      <p:sp>
        <p:nvSpPr>
          <p:cNvPr id="78" name="Text Placeholder 4">
            <a:extLst>
              <a:ext uri="{FF2B5EF4-FFF2-40B4-BE49-F238E27FC236}">
                <a16:creationId xmlns:a16="http://schemas.microsoft.com/office/drawing/2014/main" id="{7607FBFC-A373-4EE7-B631-55201EC2F0D7}"/>
              </a:ext>
            </a:extLst>
          </p:cNvPr>
          <p:cNvSpPr>
            <a:spLocks noGrp="1"/>
          </p:cNvSpPr>
          <p:nvPr>
            <p:ph type="body" sz="quarter" idx="13"/>
          </p:nvPr>
        </p:nvSpPr>
        <p:spPr/>
        <p:txBody>
          <a:bodyPr/>
          <a:lstStyle/>
          <a:p>
            <a:r>
              <a:rPr lang="en-US" dirty="0"/>
              <a:t> </a:t>
            </a:r>
          </a:p>
          <a:p>
            <a:endParaRPr lang="en-US" dirty="0"/>
          </a:p>
        </p:txBody>
      </p:sp>
      <p:sp>
        <p:nvSpPr>
          <p:cNvPr id="6" name="Rectangle 5">
            <a:extLst>
              <a:ext uri="{FF2B5EF4-FFF2-40B4-BE49-F238E27FC236}">
                <a16:creationId xmlns:a16="http://schemas.microsoft.com/office/drawing/2014/main" id="{5DDD4D31-C903-40CB-9990-5ADB63699A73}"/>
              </a:ext>
            </a:extLst>
          </p:cNvPr>
          <p:cNvSpPr/>
          <p:nvPr/>
        </p:nvSpPr>
        <p:spPr bwMode="gray">
          <a:xfrm>
            <a:off x="8111536" y="1599025"/>
            <a:ext cx="3469436" cy="1137687"/>
          </a:xfrm>
          <a:prstGeom prst="rect">
            <a:avLst/>
          </a:prstGeom>
          <a:solidFill>
            <a:schemeClr val="bg1"/>
          </a:solidFill>
          <a:ln w="9525">
            <a:solidFill>
              <a:schemeClr val="tx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lIns="88877" tIns="88877" rIns="88877" bIns="88877" rtlCol="0" anchor="ctr"/>
          <a:lstStyle/>
          <a:p>
            <a:pPr algn="ctr" defTabSz="914126">
              <a:lnSpc>
                <a:spcPct val="106000"/>
              </a:lnSpc>
              <a:defRPr/>
            </a:pPr>
            <a:r>
              <a:rPr lang="en-US" sz="1600" kern="0" dirty="0">
                <a:solidFill>
                  <a:schemeClr val="tx1"/>
                </a:solidFill>
                <a:ea typeface="Open Sans" panose="020B0606030504020204" pitchFamily="34" charset="0"/>
                <a:cs typeface="Calibri" panose="020F0502020204030204" pitchFamily="34" charset="0"/>
              </a:rPr>
              <a:t>There will be interactions throughout the course – to be effective, </a:t>
            </a:r>
            <a:r>
              <a:rPr lang="en-US" sz="1600" b="1" kern="0" dirty="0">
                <a:solidFill>
                  <a:schemeClr val="accent1"/>
                </a:solidFill>
                <a:ea typeface="Open Sans" panose="020B0606030504020204" pitchFamily="34" charset="0"/>
                <a:cs typeface="Calibri" panose="020F0502020204030204" pitchFamily="34" charset="0"/>
              </a:rPr>
              <a:t>be an active participant.</a:t>
            </a:r>
            <a:endParaRPr lang="en-US" sz="1200" b="1" kern="0" dirty="0">
              <a:solidFill>
                <a:schemeClr val="accent1"/>
              </a:solidFill>
              <a:ea typeface="Open Sans" panose="020B060603050402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B677E6C5-C8DA-4B71-ADA0-3D04CCE0E631}"/>
              </a:ext>
            </a:extLst>
          </p:cNvPr>
          <p:cNvSpPr/>
          <p:nvPr/>
        </p:nvSpPr>
        <p:spPr bwMode="gray">
          <a:xfrm>
            <a:off x="4361282" y="1599025"/>
            <a:ext cx="3469436" cy="1137687"/>
          </a:xfrm>
          <a:prstGeom prst="rect">
            <a:avLst/>
          </a:prstGeom>
          <a:solidFill>
            <a:schemeClr val="bg1"/>
          </a:solidFill>
          <a:ln w="9525">
            <a:solidFill>
              <a:schemeClr val="tx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lIns="88877" tIns="88877" rIns="88877" bIns="88877" rtlCol="0" anchor="ctr"/>
          <a:lstStyle/>
          <a:p>
            <a:pPr algn="ctr" defTabSz="914126">
              <a:lnSpc>
                <a:spcPct val="106000"/>
              </a:lnSpc>
              <a:defRPr/>
            </a:pPr>
            <a:r>
              <a:rPr lang="en-US" sz="1600" kern="0" dirty="0">
                <a:solidFill>
                  <a:schemeClr val="tx1"/>
                </a:solidFill>
                <a:ea typeface="Open Sans" panose="020B0606030504020204" pitchFamily="34" charset="0"/>
                <a:cs typeface="Calibri" panose="020F0502020204030204" pitchFamily="34" charset="0"/>
              </a:rPr>
              <a:t>We will pause for questions periodically, feel free to </a:t>
            </a:r>
            <a:r>
              <a:rPr lang="en-US" sz="1600" b="1" kern="0" dirty="0">
                <a:solidFill>
                  <a:schemeClr val="accent1"/>
                </a:solidFill>
                <a:ea typeface="Open Sans" panose="020B0606030504020204" pitchFamily="34" charset="0"/>
                <a:cs typeface="Calibri" panose="020F0502020204030204" pitchFamily="34" charset="0"/>
              </a:rPr>
              <a:t>add your questions to chat anytime.</a:t>
            </a:r>
            <a:endParaRPr lang="en-US" sz="1200" b="1" kern="0" dirty="0">
              <a:solidFill>
                <a:schemeClr val="accent1"/>
              </a:solidFill>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06720AFC-AE73-4E63-AC2A-32B8CA7C2B4A}"/>
              </a:ext>
            </a:extLst>
          </p:cNvPr>
          <p:cNvSpPr/>
          <p:nvPr/>
        </p:nvSpPr>
        <p:spPr bwMode="gray">
          <a:xfrm>
            <a:off x="611029" y="1599025"/>
            <a:ext cx="3469436" cy="1137687"/>
          </a:xfrm>
          <a:prstGeom prst="rect">
            <a:avLst/>
          </a:prstGeom>
          <a:solidFill>
            <a:schemeClr val="bg1"/>
          </a:solidFill>
          <a:ln w="9525">
            <a:solidFill>
              <a:schemeClr val="tx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lIns="88877" tIns="88877" rIns="88877" bIns="88877" rtlCol="0" anchor="ctr"/>
          <a:lstStyle/>
          <a:p>
            <a:pPr algn="ctr" defTabSz="914126">
              <a:lnSpc>
                <a:spcPct val="106000"/>
              </a:lnSpc>
              <a:defRPr/>
            </a:pPr>
            <a:r>
              <a:rPr lang="en-US" sz="1600" kern="0" dirty="0">
                <a:solidFill>
                  <a:schemeClr val="tx1"/>
                </a:solidFill>
                <a:ea typeface="Open Sans" panose="020B0606030504020204" pitchFamily="34" charset="0"/>
                <a:cs typeface="Calibri" panose="020F0502020204030204" pitchFamily="34" charset="0"/>
              </a:rPr>
              <a:t>Please</a:t>
            </a:r>
            <a:r>
              <a:rPr lang="en-US" sz="1600" b="1" kern="0" dirty="0">
                <a:solidFill>
                  <a:schemeClr val="tx1"/>
                </a:solidFill>
                <a:ea typeface="Open Sans" panose="020B0606030504020204" pitchFamily="34" charset="0"/>
                <a:cs typeface="Calibri" panose="020F0502020204030204" pitchFamily="34" charset="0"/>
              </a:rPr>
              <a:t> </a:t>
            </a:r>
            <a:r>
              <a:rPr lang="en-US" sz="1600" b="1" kern="0" dirty="0">
                <a:solidFill>
                  <a:schemeClr val="accent1"/>
                </a:solidFill>
                <a:ea typeface="Open Sans" panose="020B0606030504020204" pitchFamily="34" charset="0"/>
                <a:cs typeface="Calibri" panose="020F0502020204030204" pitchFamily="34" charset="0"/>
              </a:rPr>
              <a:t>shut down your email &amp; </a:t>
            </a:r>
            <a:r>
              <a:rPr lang="en-US" sz="1600" kern="0" dirty="0">
                <a:solidFill>
                  <a:schemeClr val="accent1"/>
                </a:solidFill>
                <a:ea typeface="Open Sans" panose="020B0606030504020204" pitchFamily="34" charset="0"/>
                <a:cs typeface="Calibri" panose="020F0502020204030204" pitchFamily="34" charset="0"/>
              </a:rPr>
              <a:t>and</a:t>
            </a:r>
            <a:r>
              <a:rPr lang="en-US" sz="1600" b="1" kern="0" dirty="0">
                <a:solidFill>
                  <a:schemeClr val="accent1"/>
                </a:solidFill>
                <a:ea typeface="Open Sans" panose="020B0606030504020204" pitchFamily="34" charset="0"/>
                <a:cs typeface="Calibri" panose="020F0502020204030204" pitchFamily="34" charset="0"/>
              </a:rPr>
              <a:t> set IM to ‘do not disturb’ </a:t>
            </a:r>
            <a:r>
              <a:rPr lang="en-US" sz="1600" kern="0" dirty="0">
                <a:solidFill>
                  <a:schemeClr val="tx1"/>
                </a:solidFill>
                <a:ea typeface="Open Sans" panose="020B0606030504020204" pitchFamily="34" charset="0"/>
                <a:cs typeface="Calibri" panose="020F0502020204030204" pitchFamily="34" charset="0"/>
              </a:rPr>
              <a:t>to avoid distractions.</a:t>
            </a:r>
            <a:endParaRPr lang="en-US" sz="1200" kern="0" dirty="0">
              <a:solidFill>
                <a:schemeClr val="tx1"/>
              </a:solidFill>
              <a:ea typeface="Open Sans" panose="020B060603050402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515B6558-ECCD-4A6A-B197-EBE4578C2034}"/>
              </a:ext>
            </a:extLst>
          </p:cNvPr>
          <p:cNvGrpSpPr/>
          <p:nvPr/>
        </p:nvGrpSpPr>
        <p:grpSpPr>
          <a:xfrm>
            <a:off x="1571263" y="3303593"/>
            <a:ext cx="9049474" cy="2714436"/>
            <a:chOff x="2104503" y="3504012"/>
            <a:chExt cx="7713147" cy="2313597"/>
          </a:xfrm>
        </p:grpSpPr>
        <p:sp>
          <p:nvSpPr>
            <p:cNvPr id="17" name="Rectangle 16">
              <a:extLst>
                <a:ext uri="{FF2B5EF4-FFF2-40B4-BE49-F238E27FC236}">
                  <a16:creationId xmlns:a16="http://schemas.microsoft.com/office/drawing/2014/main" id="{CAFF0FEB-5467-47FF-94E1-159A8D0159EA}"/>
                </a:ext>
              </a:extLst>
            </p:cNvPr>
            <p:cNvSpPr/>
            <p:nvPr/>
          </p:nvSpPr>
          <p:spPr bwMode="gray">
            <a:xfrm>
              <a:off x="2104503" y="3504012"/>
              <a:ext cx="7713147" cy="2313597"/>
            </a:xfrm>
            <a:prstGeom prst="rect">
              <a:avLst/>
            </a:prstGeom>
            <a:solidFill>
              <a:schemeClr val="bg1"/>
            </a:solidFill>
            <a:ln w="9525">
              <a:solidFill>
                <a:schemeClr val="tx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lIns="88877" tIns="88877" rIns="88877" bIns="88877" rtlCol="0" anchor="t"/>
            <a:lstStyle/>
            <a:p>
              <a:pPr algn="ctr" defTabSz="914126">
                <a:lnSpc>
                  <a:spcPct val="106000"/>
                </a:lnSpc>
                <a:defRPr/>
              </a:pPr>
              <a:r>
                <a:rPr lang="en-US" sz="1600" kern="0" dirty="0">
                  <a:solidFill>
                    <a:schemeClr val="tx1"/>
                  </a:solidFill>
                  <a:ea typeface="Open Sans" panose="020B0606030504020204" pitchFamily="34" charset="0"/>
                  <a:cs typeface="Calibri" panose="020F0502020204030204" pitchFamily="34" charset="0"/>
                </a:rPr>
                <a:t>Use the Zoom </a:t>
              </a:r>
              <a:r>
                <a:rPr lang="en-US" sz="1600" b="1" kern="0" dirty="0">
                  <a:solidFill>
                    <a:schemeClr val="tx1"/>
                  </a:solidFill>
                  <a:ea typeface="Open Sans" panose="020B0606030504020204" pitchFamily="34" charset="0"/>
                  <a:cs typeface="Calibri" panose="020F0502020204030204" pitchFamily="34" charset="0"/>
                </a:rPr>
                <a:t>annotate</a:t>
              </a:r>
              <a:r>
                <a:rPr lang="en-US" sz="1600" kern="0" dirty="0">
                  <a:solidFill>
                    <a:schemeClr val="tx1"/>
                  </a:solidFill>
                  <a:ea typeface="Open Sans" panose="020B0606030504020204" pitchFamily="34" charset="0"/>
                  <a:cs typeface="Calibri" panose="020F0502020204030204" pitchFamily="34" charset="0"/>
                </a:rPr>
                <a:t> feature to interact on screen – found at the top of your screen.</a:t>
              </a:r>
              <a:endParaRPr lang="en-US" sz="1200" kern="0" dirty="0">
                <a:solidFill>
                  <a:schemeClr val="tx1"/>
                </a:solidFill>
                <a:ea typeface="Open Sans" panose="020B0606030504020204" pitchFamily="34" charset="0"/>
                <a:cs typeface="Calibri" panose="020F0502020204030204" pitchFamily="34" charset="0"/>
              </a:endParaRPr>
            </a:p>
          </p:txBody>
        </p:sp>
        <p:pic>
          <p:nvPicPr>
            <p:cNvPr id="3074" name="Picture 2" descr="C:\Users\KIMROB~1\AppData\Local\Temp\SNAGHTML56abed.PNG">
              <a:extLst>
                <a:ext uri="{FF2B5EF4-FFF2-40B4-BE49-F238E27FC236}">
                  <a16:creationId xmlns:a16="http://schemas.microsoft.com/office/drawing/2014/main" id="{74C0AB27-2BD4-4588-810E-AA1252F0AB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4423" y="3847484"/>
              <a:ext cx="7253308" cy="19701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34A298B-DAC6-4B75-9E66-7336C726D9C7}"/>
                </a:ext>
              </a:extLst>
            </p:cNvPr>
            <p:cNvSpPr/>
            <p:nvPr/>
          </p:nvSpPr>
          <p:spPr>
            <a:xfrm>
              <a:off x="4811949" y="3901653"/>
              <a:ext cx="904460" cy="234412"/>
            </a:xfrm>
            <a:prstGeom prst="rect">
              <a:avLst/>
            </a:prstGeom>
            <a:solidFill>
              <a:srgbClr val="4BC8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US" sz="1100" b="1" dirty="0">
                  <a:solidFill>
                    <a:schemeClr val="bg2">
                      <a:lumMod val="25000"/>
                    </a:schemeClr>
                  </a:solidFill>
                  <a:cs typeface="Arial" panose="020B0604020202020204" pitchFamily="34" charset="0"/>
                </a:rPr>
                <a:t>a facilitator’s</a:t>
              </a:r>
            </a:p>
          </p:txBody>
        </p:sp>
      </p:grpSp>
    </p:spTree>
    <p:extLst>
      <p:ext uri="{BB962C8B-B14F-4D97-AF65-F5344CB8AC3E}">
        <p14:creationId xmlns:p14="http://schemas.microsoft.com/office/powerpoint/2010/main" val="405395972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dirty="0"/>
              <a:t>Sprinting: Perform Sprint Retrospective</a:t>
            </a:r>
            <a:endParaRPr lang="en-US" dirty="0"/>
          </a:p>
        </p:txBody>
      </p:sp>
      <p:graphicFrame>
        <p:nvGraphicFramePr>
          <p:cNvPr id="2189" name="Table 2188">
            <a:extLst>
              <a:ext uri="{FF2B5EF4-FFF2-40B4-BE49-F238E27FC236}">
                <a16:creationId xmlns:a16="http://schemas.microsoft.com/office/drawing/2014/main" id="{F0E03C91-B69E-47A5-BFB5-55222D8F4D7C}"/>
              </a:ext>
            </a:extLst>
          </p:cNvPr>
          <p:cNvGraphicFramePr>
            <a:graphicFrameLocks noGrp="1"/>
          </p:cNvGraphicFramePr>
          <p:nvPr/>
        </p:nvGraphicFramePr>
        <p:xfrm>
          <a:off x="4180215" y="3297078"/>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190" name="Rectangle 2189">
            <a:extLst>
              <a:ext uri="{FF2B5EF4-FFF2-40B4-BE49-F238E27FC236}">
                <a16:creationId xmlns:a16="http://schemas.microsoft.com/office/drawing/2014/main" id="{5B242AB0-D087-45B9-991C-D144B01E7F0A}"/>
              </a:ext>
            </a:extLst>
          </p:cNvPr>
          <p:cNvSpPr>
            <a:spLocks/>
          </p:cNvSpPr>
          <p:nvPr/>
        </p:nvSpPr>
        <p:spPr bwMode="gray">
          <a:xfrm>
            <a:off x="9920415" y="1689529"/>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192" name="Table 2191">
            <a:extLst>
              <a:ext uri="{FF2B5EF4-FFF2-40B4-BE49-F238E27FC236}">
                <a16:creationId xmlns:a16="http://schemas.microsoft.com/office/drawing/2014/main" id="{2AC1EC88-3AC8-4154-AB0C-7952CEFF5CBB}"/>
              </a:ext>
            </a:extLst>
          </p:cNvPr>
          <p:cNvGraphicFramePr>
            <a:graphicFrameLocks noGrp="1"/>
          </p:cNvGraphicFramePr>
          <p:nvPr/>
        </p:nvGraphicFramePr>
        <p:xfrm>
          <a:off x="470204" y="4578245"/>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426" name="Group 2425">
            <a:extLst>
              <a:ext uri="{FF2B5EF4-FFF2-40B4-BE49-F238E27FC236}">
                <a16:creationId xmlns:a16="http://schemas.microsoft.com/office/drawing/2014/main" id="{2F4C1848-C988-45F9-9A19-5A120656476B}"/>
              </a:ext>
            </a:extLst>
          </p:cNvPr>
          <p:cNvGrpSpPr/>
          <p:nvPr/>
        </p:nvGrpSpPr>
        <p:grpSpPr>
          <a:xfrm>
            <a:off x="7903676" y="3444205"/>
            <a:ext cx="1851680" cy="1646153"/>
            <a:chOff x="7893402" y="3412713"/>
            <a:chExt cx="1856890" cy="1650785"/>
          </a:xfrm>
        </p:grpSpPr>
        <p:sp>
          <p:nvSpPr>
            <p:cNvPr id="2427" name="Rectangle 2426">
              <a:extLst>
                <a:ext uri="{FF2B5EF4-FFF2-40B4-BE49-F238E27FC236}">
                  <a16:creationId xmlns:a16="http://schemas.microsoft.com/office/drawing/2014/main" id="{D9F7DB93-4E3A-445A-84F6-267EFDFB5C92}"/>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2428" name="Rectangle 2427">
              <a:extLst>
                <a:ext uri="{FF2B5EF4-FFF2-40B4-BE49-F238E27FC236}">
                  <a16:creationId xmlns:a16="http://schemas.microsoft.com/office/drawing/2014/main" id="{5A4FD49F-7F1D-4CC7-879F-A7ABB52F356B}"/>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2429" name="Group 2428">
              <a:extLst>
                <a:ext uri="{FF2B5EF4-FFF2-40B4-BE49-F238E27FC236}">
                  <a16:creationId xmlns:a16="http://schemas.microsoft.com/office/drawing/2014/main" id="{E550472D-B9B8-4771-92F4-8C23F6AF67DF}"/>
                </a:ext>
              </a:extLst>
            </p:cNvPr>
            <p:cNvGrpSpPr>
              <a:grpSpLocks/>
            </p:cNvGrpSpPr>
            <p:nvPr/>
          </p:nvGrpSpPr>
          <p:grpSpPr>
            <a:xfrm>
              <a:off x="8732469" y="4576554"/>
              <a:ext cx="486942" cy="486944"/>
              <a:chOff x="9882273" y="6953856"/>
              <a:chExt cx="473625" cy="473627"/>
            </a:xfrm>
          </p:grpSpPr>
          <p:grpSp>
            <p:nvGrpSpPr>
              <p:cNvPr id="2453" name="Group 64">
                <a:extLst>
                  <a:ext uri="{FF2B5EF4-FFF2-40B4-BE49-F238E27FC236}">
                    <a16:creationId xmlns:a16="http://schemas.microsoft.com/office/drawing/2014/main" id="{5A9F3FCF-076A-4178-91D1-F68A9EE43502}"/>
                  </a:ext>
                </a:extLst>
              </p:cNvPr>
              <p:cNvGrpSpPr>
                <a:grpSpLocks noChangeAspect="1"/>
              </p:cNvGrpSpPr>
              <p:nvPr/>
            </p:nvGrpSpPr>
            <p:grpSpPr bwMode="auto">
              <a:xfrm rot="8100000">
                <a:off x="9882273" y="6953856"/>
                <a:ext cx="473625" cy="473627"/>
                <a:chOff x="701" y="2170"/>
                <a:chExt cx="587" cy="587"/>
              </a:xfrm>
            </p:grpSpPr>
            <p:sp>
              <p:nvSpPr>
                <p:cNvPr id="2485" name="Oval 65">
                  <a:extLst>
                    <a:ext uri="{FF2B5EF4-FFF2-40B4-BE49-F238E27FC236}">
                      <a16:creationId xmlns:a16="http://schemas.microsoft.com/office/drawing/2014/main" id="{C06DCFE0-CD33-46A3-89C2-7B34BD64FF8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86" name="Line 66">
                  <a:extLst>
                    <a:ext uri="{FF2B5EF4-FFF2-40B4-BE49-F238E27FC236}">
                      <a16:creationId xmlns:a16="http://schemas.microsoft.com/office/drawing/2014/main" id="{E38981EB-CCBD-4C80-8E94-4444018615C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7" name="Line 67">
                  <a:extLst>
                    <a:ext uri="{FF2B5EF4-FFF2-40B4-BE49-F238E27FC236}">
                      <a16:creationId xmlns:a16="http://schemas.microsoft.com/office/drawing/2014/main" id="{C186E825-A38E-4E39-9B40-6D5B1F81404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8" name="Line 69">
                  <a:extLst>
                    <a:ext uri="{FF2B5EF4-FFF2-40B4-BE49-F238E27FC236}">
                      <a16:creationId xmlns:a16="http://schemas.microsoft.com/office/drawing/2014/main" id="{14D5BAF0-9E9C-489A-92B1-1DE9CD9CA6B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9" name="Line 74">
                  <a:extLst>
                    <a:ext uri="{FF2B5EF4-FFF2-40B4-BE49-F238E27FC236}">
                      <a16:creationId xmlns:a16="http://schemas.microsoft.com/office/drawing/2014/main" id="{1DC512FF-4C45-449B-BD3B-FB57DC2DA17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0" name="Freeform 78">
                  <a:extLst>
                    <a:ext uri="{FF2B5EF4-FFF2-40B4-BE49-F238E27FC236}">
                      <a16:creationId xmlns:a16="http://schemas.microsoft.com/office/drawing/2014/main" id="{11F014B2-A79B-4EE6-8822-F8FFB8A3145F}"/>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1" name="Freeform 80">
                  <a:extLst>
                    <a:ext uri="{FF2B5EF4-FFF2-40B4-BE49-F238E27FC236}">
                      <a16:creationId xmlns:a16="http://schemas.microsoft.com/office/drawing/2014/main" id="{176D9644-E2D3-47F1-A3BD-EFE68816428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54" name="Group 2453">
                <a:extLst>
                  <a:ext uri="{FF2B5EF4-FFF2-40B4-BE49-F238E27FC236}">
                    <a16:creationId xmlns:a16="http://schemas.microsoft.com/office/drawing/2014/main" id="{A36C6C24-1B12-4B73-B1D3-DA437E6DB632}"/>
                  </a:ext>
                </a:extLst>
              </p:cNvPr>
              <p:cNvGrpSpPr/>
              <p:nvPr/>
            </p:nvGrpSpPr>
            <p:grpSpPr>
              <a:xfrm>
                <a:off x="9938546" y="7021642"/>
                <a:ext cx="356509" cy="349884"/>
                <a:chOff x="468738" y="2241878"/>
                <a:chExt cx="1655483" cy="1624719"/>
              </a:xfrm>
            </p:grpSpPr>
            <p:sp>
              <p:nvSpPr>
                <p:cNvPr id="2455" name="Freeform 5">
                  <a:extLst>
                    <a:ext uri="{FF2B5EF4-FFF2-40B4-BE49-F238E27FC236}">
                      <a16:creationId xmlns:a16="http://schemas.microsoft.com/office/drawing/2014/main" id="{81516C26-7CC0-4865-98F2-05E519A79E28}"/>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6" name="Freeform 6">
                  <a:extLst>
                    <a:ext uri="{FF2B5EF4-FFF2-40B4-BE49-F238E27FC236}">
                      <a16:creationId xmlns:a16="http://schemas.microsoft.com/office/drawing/2014/main" id="{EE1ECE39-B1C7-4972-AFDA-9B1C7AE92CAF}"/>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7" name="Line 7">
                  <a:extLst>
                    <a:ext uri="{FF2B5EF4-FFF2-40B4-BE49-F238E27FC236}">
                      <a16:creationId xmlns:a16="http://schemas.microsoft.com/office/drawing/2014/main" id="{69BEF833-005A-448B-A4A9-24B2B3F1948D}"/>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8" name="Freeform 8">
                  <a:extLst>
                    <a:ext uri="{FF2B5EF4-FFF2-40B4-BE49-F238E27FC236}">
                      <a16:creationId xmlns:a16="http://schemas.microsoft.com/office/drawing/2014/main" id="{4CA596B5-A245-4062-A62B-36A320793F1D}"/>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9" name="Line 9">
                  <a:extLst>
                    <a:ext uri="{FF2B5EF4-FFF2-40B4-BE49-F238E27FC236}">
                      <a16:creationId xmlns:a16="http://schemas.microsoft.com/office/drawing/2014/main" id="{12F30B3B-3621-49D6-B689-39D1687694B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460" name="Group 2459">
                  <a:extLst>
                    <a:ext uri="{FF2B5EF4-FFF2-40B4-BE49-F238E27FC236}">
                      <a16:creationId xmlns:a16="http://schemas.microsoft.com/office/drawing/2014/main" id="{47E72258-8CD2-4EDB-A4D3-4378433914C3}"/>
                    </a:ext>
                  </a:extLst>
                </p:cNvPr>
                <p:cNvGrpSpPr/>
                <p:nvPr/>
              </p:nvGrpSpPr>
              <p:grpSpPr>
                <a:xfrm>
                  <a:off x="1207113" y="2241878"/>
                  <a:ext cx="178734" cy="348678"/>
                  <a:chOff x="1207113" y="2241878"/>
                  <a:chExt cx="178734" cy="348678"/>
                </a:xfrm>
              </p:grpSpPr>
              <p:sp>
                <p:nvSpPr>
                  <p:cNvPr id="2483" name="Freeform 10">
                    <a:extLst>
                      <a:ext uri="{FF2B5EF4-FFF2-40B4-BE49-F238E27FC236}">
                        <a16:creationId xmlns:a16="http://schemas.microsoft.com/office/drawing/2014/main" id="{0C47D3E7-79FB-4169-AE5B-0D9C483BA7E2}"/>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4" name="Line 11">
                    <a:extLst>
                      <a:ext uri="{FF2B5EF4-FFF2-40B4-BE49-F238E27FC236}">
                        <a16:creationId xmlns:a16="http://schemas.microsoft.com/office/drawing/2014/main" id="{670F208F-5573-499B-AFB3-91B6275BEE3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461" name="Freeform 12">
                  <a:extLst>
                    <a:ext uri="{FF2B5EF4-FFF2-40B4-BE49-F238E27FC236}">
                      <a16:creationId xmlns:a16="http://schemas.microsoft.com/office/drawing/2014/main" id="{A86151A1-61DE-43C2-951B-92C53D5C336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2" name="Line 13">
                  <a:extLst>
                    <a:ext uri="{FF2B5EF4-FFF2-40B4-BE49-F238E27FC236}">
                      <a16:creationId xmlns:a16="http://schemas.microsoft.com/office/drawing/2014/main" id="{6673D6AB-E26B-405F-A42F-2A1A51E2797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3" name="Freeform 14">
                  <a:extLst>
                    <a:ext uri="{FF2B5EF4-FFF2-40B4-BE49-F238E27FC236}">
                      <a16:creationId xmlns:a16="http://schemas.microsoft.com/office/drawing/2014/main" id="{B1450993-D7A3-4940-9FF8-C4D4522FDEC1}"/>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4" name="Line 15">
                  <a:extLst>
                    <a:ext uri="{FF2B5EF4-FFF2-40B4-BE49-F238E27FC236}">
                      <a16:creationId xmlns:a16="http://schemas.microsoft.com/office/drawing/2014/main" id="{8804D058-A88A-4253-9F88-02814469569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5" name="Freeform 16">
                  <a:extLst>
                    <a:ext uri="{FF2B5EF4-FFF2-40B4-BE49-F238E27FC236}">
                      <a16:creationId xmlns:a16="http://schemas.microsoft.com/office/drawing/2014/main" id="{E79C8EA9-FB58-48CF-B309-653D723A975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6" name="Line 17">
                  <a:extLst>
                    <a:ext uri="{FF2B5EF4-FFF2-40B4-BE49-F238E27FC236}">
                      <a16:creationId xmlns:a16="http://schemas.microsoft.com/office/drawing/2014/main" id="{2E751352-0CED-402A-983C-643AA669C58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7" name="Freeform 18">
                  <a:extLst>
                    <a:ext uri="{FF2B5EF4-FFF2-40B4-BE49-F238E27FC236}">
                      <a16:creationId xmlns:a16="http://schemas.microsoft.com/office/drawing/2014/main" id="{BE6BE07E-AD0A-4D9D-AB39-55236A5F97F1}"/>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8" name="Line 19">
                  <a:extLst>
                    <a:ext uri="{FF2B5EF4-FFF2-40B4-BE49-F238E27FC236}">
                      <a16:creationId xmlns:a16="http://schemas.microsoft.com/office/drawing/2014/main" id="{60456495-5CCC-4911-B95C-E462C266330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9" name="Freeform 35">
                  <a:extLst>
                    <a:ext uri="{FF2B5EF4-FFF2-40B4-BE49-F238E27FC236}">
                      <a16:creationId xmlns:a16="http://schemas.microsoft.com/office/drawing/2014/main" id="{1CADC041-943B-40B2-B55B-0437641409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0" name="Freeform 36">
                  <a:extLst>
                    <a:ext uri="{FF2B5EF4-FFF2-40B4-BE49-F238E27FC236}">
                      <a16:creationId xmlns:a16="http://schemas.microsoft.com/office/drawing/2014/main" id="{4B6A0B8D-17F7-4756-A6EF-FE5DC608CF4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1" name="Freeform 37">
                  <a:extLst>
                    <a:ext uri="{FF2B5EF4-FFF2-40B4-BE49-F238E27FC236}">
                      <a16:creationId xmlns:a16="http://schemas.microsoft.com/office/drawing/2014/main" id="{50720E32-9884-47CE-866D-8AAE8D1C2A2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2" name="Freeform 38">
                  <a:extLst>
                    <a:ext uri="{FF2B5EF4-FFF2-40B4-BE49-F238E27FC236}">
                      <a16:creationId xmlns:a16="http://schemas.microsoft.com/office/drawing/2014/main" id="{362F3DD2-60D2-402A-B035-A720A7D359B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3" name="Freeform 39">
                  <a:extLst>
                    <a:ext uri="{FF2B5EF4-FFF2-40B4-BE49-F238E27FC236}">
                      <a16:creationId xmlns:a16="http://schemas.microsoft.com/office/drawing/2014/main" id="{C23041C7-275B-41D8-A4A1-068955263D77}"/>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4" name="Freeform 40">
                  <a:extLst>
                    <a:ext uri="{FF2B5EF4-FFF2-40B4-BE49-F238E27FC236}">
                      <a16:creationId xmlns:a16="http://schemas.microsoft.com/office/drawing/2014/main" id="{B6C4A717-EA59-4FB6-BDE5-D06AE891B2DF}"/>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5" name="Freeform 41">
                  <a:extLst>
                    <a:ext uri="{FF2B5EF4-FFF2-40B4-BE49-F238E27FC236}">
                      <a16:creationId xmlns:a16="http://schemas.microsoft.com/office/drawing/2014/main" id="{97FAACF2-4CB6-4043-BF5E-E182F7F483EB}"/>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6" name="Line 42">
                  <a:extLst>
                    <a:ext uri="{FF2B5EF4-FFF2-40B4-BE49-F238E27FC236}">
                      <a16:creationId xmlns:a16="http://schemas.microsoft.com/office/drawing/2014/main" id="{DB8A49ED-314B-40BB-84B6-0D3E1E29134E}"/>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7" name="Freeform 43">
                  <a:extLst>
                    <a:ext uri="{FF2B5EF4-FFF2-40B4-BE49-F238E27FC236}">
                      <a16:creationId xmlns:a16="http://schemas.microsoft.com/office/drawing/2014/main" id="{B603E387-9F0D-4EFE-8C6B-3652B87F880F}"/>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8" name="Freeform 44">
                  <a:extLst>
                    <a:ext uri="{FF2B5EF4-FFF2-40B4-BE49-F238E27FC236}">
                      <a16:creationId xmlns:a16="http://schemas.microsoft.com/office/drawing/2014/main" id="{34A2BAC5-CCD7-4F5E-8E6F-CC2F1CAE997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9" name="Freeform 45">
                  <a:extLst>
                    <a:ext uri="{FF2B5EF4-FFF2-40B4-BE49-F238E27FC236}">
                      <a16:creationId xmlns:a16="http://schemas.microsoft.com/office/drawing/2014/main" id="{3FD94874-42D9-4265-8762-1AD68273C555}"/>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480" name="Group 2479">
                  <a:extLst>
                    <a:ext uri="{FF2B5EF4-FFF2-40B4-BE49-F238E27FC236}">
                      <a16:creationId xmlns:a16="http://schemas.microsoft.com/office/drawing/2014/main" id="{2034E04A-B735-4A02-8D5B-E3C9EA6E29AE}"/>
                    </a:ext>
                  </a:extLst>
                </p:cNvPr>
                <p:cNvGrpSpPr/>
                <p:nvPr/>
              </p:nvGrpSpPr>
              <p:grpSpPr>
                <a:xfrm flipV="1">
                  <a:off x="1202047" y="3517919"/>
                  <a:ext cx="178734" cy="348678"/>
                  <a:chOff x="1207113" y="2241878"/>
                  <a:chExt cx="178734" cy="348678"/>
                </a:xfrm>
              </p:grpSpPr>
              <p:sp>
                <p:nvSpPr>
                  <p:cNvPr id="2481" name="Freeform 10">
                    <a:extLst>
                      <a:ext uri="{FF2B5EF4-FFF2-40B4-BE49-F238E27FC236}">
                        <a16:creationId xmlns:a16="http://schemas.microsoft.com/office/drawing/2014/main" id="{FBDB3A36-C844-4BDA-963C-79EA7B4ED2C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2" name="Line 11">
                    <a:extLst>
                      <a:ext uri="{FF2B5EF4-FFF2-40B4-BE49-F238E27FC236}">
                        <a16:creationId xmlns:a16="http://schemas.microsoft.com/office/drawing/2014/main" id="{DF8CECD6-1E34-4AF6-B617-12E9FA8F9DF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430" name="Group 2429">
              <a:extLst>
                <a:ext uri="{FF2B5EF4-FFF2-40B4-BE49-F238E27FC236}">
                  <a16:creationId xmlns:a16="http://schemas.microsoft.com/office/drawing/2014/main" id="{311AA17F-9D68-4446-AAFF-6662572D33E6}"/>
                </a:ext>
              </a:extLst>
            </p:cNvPr>
            <p:cNvGrpSpPr>
              <a:grpSpLocks/>
            </p:cNvGrpSpPr>
            <p:nvPr/>
          </p:nvGrpSpPr>
          <p:grpSpPr>
            <a:xfrm>
              <a:off x="9270466" y="4594229"/>
              <a:ext cx="427295" cy="427297"/>
              <a:chOff x="10412894" y="6962721"/>
              <a:chExt cx="415610" cy="415612"/>
            </a:xfrm>
          </p:grpSpPr>
          <p:grpSp>
            <p:nvGrpSpPr>
              <p:cNvPr id="2431" name="Group 64">
                <a:extLst>
                  <a:ext uri="{FF2B5EF4-FFF2-40B4-BE49-F238E27FC236}">
                    <a16:creationId xmlns:a16="http://schemas.microsoft.com/office/drawing/2014/main" id="{0585745F-8B89-418D-ABF6-725A793FA0E4}"/>
                  </a:ext>
                </a:extLst>
              </p:cNvPr>
              <p:cNvGrpSpPr>
                <a:grpSpLocks noChangeAspect="1"/>
              </p:cNvGrpSpPr>
              <p:nvPr/>
            </p:nvGrpSpPr>
            <p:grpSpPr bwMode="auto">
              <a:xfrm rot="8100000">
                <a:off x="10412894" y="6962721"/>
                <a:ext cx="415610" cy="415612"/>
                <a:chOff x="701" y="2170"/>
                <a:chExt cx="587" cy="587"/>
              </a:xfrm>
            </p:grpSpPr>
            <p:sp>
              <p:nvSpPr>
                <p:cNvPr id="2446" name="Oval 65">
                  <a:extLst>
                    <a:ext uri="{FF2B5EF4-FFF2-40B4-BE49-F238E27FC236}">
                      <a16:creationId xmlns:a16="http://schemas.microsoft.com/office/drawing/2014/main" id="{19B83C1E-219C-4B3C-B71A-59335E29C2B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7" name="Line 66">
                  <a:extLst>
                    <a:ext uri="{FF2B5EF4-FFF2-40B4-BE49-F238E27FC236}">
                      <a16:creationId xmlns:a16="http://schemas.microsoft.com/office/drawing/2014/main" id="{64CA6489-A276-4ED8-AA94-72D2C0F7868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8" name="Line 67">
                  <a:extLst>
                    <a:ext uri="{FF2B5EF4-FFF2-40B4-BE49-F238E27FC236}">
                      <a16:creationId xmlns:a16="http://schemas.microsoft.com/office/drawing/2014/main" id="{85350875-FACD-4FC9-BA3C-D95C80EAF55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9" name="Line 69">
                  <a:extLst>
                    <a:ext uri="{FF2B5EF4-FFF2-40B4-BE49-F238E27FC236}">
                      <a16:creationId xmlns:a16="http://schemas.microsoft.com/office/drawing/2014/main" id="{C8F7BDCA-3A94-48F0-B7F9-14A930A3162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0" name="Line 74">
                  <a:extLst>
                    <a:ext uri="{FF2B5EF4-FFF2-40B4-BE49-F238E27FC236}">
                      <a16:creationId xmlns:a16="http://schemas.microsoft.com/office/drawing/2014/main" id="{1F58BD8D-6337-4B89-9129-BBAD78998B0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1" name="Freeform 78">
                  <a:extLst>
                    <a:ext uri="{FF2B5EF4-FFF2-40B4-BE49-F238E27FC236}">
                      <a16:creationId xmlns:a16="http://schemas.microsoft.com/office/drawing/2014/main" id="{4BCFDDBE-5789-4746-9A72-7EDE017E542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2" name="Freeform 80">
                  <a:extLst>
                    <a:ext uri="{FF2B5EF4-FFF2-40B4-BE49-F238E27FC236}">
                      <a16:creationId xmlns:a16="http://schemas.microsoft.com/office/drawing/2014/main" id="{AD97CBBD-6549-44BB-9F9D-027D10B7DA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32" name="Group 2431">
                <a:extLst>
                  <a:ext uri="{FF2B5EF4-FFF2-40B4-BE49-F238E27FC236}">
                    <a16:creationId xmlns:a16="http://schemas.microsoft.com/office/drawing/2014/main" id="{7EF2BD52-6578-4359-A7D9-4AC44EC3D103}"/>
                  </a:ext>
                </a:extLst>
              </p:cNvPr>
              <p:cNvGrpSpPr/>
              <p:nvPr/>
            </p:nvGrpSpPr>
            <p:grpSpPr>
              <a:xfrm>
                <a:off x="10462223" y="7069159"/>
                <a:ext cx="313949" cy="233075"/>
                <a:chOff x="3707533" y="2731244"/>
                <a:chExt cx="389644" cy="289271"/>
              </a:xfrm>
            </p:grpSpPr>
            <p:sp>
              <p:nvSpPr>
                <p:cNvPr id="2433" name="Freeform 33">
                  <a:extLst>
                    <a:ext uri="{FF2B5EF4-FFF2-40B4-BE49-F238E27FC236}">
                      <a16:creationId xmlns:a16="http://schemas.microsoft.com/office/drawing/2014/main" id="{D1D4276D-451B-4FE1-9E0F-A5B8F7439124}"/>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4" name="Freeform 34">
                  <a:extLst>
                    <a:ext uri="{FF2B5EF4-FFF2-40B4-BE49-F238E27FC236}">
                      <a16:creationId xmlns:a16="http://schemas.microsoft.com/office/drawing/2014/main" id="{50D4FCBD-D976-4EA2-BA1B-DB3EF5235A83}"/>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5" name="Freeform 37">
                  <a:extLst>
                    <a:ext uri="{FF2B5EF4-FFF2-40B4-BE49-F238E27FC236}">
                      <a16:creationId xmlns:a16="http://schemas.microsoft.com/office/drawing/2014/main" id="{2B2EB6E4-37C9-41EA-84A7-8B166E2D064F}"/>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6" name="Freeform 38">
                  <a:extLst>
                    <a:ext uri="{FF2B5EF4-FFF2-40B4-BE49-F238E27FC236}">
                      <a16:creationId xmlns:a16="http://schemas.microsoft.com/office/drawing/2014/main" id="{BFCCACAB-FE16-48E8-838D-6DCDA830CC0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7" name="Freeform 32">
                  <a:extLst>
                    <a:ext uri="{FF2B5EF4-FFF2-40B4-BE49-F238E27FC236}">
                      <a16:creationId xmlns:a16="http://schemas.microsoft.com/office/drawing/2014/main" id="{ED8F3D9C-0215-41CC-A90E-73B73C68EB9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8" name="Freeform 35">
                  <a:extLst>
                    <a:ext uri="{FF2B5EF4-FFF2-40B4-BE49-F238E27FC236}">
                      <a16:creationId xmlns:a16="http://schemas.microsoft.com/office/drawing/2014/main" id="{37E9A7A7-5B56-430D-834C-10E6DF2F379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9" name="Freeform 36">
                  <a:extLst>
                    <a:ext uri="{FF2B5EF4-FFF2-40B4-BE49-F238E27FC236}">
                      <a16:creationId xmlns:a16="http://schemas.microsoft.com/office/drawing/2014/main" id="{FF15E7F0-F770-4E15-8E33-A02E938758B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0" name="Freeform 25">
                  <a:extLst>
                    <a:ext uri="{FF2B5EF4-FFF2-40B4-BE49-F238E27FC236}">
                      <a16:creationId xmlns:a16="http://schemas.microsoft.com/office/drawing/2014/main" id="{27F35ECA-7C27-4B01-9FC3-14067978EFBA}"/>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1" name="Freeform 39">
                  <a:extLst>
                    <a:ext uri="{FF2B5EF4-FFF2-40B4-BE49-F238E27FC236}">
                      <a16:creationId xmlns:a16="http://schemas.microsoft.com/office/drawing/2014/main" id="{0D7AA89B-64C7-4FE2-9C24-3EDEA31C2CC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2" name="Freeform 26">
                  <a:extLst>
                    <a:ext uri="{FF2B5EF4-FFF2-40B4-BE49-F238E27FC236}">
                      <a16:creationId xmlns:a16="http://schemas.microsoft.com/office/drawing/2014/main" id="{CC0AACFB-71F3-47B0-ADF2-0611DA8D663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3" name="Rectangle 27">
                  <a:extLst>
                    <a:ext uri="{FF2B5EF4-FFF2-40B4-BE49-F238E27FC236}">
                      <a16:creationId xmlns:a16="http://schemas.microsoft.com/office/drawing/2014/main" id="{88FDFBFF-ACE6-470A-B16F-0AEB7BCCEAF8}"/>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4" name="Line 29">
                  <a:extLst>
                    <a:ext uri="{FF2B5EF4-FFF2-40B4-BE49-F238E27FC236}">
                      <a16:creationId xmlns:a16="http://schemas.microsoft.com/office/drawing/2014/main" id="{4F0085F7-28FC-4EE7-A48B-589D7EF6E6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5" name="Line 31">
                  <a:extLst>
                    <a:ext uri="{FF2B5EF4-FFF2-40B4-BE49-F238E27FC236}">
                      <a16:creationId xmlns:a16="http://schemas.microsoft.com/office/drawing/2014/main" id="{97D0E542-07D1-492A-B517-2D28E090A289}"/>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 name="Group 20">
            <a:extLst>
              <a:ext uri="{FF2B5EF4-FFF2-40B4-BE49-F238E27FC236}">
                <a16:creationId xmlns:a16="http://schemas.microsoft.com/office/drawing/2014/main" id="{E0FFFACC-468F-4412-AE49-ACAE9C7DF27C}"/>
              </a:ext>
            </a:extLst>
          </p:cNvPr>
          <p:cNvGrpSpPr/>
          <p:nvPr/>
        </p:nvGrpSpPr>
        <p:grpSpPr>
          <a:xfrm>
            <a:off x="5338229" y="3985905"/>
            <a:ext cx="4367346" cy="2539218"/>
            <a:chOff x="5338031" y="3986050"/>
            <a:chExt cx="4368484" cy="2539879"/>
          </a:xfrm>
        </p:grpSpPr>
        <p:grpSp>
          <p:nvGrpSpPr>
            <p:cNvPr id="2337" name="Group 2336">
              <a:extLst>
                <a:ext uri="{FF2B5EF4-FFF2-40B4-BE49-F238E27FC236}">
                  <a16:creationId xmlns:a16="http://schemas.microsoft.com/office/drawing/2014/main" id="{DDA94247-6C21-47BD-8890-27617C827EBD}"/>
                </a:ext>
              </a:extLst>
            </p:cNvPr>
            <p:cNvGrpSpPr/>
            <p:nvPr/>
          </p:nvGrpSpPr>
          <p:grpSpPr>
            <a:xfrm>
              <a:off x="6626435" y="3986050"/>
              <a:ext cx="3080080" cy="2539879"/>
              <a:chOff x="6642908" y="3955938"/>
              <a:chExt cx="3087943" cy="2546363"/>
            </a:xfrm>
          </p:grpSpPr>
          <p:sp>
            <p:nvSpPr>
              <p:cNvPr id="2338" name="Rectangle 2337">
                <a:extLst>
                  <a:ext uri="{FF2B5EF4-FFF2-40B4-BE49-F238E27FC236}">
                    <a16:creationId xmlns:a16="http://schemas.microsoft.com/office/drawing/2014/main" id="{A7B93953-84E2-40F4-93F9-ABD28544EE3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339" name="Group 2338">
                <a:extLst>
                  <a:ext uri="{FF2B5EF4-FFF2-40B4-BE49-F238E27FC236}">
                    <a16:creationId xmlns:a16="http://schemas.microsoft.com/office/drawing/2014/main" id="{8EBD560F-D7D0-41D2-91A0-A393A0E9F35B}"/>
                  </a:ext>
                </a:extLst>
              </p:cNvPr>
              <p:cNvGrpSpPr/>
              <p:nvPr/>
            </p:nvGrpSpPr>
            <p:grpSpPr>
              <a:xfrm>
                <a:off x="8222643" y="5655421"/>
                <a:ext cx="1030675" cy="846880"/>
                <a:chOff x="10800033" y="2297897"/>
                <a:chExt cx="1600558" cy="1315140"/>
              </a:xfrm>
            </p:grpSpPr>
            <p:grpSp>
              <p:nvGrpSpPr>
                <p:cNvPr id="2341" name="Group 2340">
                  <a:extLst>
                    <a:ext uri="{FF2B5EF4-FFF2-40B4-BE49-F238E27FC236}">
                      <a16:creationId xmlns:a16="http://schemas.microsoft.com/office/drawing/2014/main" id="{AC94F9E1-FBAF-41DB-BEF3-9C11C4CFF810}"/>
                    </a:ext>
                  </a:extLst>
                </p:cNvPr>
                <p:cNvGrpSpPr>
                  <a:grpSpLocks/>
                </p:cNvGrpSpPr>
                <p:nvPr/>
              </p:nvGrpSpPr>
              <p:grpSpPr>
                <a:xfrm>
                  <a:off x="10800033" y="2339037"/>
                  <a:ext cx="613092" cy="613092"/>
                  <a:chOff x="745985" y="4768134"/>
                  <a:chExt cx="368776" cy="368777"/>
                </a:xfrm>
              </p:grpSpPr>
              <p:grpSp>
                <p:nvGrpSpPr>
                  <p:cNvPr id="2405" name="Group 64">
                    <a:extLst>
                      <a:ext uri="{FF2B5EF4-FFF2-40B4-BE49-F238E27FC236}">
                        <a16:creationId xmlns:a16="http://schemas.microsoft.com/office/drawing/2014/main" id="{2D467CFE-327F-4C11-8F98-67E4589F53EB}"/>
                      </a:ext>
                    </a:extLst>
                  </p:cNvPr>
                  <p:cNvGrpSpPr>
                    <a:grpSpLocks noChangeAspect="1"/>
                  </p:cNvGrpSpPr>
                  <p:nvPr/>
                </p:nvGrpSpPr>
                <p:grpSpPr bwMode="auto">
                  <a:xfrm rot="8100000">
                    <a:off x="745985" y="4768134"/>
                    <a:ext cx="368776" cy="368777"/>
                    <a:chOff x="701" y="2170"/>
                    <a:chExt cx="587" cy="587"/>
                  </a:xfrm>
                </p:grpSpPr>
                <p:sp>
                  <p:nvSpPr>
                    <p:cNvPr id="2416" name="Oval 65">
                      <a:extLst>
                        <a:ext uri="{FF2B5EF4-FFF2-40B4-BE49-F238E27FC236}">
                          <a16:creationId xmlns:a16="http://schemas.microsoft.com/office/drawing/2014/main" id="{ED0F215B-BA8F-408F-BF8C-FA3F6EFA154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7" name="Line 66">
                      <a:extLst>
                        <a:ext uri="{FF2B5EF4-FFF2-40B4-BE49-F238E27FC236}">
                          <a16:creationId xmlns:a16="http://schemas.microsoft.com/office/drawing/2014/main" id="{1F8CD18C-E8E8-459C-AD51-26757D53317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Line 67">
                      <a:extLst>
                        <a:ext uri="{FF2B5EF4-FFF2-40B4-BE49-F238E27FC236}">
                          <a16:creationId xmlns:a16="http://schemas.microsoft.com/office/drawing/2014/main" id="{DD463698-E1B2-4255-847B-A436D2B5AC1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Line 69">
                      <a:extLst>
                        <a:ext uri="{FF2B5EF4-FFF2-40B4-BE49-F238E27FC236}">
                          <a16:creationId xmlns:a16="http://schemas.microsoft.com/office/drawing/2014/main" id="{B0314370-C385-4F54-B179-55D915F8ABD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Line 74">
                      <a:extLst>
                        <a:ext uri="{FF2B5EF4-FFF2-40B4-BE49-F238E27FC236}">
                          <a16:creationId xmlns:a16="http://schemas.microsoft.com/office/drawing/2014/main" id="{CE969C45-AC61-45CD-BF5A-1B7472E30E2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78">
                      <a:extLst>
                        <a:ext uri="{FF2B5EF4-FFF2-40B4-BE49-F238E27FC236}">
                          <a16:creationId xmlns:a16="http://schemas.microsoft.com/office/drawing/2014/main" id="{7DDFE362-3C90-499D-AFEE-8DF46024377D}"/>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80">
                      <a:extLst>
                        <a:ext uri="{FF2B5EF4-FFF2-40B4-BE49-F238E27FC236}">
                          <a16:creationId xmlns:a16="http://schemas.microsoft.com/office/drawing/2014/main" id="{43213219-1909-4E43-AF35-9ABE9D9A903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06" name="Group 2405">
                    <a:extLst>
                      <a:ext uri="{FF2B5EF4-FFF2-40B4-BE49-F238E27FC236}">
                        <a16:creationId xmlns:a16="http://schemas.microsoft.com/office/drawing/2014/main" id="{A18EEDD0-E7A1-42F6-B034-2DD7587C985A}"/>
                      </a:ext>
                    </a:extLst>
                  </p:cNvPr>
                  <p:cNvGrpSpPr/>
                  <p:nvPr/>
                </p:nvGrpSpPr>
                <p:grpSpPr>
                  <a:xfrm>
                    <a:off x="837312" y="4814434"/>
                    <a:ext cx="136805" cy="278689"/>
                    <a:chOff x="2806700" y="2803319"/>
                    <a:chExt cx="433387" cy="882861"/>
                  </a:xfrm>
                </p:grpSpPr>
                <p:grpSp>
                  <p:nvGrpSpPr>
                    <p:cNvPr id="2407" name="Group 2406">
                      <a:extLst>
                        <a:ext uri="{FF2B5EF4-FFF2-40B4-BE49-F238E27FC236}">
                          <a16:creationId xmlns:a16="http://schemas.microsoft.com/office/drawing/2014/main" id="{2A89FE14-587D-4D2E-BA45-6DE7BA51FF28}"/>
                        </a:ext>
                      </a:extLst>
                    </p:cNvPr>
                    <p:cNvGrpSpPr>
                      <a:grpSpLocks noChangeAspect="1"/>
                    </p:cNvGrpSpPr>
                    <p:nvPr/>
                  </p:nvGrpSpPr>
                  <p:grpSpPr bwMode="auto">
                    <a:xfrm>
                      <a:off x="2806700" y="3043242"/>
                      <a:ext cx="433387" cy="642938"/>
                      <a:chOff x="1768" y="1917"/>
                      <a:chExt cx="273" cy="405"/>
                    </a:xfrm>
                  </p:grpSpPr>
                  <p:sp>
                    <p:nvSpPr>
                      <p:cNvPr id="2409" name="Freeform 52">
                        <a:extLst>
                          <a:ext uri="{FF2B5EF4-FFF2-40B4-BE49-F238E27FC236}">
                            <a16:creationId xmlns:a16="http://schemas.microsoft.com/office/drawing/2014/main" id="{95CD2D06-24F8-4449-9951-6BD7EBAE1AAB}"/>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0" name="Line 54">
                        <a:extLst>
                          <a:ext uri="{FF2B5EF4-FFF2-40B4-BE49-F238E27FC236}">
                            <a16:creationId xmlns:a16="http://schemas.microsoft.com/office/drawing/2014/main" id="{1A539A6E-3242-484B-8613-6F2BA665639C}"/>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Line 55">
                        <a:extLst>
                          <a:ext uri="{FF2B5EF4-FFF2-40B4-BE49-F238E27FC236}">
                            <a16:creationId xmlns:a16="http://schemas.microsoft.com/office/drawing/2014/main" id="{CDABBCFE-228A-48EF-AD10-4DFBD675AF5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56">
                        <a:extLst>
                          <a:ext uri="{FF2B5EF4-FFF2-40B4-BE49-F238E27FC236}">
                            <a16:creationId xmlns:a16="http://schemas.microsoft.com/office/drawing/2014/main" id="{444D8612-3446-4481-891A-621EE811D71C}"/>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Line 57">
                        <a:extLst>
                          <a:ext uri="{FF2B5EF4-FFF2-40B4-BE49-F238E27FC236}">
                            <a16:creationId xmlns:a16="http://schemas.microsoft.com/office/drawing/2014/main" id="{68EC78A2-36FF-47FA-9EFC-0F52E307B26F}"/>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58">
                        <a:extLst>
                          <a:ext uri="{FF2B5EF4-FFF2-40B4-BE49-F238E27FC236}">
                            <a16:creationId xmlns:a16="http://schemas.microsoft.com/office/drawing/2014/main" id="{AFE44C6B-E778-4641-AA4D-415A808CB891}"/>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Rectangle 2414">
                        <a:extLst>
                          <a:ext uri="{FF2B5EF4-FFF2-40B4-BE49-F238E27FC236}">
                            <a16:creationId xmlns:a16="http://schemas.microsoft.com/office/drawing/2014/main" id="{20614383-BF9F-49D7-9A9C-282CFE73CEE7}"/>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408" name="Oval 2407">
                      <a:extLst>
                        <a:ext uri="{FF2B5EF4-FFF2-40B4-BE49-F238E27FC236}">
                          <a16:creationId xmlns:a16="http://schemas.microsoft.com/office/drawing/2014/main" id="{7DD6504C-6A76-4898-A418-811D7A7F346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42" name="Group 2341">
                  <a:extLst>
                    <a:ext uri="{FF2B5EF4-FFF2-40B4-BE49-F238E27FC236}">
                      <a16:creationId xmlns:a16="http://schemas.microsoft.com/office/drawing/2014/main" id="{7862826A-9D36-468A-AB87-67D1C10C33F3}"/>
                    </a:ext>
                  </a:extLst>
                </p:cNvPr>
                <p:cNvGrpSpPr>
                  <a:grpSpLocks/>
                </p:cNvGrpSpPr>
                <p:nvPr/>
              </p:nvGrpSpPr>
              <p:grpSpPr>
                <a:xfrm>
                  <a:off x="11166615" y="2825631"/>
                  <a:ext cx="787402" cy="787406"/>
                  <a:chOff x="1454941" y="4721722"/>
                  <a:chExt cx="473625" cy="473627"/>
                </a:xfrm>
              </p:grpSpPr>
              <p:grpSp>
                <p:nvGrpSpPr>
                  <p:cNvPr id="2366" name="Group 64">
                    <a:extLst>
                      <a:ext uri="{FF2B5EF4-FFF2-40B4-BE49-F238E27FC236}">
                        <a16:creationId xmlns:a16="http://schemas.microsoft.com/office/drawing/2014/main" id="{6D8D3179-A03D-4140-A35D-9ED871DEE497}"/>
                      </a:ext>
                    </a:extLst>
                  </p:cNvPr>
                  <p:cNvGrpSpPr>
                    <a:grpSpLocks noChangeAspect="1"/>
                  </p:cNvGrpSpPr>
                  <p:nvPr/>
                </p:nvGrpSpPr>
                <p:grpSpPr bwMode="auto">
                  <a:xfrm rot="8100000">
                    <a:off x="1454941" y="4721722"/>
                    <a:ext cx="473625" cy="473627"/>
                    <a:chOff x="701" y="2170"/>
                    <a:chExt cx="587" cy="587"/>
                  </a:xfrm>
                </p:grpSpPr>
                <p:sp>
                  <p:nvSpPr>
                    <p:cNvPr id="2398" name="Oval 65">
                      <a:extLst>
                        <a:ext uri="{FF2B5EF4-FFF2-40B4-BE49-F238E27FC236}">
                          <a16:creationId xmlns:a16="http://schemas.microsoft.com/office/drawing/2014/main" id="{A9C2940D-ADE4-4B5C-9D2F-CE7D925DDBE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9" name="Line 66">
                      <a:extLst>
                        <a:ext uri="{FF2B5EF4-FFF2-40B4-BE49-F238E27FC236}">
                          <a16:creationId xmlns:a16="http://schemas.microsoft.com/office/drawing/2014/main" id="{1083C9EE-F127-4DE3-918F-A3CA43958F0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0" name="Line 67">
                      <a:extLst>
                        <a:ext uri="{FF2B5EF4-FFF2-40B4-BE49-F238E27FC236}">
                          <a16:creationId xmlns:a16="http://schemas.microsoft.com/office/drawing/2014/main" id="{9E15F4CB-1172-4731-91B9-D33A02D874E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1" name="Line 69">
                      <a:extLst>
                        <a:ext uri="{FF2B5EF4-FFF2-40B4-BE49-F238E27FC236}">
                          <a16:creationId xmlns:a16="http://schemas.microsoft.com/office/drawing/2014/main" id="{9B8C72DA-58C4-42C5-B9CB-ADA3C34E94F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2" name="Line 74">
                      <a:extLst>
                        <a:ext uri="{FF2B5EF4-FFF2-40B4-BE49-F238E27FC236}">
                          <a16:creationId xmlns:a16="http://schemas.microsoft.com/office/drawing/2014/main" id="{6A1C3B98-9F28-4D4C-A627-B93893FC94C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78">
                      <a:extLst>
                        <a:ext uri="{FF2B5EF4-FFF2-40B4-BE49-F238E27FC236}">
                          <a16:creationId xmlns:a16="http://schemas.microsoft.com/office/drawing/2014/main" id="{20E1F880-8D77-47DC-90B2-33E26040C38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4" name="Freeform 80">
                      <a:extLst>
                        <a:ext uri="{FF2B5EF4-FFF2-40B4-BE49-F238E27FC236}">
                          <a16:creationId xmlns:a16="http://schemas.microsoft.com/office/drawing/2014/main" id="{61247636-7F48-4A31-95CC-1F25BEB816F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67" name="Group 2366">
                    <a:extLst>
                      <a:ext uri="{FF2B5EF4-FFF2-40B4-BE49-F238E27FC236}">
                        <a16:creationId xmlns:a16="http://schemas.microsoft.com/office/drawing/2014/main" id="{7CA603DC-2CB3-4457-BC06-9D9C66995682}"/>
                      </a:ext>
                    </a:extLst>
                  </p:cNvPr>
                  <p:cNvGrpSpPr/>
                  <p:nvPr/>
                </p:nvGrpSpPr>
                <p:grpSpPr>
                  <a:xfrm>
                    <a:off x="1511214" y="4789508"/>
                    <a:ext cx="356509" cy="349884"/>
                    <a:chOff x="468738" y="2241878"/>
                    <a:chExt cx="1655483" cy="1624719"/>
                  </a:xfrm>
                </p:grpSpPr>
                <p:sp>
                  <p:nvSpPr>
                    <p:cNvPr id="2368" name="Freeform 5">
                      <a:extLst>
                        <a:ext uri="{FF2B5EF4-FFF2-40B4-BE49-F238E27FC236}">
                          <a16:creationId xmlns:a16="http://schemas.microsoft.com/office/drawing/2014/main" id="{ADC07B4E-EB60-437D-B88B-7D6F7BAB9233}"/>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Freeform 6">
                      <a:extLst>
                        <a:ext uri="{FF2B5EF4-FFF2-40B4-BE49-F238E27FC236}">
                          <a16:creationId xmlns:a16="http://schemas.microsoft.com/office/drawing/2014/main" id="{4DB7CFF2-1361-40F5-87D8-09A6625F8B7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7">
                      <a:extLst>
                        <a:ext uri="{FF2B5EF4-FFF2-40B4-BE49-F238E27FC236}">
                          <a16:creationId xmlns:a16="http://schemas.microsoft.com/office/drawing/2014/main" id="{953A429A-1E35-4CEE-BA64-D9FC04FA086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Freeform 8">
                      <a:extLst>
                        <a:ext uri="{FF2B5EF4-FFF2-40B4-BE49-F238E27FC236}">
                          <a16:creationId xmlns:a16="http://schemas.microsoft.com/office/drawing/2014/main" id="{C4FE8D59-A063-4D15-B49E-79B6D722D5F7}"/>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9">
                      <a:extLst>
                        <a:ext uri="{FF2B5EF4-FFF2-40B4-BE49-F238E27FC236}">
                          <a16:creationId xmlns:a16="http://schemas.microsoft.com/office/drawing/2014/main" id="{9142A3A8-5AEE-4E91-8FCF-C44DB5FDD00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73" name="Group 2372">
                      <a:extLst>
                        <a:ext uri="{FF2B5EF4-FFF2-40B4-BE49-F238E27FC236}">
                          <a16:creationId xmlns:a16="http://schemas.microsoft.com/office/drawing/2014/main" id="{D0D9E88A-7125-463C-99F6-69E652DF1D6C}"/>
                        </a:ext>
                      </a:extLst>
                    </p:cNvPr>
                    <p:cNvGrpSpPr/>
                    <p:nvPr/>
                  </p:nvGrpSpPr>
                  <p:grpSpPr>
                    <a:xfrm>
                      <a:off x="1207113" y="2241878"/>
                      <a:ext cx="178734" cy="348678"/>
                      <a:chOff x="1207113" y="2241878"/>
                      <a:chExt cx="178734" cy="348678"/>
                    </a:xfrm>
                  </p:grpSpPr>
                  <p:sp>
                    <p:nvSpPr>
                      <p:cNvPr id="2396" name="Freeform 10">
                        <a:extLst>
                          <a:ext uri="{FF2B5EF4-FFF2-40B4-BE49-F238E27FC236}">
                            <a16:creationId xmlns:a16="http://schemas.microsoft.com/office/drawing/2014/main" id="{2A346116-E741-4C3B-B914-47EC427CBE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Line 11">
                        <a:extLst>
                          <a:ext uri="{FF2B5EF4-FFF2-40B4-BE49-F238E27FC236}">
                            <a16:creationId xmlns:a16="http://schemas.microsoft.com/office/drawing/2014/main" id="{89626DE7-3267-48D4-9E34-062FB83C8135}"/>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74" name="Freeform 12">
                      <a:extLst>
                        <a:ext uri="{FF2B5EF4-FFF2-40B4-BE49-F238E27FC236}">
                          <a16:creationId xmlns:a16="http://schemas.microsoft.com/office/drawing/2014/main" id="{CBFF604C-CEE7-486B-9F59-ABD512FE14A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5" name="Line 13">
                      <a:extLst>
                        <a:ext uri="{FF2B5EF4-FFF2-40B4-BE49-F238E27FC236}">
                          <a16:creationId xmlns:a16="http://schemas.microsoft.com/office/drawing/2014/main" id="{011D96E9-7F00-4481-9DDF-B78A8C268821}"/>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6" name="Freeform 14">
                      <a:extLst>
                        <a:ext uri="{FF2B5EF4-FFF2-40B4-BE49-F238E27FC236}">
                          <a16:creationId xmlns:a16="http://schemas.microsoft.com/office/drawing/2014/main" id="{57984474-AE19-49E3-94BE-8BFA97336C0D}"/>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7" name="Line 15">
                      <a:extLst>
                        <a:ext uri="{FF2B5EF4-FFF2-40B4-BE49-F238E27FC236}">
                          <a16:creationId xmlns:a16="http://schemas.microsoft.com/office/drawing/2014/main" id="{594098A5-7450-4664-BEB0-FC2CEF910AA1}"/>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8" name="Freeform 16">
                      <a:extLst>
                        <a:ext uri="{FF2B5EF4-FFF2-40B4-BE49-F238E27FC236}">
                          <a16:creationId xmlns:a16="http://schemas.microsoft.com/office/drawing/2014/main" id="{CE415B0A-B475-47FB-90FA-56BCE302B1D9}"/>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9" name="Line 17">
                      <a:extLst>
                        <a:ext uri="{FF2B5EF4-FFF2-40B4-BE49-F238E27FC236}">
                          <a16:creationId xmlns:a16="http://schemas.microsoft.com/office/drawing/2014/main" id="{BC94CB20-B81C-43DF-B564-C5DF3CF4A340}"/>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0" name="Freeform 18">
                      <a:extLst>
                        <a:ext uri="{FF2B5EF4-FFF2-40B4-BE49-F238E27FC236}">
                          <a16:creationId xmlns:a16="http://schemas.microsoft.com/office/drawing/2014/main" id="{895FC050-8001-4852-A7AF-7F87A6378499}"/>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1" name="Line 19">
                      <a:extLst>
                        <a:ext uri="{FF2B5EF4-FFF2-40B4-BE49-F238E27FC236}">
                          <a16:creationId xmlns:a16="http://schemas.microsoft.com/office/drawing/2014/main" id="{233316F3-03F8-4F7D-8722-2FD8EDA0EAE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2" name="Freeform 35">
                      <a:extLst>
                        <a:ext uri="{FF2B5EF4-FFF2-40B4-BE49-F238E27FC236}">
                          <a16:creationId xmlns:a16="http://schemas.microsoft.com/office/drawing/2014/main" id="{4B42AF4F-2D22-448F-930F-162DB142B27D}"/>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3" name="Freeform 36">
                      <a:extLst>
                        <a:ext uri="{FF2B5EF4-FFF2-40B4-BE49-F238E27FC236}">
                          <a16:creationId xmlns:a16="http://schemas.microsoft.com/office/drawing/2014/main" id="{8DC55D13-4AB8-4C8B-B2E1-2F97079CB3C8}"/>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4" name="Freeform 37">
                      <a:extLst>
                        <a:ext uri="{FF2B5EF4-FFF2-40B4-BE49-F238E27FC236}">
                          <a16:creationId xmlns:a16="http://schemas.microsoft.com/office/drawing/2014/main" id="{6926E905-EFDD-46F5-A590-0959E3EB46F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5" name="Freeform 38">
                      <a:extLst>
                        <a:ext uri="{FF2B5EF4-FFF2-40B4-BE49-F238E27FC236}">
                          <a16:creationId xmlns:a16="http://schemas.microsoft.com/office/drawing/2014/main" id="{466BD8AB-1D34-408E-8594-79176E97B0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6" name="Freeform 39">
                      <a:extLst>
                        <a:ext uri="{FF2B5EF4-FFF2-40B4-BE49-F238E27FC236}">
                          <a16:creationId xmlns:a16="http://schemas.microsoft.com/office/drawing/2014/main" id="{463F6AB8-DE9E-47E4-89F2-3E4897B7F15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7" name="Freeform 40">
                      <a:extLst>
                        <a:ext uri="{FF2B5EF4-FFF2-40B4-BE49-F238E27FC236}">
                          <a16:creationId xmlns:a16="http://schemas.microsoft.com/office/drawing/2014/main" id="{4C784F7D-23CF-492E-A85D-7A42CC055BDB}"/>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41">
                      <a:extLst>
                        <a:ext uri="{FF2B5EF4-FFF2-40B4-BE49-F238E27FC236}">
                          <a16:creationId xmlns:a16="http://schemas.microsoft.com/office/drawing/2014/main" id="{18619CC1-E2C8-4597-8D19-17C051AC5832}"/>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Line 42">
                      <a:extLst>
                        <a:ext uri="{FF2B5EF4-FFF2-40B4-BE49-F238E27FC236}">
                          <a16:creationId xmlns:a16="http://schemas.microsoft.com/office/drawing/2014/main" id="{077688DD-4959-492D-A38B-F7F4DA2D706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43">
                      <a:extLst>
                        <a:ext uri="{FF2B5EF4-FFF2-40B4-BE49-F238E27FC236}">
                          <a16:creationId xmlns:a16="http://schemas.microsoft.com/office/drawing/2014/main" id="{63964BEB-5C80-422C-9B02-903C695A74F9}"/>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44">
                      <a:extLst>
                        <a:ext uri="{FF2B5EF4-FFF2-40B4-BE49-F238E27FC236}">
                          <a16:creationId xmlns:a16="http://schemas.microsoft.com/office/drawing/2014/main" id="{8781F828-477B-454E-BFB9-0F0612F363B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45">
                      <a:extLst>
                        <a:ext uri="{FF2B5EF4-FFF2-40B4-BE49-F238E27FC236}">
                          <a16:creationId xmlns:a16="http://schemas.microsoft.com/office/drawing/2014/main" id="{491C9A09-CF23-4BDC-B52E-C10D665FD5DB}"/>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93" name="Group 2392">
                      <a:extLst>
                        <a:ext uri="{FF2B5EF4-FFF2-40B4-BE49-F238E27FC236}">
                          <a16:creationId xmlns:a16="http://schemas.microsoft.com/office/drawing/2014/main" id="{898AB74D-865B-4AC1-A2E1-6A721810FC08}"/>
                        </a:ext>
                      </a:extLst>
                    </p:cNvPr>
                    <p:cNvGrpSpPr/>
                    <p:nvPr/>
                  </p:nvGrpSpPr>
                  <p:grpSpPr>
                    <a:xfrm flipV="1">
                      <a:off x="1202047" y="3517919"/>
                      <a:ext cx="178734" cy="348678"/>
                      <a:chOff x="1207113" y="2241878"/>
                      <a:chExt cx="178734" cy="348678"/>
                    </a:xfrm>
                  </p:grpSpPr>
                  <p:sp>
                    <p:nvSpPr>
                      <p:cNvPr id="2394" name="Freeform 10">
                        <a:extLst>
                          <a:ext uri="{FF2B5EF4-FFF2-40B4-BE49-F238E27FC236}">
                            <a16:creationId xmlns:a16="http://schemas.microsoft.com/office/drawing/2014/main" id="{32BFCF5B-2A90-4D1E-BC5D-ED90BA60A8E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Line 11">
                        <a:extLst>
                          <a:ext uri="{FF2B5EF4-FFF2-40B4-BE49-F238E27FC236}">
                            <a16:creationId xmlns:a16="http://schemas.microsoft.com/office/drawing/2014/main" id="{940EEEED-205D-45E2-8045-4D4CB193EFC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43" name="Group 2342">
                  <a:extLst>
                    <a:ext uri="{FF2B5EF4-FFF2-40B4-BE49-F238E27FC236}">
                      <a16:creationId xmlns:a16="http://schemas.microsoft.com/office/drawing/2014/main" id="{F2787B05-646C-4D65-9A7A-36A88A926A83}"/>
                    </a:ext>
                  </a:extLst>
                </p:cNvPr>
                <p:cNvGrpSpPr>
                  <a:grpSpLocks/>
                </p:cNvGrpSpPr>
                <p:nvPr/>
              </p:nvGrpSpPr>
              <p:grpSpPr>
                <a:xfrm>
                  <a:off x="11709639" y="2297897"/>
                  <a:ext cx="690952" cy="690956"/>
                  <a:chOff x="2268747" y="4723725"/>
                  <a:chExt cx="415610" cy="415612"/>
                </a:xfrm>
              </p:grpSpPr>
              <p:grpSp>
                <p:nvGrpSpPr>
                  <p:cNvPr id="2344" name="Group 64">
                    <a:extLst>
                      <a:ext uri="{FF2B5EF4-FFF2-40B4-BE49-F238E27FC236}">
                        <a16:creationId xmlns:a16="http://schemas.microsoft.com/office/drawing/2014/main" id="{06346E34-701B-4AD6-964D-7A9F9B49A695}"/>
                      </a:ext>
                    </a:extLst>
                  </p:cNvPr>
                  <p:cNvGrpSpPr>
                    <a:grpSpLocks noChangeAspect="1"/>
                  </p:cNvGrpSpPr>
                  <p:nvPr/>
                </p:nvGrpSpPr>
                <p:grpSpPr bwMode="auto">
                  <a:xfrm rot="8100000">
                    <a:off x="2268747" y="4723725"/>
                    <a:ext cx="415610" cy="415612"/>
                    <a:chOff x="701" y="2170"/>
                    <a:chExt cx="587" cy="587"/>
                  </a:xfrm>
                </p:grpSpPr>
                <p:sp>
                  <p:nvSpPr>
                    <p:cNvPr id="2359" name="Oval 65">
                      <a:extLst>
                        <a:ext uri="{FF2B5EF4-FFF2-40B4-BE49-F238E27FC236}">
                          <a16:creationId xmlns:a16="http://schemas.microsoft.com/office/drawing/2014/main" id="{8EB33C98-7919-40A6-BA81-0DB10021E60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0" name="Line 66">
                      <a:extLst>
                        <a:ext uri="{FF2B5EF4-FFF2-40B4-BE49-F238E27FC236}">
                          <a16:creationId xmlns:a16="http://schemas.microsoft.com/office/drawing/2014/main" id="{8B436F5E-7B09-4197-A9BF-AA3EEB50A01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1" name="Line 67">
                      <a:extLst>
                        <a:ext uri="{FF2B5EF4-FFF2-40B4-BE49-F238E27FC236}">
                          <a16:creationId xmlns:a16="http://schemas.microsoft.com/office/drawing/2014/main" id="{B8415E10-9FE4-423F-A0F8-1E3F1B261D6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2" name="Line 69">
                      <a:extLst>
                        <a:ext uri="{FF2B5EF4-FFF2-40B4-BE49-F238E27FC236}">
                          <a16:creationId xmlns:a16="http://schemas.microsoft.com/office/drawing/2014/main" id="{DE306D38-3265-45BF-8970-3D7CCF01C57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74">
                      <a:extLst>
                        <a:ext uri="{FF2B5EF4-FFF2-40B4-BE49-F238E27FC236}">
                          <a16:creationId xmlns:a16="http://schemas.microsoft.com/office/drawing/2014/main" id="{88B5FD0F-2773-4164-8157-34B9773714E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78">
                      <a:extLst>
                        <a:ext uri="{FF2B5EF4-FFF2-40B4-BE49-F238E27FC236}">
                          <a16:creationId xmlns:a16="http://schemas.microsoft.com/office/drawing/2014/main" id="{B247FC20-0A3F-45C6-9310-F0A34F056B1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Freeform 80">
                      <a:extLst>
                        <a:ext uri="{FF2B5EF4-FFF2-40B4-BE49-F238E27FC236}">
                          <a16:creationId xmlns:a16="http://schemas.microsoft.com/office/drawing/2014/main" id="{1842726F-5069-4D24-AAC7-751E3A3B4E8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45" name="Group 2344">
                    <a:extLst>
                      <a:ext uri="{FF2B5EF4-FFF2-40B4-BE49-F238E27FC236}">
                        <a16:creationId xmlns:a16="http://schemas.microsoft.com/office/drawing/2014/main" id="{20B13210-E291-4DD2-AE8D-C0095A6E585F}"/>
                      </a:ext>
                    </a:extLst>
                  </p:cNvPr>
                  <p:cNvGrpSpPr/>
                  <p:nvPr/>
                </p:nvGrpSpPr>
                <p:grpSpPr>
                  <a:xfrm>
                    <a:off x="2318076" y="4830163"/>
                    <a:ext cx="313949" cy="233075"/>
                    <a:chOff x="3707533" y="2731244"/>
                    <a:chExt cx="389644" cy="289271"/>
                  </a:xfrm>
                </p:grpSpPr>
                <p:sp>
                  <p:nvSpPr>
                    <p:cNvPr id="2346" name="Freeform 33">
                      <a:extLst>
                        <a:ext uri="{FF2B5EF4-FFF2-40B4-BE49-F238E27FC236}">
                          <a16:creationId xmlns:a16="http://schemas.microsoft.com/office/drawing/2014/main" id="{3D2F6D8B-4EF2-4583-94C4-F7B0C276277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7" name="Freeform 34">
                      <a:extLst>
                        <a:ext uri="{FF2B5EF4-FFF2-40B4-BE49-F238E27FC236}">
                          <a16:creationId xmlns:a16="http://schemas.microsoft.com/office/drawing/2014/main" id="{66562D15-4F81-4EC2-94BD-B73F3671CBC9}"/>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8" name="Freeform 37">
                      <a:extLst>
                        <a:ext uri="{FF2B5EF4-FFF2-40B4-BE49-F238E27FC236}">
                          <a16:creationId xmlns:a16="http://schemas.microsoft.com/office/drawing/2014/main" id="{5E1EF50E-8816-410A-B0E5-FE1A6E2996B7}"/>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9" name="Freeform 38">
                      <a:extLst>
                        <a:ext uri="{FF2B5EF4-FFF2-40B4-BE49-F238E27FC236}">
                          <a16:creationId xmlns:a16="http://schemas.microsoft.com/office/drawing/2014/main" id="{FAA8FFD6-4CAD-4586-B4B6-700EE72F8056}"/>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0" name="Freeform 32">
                      <a:extLst>
                        <a:ext uri="{FF2B5EF4-FFF2-40B4-BE49-F238E27FC236}">
                          <a16:creationId xmlns:a16="http://schemas.microsoft.com/office/drawing/2014/main" id="{168CC538-A4CE-43C1-96E6-15B7BEEF59CA}"/>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Freeform 35">
                      <a:extLst>
                        <a:ext uri="{FF2B5EF4-FFF2-40B4-BE49-F238E27FC236}">
                          <a16:creationId xmlns:a16="http://schemas.microsoft.com/office/drawing/2014/main" id="{061EBEBB-DE89-4A39-9F78-9C28C6C763F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2" name="Freeform 36">
                      <a:extLst>
                        <a:ext uri="{FF2B5EF4-FFF2-40B4-BE49-F238E27FC236}">
                          <a16:creationId xmlns:a16="http://schemas.microsoft.com/office/drawing/2014/main" id="{DE766E5A-D0AA-4A96-989C-4929378FA152}"/>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3" name="Freeform 25">
                      <a:extLst>
                        <a:ext uri="{FF2B5EF4-FFF2-40B4-BE49-F238E27FC236}">
                          <a16:creationId xmlns:a16="http://schemas.microsoft.com/office/drawing/2014/main" id="{F9F012C2-0C37-494E-833D-97D5C4B492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4" name="Freeform 39">
                      <a:extLst>
                        <a:ext uri="{FF2B5EF4-FFF2-40B4-BE49-F238E27FC236}">
                          <a16:creationId xmlns:a16="http://schemas.microsoft.com/office/drawing/2014/main" id="{48F7AFF8-F6F7-4916-A70E-D5FDC70A6B2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26">
                      <a:extLst>
                        <a:ext uri="{FF2B5EF4-FFF2-40B4-BE49-F238E27FC236}">
                          <a16:creationId xmlns:a16="http://schemas.microsoft.com/office/drawing/2014/main" id="{53E3DA99-94AD-46F8-954D-8C76941515D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6" name="Rectangle 27">
                      <a:extLst>
                        <a:ext uri="{FF2B5EF4-FFF2-40B4-BE49-F238E27FC236}">
                          <a16:creationId xmlns:a16="http://schemas.microsoft.com/office/drawing/2014/main" id="{8CC9A94E-14AB-4B5F-8C21-11B171CD12F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7" name="Line 29">
                      <a:extLst>
                        <a:ext uri="{FF2B5EF4-FFF2-40B4-BE49-F238E27FC236}">
                          <a16:creationId xmlns:a16="http://schemas.microsoft.com/office/drawing/2014/main" id="{EE064643-6E4D-4CA1-A72B-E8FE744C65B0}"/>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8" name="Line 31">
                      <a:extLst>
                        <a:ext uri="{FF2B5EF4-FFF2-40B4-BE49-F238E27FC236}">
                          <a16:creationId xmlns:a16="http://schemas.microsoft.com/office/drawing/2014/main" id="{8457FEE4-3039-499F-80C6-B2026E6F2B17}"/>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340" name="Rectangle 2339">
                <a:extLst>
                  <a:ext uri="{FF2B5EF4-FFF2-40B4-BE49-F238E27FC236}">
                    <a16:creationId xmlns:a16="http://schemas.microsoft.com/office/drawing/2014/main" id="{6CE99C9D-6327-4B9A-9064-CCAD4C95F15C}"/>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497" name="Rectangle 2496">
              <a:extLst>
                <a:ext uri="{FF2B5EF4-FFF2-40B4-BE49-F238E27FC236}">
                  <a16:creationId xmlns:a16="http://schemas.microsoft.com/office/drawing/2014/main" id="{5321E8A4-5150-488B-82C4-764ADF9097B1}"/>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498" name="Group 2497">
            <a:extLst>
              <a:ext uri="{FF2B5EF4-FFF2-40B4-BE49-F238E27FC236}">
                <a16:creationId xmlns:a16="http://schemas.microsoft.com/office/drawing/2014/main" id="{A22AA78F-EC81-4790-A968-4880B75551F0}"/>
              </a:ext>
            </a:extLst>
          </p:cNvPr>
          <p:cNvGrpSpPr/>
          <p:nvPr/>
        </p:nvGrpSpPr>
        <p:grpSpPr>
          <a:xfrm>
            <a:off x="5583102" y="3985906"/>
            <a:ext cx="2022711" cy="2582790"/>
            <a:chOff x="5596776" y="3955938"/>
            <a:chExt cx="2028403" cy="2590058"/>
          </a:xfrm>
        </p:grpSpPr>
        <p:sp>
          <p:nvSpPr>
            <p:cNvPr id="2499" name="Rectangle 2498">
              <a:extLst>
                <a:ext uri="{FF2B5EF4-FFF2-40B4-BE49-F238E27FC236}">
                  <a16:creationId xmlns:a16="http://schemas.microsoft.com/office/drawing/2014/main" id="{747F3B1D-4231-4467-A673-6484A60D9E94}"/>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500" name="Group 2499">
              <a:extLst>
                <a:ext uri="{FF2B5EF4-FFF2-40B4-BE49-F238E27FC236}">
                  <a16:creationId xmlns:a16="http://schemas.microsoft.com/office/drawing/2014/main" id="{4834553C-37FE-4DD4-B011-F068374A0F7D}"/>
                </a:ext>
              </a:extLst>
            </p:cNvPr>
            <p:cNvGrpSpPr/>
            <p:nvPr/>
          </p:nvGrpSpPr>
          <p:grpSpPr>
            <a:xfrm>
              <a:off x="5596776" y="4804677"/>
              <a:ext cx="2028403" cy="1741319"/>
              <a:chOff x="5596776" y="4804677"/>
              <a:chExt cx="2028403" cy="1741319"/>
            </a:xfrm>
          </p:grpSpPr>
          <p:sp>
            <p:nvSpPr>
              <p:cNvPr id="2501" name="Rectangle 2500">
                <a:extLst>
                  <a:ext uri="{FF2B5EF4-FFF2-40B4-BE49-F238E27FC236}">
                    <a16:creationId xmlns:a16="http://schemas.microsoft.com/office/drawing/2014/main" id="{EDD45DF1-3CD0-4861-94DA-60880A14B3C6}"/>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502" name="Rectangle 2501">
                <a:extLst>
                  <a:ext uri="{FF2B5EF4-FFF2-40B4-BE49-F238E27FC236}">
                    <a16:creationId xmlns:a16="http://schemas.microsoft.com/office/drawing/2014/main" id="{AFC0305D-06B3-4DFB-ACAE-82A4CFE82F6F}"/>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503" name="Picture 2502">
                <a:extLst>
                  <a:ext uri="{FF2B5EF4-FFF2-40B4-BE49-F238E27FC236}">
                    <a16:creationId xmlns:a16="http://schemas.microsoft.com/office/drawing/2014/main" id="{A933AF52-26A1-422B-8C8C-C6BC39FEA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504" name="Group 2503">
                <a:extLst>
                  <a:ext uri="{FF2B5EF4-FFF2-40B4-BE49-F238E27FC236}">
                    <a16:creationId xmlns:a16="http://schemas.microsoft.com/office/drawing/2014/main" id="{FE2D0EDD-D308-4EBF-8BB6-0809850D2B1A}"/>
                  </a:ext>
                </a:extLst>
              </p:cNvPr>
              <p:cNvGrpSpPr>
                <a:grpSpLocks/>
              </p:cNvGrpSpPr>
              <p:nvPr/>
            </p:nvGrpSpPr>
            <p:grpSpPr>
              <a:xfrm>
                <a:off x="6916019" y="5876745"/>
                <a:ext cx="476834" cy="476835"/>
                <a:chOff x="7895435" y="7917966"/>
                <a:chExt cx="473625" cy="473627"/>
              </a:xfrm>
            </p:grpSpPr>
            <p:grpSp>
              <p:nvGrpSpPr>
                <p:cNvPr id="2505" name="Group 64">
                  <a:extLst>
                    <a:ext uri="{FF2B5EF4-FFF2-40B4-BE49-F238E27FC236}">
                      <a16:creationId xmlns:a16="http://schemas.microsoft.com/office/drawing/2014/main" id="{31D78AB9-CECB-4598-B9D6-FBE4C3F66FDB}"/>
                    </a:ext>
                  </a:extLst>
                </p:cNvPr>
                <p:cNvGrpSpPr>
                  <a:grpSpLocks noChangeAspect="1"/>
                </p:cNvGrpSpPr>
                <p:nvPr/>
              </p:nvGrpSpPr>
              <p:grpSpPr bwMode="auto">
                <a:xfrm rot="8100000">
                  <a:off x="7895435" y="7917966"/>
                  <a:ext cx="473625" cy="473627"/>
                  <a:chOff x="701" y="2170"/>
                  <a:chExt cx="587" cy="587"/>
                </a:xfrm>
              </p:grpSpPr>
              <p:sp>
                <p:nvSpPr>
                  <p:cNvPr id="2537" name="Oval 65">
                    <a:extLst>
                      <a:ext uri="{FF2B5EF4-FFF2-40B4-BE49-F238E27FC236}">
                        <a16:creationId xmlns:a16="http://schemas.microsoft.com/office/drawing/2014/main" id="{46CD0B3D-FC8D-40C8-A592-C97C7402BCAD}"/>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8" name="Line 66">
                    <a:extLst>
                      <a:ext uri="{FF2B5EF4-FFF2-40B4-BE49-F238E27FC236}">
                        <a16:creationId xmlns:a16="http://schemas.microsoft.com/office/drawing/2014/main" id="{293808B9-88D3-4773-80AA-F37D257B15B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Line 67">
                    <a:extLst>
                      <a:ext uri="{FF2B5EF4-FFF2-40B4-BE49-F238E27FC236}">
                        <a16:creationId xmlns:a16="http://schemas.microsoft.com/office/drawing/2014/main" id="{50ABD547-5FD6-4567-B008-7210CDE073F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Line 69">
                    <a:extLst>
                      <a:ext uri="{FF2B5EF4-FFF2-40B4-BE49-F238E27FC236}">
                        <a16:creationId xmlns:a16="http://schemas.microsoft.com/office/drawing/2014/main" id="{5B9FD4E6-5AB1-4416-A345-814920CA797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Line 74">
                    <a:extLst>
                      <a:ext uri="{FF2B5EF4-FFF2-40B4-BE49-F238E27FC236}">
                        <a16:creationId xmlns:a16="http://schemas.microsoft.com/office/drawing/2014/main" id="{91FE552D-39A3-4EAD-B688-0B4842DBFDF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78">
                    <a:extLst>
                      <a:ext uri="{FF2B5EF4-FFF2-40B4-BE49-F238E27FC236}">
                        <a16:creationId xmlns:a16="http://schemas.microsoft.com/office/drawing/2014/main" id="{E5F96C76-0E0C-4AE3-BB59-196115BED910}"/>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80">
                    <a:extLst>
                      <a:ext uri="{FF2B5EF4-FFF2-40B4-BE49-F238E27FC236}">
                        <a16:creationId xmlns:a16="http://schemas.microsoft.com/office/drawing/2014/main" id="{811CFDE9-8578-4084-9896-EE967494D5A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06" name="Group 2505">
                  <a:extLst>
                    <a:ext uri="{FF2B5EF4-FFF2-40B4-BE49-F238E27FC236}">
                      <a16:creationId xmlns:a16="http://schemas.microsoft.com/office/drawing/2014/main" id="{D393629C-BC7D-4B72-9D8F-FF7461506E86}"/>
                    </a:ext>
                  </a:extLst>
                </p:cNvPr>
                <p:cNvGrpSpPr/>
                <p:nvPr/>
              </p:nvGrpSpPr>
              <p:grpSpPr>
                <a:xfrm>
                  <a:off x="7951708" y="7985752"/>
                  <a:ext cx="356509" cy="349884"/>
                  <a:chOff x="468738" y="2241878"/>
                  <a:chExt cx="1655483" cy="1624719"/>
                </a:xfrm>
              </p:grpSpPr>
              <p:sp>
                <p:nvSpPr>
                  <p:cNvPr id="2507" name="Freeform 5">
                    <a:extLst>
                      <a:ext uri="{FF2B5EF4-FFF2-40B4-BE49-F238E27FC236}">
                        <a16:creationId xmlns:a16="http://schemas.microsoft.com/office/drawing/2014/main" id="{B6CB8661-51F1-4427-9630-C6FF092E6200}"/>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6">
                    <a:extLst>
                      <a:ext uri="{FF2B5EF4-FFF2-40B4-BE49-F238E27FC236}">
                        <a16:creationId xmlns:a16="http://schemas.microsoft.com/office/drawing/2014/main" id="{4ED5D328-033E-4613-B0F5-9AC2158F6FA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Line 7">
                    <a:extLst>
                      <a:ext uri="{FF2B5EF4-FFF2-40B4-BE49-F238E27FC236}">
                        <a16:creationId xmlns:a16="http://schemas.microsoft.com/office/drawing/2014/main" id="{DBEA3398-AF4F-4885-B6CC-26351AF7282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8">
                    <a:extLst>
                      <a:ext uri="{FF2B5EF4-FFF2-40B4-BE49-F238E27FC236}">
                        <a16:creationId xmlns:a16="http://schemas.microsoft.com/office/drawing/2014/main" id="{C9BA89EA-25F1-4AF6-A8C9-E885829E415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Line 9">
                    <a:extLst>
                      <a:ext uri="{FF2B5EF4-FFF2-40B4-BE49-F238E27FC236}">
                        <a16:creationId xmlns:a16="http://schemas.microsoft.com/office/drawing/2014/main" id="{B4924420-51F8-4E90-A5BC-2B568D0F640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12" name="Group 2511">
                    <a:extLst>
                      <a:ext uri="{FF2B5EF4-FFF2-40B4-BE49-F238E27FC236}">
                        <a16:creationId xmlns:a16="http://schemas.microsoft.com/office/drawing/2014/main" id="{2B1FF5C1-655C-4D84-8357-FBEFF88CD753}"/>
                      </a:ext>
                    </a:extLst>
                  </p:cNvPr>
                  <p:cNvGrpSpPr/>
                  <p:nvPr/>
                </p:nvGrpSpPr>
                <p:grpSpPr>
                  <a:xfrm>
                    <a:off x="1207113" y="2241878"/>
                    <a:ext cx="178734" cy="348678"/>
                    <a:chOff x="1207113" y="2241878"/>
                    <a:chExt cx="178734" cy="348678"/>
                  </a:xfrm>
                </p:grpSpPr>
                <p:sp>
                  <p:nvSpPr>
                    <p:cNvPr id="2535" name="Freeform 10">
                      <a:extLst>
                        <a:ext uri="{FF2B5EF4-FFF2-40B4-BE49-F238E27FC236}">
                          <a16:creationId xmlns:a16="http://schemas.microsoft.com/office/drawing/2014/main" id="{13288FA8-69DE-4B8F-938F-EAFBC8D8689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Line 11">
                      <a:extLst>
                        <a:ext uri="{FF2B5EF4-FFF2-40B4-BE49-F238E27FC236}">
                          <a16:creationId xmlns:a16="http://schemas.microsoft.com/office/drawing/2014/main" id="{05635318-9DD3-47B6-AF53-F2E88F8E7D49}"/>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13" name="Freeform 12">
                    <a:extLst>
                      <a:ext uri="{FF2B5EF4-FFF2-40B4-BE49-F238E27FC236}">
                        <a16:creationId xmlns:a16="http://schemas.microsoft.com/office/drawing/2014/main" id="{75421306-8DF7-42AD-950B-FA9036E7693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4" name="Line 13">
                    <a:extLst>
                      <a:ext uri="{FF2B5EF4-FFF2-40B4-BE49-F238E27FC236}">
                        <a16:creationId xmlns:a16="http://schemas.microsoft.com/office/drawing/2014/main" id="{CF179717-3DEA-4B09-AC03-712A5CB8A00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4">
                    <a:extLst>
                      <a:ext uri="{FF2B5EF4-FFF2-40B4-BE49-F238E27FC236}">
                        <a16:creationId xmlns:a16="http://schemas.microsoft.com/office/drawing/2014/main" id="{3377E841-63A0-48A3-B027-19508466199E}"/>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6" name="Line 15">
                    <a:extLst>
                      <a:ext uri="{FF2B5EF4-FFF2-40B4-BE49-F238E27FC236}">
                        <a16:creationId xmlns:a16="http://schemas.microsoft.com/office/drawing/2014/main" id="{EA066626-FE54-4A5B-B3D9-E39814C33F7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Freeform 16">
                    <a:extLst>
                      <a:ext uri="{FF2B5EF4-FFF2-40B4-BE49-F238E27FC236}">
                        <a16:creationId xmlns:a16="http://schemas.microsoft.com/office/drawing/2014/main" id="{366A3F47-A9AF-42FF-B639-14B6CE96B163}"/>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Line 17">
                    <a:extLst>
                      <a:ext uri="{FF2B5EF4-FFF2-40B4-BE49-F238E27FC236}">
                        <a16:creationId xmlns:a16="http://schemas.microsoft.com/office/drawing/2014/main" id="{084A0566-0D88-40B9-8942-404A11A5775D}"/>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8">
                    <a:extLst>
                      <a:ext uri="{FF2B5EF4-FFF2-40B4-BE49-F238E27FC236}">
                        <a16:creationId xmlns:a16="http://schemas.microsoft.com/office/drawing/2014/main" id="{FFAD812C-E870-46B0-B2C9-8CF5C0FA946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Line 19">
                    <a:extLst>
                      <a:ext uri="{FF2B5EF4-FFF2-40B4-BE49-F238E27FC236}">
                        <a16:creationId xmlns:a16="http://schemas.microsoft.com/office/drawing/2014/main" id="{DA262064-351F-44CF-9B13-A177FF0E84D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35">
                    <a:extLst>
                      <a:ext uri="{FF2B5EF4-FFF2-40B4-BE49-F238E27FC236}">
                        <a16:creationId xmlns:a16="http://schemas.microsoft.com/office/drawing/2014/main" id="{28C2291A-182E-473D-B28F-613B49F49F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36">
                    <a:extLst>
                      <a:ext uri="{FF2B5EF4-FFF2-40B4-BE49-F238E27FC236}">
                        <a16:creationId xmlns:a16="http://schemas.microsoft.com/office/drawing/2014/main" id="{AE5F9676-2C2C-4086-A074-4395A8F1316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37">
                    <a:extLst>
                      <a:ext uri="{FF2B5EF4-FFF2-40B4-BE49-F238E27FC236}">
                        <a16:creationId xmlns:a16="http://schemas.microsoft.com/office/drawing/2014/main" id="{ECCBBBB8-BCA3-4313-A865-509D9DA9DDFD}"/>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38">
                    <a:extLst>
                      <a:ext uri="{FF2B5EF4-FFF2-40B4-BE49-F238E27FC236}">
                        <a16:creationId xmlns:a16="http://schemas.microsoft.com/office/drawing/2014/main" id="{717182B7-9ED3-488D-B869-09159943C40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39">
                    <a:extLst>
                      <a:ext uri="{FF2B5EF4-FFF2-40B4-BE49-F238E27FC236}">
                        <a16:creationId xmlns:a16="http://schemas.microsoft.com/office/drawing/2014/main" id="{FB56E7B4-5069-4EB9-8242-B7F2C922E89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40">
                    <a:extLst>
                      <a:ext uri="{FF2B5EF4-FFF2-40B4-BE49-F238E27FC236}">
                        <a16:creationId xmlns:a16="http://schemas.microsoft.com/office/drawing/2014/main" id="{89F2894D-26FA-4B43-A0E7-A222091799E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41">
                    <a:extLst>
                      <a:ext uri="{FF2B5EF4-FFF2-40B4-BE49-F238E27FC236}">
                        <a16:creationId xmlns:a16="http://schemas.microsoft.com/office/drawing/2014/main" id="{088EBEFD-D722-4C11-9B83-8AFB21AE7838}"/>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Line 42">
                    <a:extLst>
                      <a:ext uri="{FF2B5EF4-FFF2-40B4-BE49-F238E27FC236}">
                        <a16:creationId xmlns:a16="http://schemas.microsoft.com/office/drawing/2014/main" id="{1C001CC8-7999-446D-B698-FEB6F9C469ED}"/>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43">
                    <a:extLst>
                      <a:ext uri="{FF2B5EF4-FFF2-40B4-BE49-F238E27FC236}">
                        <a16:creationId xmlns:a16="http://schemas.microsoft.com/office/drawing/2014/main" id="{308239DF-11B1-4567-AEA1-4968356A70E3}"/>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44">
                    <a:extLst>
                      <a:ext uri="{FF2B5EF4-FFF2-40B4-BE49-F238E27FC236}">
                        <a16:creationId xmlns:a16="http://schemas.microsoft.com/office/drawing/2014/main" id="{E43DD64A-034B-4995-9BA0-CD09EA99263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45">
                    <a:extLst>
                      <a:ext uri="{FF2B5EF4-FFF2-40B4-BE49-F238E27FC236}">
                        <a16:creationId xmlns:a16="http://schemas.microsoft.com/office/drawing/2014/main" id="{71FABE57-4F57-40F4-9656-C826889EF9C9}"/>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32" name="Group 2531">
                    <a:extLst>
                      <a:ext uri="{FF2B5EF4-FFF2-40B4-BE49-F238E27FC236}">
                        <a16:creationId xmlns:a16="http://schemas.microsoft.com/office/drawing/2014/main" id="{3C83AEA8-0A02-4B1D-98DB-F79693425584}"/>
                      </a:ext>
                    </a:extLst>
                  </p:cNvPr>
                  <p:cNvGrpSpPr/>
                  <p:nvPr/>
                </p:nvGrpSpPr>
                <p:grpSpPr>
                  <a:xfrm flipV="1">
                    <a:off x="1202047" y="3517919"/>
                    <a:ext cx="178734" cy="348678"/>
                    <a:chOff x="1207113" y="2241878"/>
                    <a:chExt cx="178734" cy="348678"/>
                  </a:xfrm>
                </p:grpSpPr>
                <p:sp>
                  <p:nvSpPr>
                    <p:cNvPr id="2533" name="Freeform 10">
                      <a:extLst>
                        <a:ext uri="{FF2B5EF4-FFF2-40B4-BE49-F238E27FC236}">
                          <a16:creationId xmlns:a16="http://schemas.microsoft.com/office/drawing/2014/main" id="{4CC281CB-067A-4636-91B4-74D36C97DF7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Line 11">
                      <a:extLst>
                        <a:ext uri="{FF2B5EF4-FFF2-40B4-BE49-F238E27FC236}">
                          <a16:creationId xmlns:a16="http://schemas.microsoft.com/office/drawing/2014/main" id="{F728501F-9AD2-40C4-9BEB-EAE71FEAE25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544" name="Group 2543">
            <a:extLst>
              <a:ext uri="{FF2B5EF4-FFF2-40B4-BE49-F238E27FC236}">
                <a16:creationId xmlns:a16="http://schemas.microsoft.com/office/drawing/2014/main" id="{7CF70DB9-3C21-4F6A-A0D2-87A2EAFF679D}"/>
              </a:ext>
            </a:extLst>
          </p:cNvPr>
          <p:cNvGrpSpPr/>
          <p:nvPr/>
        </p:nvGrpSpPr>
        <p:grpSpPr>
          <a:xfrm>
            <a:off x="496680" y="1864299"/>
            <a:ext cx="1451488" cy="649270"/>
            <a:chOff x="1688915" y="1573673"/>
            <a:chExt cx="1455572" cy="651097"/>
          </a:xfrm>
        </p:grpSpPr>
        <p:sp>
          <p:nvSpPr>
            <p:cNvPr id="2545" name="Right Arrow 551">
              <a:extLst>
                <a:ext uri="{FF2B5EF4-FFF2-40B4-BE49-F238E27FC236}">
                  <a16:creationId xmlns:a16="http://schemas.microsoft.com/office/drawing/2014/main" id="{60716A56-708D-4D57-A035-5566C369D652}"/>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546" name="Group 2545">
              <a:extLst>
                <a:ext uri="{FF2B5EF4-FFF2-40B4-BE49-F238E27FC236}">
                  <a16:creationId xmlns:a16="http://schemas.microsoft.com/office/drawing/2014/main" id="{2A86400A-22B2-422F-88B6-A6CFA4435DE2}"/>
                </a:ext>
              </a:extLst>
            </p:cNvPr>
            <p:cNvGrpSpPr>
              <a:grpSpLocks/>
            </p:cNvGrpSpPr>
            <p:nvPr/>
          </p:nvGrpSpPr>
          <p:grpSpPr>
            <a:xfrm>
              <a:off x="1688915" y="1795002"/>
              <a:ext cx="418017" cy="418017"/>
              <a:chOff x="745985" y="4768134"/>
              <a:chExt cx="368776" cy="368777"/>
            </a:xfrm>
          </p:grpSpPr>
          <p:grpSp>
            <p:nvGrpSpPr>
              <p:cNvPr id="2610" name="Group 64">
                <a:extLst>
                  <a:ext uri="{FF2B5EF4-FFF2-40B4-BE49-F238E27FC236}">
                    <a16:creationId xmlns:a16="http://schemas.microsoft.com/office/drawing/2014/main" id="{37876098-F815-4A75-A3F5-8342895CBBEF}"/>
                  </a:ext>
                </a:extLst>
              </p:cNvPr>
              <p:cNvGrpSpPr>
                <a:grpSpLocks noChangeAspect="1"/>
              </p:cNvGrpSpPr>
              <p:nvPr/>
            </p:nvGrpSpPr>
            <p:grpSpPr bwMode="auto">
              <a:xfrm rot="8100000">
                <a:off x="745985" y="4768134"/>
                <a:ext cx="368776" cy="368777"/>
                <a:chOff x="701" y="2170"/>
                <a:chExt cx="587" cy="587"/>
              </a:xfrm>
            </p:grpSpPr>
            <p:sp>
              <p:nvSpPr>
                <p:cNvPr id="2621" name="Oval 65">
                  <a:extLst>
                    <a:ext uri="{FF2B5EF4-FFF2-40B4-BE49-F238E27FC236}">
                      <a16:creationId xmlns:a16="http://schemas.microsoft.com/office/drawing/2014/main" id="{2DF0D91C-2D49-46A4-8E67-9D5B89E66B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2" name="Line 66">
                  <a:extLst>
                    <a:ext uri="{FF2B5EF4-FFF2-40B4-BE49-F238E27FC236}">
                      <a16:creationId xmlns:a16="http://schemas.microsoft.com/office/drawing/2014/main" id="{54F40249-A4E6-4758-A6D0-B2E796EF826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3" name="Line 67">
                  <a:extLst>
                    <a:ext uri="{FF2B5EF4-FFF2-40B4-BE49-F238E27FC236}">
                      <a16:creationId xmlns:a16="http://schemas.microsoft.com/office/drawing/2014/main" id="{07CC7B68-631A-483D-B0A0-D20552A4A07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69">
                  <a:extLst>
                    <a:ext uri="{FF2B5EF4-FFF2-40B4-BE49-F238E27FC236}">
                      <a16:creationId xmlns:a16="http://schemas.microsoft.com/office/drawing/2014/main" id="{737AEDA1-E4DE-4651-93A7-CDF6E1C2D9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5" name="Line 74">
                  <a:extLst>
                    <a:ext uri="{FF2B5EF4-FFF2-40B4-BE49-F238E27FC236}">
                      <a16:creationId xmlns:a16="http://schemas.microsoft.com/office/drawing/2014/main" id="{E9A3B492-7197-464A-B9EB-B58BA964764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Freeform 78">
                  <a:extLst>
                    <a:ext uri="{FF2B5EF4-FFF2-40B4-BE49-F238E27FC236}">
                      <a16:creationId xmlns:a16="http://schemas.microsoft.com/office/drawing/2014/main" id="{2578CF9C-E829-48FA-AA33-AEA16D6FFD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7" name="Freeform 80">
                  <a:extLst>
                    <a:ext uri="{FF2B5EF4-FFF2-40B4-BE49-F238E27FC236}">
                      <a16:creationId xmlns:a16="http://schemas.microsoft.com/office/drawing/2014/main" id="{E9C922BB-A626-4ADB-B528-1CE3E09729D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11" name="Group 2610">
                <a:extLst>
                  <a:ext uri="{FF2B5EF4-FFF2-40B4-BE49-F238E27FC236}">
                    <a16:creationId xmlns:a16="http://schemas.microsoft.com/office/drawing/2014/main" id="{B05CA430-DBB2-4069-83F5-B0564A8088E4}"/>
                  </a:ext>
                </a:extLst>
              </p:cNvPr>
              <p:cNvGrpSpPr/>
              <p:nvPr/>
            </p:nvGrpSpPr>
            <p:grpSpPr>
              <a:xfrm>
                <a:off x="837312" y="4814434"/>
                <a:ext cx="136805" cy="278689"/>
                <a:chOff x="2806700" y="2803319"/>
                <a:chExt cx="433387" cy="882861"/>
              </a:xfrm>
            </p:grpSpPr>
            <p:grpSp>
              <p:nvGrpSpPr>
                <p:cNvPr id="2612" name="Group 2611">
                  <a:extLst>
                    <a:ext uri="{FF2B5EF4-FFF2-40B4-BE49-F238E27FC236}">
                      <a16:creationId xmlns:a16="http://schemas.microsoft.com/office/drawing/2014/main" id="{0EDC82F8-83D1-4536-A959-C2D2FD5273E9}"/>
                    </a:ext>
                  </a:extLst>
                </p:cNvPr>
                <p:cNvGrpSpPr>
                  <a:grpSpLocks noChangeAspect="1"/>
                </p:cNvGrpSpPr>
                <p:nvPr/>
              </p:nvGrpSpPr>
              <p:grpSpPr bwMode="auto">
                <a:xfrm>
                  <a:off x="2806700" y="3043242"/>
                  <a:ext cx="433387" cy="642938"/>
                  <a:chOff x="1768" y="1917"/>
                  <a:chExt cx="273" cy="405"/>
                </a:xfrm>
              </p:grpSpPr>
              <p:sp>
                <p:nvSpPr>
                  <p:cNvPr id="2614" name="Freeform 52">
                    <a:extLst>
                      <a:ext uri="{FF2B5EF4-FFF2-40B4-BE49-F238E27FC236}">
                        <a16:creationId xmlns:a16="http://schemas.microsoft.com/office/drawing/2014/main" id="{0BCE2018-B6C9-4D30-9121-A67C4EE2AB3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Line 54">
                    <a:extLst>
                      <a:ext uri="{FF2B5EF4-FFF2-40B4-BE49-F238E27FC236}">
                        <a16:creationId xmlns:a16="http://schemas.microsoft.com/office/drawing/2014/main" id="{EC581916-8210-4552-9CD2-6819AC9BAA7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6" name="Line 55">
                    <a:extLst>
                      <a:ext uri="{FF2B5EF4-FFF2-40B4-BE49-F238E27FC236}">
                        <a16:creationId xmlns:a16="http://schemas.microsoft.com/office/drawing/2014/main" id="{258D4DF1-6C6F-424D-9ED5-1E6427BB5C6D}"/>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56">
                    <a:extLst>
                      <a:ext uri="{FF2B5EF4-FFF2-40B4-BE49-F238E27FC236}">
                        <a16:creationId xmlns:a16="http://schemas.microsoft.com/office/drawing/2014/main" id="{EFC4BA31-C988-4E9F-BCA1-A5BE4DA774B7}"/>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57">
                    <a:extLst>
                      <a:ext uri="{FF2B5EF4-FFF2-40B4-BE49-F238E27FC236}">
                        <a16:creationId xmlns:a16="http://schemas.microsoft.com/office/drawing/2014/main" id="{60554008-CF73-4CB7-B029-7BB6BC69B4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58">
                    <a:extLst>
                      <a:ext uri="{FF2B5EF4-FFF2-40B4-BE49-F238E27FC236}">
                        <a16:creationId xmlns:a16="http://schemas.microsoft.com/office/drawing/2014/main" id="{8663360D-1E34-41B4-9F2E-AD0DC682F5E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Rectangle 2619">
                    <a:extLst>
                      <a:ext uri="{FF2B5EF4-FFF2-40B4-BE49-F238E27FC236}">
                        <a16:creationId xmlns:a16="http://schemas.microsoft.com/office/drawing/2014/main" id="{5B65E2D2-857D-40B6-8F41-EA1235FAE848}"/>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13" name="Oval 2612">
                  <a:extLst>
                    <a:ext uri="{FF2B5EF4-FFF2-40B4-BE49-F238E27FC236}">
                      <a16:creationId xmlns:a16="http://schemas.microsoft.com/office/drawing/2014/main" id="{B63520A8-B7C0-44DB-955E-5A06BF0CF4B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47" name="Group 2546">
              <a:extLst>
                <a:ext uri="{FF2B5EF4-FFF2-40B4-BE49-F238E27FC236}">
                  <a16:creationId xmlns:a16="http://schemas.microsoft.com/office/drawing/2014/main" id="{70E3FDAB-8078-4444-B685-4B8E2BB15BF0}"/>
                </a:ext>
              </a:extLst>
            </p:cNvPr>
            <p:cNvGrpSpPr>
              <a:grpSpLocks/>
            </p:cNvGrpSpPr>
            <p:nvPr/>
          </p:nvGrpSpPr>
          <p:grpSpPr>
            <a:xfrm>
              <a:off x="2196256" y="1795002"/>
              <a:ext cx="429139" cy="429142"/>
              <a:chOff x="1454941" y="4721722"/>
              <a:chExt cx="473625" cy="473627"/>
            </a:xfrm>
          </p:grpSpPr>
          <p:grpSp>
            <p:nvGrpSpPr>
              <p:cNvPr id="2571" name="Group 64">
                <a:extLst>
                  <a:ext uri="{FF2B5EF4-FFF2-40B4-BE49-F238E27FC236}">
                    <a16:creationId xmlns:a16="http://schemas.microsoft.com/office/drawing/2014/main" id="{B39C39E7-EA9F-4EBC-9AAB-F9883F63F91C}"/>
                  </a:ext>
                </a:extLst>
              </p:cNvPr>
              <p:cNvGrpSpPr>
                <a:grpSpLocks noChangeAspect="1"/>
              </p:cNvGrpSpPr>
              <p:nvPr/>
            </p:nvGrpSpPr>
            <p:grpSpPr bwMode="auto">
              <a:xfrm rot="8100000">
                <a:off x="1454941" y="4721722"/>
                <a:ext cx="473625" cy="473627"/>
                <a:chOff x="701" y="2170"/>
                <a:chExt cx="587" cy="587"/>
              </a:xfrm>
            </p:grpSpPr>
            <p:sp>
              <p:nvSpPr>
                <p:cNvPr id="2603" name="Oval 65">
                  <a:extLst>
                    <a:ext uri="{FF2B5EF4-FFF2-40B4-BE49-F238E27FC236}">
                      <a16:creationId xmlns:a16="http://schemas.microsoft.com/office/drawing/2014/main" id="{1741B508-5571-4D54-A0EB-547A9E77B78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04" name="Line 66">
                  <a:extLst>
                    <a:ext uri="{FF2B5EF4-FFF2-40B4-BE49-F238E27FC236}">
                      <a16:creationId xmlns:a16="http://schemas.microsoft.com/office/drawing/2014/main" id="{70676CEF-249F-420C-85A3-B991722F7A3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Line 67">
                  <a:extLst>
                    <a:ext uri="{FF2B5EF4-FFF2-40B4-BE49-F238E27FC236}">
                      <a16:creationId xmlns:a16="http://schemas.microsoft.com/office/drawing/2014/main" id="{1EF5F94B-E9B8-4900-A031-222A5CC2040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69">
                  <a:extLst>
                    <a:ext uri="{FF2B5EF4-FFF2-40B4-BE49-F238E27FC236}">
                      <a16:creationId xmlns:a16="http://schemas.microsoft.com/office/drawing/2014/main" id="{2BB013A3-42B7-4018-89D4-5C83D78682F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Line 74">
                  <a:extLst>
                    <a:ext uri="{FF2B5EF4-FFF2-40B4-BE49-F238E27FC236}">
                      <a16:creationId xmlns:a16="http://schemas.microsoft.com/office/drawing/2014/main" id="{00686483-DECD-45BF-9A77-564856213CC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Freeform 78">
                  <a:extLst>
                    <a:ext uri="{FF2B5EF4-FFF2-40B4-BE49-F238E27FC236}">
                      <a16:creationId xmlns:a16="http://schemas.microsoft.com/office/drawing/2014/main" id="{84F7DED2-E0F1-4DE4-A520-B0C26D9E750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80">
                  <a:extLst>
                    <a:ext uri="{FF2B5EF4-FFF2-40B4-BE49-F238E27FC236}">
                      <a16:creationId xmlns:a16="http://schemas.microsoft.com/office/drawing/2014/main" id="{039693EE-14A9-4591-B409-53500D914F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2" name="Group 2571">
                <a:extLst>
                  <a:ext uri="{FF2B5EF4-FFF2-40B4-BE49-F238E27FC236}">
                    <a16:creationId xmlns:a16="http://schemas.microsoft.com/office/drawing/2014/main" id="{89DDA1AB-DB1A-4F2A-A1F6-F55E86107FD2}"/>
                  </a:ext>
                </a:extLst>
              </p:cNvPr>
              <p:cNvGrpSpPr/>
              <p:nvPr/>
            </p:nvGrpSpPr>
            <p:grpSpPr>
              <a:xfrm>
                <a:off x="1511214" y="4789508"/>
                <a:ext cx="356509" cy="349884"/>
                <a:chOff x="468738" y="2241878"/>
                <a:chExt cx="1655483" cy="1624719"/>
              </a:xfrm>
            </p:grpSpPr>
            <p:sp>
              <p:nvSpPr>
                <p:cNvPr id="2573" name="Freeform 5">
                  <a:extLst>
                    <a:ext uri="{FF2B5EF4-FFF2-40B4-BE49-F238E27FC236}">
                      <a16:creationId xmlns:a16="http://schemas.microsoft.com/office/drawing/2014/main" id="{172B99D1-5F8D-43B0-A8CF-683A3625D04B}"/>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4" name="Freeform 6">
                  <a:extLst>
                    <a:ext uri="{FF2B5EF4-FFF2-40B4-BE49-F238E27FC236}">
                      <a16:creationId xmlns:a16="http://schemas.microsoft.com/office/drawing/2014/main" id="{F3FDED16-95F9-45A6-A5C2-AF3C7FBE84F6}"/>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5" name="Line 7">
                  <a:extLst>
                    <a:ext uri="{FF2B5EF4-FFF2-40B4-BE49-F238E27FC236}">
                      <a16:creationId xmlns:a16="http://schemas.microsoft.com/office/drawing/2014/main" id="{AAD0AA96-C242-4B23-8EFA-298E3BEDAA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8">
                  <a:extLst>
                    <a:ext uri="{FF2B5EF4-FFF2-40B4-BE49-F238E27FC236}">
                      <a16:creationId xmlns:a16="http://schemas.microsoft.com/office/drawing/2014/main" id="{65ACEBDE-EC2B-4A9C-8F9A-3E59E956386C}"/>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7" name="Line 9">
                  <a:extLst>
                    <a:ext uri="{FF2B5EF4-FFF2-40B4-BE49-F238E27FC236}">
                      <a16:creationId xmlns:a16="http://schemas.microsoft.com/office/drawing/2014/main" id="{FA37A858-97DB-4449-ACE8-3885E0019D9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78" name="Group 2577">
                  <a:extLst>
                    <a:ext uri="{FF2B5EF4-FFF2-40B4-BE49-F238E27FC236}">
                      <a16:creationId xmlns:a16="http://schemas.microsoft.com/office/drawing/2014/main" id="{79C5D445-41D4-40B0-AF1A-755E76DDC7B4}"/>
                    </a:ext>
                  </a:extLst>
                </p:cNvPr>
                <p:cNvGrpSpPr/>
                <p:nvPr/>
              </p:nvGrpSpPr>
              <p:grpSpPr>
                <a:xfrm>
                  <a:off x="1207113" y="2241878"/>
                  <a:ext cx="178734" cy="348678"/>
                  <a:chOff x="1207113" y="2241878"/>
                  <a:chExt cx="178734" cy="348678"/>
                </a:xfrm>
              </p:grpSpPr>
              <p:sp>
                <p:nvSpPr>
                  <p:cNvPr id="2601" name="Freeform 10">
                    <a:extLst>
                      <a:ext uri="{FF2B5EF4-FFF2-40B4-BE49-F238E27FC236}">
                        <a16:creationId xmlns:a16="http://schemas.microsoft.com/office/drawing/2014/main" id="{54AC54D8-9353-4873-A0D6-DA52C82071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2" name="Line 11">
                    <a:extLst>
                      <a:ext uri="{FF2B5EF4-FFF2-40B4-BE49-F238E27FC236}">
                        <a16:creationId xmlns:a16="http://schemas.microsoft.com/office/drawing/2014/main" id="{67538569-E1FB-43CB-8C4E-E50AB927A62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79" name="Freeform 12">
                  <a:extLst>
                    <a:ext uri="{FF2B5EF4-FFF2-40B4-BE49-F238E27FC236}">
                      <a16:creationId xmlns:a16="http://schemas.microsoft.com/office/drawing/2014/main" id="{23AB89EB-3C17-472E-A344-FA38E6EB684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0" name="Line 13">
                  <a:extLst>
                    <a:ext uri="{FF2B5EF4-FFF2-40B4-BE49-F238E27FC236}">
                      <a16:creationId xmlns:a16="http://schemas.microsoft.com/office/drawing/2014/main" id="{43C11C09-0BC9-4BFF-875F-ABE448A152D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14">
                  <a:extLst>
                    <a:ext uri="{FF2B5EF4-FFF2-40B4-BE49-F238E27FC236}">
                      <a16:creationId xmlns:a16="http://schemas.microsoft.com/office/drawing/2014/main" id="{F0F5FDC1-C77E-42C1-837C-FAF73023CF4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2" name="Line 15">
                  <a:extLst>
                    <a:ext uri="{FF2B5EF4-FFF2-40B4-BE49-F238E27FC236}">
                      <a16:creationId xmlns:a16="http://schemas.microsoft.com/office/drawing/2014/main" id="{D14B5AA4-719D-4159-8916-F2A1A34A91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16">
                  <a:extLst>
                    <a:ext uri="{FF2B5EF4-FFF2-40B4-BE49-F238E27FC236}">
                      <a16:creationId xmlns:a16="http://schemas.microsoft.com/office/drawing/2014/main" id="{F8FBC1AC-6574-47C3-8438-C023623B260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4" name="Line 17">
                  <a:extLst>
                    <a:ext uri="{FF2B5EF4-FFF2-40B4-BE49-F238E27FC236}">
                      <a16:creationId xmlns:a16="http://schemas.microsoft.com/office/drawing/2014/main" id="{08056CE5-759B-45BA-AD64-E8F92BBD2A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5" name="Freeform 18">
                  <a:extLst>
                    <a:ext uri="{FF2B5EF4-FFF2-40B4-BE49-F238E27FC236}">
                      <a16:creationId xmlns:a16="http://schemas.microsoft.com/office/drawing/2014/main" id="{6A51513C-BEE0-4282-A5DF-6205F1EA066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6" name="Line 19">
                  <a:extLst>
                    <a:ext uri="{FF2B5EF4-FFF2-40B4-BE49-F238E27FC236}">
                      <a16:creationId xmlns:a16="http://schemas.microsoft.com/office/drawing/2014/main" id="{AEAAE65E-5999-432E-9C21-5E4FB83DDEB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Freeform 35">
                  <a:extLst>
                    <a:ext uri="{FF2B5EF4-FFF2-40B4-BE49-F238E27FC236}">
                      <a16:creationId xmlns:a16="http://schemas.microsoft.com/office/drawing/2014/main" id="{905B05FD-7A7F-48F9-A413-495E4E3EF3B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8" name="Freeform 36">
                  <a:extLst>
                    <a:ext uri="{FF2B5EF4-FFF2-40B4-BE49-F238E27FC236}">
                      <a16:creationId xmlns:a16="http://schemas.microsoft.com/office/drawing/2014/main" id="{2921A0B4-2BEA-4CE2-8F22-3E172B32B81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9" name="Freeform 37">
                  <a:extLst>
                    <a:ext uri="{FF2B5EF4-FFF2-40B4-BE49-F238E27FC236}">
                      <a16:creationId xmlns:a16="http://schemas.microsoft.com/office/drawing/2014/main" id="{74FD599A-C4E5-4385-B21D-C11D5169B587}"/>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Freeform 38">
                  <a:extLst>
                    <a:ext uri="{FF2B5EF4-FFF2-40B4-BE49-F238E27FC236}">
                      <a16:creationId xmlns:a16="http://schemas.microsoft.com/office/drawing/2014/main" id="{8F85F175-9B1B-40F9-946C-DE9DDA6E8A4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1" name="Freeform 39">
                  <a:extLst>
                    <a:ext uri="{FF2B5EF4-FFF2-40B4-BE49-F238E27FC236}">
                      <a16:creationId xmlns:a16="http://schemas.microsoft.com/office/drawing/2014/main" id="{53790508-4459-4A51-8C21-80B6C72D01A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2" name="Freeform 40">
                  <a:extLst>
                    <a:ext uri="{FF2B5EF4-FFF2-40B4-BE49-F238E27FC236}">
                      <a16:creationId xmlns:a16="http://schemas.microsoft.com/office/drawing/2014/main" id="{E9E238AF-9ECF-452F-B6DB-E6DF88A9C969}"/>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41">
                  <a:extLst>
                    <a:ext uri="{FF2B5EF4-FFF2-40B4-BE49-F238E27FC236}">
                      <a16:creationId xmlns:a16="http://schemas.microsoft.com/office/drawing/2014/main" id="{D11F8F04-D95B-4398-934F-456924E564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Line 42">
                  <a:extLst>
                    <a:ext uri="{FF2B5EF4-FFF2-40B4-BE49-F238E27FC236}">
                      <a16:creationId xmlns:a16="http://schemas.microsoft.com/office/drawing/2014/main" id="{7CA960FB-560C-4E5A-8FE9-85E545A1B2C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5" name="Freeform 43">
                  <a:extLst>
                    <a:ext uri="{FF2B5EF4-FFF2-40B4-BE49-F238E27FC236}">
                      <a16:creationId xmlns:a16="http://schemas.microsoft.com/office/drawing/2014/main" id="{8352DF51-BA50-42A8-AAA7-896B47106C3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6" name="Freeform 44">
                  <a:extLst>
                    <a:ext uri="{FF2B5EF4-FFF2-40B4-BE49-F238E27FC236}">
                      <a16:creationId xmlns:a16="http://schemas.microsoft.com/office/drawing/2014/main" id="{BDD7E630-68FF-4E07-BB6A-C1149D795D9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7" name="Freeform 45">
                  <a:extLst>
                    <a:ext uri="{FF2B5EF4-FFF2-40B4-BE49-F238E27FC236}">
                      <a16:creationId xmlns:a16="http://schemas.microsoft.com/office/drawing/2014/main" id="{861BDD01-35EE-466A-B33F-9A1961BB3060}"/>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98" name="Group 2597">
                  <a:extLst>
                    <a:ext uri="{FF2B5EF4-FFF2-40B4-BE49-F238E27FC236}">
                      <a16:creationId xmlns:a16="http://schemas.microsoft.com/office/drawing/2014/main" id="{7B1758D7-BE5F-464F-BC14-3A269D9754BC}"/>
                    </a:ext>
                  </a:extLst>
                </p:cNvPr>
                <p:cNvGrpSpPr/>
                <p:nvPr/>
              </p:nvGrpSpPr>
              <p:grpSpPr>
                <a:xfrm flipV="1">
                  <a:off x="1202047" y="3517919"/>
                  <a:ext cx="178734" cy="348678"/>
                  <a:chOff x="1207113" y="2241878"/>
                  <a:chExt cx="178734" cy="348678"/>
                </a:xfrm>
              </p:grpSpPr>
              <p:sp>
                <p:nvSpPr>
                  <p:cNvPr id="2599" name="Freeform 10">
                    <a:extLst>
                      <a:ext uri="{FF2B5EF4-FFF2-40B4-BE49-F238E27FC236}">
                        <a16:creationId xmlns:a16="http://schemas.microsoft.com/office/drawing/2014/main" id="{019506FC-658D-4D9A-A18D-8059D37E15F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Line 11">
                    <a:extLst>
                      <a:ext uri="{FF2B5EF4-FFF2-40B4-BE49-F238E27FC236}">
                        <a16:creationId xmlns:a16="http://schemas.microsoft.com/office/drawing/2014/main" id="{99B84B6D-9AFF-4FEA-9FDC-B8BF3387F94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48" name="Group 2547">
              <a:extLst>
                <a:ext uri="{FF2B5EF4-FFF2-40B4-BE49-F238E27FC236}">
                  <a16:creationId xmlns:a16="http://schemas.microsoft.com/office/drawing/2014/main" id="{5EA11509-A1A4-44A6-A1A4-17F4B555AAC6}"/>
                </a:ext>
              </a:extLst>
            </p:cNvPr>
            <p:cNvGrpSpPr>
              <a:grpSpLocks/>
            </p:cNvGrpSpPr>
            <p:nvPr/>
          </p:nvGrpSpPr>
          <p:grpSpPr>
            <a:xfrm>
              <a:off x="2714719" y="1795002"/>
              <a:ext cx="429768" cy="429768"/>
              <a:chOff x="2268747" y="4723725"/>
              <a:chExt cx="415610" cy="415612"/>
            </a:xfrm>
          </p:grpSpPr>
          <p:grpSp>
            <p:nvGrpSpPr>
              <p:cNvPr id="2549" name="Group 64">
                <a:extLst>
                  <a:ext uri="{FF2B5EF4-FFF2-40B4-BE49-F238E27FC236}">
                    <a16:creationId xmlns:a16="http://schemas.microsoft.com/office/drawing/2014/main" id="{9994E78A-F8C7-4ECE-944A-E097AE751DB8}"/>
                  </a:ext>
                </a:extLst>
              </p:cNvPr>
              <p:cNvGrpSpPr>
                <a:grpSpLocks noChangeAspect="1"/>
              </p:cNvGrpSpPr>
              <p:nvPr/>
            </p:nvGrpSpPr>
            <p:grpSpPr bwMode="auto">
              <a:xfrm rot="8100000">
                <a:off x="2268747" y="4723725"/>
                <a:ext cx="415610" cy="415612"/>
                <a:chOff x="701" y="2170"/>
                <a:chExt cx="587" cy="587"/>
              </a:xfrm>
            </p:grpSpPr>
            <p:sp>
              <p:nvSpPr>
                <p:cNvPr id="2564" name="Oval 65">
                  <a:extLst>
                    <a:ext uri="{FF2B5EF4-FFF2-40B4-BE49-F238E27FC236}">
                      <a16:creationId xmlns:a16="http://schemas.microsoft.com/office/drawing/2014/main" id="{B0440BC5-094D-472D-B738-365BFF23A97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5" name="Line 66">
                  <a:extLst>
                    <a:ext uri="{FF2B5EF4-FFF2-40B4-BE49-F238E27FC236}">
                      <a16:creationId xmlns:a16="http://schemas.microsoft.com/office/drawing/2014/main" id="{2A47616E-CFA9-48B9-9249-5868F9E3FC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6" name="Line 67">
                  <a:extLst>
                    <a:ext uri="{FF2B5EF4-FFF2-40B4-BE49-F238E27FC236}">
                      <a16:creationId xmlns:a16="http://schemas.microsoft.com/office/drawing/2014/main" id="{F77ABEAB-5DBD-4EAF-8B07-2263A00DC3F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7" name="Line 69">
                  <a:extLst>
                    <a:ext uri="{FF2B5EF4-FFF2-40B4-BE49-F238E27FC236}">
                      <a16:creationId xmlns:a16="http://schemas.microsoft.com/office/drawing/2014/main" id="{DE510E65-BE79-46F0-B8B4-232037F6B76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8" name="Line 74">
                  <a:extLst>
                    <a:ext uri="{FF2B5EF4-FFF2-40B4-BE49-F238E27FC236}">
                      <a16:creationId xmlns:a16="http://schemas.microsoft.com/office/drawing/2014/main" id="{CD3FFEA8-D4AB-4078-A060-33DF4A788FE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9" name="Freeform 78">
                  <a:extLst>
                    <a:ext uri="{FF2B5EF4-FFF2-40B4-BE49-F238E27FC236}">
                      <a16:creationId xmlns:a16="http://schemas.microsoft.com/office/drawing/2014/main" id="{2EDC1EE5-42BD-4CDA-813D-5E6FB6792E2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0" name="Freeform 80">
                  <a:extLst>
                    <a:ext uri="{FF2B5EF4-FFF2-40B4-BE49-F238E27FC236}">
                      <a16:creationId xmlns:a16="http://schemas.microsoft.com/office/drawing/2014/main" id="{A5B3BECE-23D7-41D4-8D21-E529128AD14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50" name="Group 2549">
                <a:extLst>
                  <a:ext uri="{FF2B5EF4-FFF2-40B4-BE49-F238E27FC236}">
                    <a16:creationId xmlns:a16="http://schemas.microsoft.com/office/drawing/2014/main" id="{CDDC6E90-998A-4279-AA1D-88E0676C2A65}"/>
                  </a:ext>
                </a:extLst>
              </p:cNvPr>
              <p:cNvGrpSpPr/>
              <p:nvPr/>
            </p:nvGrpSpPr>
            <p:grpSpPr>
              <a:xfrm>
                <a:off x="2318076" y="4830163"/>
                <a:ext cx="313949" cy="233075"/>
                <a:chOff x="3707533" y="2731244"/>
                <a:chExt cx="389644" cy="289271"/>
              </a:xfrm>
            </p:grpSpPr>
            <p:sp>
              <p:nvSpPr>
                <p:cNvPr id="2551" name="Freeform 33">
                  <a:extLst>
                    <a:ext uri="{FF2B5EF4-FFF2-40B4-BE49-F238E27FC236}">
                      <a16:creationId xmlns:a16="http://schemas.microsoft.com/office/drawing/2014/main" id="{3E33581A-5603-47FA-8C77-22600BCDE6E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2" name="Freeform 34">
                  <a:extLst>
                    <a:ext uri="{FF2B5EF4-FFF2-40B4-BE49-F238E27FC236}">
                      <a16:creationId xmlns:a16="http://schemas.microsoft.com/office/drawing/2014/main" id="{ACDF47B3-1CA7-4271-867B-F114B297691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3" name="Freeform 37">
                  <a:extLst>
                    <a:ext uri="{FF2B5EF4-FFF2-40B4-BE49-F238E27FC236}">
                      <a16:creationId xmlns:a16="http://schemas.microsoft.com/office/drawing/2014/main" id="{B543CB0C-D03B-4720-A607-0FCD07E9D4B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4" name="Freeform 38">
                  <a:extLst>
                    <a:ext uri="{FF2B5EF4-FFF2-40B4-BE49-F238E27FC236}">
                      <a16:creationId xmlns:a16="http://schemas.microsoft.com/office/drawing/2014/main" id="{372AC087-985F-4869-B0F9-042502D250D4}"/>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5" name="Freeform 32">
                  <a:extLst>
                    <a:ext uri="{FF2B5EF4-FFF2-40B4-BE49-F238E27FC236}">
                      <a16:creationId xmlns:a16="http://schemas.microsoft.com/office/drawing/2014/main" id="{38C5052C-A37E-470F-B686-3D80031B8B8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6" name="Freeform 35">
                  <a:extLst>
                    <a:ext uri="{FF2B5EF4-FFF2-40B4-BE49-F238E27FC236}">
                      <a16:creationId xmlns:a16="http://schemas.microsoft.com/office/drawing/2014/main" id="{B2446279-1BCD-4191-8B55-C5D69A343EE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7" name="Freeform 36">
                  <a:extLst>
                    <a:ext uri="{FF2B5EF4-FFF2-40B4-BE49-F238E27FC236}">
                      <a16:creationId xmlns:a16="http://schemas.microsoft.com/office/drawing/2014/main" id="{C85BCDF6-D6D7-4002-A4B7-F17FFEAB5D3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8" name="Freeform 25">
                  <a:extLst>
                    <a:ext uri="{FF2B5EF4-FFF2-40B4-BE49-F238E27FC236}">
                      <a16:creationId xmlns:a16="http://schemas.microsoft.com/office/drawing/2014/main" id="{C36CC8CF-82FF-428E-BC50-3225F0505AF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9" name="Freeform 39">
                  <a:extLst>
                    <a:ext uri="{FF2B5EF4-FFF2-40B4-BE49-F238E27FC236}">
                      <a16:creationId xmlns:a16="http://schemas.microsoft.com/office/drawing/2014/main" id="{B9E1B1BD-9826-44F1-8BFA-FD3EE138DEA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0" name="Freeform 26">
                  <a:extLst>
                    <a:ext uri="{FF2B5EF4-FFF2-40B4-BE49-F238E27FC236}">
                      <a16:creationId xmlns:a16="http://schemas.microsoft.com/office/drawing/2014/main" id="{E70AECCB-A7E1-4AF4-AD81-97B4AD7E5A3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1" name="Rectangle 27">
                  <a:extLst>
                    <a:ext uri="{FF2B5EF4-FFF2-40B4-BE49-F238E27FC236}">
                      <a16:creationId xmlns:a16="http://schemas.microsoft.com/office/drawing/2014/main" id="{AE5DB8C7-52CD-4F4D-AD7D-713470DD0519}"/>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2" name="Line 29">
                  <a:extLst>
                    <a:ext uri="{FF2B5EF4-FFF2-40B4-BE49-F238E27FC236}">
                      <a16:creationId xmlns:a16="http://schemas.microsoft.com/office/drawing/2014/main" id="{C1EDC3FA-8CEB-4FB2-816D-A14C07043183}"/>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3" name="Line 31">
                  <a:extLst>
                    <a:ext uri="{FF2B5EF4-FFF2-40B4-BE49-F238E27FC236}">
                      <a16:creationId xmlns:a16="http://schemas.microsoft.com/office/drawing/2014/main" id="{2438B17F-954A-450B-8F24-DD7E7E7D6E0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 name="Group 21">
            <a:extLst>
              <a:ext uri="{FF2B5EF4-FFF2-40B4-BE49-F238E27FC236}">
                <a16:creationId xmlns:a16="http://schemas.microsoft.com/office/drawing/2014/main" id="{6E4C0B98-8312-4240-91AD-56D15DC8F0EB}"/>
              </a:ext>
            </a:extLst>
          </p:cNvPr>
          <p:cNvGrpSpPr/>
          <p:nvPr/>
        </p:nvGrpSpPr>
        <p:grpSpPr>
          <a:xfrm>
            <a:off x="10071532" y="2269806"/>
            <a:ext cx="1723479" cy="3110477"/>
            <a:chOff x="10072567" y="2269503"/>
            <a:chExt cx="1723928" cy="3111287"/>
          </a:xfrm>
        </p:grpSpPr>
        <p:grpSp>
          <p:nvGrpSpPr>
            <p:cNvPr id="2628" name="Group 2627">
              <a:extLst>
                <a:ext uri="{FF2B5EF4-FFF2-40B4-BE49-F238E27FC236}">
                  <a16:creationId xmlns:a16="http://schemas.microsoft.com/office/drawing/2014/main" id="{5CB17104-CCCA-4F2F-BCBE-97E71FB6F56C}"/>
                </a:ext>
              </a:extLst>
            </p:cNvPr>
            <p:cNvGrpSpPr/>
            <p:nvPr/>
          </p:nvGrpSpPr>
          <p:grpSpPr>
            <a:xfrm>
              <a:off x="10075218" y="2269503"/>
              <a:ext cx="1586257" cy="2254230"/>
              <a:chOff x="9895314" y="2107193"/>
              <a:chExt cx="1590306" cy="2259985"/>
            </a:xfrm>
          </p:grpSpPr>
          <p:grpSp>
            <p:nvGrpSpPr>
              <p:cNvPr id="2629" name="Group 2628">
                <a:extLst>
                  <a:ext uri="{FF2B5EF4-FFF2-40B4-BE49-F238E27FC236}">
                    <a16:creationId xmlns:a16="http://schemas.microsoft.com/office/drawing/2014/main" id="{75F7C261-4B8F-45FE-824C-8DB0963CCF23}"/>
                  </a:ext>
                </a:extLst>
              </p:cNvPr>
              <p:cNvGrpSpPr/>
              <p:nvPr/>
            </p:nvGrpSpPr>
            <p:grpSpPr>
              <a:xfrm>
                <a:off x="9895314" y="2107193"/>
                <a:ext cx="1231250" cy="1189486"/>
                <a:chOff x="7839761" y="1053755"/>
                <a:chExt cx="927651" cy="896185"/>
              </a:xfrm>
            </p:grpSpPr>
            <p:sp>
              <p:nvSpPr>
                <p:cNvPr id="2746" name="TextBox 2745">
                  <a:extLst>
                    <a:ext uri="{FF2B5EF4-FFF2-40B4-BE49-F238E27FC236}">
                      <a16:creationId xmlns:a16="http://schemas.microsoft.com/office/drawing/2014/main" id="{A89C0F18-FA20-4891-8E84-A8A00C5A9499}"/>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47" name="Group 2746">
                  <a:extLst>
                    <a:ext uri="{FF2B5EF4-FFF2-40B4-BE49-F238E27FC236}">
                      <a16:creationId xmlns:a16="http://schemas.microsoft.com/office/drawing/2014/main" id="{41A641A2-BA06-4CF0-B09C-EF17BDDDA17C}"/>
                    </a:ext>
                  </a:extLst>
                </p:cNvPr>
                <p:cNvGrpSpPr/>
                <p:nvPr/>
              </p:nvGrpSpPr>
              <p:grpSpPr>
                <a:xfrm>
                  <a:off x="7839761" y="1053755"/>
                  <a:ext cx="927651" cy="523122"/>
                  <a:chOff x="7839761" y="1053755"/>
                  <a:chExt cx="927651" cy="523122"/>
                </a:xfrm>
              </p:grpSpPr>
              <p:sp>
                <p:nvSpPr>
                  <p:cNvPr id="2748" name="Line 66">
                    <a:extLst>
                      <a:ext uri="{FF2B5EF4-FFF2-40B4-BE49-F238E27FC236}">
                        <a16:creationId xmlns:a16="http://schemas.microsoft.com/office/drawing/2014/main" id="{EF576319-484F-4E1A-83E5-E731B3A05C8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Line 67">
                    <a:extLst>
                      <a:ext uri="{FF2B5EF4-FFF2-40B4-BE49-F238E27FC236}">
                        <a16:creationId xmlns:a16="http://schemas.microsoft.com/office/drawing/2014/main" id="{4C11F583-E796-42B1-B36E-F135E3677C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0" name="Line 74">
                    <a:extLst>
                      <a:ext uri="{FF2B5EF4-FFF2-40B4-BE49-F238E27FC236}">
                        <a16:creationId xmlns:a16="http://schemas.microsoft.com/office/drawing/2014/main" id="{A3D791A1-8161-4216-9837-9D5C6939A3A7}"/>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1" name="Freeform 78">
                    <a:extLst>
                      <a:ext uri="{FF2B5EF4-FFF2-40B4-BE49-F238E27FC236}">
                        <a16:creationId xmlns:a16="http://schemas.microsoft.com/office/drawing/2014/main" id="{71B5307A-0003-42E4-A2BB-6E78B51CF045}"/>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2" name="Freeform 80">
                    <a:extLst>
                      <a:ext uri="{FF2B5EF4-FFF2-40B4-BE49-F238E27FC236}">
                        <a16:creationId xmlns:a16="http://schemas.microsoft.com/office/drawing/2014/main" id="{12E186D9-86A8-4315-B5A9-558C950A79EF}"/>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3" name="Freeform 1575">
                    <a:extLst>
                      <a:ext uri="{FF2B5EF4-FFF2-40B4-BE49-F238E27FC236}">
                        <a16:creationId xmlns:a16="http://schemas.microsoft.com/office/drawing/2014/main" id="{C8E9D922-B157-4514-9971-B03785F0ACC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4" name="Freeform 1576">
                    <a:extLst>
                      <a:ext uri="{FF2B5EF4-FFF2-40B4-BE49-F238E27FC236}">
                        <a16:creationId xmlns:a16="http://schemas.microsoft.com/office/drawing/2014/main" id="{C3C1296B-EC9F-49B6-ACCF-2210563B18AA}"/>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5" name="Freeform 1577">
                    <a:extLst>
                      <a:ext uri="{FF2B5EF4-FFF2-40B4-BE49-F238E27FC236}">
                        <a16:creationId xmlns:a16="http://schemas.microsoft.com/office/drawing/2014/main" id="{9363EDAB-65B6-45DE-9953-CC2140D357BB}"/>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1578">
                    <a:extLst>
                      <a:ext uri="{FF2B5EF4-FFF2-40B4-BE49-F238E27FC236}">
                        <a16:creationId xmlns:a16="http://schemas.microsoft.com/office/drawing/2014/main" id="{4B747CE4-EE46-4782-A953-6C0BE6CE175A}"/>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9">
                    <a:extLst>
                      <a:ext uri="{FF2B5EF4-FFF2-40B4-BE49-F238E27FC236}">
                        <a16:creationId xmlns:a16="http://schemas.microsoft.com/office/drawing/2014/main" id="{C5BBF474-3AE4-4A00-91FE-30C4D12C3F0E}"/>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80">
                    <a:extLst>
                      <a:ext uri="{FF2B5EF4-FFF2-40B4-BE49-F238E27FC236}">
                        <a16:creationId xmlns:a16="http://schemas.microsoft.com/office/drawing/2014/main" id="{AC37283D-B98B-427A-B0E6-8E1697E106F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81">
                    <a:extLst>
                      <a:ext uri="{FF2B5EF4-FFF2-40B4-BE49-F238E27FC236}">
                        <a16:creationId xmlns:a16="http://schemas.microsoft.com/office/drawing/2014/main" id="{2712851D-4408-49D2-B71D-BC8549552CE6}"/>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82">
                    <a:extLst>
                      <a:ext uri="{FF2B5EF4-FFF2-40B4-BE49-F238E27FC236}">
                        <a16:creationId xmlns:a16="http://schemas.microsoft.com/office/drawing/2014/main" id="{BA067DA5-B09F-4290-BC07-39E7ACAE2522}"/>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3">
                    <a:extLst>
                      <a:ext uri="{FF2B5EF4-FFF2-40B4-BE49-F238E27FC236}">
                        <a16:creationId xmlns:a16="http://schemas.microsoft.com/office/drawing/2014/main" id="{8600E721-4879-4205-BA8C-6FF01585C4B6}"/>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4">
                    <a:extLst>
                      <a:ext uri="{FF2B5EF4-FFF2-40B4-BE49-F238E27FC236}">
                        <a16:creationId xmlns:a16="http://schemas.microsoft.com/office/drawing/2014/main" id="{6C52C4E5-C141-43AA-A779-84596D472BE1}"/>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5">
                    <a:extLst>
                      <a:ext uri="{FF2B5EF4-FFF2-40B4-BE49-F238E27FC236}">
                        <a16:creationId xmlns:a16="http://schemas.microsoft.com/office/drawing/2014/main" id="{DACFF4D9-98B0-4EC9-8EF9-8A4BEF530A08}"/>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6">
                    <a:extLst>
                      <a:ext uri="{FF2B5EF4-FFF2-40B4-BE49-F238E27FC236}">
                        <a16:creationId xmlns:a16="http://schemas.microsoft.com/office/drawing/2014/main" id="{5CE3602F-29E5-4849-AC85-A181EF04DF4A}"/>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7">
                    <a:extLst>
                      <a:ext uri="{FF2B5EF4-FFF2-40B4-BE49-F238E27FC236}">
                        <a16:creationId xmlns:a16="http://schemas.microsoft.com/office/drawing/2014/main" id="{AD26EE88-98D6-4D97-BFBE-71841124747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8">
                    <a:extLst>
                      <a:ext uri="{FF2B5EF4-FFF2-40B4-BE49-F238E27FC236}">
                        <a16:creationId xmlns:a16="http://schemas.microsoft.com/office/drawing/2014/main" id="{4B71DBF9-CCCE-4B50-9211-994E7BB25A66}"/>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Rectangle 1589">
                    <a:extLst>
                      <a:ext uri="{FF2B5EF4-FFF2-40B4-BE49-F238E27FC236}">
                        <a16:creationId xmlns:a16="http://schemas.microsoft.com/office/drawing/2014/main" id="{E19A6D98-F107-4271-8471-B1B5EEB975F8}"/>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8" name="Rectangle 1590">
                    <a:extLst>
                      <a:ext uri="{FF2B5EF4-FFF2-40B4-BE49-F238E27FC236}">
                        <a16:creationId xmlns:a16="http://schemas.microsoft.com/office/drawing/2014/main" id="{7122575D-1BF0-4900-9BDA-5CCB8705DEC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91">
                    <a:extLst>
                      <a:ext uri="{FF2B5EF4-FFF2-40B4-BE49-F238E27FC236}">
                        <a16:creationId xmlns:a16="http://schemas.microsoft.com/office/drawing/2014/main" id="{FB79298F-73E1-4FD1-B18F-ECF09E695349}"/>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0" name="Freeform 1592">
                    <a:extLst>
                      <a:ext uri="{FF2B5EF4-FFF2-40B4-BE49-F238E27FC236}">
                        <a16:creationId xmlns:a16="http://schemas.microsoft.com/office/drawing/2014/main" id="{FF735AAF-A3E5-47C6-B26B-4C4C16042FD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Freeform 1593">
                    <a:extLst>
                      <a:ext uri="{FF2B5EF4-FFF2-40B4-BE49-F238E27FC236}">
                        <a16:creationId xmlns:a16="http://schemas.microsoft.com/office/drawing/2014/main" id="{B39FBEE9-F252-4A22-8264-2A1D60F5A03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4">
                    <a:extLst>
                      <a:ext uri="{FF2B5EF4-FFF2-40B4-BE49-F238E27FC236}">
                        <a16:creationId xmlns:a16="http://schemas.microsoft.com/office/drawing/2014/main" id="{A29FD2F8-9C95-4F0B-B897-4B5A4B10D567}"/>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5">
                    <a:extLst>
                      <a:ext uri="{FF2B5EF4-FFF2-40B4-BE49-F238E27FC236}">
                        <a16:creationId xmlns:a16="http://schemas.microsoft.com/office/drawing/2014/main" id="{8F7A0336-F79D-42EE-8B74-35B637B42972}"/>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6">
                    <a:extLst>
                      <a:ext uri="{FF2B5EF4-FFF2-40B4-BE49-F238E27FC236}">
                        <a16:creationId xmlns:a16="http://schemas.microsoft.com/office/drawing/2014/main" id="{E704E2E2-425C-405C-B59B-B09A9DAC05E3}"/>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672">
                    <a:extLst>
                      <a:ext uri="{FF2B5EF4-FFF2-40B4-BE49-F238E27FC236}">
                        <a16:creationId xmlns:a16="http://schemas.microsoft.com/office/drawing/2014/main" id="{58BEAE7A-63F2-4A3E-A465-6CAE93E908D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6" name="Freeform 1673">
                    <a:extLst>
                      <a:ext uri="{FF2B5EF4-FFF2-40B4-BE49-F238E27FC236}">
                        <a16:creationId xmlns:a16="http://schemas.microsoft.com/office/drawing/2014/main" id="{BF103C68-5C78-437C-B8F9-00C278917209}"/>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7" name="Freeform 1674">
                    <a:extLst>
                      <a:ext uri="{FF2B5EF4-FFF2-40B4-BE49-F238E27FC236}">
                        <a16:creationId xmlns:a16="http://schemas.microsoft.com/office/drawing/2014/main" id="{101D078E-1E0B-4970-9DE6-08C78AC150F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8" name="Freeform 1675">
                    <a:extLst>
                      <a:ext uri="{FF2B5EF4-FFF2-40B4-BE49-F238E27FC236}">
                        <a16:creationId xmlns:a16="http://schemas.microsoft.com/office/drawing/2014/main" id="{D1AF199D-33F3-4BC3-A642-B2EA8C8D0BCC}"/>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9" name="Freeform 1676">
                    <a:extLst>
                      <a:ext uri="{FF2B5EF4-FFF2-40B4-BE49-F238E27FC236}">
                        <a16:creationId xmlns:a16="http://schemas.microsoft.com/office/drawing/2014/main" id="{3CC628BB-8473-481C-9A04-3B24474C37F0}"/>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0" name="Freeform 1677">
                    <a:extLst>
                      <a:ext uri="{FF2B5EF4-FFF2-40B4-BE49-F238E27FC236}">
                        <a16:creationId xmlns:a16="http://schemas.microsoft.com/office/drawing/2014/main" id="{8A7374C2-2413-4C93-B716-E567E539CAB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1" name="Freeform 1678">
                    <a:extLst>
                      <a:ext uri="{FF2B5EF4-FFF2-40B4-BE49-F238E27FC236}">
                        <a16:creationId xmlns:a16="http://schemas.microsoft.com/office/drawing/2014/main" id="{8529CFF3-4A2F-4293-A8C3-12FD1EE8C27E}"/>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2" name="Freeform 1679">
                    <a:extLst>
                      <a:ext uri="{FF2B5EF4-FFF2-40B4-BE49-F238E27FC236}">
                        <a16:creationId xmlns:a16="http://schemas.microsoft.com/office/drawing/2014/main" id="{F1D1EC2E-B9B6-4DE5-AE78-4AAF84AD21F5}"/>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3" name="Freeform 1680">
                    <a:extLst>
                      <a:ext uri="{FF2B5EF4-FFF2-40B4-BE49-F238E27FC236}">
                        <a16:creationId xmlns:a16="http://schemas.microsoft.com/office/drawing/2014/main" id="{87D879A7-2CA4-43AF-A70E-B0F6582C7648}"/>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4" name="Freeform 1681">
                    <a:extLst>
                      <a:ext uri="{FF2B5EF4-FFF2-40B4-BE49-F238E27FC236}">
                        <a16:creationId xmlns:a16="http://schemas.microsoft.com/office/drawing/2014/main" id="{9C2394F2-1F2D-4793-BBE1-59163EF9C2B8}"/>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5" name="Freeform 1682">
                    <a:extLst>
                      <a:ext uri="{FF2B5EF4-FFF2-40B4-BE49-F238E27FC236}">
                        <a16:creationId xmlns:a16="http://schemas.microsoft.com/office/drawing/2014/main" id="{56C73A33-D3CA-4FE3-B422-3B52E4830496}"/>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6" name="Freeform 1683">
                    <a:extLst>
                      <a:ext uri="{FF2B5EF4-FFF2-40B4-BE49-F238E27FC236}">
                        <a16:creationId xmlns:a16="http://schemas.microsoft.com/office/drawing/2014/main" id="{E1FE82CE-C9EF-4092-8A68-1AAF8E855F8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7" name="Freeform 1684">
                    <a:extLst>
                      <a:ext uri="{FF2B5EF4-FFF2-40B4-BE49-F238E27FC236}">
                        <a16:creationId xmlns:a16="http://schemas.microsoft.com/office/drawing/2014/main" id="{0F03233A-E0A2-4D93-8E4E-D5E4E5F5D838}"/>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8" name="Freeform 1685">
                    <a:extLst>
                      <a:ext uri="{FF2B5EF4-FFF2-40B4-BE49-F238E27FC236}">
                        <a16:creationId xmlns:a16="http://schemas.microsoft.com/office/drawing/2014/main" id="{E0895045-18EC-4FB1-AAF6-795CAE8A8712}"/>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9" name="Freeform 1686">
                    <a:extLst>
                      <a:ext uri="{FF2B5EF4-FFF2-40B4-BE49-F238E27FC236}">
                        <a16:creationId xmlns:a16="http://schemas.microsoft.com/office/drawing/2014/main" id="{076A71FE-C096-464F-811B-4B53BFCF0D9E}"/>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0" name="Freeform 1687">
                    <a:extLst>
                      <a:ext uri="{FF2B5EF4-FFF2-40B4-BE49-F238E27FC236}">
                        <a16:creationId xmlns:a16="http://schemas.microsoft.com/office/drawing/2014/main" id="{5D0860EE-8598-4911-BB8A-8FCCF93123F9}"/>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1" name="Freeform 1688">
                    <a:extLst>
                      <a:ext uri="{FF2B5EF4-FFF2-40B4-BE49-F238E27FC236}">
                        <a16:creationId xmlns:a16="http://schemas.microsoft.com/office/drawing/2014/main" id="{87035EA2-95A4-4FE3-AAA4-3EE997309AC6}"/>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2" name="Freeform 1689">
                    <a:extLst>
                      <a:ext uri="{FF2B5EF4-FFF2-40B4-BE49-F238E27FC236}">
                        <a16:creationId xmlns:a16="http://schemas.microsoft.com/office/drawing/2014/main" id="{03B0CAB4-E6D2-4AD1-82FA-C4C6530AA120}"/>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3" name="Freeform 1690">
                    <a:extLst>
                      <a:ext uri="{FF2B5EF4-FFF2-40B4-BE49-F238E27FC236}">
                        <a16:creationId xmlns:a16="http://schemas.microsoft.com/office/drawing/2014/main" id="{A87F4AFD-7BFE-49CC-B161-040D7981115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4" name="Freeform 1691">
                    <a:extLst>
                      <a:ext uri="{FF2B5EF4-FFF2-40B4-BE49-F238E27FC236}">
                        <a16:creationId xmlns:a16="http://schemas.microsoft.com/office/drawing/2014/main" id="{A550F790-F21F-454D-BB0C-C78B801D0FF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5" name="Freeform 1692">
                    <a:extLst>
                      <a:ext uri="{FF2B5EF4-FFF2-40B4-BE49-F238E27FC236}">
                        <a16:creationId xmlns:a16="http://schemas.microsoft.com/office/drawing/2014/main" id="{3DA499CB-99FF-466E-B9C3-1C07C4DA9999}"/>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6" name="Freeform 1693">
                    <a:extLst>
                      <a:ext uri="{FF2B5EF4-FFF2-40B4-BE49-F238E27FC236}">
                        <a16:creationId xmlns:a16="http://schemas.microsoft.com/office/drawing/2014/main" id="{B0673750-09B7-4844-BCD6-D8B77703CBCC}"/>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7" name="Freeform 1694">
                    <a:extLst>
                      <a:ext uri="{FF2B5EF4-FFF2-40B4-BE49-F238E27FC236}">
                        <a16:creationId xmlns:a16="http://schemas.microsoft.com/office/drawing/2014/main" id="{3A5E945C-07AA-4DC8-9235-A4E604F5D6F3}"/>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8" name="Freeform 1695">
                    <a:extLst>
                      <a:ext uri="{FF2B5EF4-FFF2-40B4-BE49-F238E27FC236}">
                        <a16:creationId xmlns:a16="http://schemas.microsoft.com/office/drawing/2014/main" id="{F9203E1B-DDEA-4683-92CF-8791003D3C51}"/>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9" name="Freeform 1696">
                    <a:extLst>
                      <a:ext uri="{FF2B5EF4-FFF2-40B4-BE49-F238E27FC236}">
                        <a16:creationId xmlns:a16="http://schemas.microsoft.com/office/drawing/2014/main" id="{9FF08ADD-648E-4896-9B4F-86A830ACA1A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800" name="Freeform 1697">
                    <a:extLst>
                      <a:ext uri="{FF2B5EF4-FFF2-40B4-BE49-F238E27FC236}">
                        <a16:creationId xmlns:a16="http://schemas.microsoft.com/office/drawing/2014/main" id="{F4256F3D-1F56-47B8-AB85-9A61C6E953CF}"/>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30" name="Group 2629">
                <a:extLst>
                  <a:ext uri="{FF2B5EF4-FFF2-40B4-BE49-F238E27FC236}">
                    <a16:creationId xmlns:a16="http://schemas.microsoft.com/office/drawing/2014/main" id="{D1BCEA53-D951-4F05-8FB7-4C9D8228522E}"/>
                  </a:ext>
                </a:extLst>
              </p:cNvPr>
              <p:cNvGrpSpPr/>
              <p:nvPr/>
            </p:nvGrpSpPr>
            <p:grpSpPr>
              <a:xfrm>
                <a:off x="10074842" y="2518176"/>
                <a:ext cx="1231250" cy="1313698"/>
                <a:chOff x="12023909" y="2412144"/>
                <a:chExt cx="1231250" cy="1313698"/>
              </a:xfrm>
            </p:grpSpPr>
            <p:sp>
              <p:nvSpPr>
                <p:cNvPr id="2689" name="Rectangle: Rounded Corners 2688">
                  <a:extLst>
                    <a:ext uri="{FF2B5EF4-FFF2-40B4-BE49-F238E27FC236}">
                      <a16:creationId xmlns:a16="http://schemas.microsoft.com/office/drawing/2014/main" id="{91A53174-C73B-4A41-A639-68B5892DC955}"/>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90" name="Group 2689">
                  <a:extLst>
                    <a:ext uri="{FF2B5EF4-FFF2-40B4-BE49-F238E27FC236}">
                      <a16:creationId xmlns:a16="http://schemas.microsoft.com/office/drawing/2014/main" id="{59FDA0AC-DAD5-4EAB-9FA8-C8C9E032B070}"/>
                    </a:ext>
                  </a:extLst>
                </p:cNvPr>
                <p:cNvGrpSpPr/>
                <p:nvPr/>
              </p:nvGrpSpPr>
              <p:grpSpPr>
                <a:xfrm>
                  <a:off x="12023909" y="2526190"/>
                  <a:ext cx="1231250" cy="1189484"/>
                  <a:chOff x="7839761" y="1053755"/>
                  <a:chExt cx="927651" cy="896184"/>
                </a:xfrm>
              </p:grpSpPr>
              <p:sp>
                <p:nvSpPr>
                  <p:cNvPr id="2691" name="TextBox 2690">
                    <a:extLst>
                      <a:ext uri="{FF2B5EF4-FFF2-40B4-BE49-F238E27FC236}">
                        <a16:creationId xmlns:a16="http://schemas.microsoft.com/office/drawing/2014/main" id="{951F8931-F331-4D77-92A1-4D698A2F44A9}"/>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92" name="Group 2691">
                    <a:extLst>
                      <a:ext uri="{FF2B5EF4-FFF2-40B4-BE49-F238E27FC236}">
                        <a16:creationId xmlns:a16="http://schemas.microsoft.com/office/drawing/2014/main" id="{D2EF0292-F278-4306-8E39-9E45FF9C395F}"/>
                      </a:ext>
                    </a:extLst>
                  </p:cNvPr>
                  <p:cNvGrpSpPr/>
                  <p:nvPr/>
                </p:nvGrpSpPr>
                <p:grpSpPr>
                  <a:xfrm>
                    <a:off x="7839761" y="1053755"/>
                    <a:ext cx="927651" cy="523122"/>
                    <a:chOff x="7839761" y="1053755"/>
                    <a:chExt cx="927651" cy="523122"/>
                  </a:xfrm>
                </p:grpSpPr>
                <p:sp>
                  <p:nvSpPr>
                    <p:cNvPr id="2693" name="Line 66">
                      <a:extLst>
                        <a:ext uri="{FF2B5EF4-FFF2-40B4-BE49-F238E27FC236}">
                          <a16:creationId xmlns:a16="http://schemas.microsoft.com/office/drawing/2014/main" id="{D1724EA5-C098-405F-B785-A50FF3E283C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4" name="Line 67">
                      <a:extLst>
                        <a:ext uri="{FF2B5EF4-FFF2-40B4-BE49-F238E27FC236}">
                          <a16:creationId xmlns:a16="http://schemas.microsoft.com/office/drawing/2014/main" id="{2E4BAB87-A458-4ADA-8E65-BD063B95D12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5" name="Line 74">
                      <a:extLst>
                        <a:ext uri="{FF2B5EF4-FFF2-40B4-BE49-F238E27FC236}">
                          <a16:creationId xmlns:a16="http://schemas.microsoft.com/office/drawing/2014/main" id="{E831C2F1-FE8A-491F-912D-5519707E7C6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78">
                      <a:extLst>
                        <a:ext uri="{FF2B5EF4-FFF2-40B4-BE49-F238E27FC236}">
                          <a16:creationId xmlns:a16="http://schemas.microsoft.com/office/drawing/2014/main" id="{F462DEB7-EC2F-4AF6-BBDF-732A07AD7EFE}"/>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Freeform 80">
                      <a:extLst>
                        <a:ext uri="{FF2B5EF4-FFF2-40B4-BE49-F238E27FC236}">
                          <a16:creationId xmlns:a16="http://schemas.microsoft.com/office/drawing/2014/main" id="{C5616C0F-90D5-43A2-89DE-9531D6399EC2}"/>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1575">
                      <a:extLst>
                        <a:ext uri="{FF2B5EF4-FFF2-40B4-BE49-F238E27FC236}">
                          <a16:creationId xmlns:a16="http://schemas.microsoft.com/office/drawing/2014/main" id="{EC1D94CD-F268-409B-817D-B3E9ADBB7485}"/>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Freeform 1576">
                      <a:extLst>
                        <a:ext uri="{FF2B5EF4-FFF2-40B4-BE49-F238E27FC236}">
                          <a16:creationId xmlns:a16="http://schemas.microsoft.com/office/drawing/2014/main" id="{BCE8E171-ACD3-4BD1-A640-E8DD0D1C102B}"/>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0" name="Freeform 1577">
                      <a:extLst>
                        <a:ext uri="{FF2B5EF4-FFF2-40B4-BE49-F238E27FC236}">
                          <a16:creationId xmlns:a16="http://schemas.microsoft.com/office/drawing/2014/main" id="{9C320188-957D-491D-95A5-ED14741EA2E7}"/>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1" name="Freeform 1578">
                      <a:extLst>
                        <a:ext uri="{FF2B5EF4-FFF2-40B4-BE49-F238E27FC236}">
                          <a16:creationId xmlns:a16="http://schemas.microsoft.com/office/drawing/2014/main" id="{22C479F3-80B7-46D3-A222-FDFB5FE1CE7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Freeform 1579">
                      <a:extLst>
                        <a:ext uri="{FF2B5EF4-FFF2-40B4-BE49-F238E27FC236}">
                          <a16:creationId xmlns:a16="http://schemas.microsoft.com/office/drawing/2014/main" id="{0C8E3682-ABAB-4DE4-8355-7FC9789A3823}"/>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580">
                      <a:extLst>
                        <a:ext uri="{FF2B5EF4-FFF2-40B4-BE49-F238E27FC236}">
                          <a16:creationId xmlns:a16="http://schemas.microsoft.com/office/drawing/2014/main" id="{AA16A155-6C7E-4264-8FAD-610A15F64D6B}"/>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Freeform 1581">
                      <a:extLst>
                        <a:ext uri="{FF2B5EF4-FFF2-40B4-BE49-F238E27FC236}">
                          <a16:creationId xmlns:a16="http://schemas.microsoft.com/office/drawing/2014/main" id="{FE5E1229-9FDD-483D-AD60-960FB0F825CA}"/>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582">
                      <a:extLst>
                        <a:ext uri="{FF2B5EF4-FFF2-40B4-BE49-F238E27FC236}">
                          <a16:creationId xmlns:a16="http://schemas.microsoft.com/office/drawing/2014/main" id="{9CE62FEB-6A4F-4FF1-8073-B9DAAC73C340}"/>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Freeform 1583">
                      <a:extLst>
                        <a:ext uri="{FF2B5EF4-FFF2-40B4-BE49-F238E27FC236}">
                          <a16:creationId xmlns:a16="http://schemas.microsoft.com/office/drawing/2014/main" id="{BBD5B248-B8BC-4B5D-BD47-414597690FF2}"/>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584">
                      <a:extLst>
                        <a:ext uri="{FF2B5EF4-FFF2-40B4-BE49-F238E27FC236}">
                          <a16:creationId xmlns:a16="http://schemas.microsoft.com/office/drawing/2014/main" id="{FD17B1F5-285E-415E-8560-0E05239B32FA}"/>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8" name="Freeform 1585">
                      <a:extLst>
                        <a:ext uri="{FF2B5EF4-FFF2-40B4-BE49-F238E27FC236}">
                          <a16:creationId xmlns:a16="http://schemas.microsoft.com/office/drawing/2014/main" id="{3EAFE9E0-D08C-41B2-86BD-8F32994102B7}"/>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1586">
                      <a:extLst>
                        <a:ext uri="{FF2B5EF4-FFF2-40B4-BE49-F238E27FC236}">
                          <a16:creationId xmlns:a16="http://schemas.microsoft.com/office/drawing/2014/main" id="{5C65412E-9468-4106-9F48-7986D3F5F43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1587">
                      <a:extLst>
                        <a:ext uri="{FF2B5EF4-FFF2-40B4-BE49-F238E27FC236}">
                          <a16:creationId xmlns:a16="http://schemas.microsoft.com/office/drawing/2014/main" id="{DE20BEC4-0D49-4293-81E2-EF5DAFE71D5E}"/>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1588">
                      <a:extLst>
                        <a:ext uri="{FF2B5EF4-FFF2-40B4-BE49-F238E27FC236}">
                          <a16:creationId xmlns:a16="http://schemas.microsoft.com/office/drawing/2014/main" id="{28C1646F-B8FB-4CE9-AB8B-CBBE74C4BBAC}"/>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2" name="Rectangle 1589">
                      <a:extLst>
                        <a:ext uri="{FF2B5EF4-FFF2-40B4-BE49-F238E27FC236}">
                          <a16:creationId xmlns:a16="http://schemas.microsoft.com/office/drawing/2014/main" id="{CEDA4D48-ADBF-440A-8BF8-D42CDB1A2637}"/>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3" name="Rectangle 1590">
                      <a:extLst>
                        <a:ext uri="{FF2B5EF4-FFF2-40B4-BE49-F238E27FC236}">
                          <a16:creationId xmlns:a16="http://schemas.microsoft.com/office/drawing/2014/main" id="{C8C4E0AE-7A5E-468F-9CA8-6A6CD03E672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1591">
                      <a:extLst>
                        <a:ext uri="{FF2B5EF4-FFF2-40B4-BE49-F238E27FC236}">
                          <a16:creationId xmlns:a16="http://schemas.microsoft.com/office/drawing/2014/main" id="{8BDFE8BA-7AFC-4C63-9271-063CFC257A9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1592">
                      <a:extLst>
                        <a:ext uri="{FF2B5EF4-FFF2-40B4-BE49-F238E27FC236}">
                          <a16:creationId xmlns:a16="http://schemas.microsoft.com/office/drawing/2014/main" id="{0FD1EE23-4C1E-47A2-9790-BDA2A1D5EDCB}"/>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Freeform 1593">
                      <a:extLst>
                        <a:ext uri="{FF2B5EF4-FFF2-40B4-BE49-F238E27FC236}">
                          <a16:creationId xmlns:a16="http://schemas.microsoft.com/office/drawing/2014/main" id="{DB2B39AB-BCC9-4A15-9D95-704AFDB8A40F}"/>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1594">
                      <a:extLst>
                        <a:ext uri="{FF2B5EF4-FFF2-40B4-BE49-F238E27FC236}">
                          <a16:creationId xmlns:a16="http://schemas.microsoft.com/office/drawing/2014/main" id="{B05ED7C0-526A-4E3D-981D-0BE77988113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1595">
                      <a:extLst>
                        <a:ext uri="{FF2B5EF4-FFF2-40B4-BE49-F238E27FC236}">
                          <a16:creationId xmlns:a16="http://schemas.microsoft.com/office/drawing/2014/main" id="{00ED5C3D-3E08-4299-AE7B-F9E6D1C150D6}"/>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1596">
                      <a:extLst>
                        <a:ext uri="{FF2B5EF4-FFF2-40B4-BE49-F238E27FC236}">
                          <a16:creationId xmlns:a16="http://schemas.microsoft.com/office/drawing/2014/main" id="{CA35C96E-07DF-4F04-AF18-B3B6732185CF}"/>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0" name="Freeform 1672">
                      <a:extLst>
                        <a:ext uri="{FF2B5EF4-FFF2-40B4-BE49-F238E27FC236}">
                          <a16:creationId xmlns:a16="http://schemas.microsoft.com/office/drawing/2014/main" id="{DC177AC4-10E0-4F84-905E-C94B565B604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1" name="Freeform 1673">
                      <a:extLst>
                        <a:ext uri="{FF2B5EF4-FFF2-40B4-BE49-F238E27FC236}">
                          <a16:creationId xmlns:a16="http://schemas.microsoft.com/office/drawing/2014/main" id="{11BFE0DA-7415-41AE-95B4-F4895BD91ABF}"/>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Freeform 1674">
                      <a:extLst>
                        <a:ext uri="{FF2B5EF4-FFF2-40B4-BE49-F238E27FC236}">
                          <a16:creationId xmlns:a16="http://schemas.microsoft.com/office/drawing/2014/main" id="{506ECD3B-A929-4E98-8457-A36A8609D63C}"/>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3" name="Freeform 1675">
                      <a:extLst>
                        <a:ext uri="{FF2B5EF4-FFF2-40B4-BE49-F238E27FC236}">
                          <a16:creationId xmlns:a16="http://schemas.microsoft.com/office/drawing/2014/main" id="{14B5096B-D826-425D-A2A2-2523BBCF6B5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Freeform 1676">
                      <a:extLst>
                        <a:ext uri="{FF2B5EF4-FFF2-40B4-BE49-F238E27FC236}">
                          <a16:creationId xmlns:a16="http://schemas.microsoft.com/office/drawing/2014/main" id="{737F7F6E-2D63-4E6C-81D7-91AFFDDD556A}"/>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5" name="Freeform 1677">
                      <a:extLst>
                        <a:ext uri="{FF2B5EF4-FFF2-40B4-BE49-F238E27FC236}">
                          <a16:creationId xmlns:a16="http://schemas.microsoft.com/office/drawing/2014/main" id="{8E64054A-2936-4A57-839F-7FA708078D60}"/>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6" name="Freeform 1678">
                      <a:extLst>
                        <a:ext uri="{FF2B5EF4-FFF2-40B4-BE49-F238E27FC236}">
                          <a16:creationId xmlns:a16="http://schemas.microsoft.com/office/drawing/2014/main" id="{C29FD5A6-29A3-4401-A8BF-39DC8B8B6655}"/>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Freeform 1679">
                      <a:extLst>
                        <a:ext uri="{FF2B5EF4-FFF2-40B4-BE49-F238E27FC236}">
                          <a16:creationId xmlns:a16="http://schemas.microsoft.com/office/drawing/2014/main" id="{14AD96D0-BC0A-4E33-960F-29938829B668}"/>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Freeform 1680">
                      <a:extLst>
                        <a:ext uri="{FF2B5EF4-FFF2-40B4-BE49-F238E27FC236}">
                          <a16:creationId xmlns:a16="http://schemas.microsoft.com/office/drawing/2014/main" id="{0D92EF58-DE3A-4CCA-97D0-DC4A871C0AF4}"/>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Freeform 1681">
                      <a:extLst>
                        <a:ext uri="{FF2B5EF4-FFF2-40B4-BE49-F238E27FC236}">
                          <a16:creationId xmlns:a16="http://schemas.microsoft.com/office/drawing/2014/main" id="{46830979-AF97-4F96-AB0B-347AA1CAA3F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1682">
                      <a:extLst>
                        <a:ext uri="{FF2B5EF4-FFF2-40B4-BE49-F238E27FC236}">
                          <a16:creationId xmlns:a16="http://schemas.microsoft.com/office/drawing/2014/main" id="{39CA5108-DB0E-4809-BEAE-DD3DC99EE4A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1683">
                      <a:extLst>
                        <a:ext uri="{FF2B5EF4-FFF2-40B4-BE49-F238E27FC236}">
                          <a16:creationId xmlns:a16="http://schemas.microsoft.com/office/drawing/2014/main" id="{737C8CB1-174C-4C3A-9686-8D9736AEE847}"/>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2" name="Freeform 1684">
                      <a:extLst>
                        <a:ext uri="{FF2B5EF4-FFF2-40B4-BE49-F238E27FC236}">
                          <a16:creationId xmlns:a16="http://schemas.microsoft.com/office/drawing/2014/main" id="{F344A9A7-FED2-4359-8651-4407D9421D5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3" name="Freeform 1685">
                      <a:extLst>
                        <a:ext uri="{FF2B5EF4-FFF2-40B4-BE49-F238E27FC236}">
                          <a16:creationId xmlns:a16="http://schemas.microsoft.com/office/drawing/2014/main" id="{93F29FDC-67C7-4633-8C80-AB75AFBC8A19}"/>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4" name="Freeform 1686">
                      <a:extLst>
                        <a:ext uri="{FF2B5EF4-FFF2-40B4-BE49-F238E27FC236}">
                          <a16:creationId xmlns:a16="http://schemas.microsoft.com/office/drawing/2014/main" id="{9D3A2E45-B7CC-41C6-B50D-FF964AC72DE6}"/>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5" name="Freeform 1687">
                      <a:extLst>
                        <a:ext uri="{FF2B5EF4-FFF2-40B4-BE49-F238E27FC236}">
                          <a16:creationId xmlns:a16="http://schemas.microsoft.com/office/drawing/2014/main" id="{26372EFF-07B2-4A49-8C56-E7E82317E75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6" name="Freeform 1688">
                      <a:extLst>
                        <a:ext uri="{FF2B5EF4-FFF2-40B4-BE49-F238E27FC236}">
                          <a16:creationId xmlns:a16="http://schemas.microsoft.com/office/drawing/2014/main" id="{C26448E3-729C-450A-954C-134CCBB2713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7" name="Freeform 1689">
                      <a:extLst>
                        <a:ext uri="{FF2B5EF4-FFF2-40B4-BE49-F238E27FC236}">
                          <a16:creationId xmlns:a16="http://schemas.microsoft.com/office/drawing/2014/main" id="{3BD3E1FE-AEA1-4328-A84F-A4C371E93E53}"/>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Freeform 1690">
                      <a:extLst>
                        <a:ext uri="{FF2B5EF4-FFF2-40B4-BE49-F238E27FC236}">
                          <a16:creationId xmlns:a16="http://schemas.microsoft.com/office/drawing/2014/main" id="{B9305820-4255-4D54-AA5C-875C771A9508}"/>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1691">
                      <a:extLst>
                        <a:ext uri="{FF2B5EF4-FFF2-40B4-BE49-F238E27FC236}">
                          <a16:creationId xmlns:a16="http://schemas.microsoft.com/office/drawing/2014/main" id="{B4D941B1-12C7-4728-8E98-021D086752D5}"/>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Freeform 1692">
                      <a:extLst>
                        <a:ext uri="{FF2B5EF4-FFF2-40B4-BE49-F238E27FC236}">
                          <a16:creationId xmlns:a16="http://schemas.microsoft.com/office/drawing/2014/main" id="{D4E3DAA5-AD36-490F-BC2F-CCDCBD04F1C1}"/>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1693">
                      <a:extLst>
                        <a:ext uri="{FF2B5EF4-FFF2-40B4-BE49-F238E27FC236}">
                          <a16:creationId xmlns:a16="http://schemas.microsoft.com/office/drawing/2014/main" id="{B25E74AB-2B33-4B89-8D2F-2CF2A3CA5FF1}"/>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Freeform 1694">
                      <a:extLst>
                        <a:ext uri="{FF2B5EF4-FFF2-40B4-BE49-F238E27FC236}">
                          <a16:creationId xmlns:a16="http://schemas.microsoft.com/office/drawing/2014/main" id="{F52435DE-7F59-4650-B3AD-8BFADAA03FB7}"/>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3" name="Freeform 1695">
                      <a:extLst>
                        <a:ext uri="{FF2B5EF4-FFF2-40B4-BE49-F238E27FC236}">
                          <a16:creationId xmlns:a16="http://schemas.microsoft.com/office/drawing/2014/main" id="{769D5CEB-B6B7-4ED6-9242-7FB96AE18DEF}"/>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4" name="Freeform 1696">
                      <a:extLst>
                        <a:ext uri="{FF2B5EF4-FFF2-40B4-BE49-F238E27FC236}">
                          <a16:creationId xmlns:a16="http://schemas.microsoft.com/office/drawing/2014/main" id="{09590F7C-D577-428E-B3E0-6FBD3903AE7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Freeform 1697">
                      <a:extLst>
                        <a:ext uri="{FF2B5EF4-FFF2-40B4-BE49-F238E27FC236}">
                          <a16:creationId xmlns:a16="http://schemas.microsoft.com/office/drawing/2014/main" id="{F813AC04-3FCD-447D-97B5-B0D4D064BDCA}"/>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31" name="Group 2630">
                <a:extLst>
                  <a:ext uri="{FF2B5EF4-FFF2-40B4-BE49-F238E27FC236}">
                    <a16:creationId xmlns:a16="http://schemas.microsoft.com/office/drawing/2014/main" id="{9DC0EC37-B69E-4481-A6B3-41E462967965}"/>
                  </a:ext>
                </a:extLst>
              </p:cNvPr>
              <p:cNvGrpSpPr/>
              <p:nvPr/>
            </p:nvGrpSpPr>
            <p:grpSpPr>
              <a:xfrm>
                <a:off x="10254370" y="3053480"/>
                <a:ext cx="1231250" cy="1313698"/>
                <a:chOff x="12023909" y="2412144"/>
                <a:chExt cx="1231250" cy="1313698"/>
              </a:xfrm>
            </p:grpSpPr>
            <p:sp>
              <p:nvSpPr>
                <p:cNvPr id="2632" name="Rectangle: Rounded Corners 2631">
                  <a:extLst>
                    <a:ext uri="{FF2B5EF4-FFF2-40B4-BE49-F238E27FC236}">
                      <a16:creationId xmlns:a16="http://schemas.microsoft.com/office/drawing/2014/main" id="{872BD409-63AF-4B3B-8695-7461B7E59C0D}"/>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33" name="Group 2632">
                  <a:extLst>
                    <a:ext uri="{FF2B5EF4-FFF2-40B4-BE49-F238E27FC236}">
                      <a16:creationId xmlns:a16="http://schemas.microsoft.com/office/drawing/2014/main" id="{7EFB7652-EDD3-417D-B1F6-2193FEB4EC84}"/>
                    </a:ext>
                  </a:extLst>
                </p:cNvPr>
                <p:cNvGrpSpPr/>
                <p:nvPr/>
              </p:nvGrpSpPr>
              <p:grpSpPr>
                <a:xfrm>
                  <a:off x="12023909" y="2526190"/>
                  <a:ext cx="1231250" cy="1189484"/>
                  <a:chOff x="7839761" y="1053755"/>
                  <a:chExt cx="927651" cy="896184"/>
                </a:xfrm>
              </p:grpSpPr>
              <p:sp>
                <p:nvSpPr>
                  <p:cNvPr id="2634" name="TextBox 2633">
                    <a:extLst>
                      <a:ext uri="{FF2B5EF4-FFF2-40B4-BE49-F238E27FC236}">
                        <a16:creationId xmlns:a16="http://schemas.microsoft.com/office/drawing/2014/main" id="{3AD29482-D35E-4A63-AE36-958FCFE1AEEE}"/>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35" name="Group 2634">
                    <a:extLst>
                      <a:ext uri="{FF2B5EF4-FFF2-40B4-BE49-F238E27FC236}">
                        <a16:creationId xmlns:a16="http://schemas.microsoft.com/office/drawing/2014/main" id="{E82F8432-1C34-47DF-9960-95FE00D6A3FC}"/>
                      </a:ext>
                    </a:extLst>
                  </p:cNvPr>
                  <p:cNvGrpSpPr/>
                  <p:nvPr/>
                </p:nvGrpSpPr>
                <p:grpSpPr>
                  <a:xfrm>
                    <a:off x="7839761" y="1053755"/>
                    <a:ext cx="927651" cy="523122"/>
                    <a:chOff x="7839761" y="1053755"/>
                    <a:chExt cx="927651" cy="523122"/>
                  </a:xfrm>
                </p:grpSpPr>
                <p:sp>
                  <p:nvSpPr>
                    <p:cNvPr id="2636" name="Line 66">
                      <a:extLst>
                        <a:ext uri="{FF2B5EF4-FFF2-40B4-BE49-F238E27FC236}">
                          <a16:creationId xmlns:a16="http://schemas.microsoft.com/office/drawing/2014/main" id="{FAB5F1AF-D59E-4339-9231-CE6BB136B4D4}"/>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7" name="Line 67">
                      <a:extLst>
                        <a:ext uri="{FF2B5EF4-FFF2-40B4-BE49-F238E27FC236}">
                          <a16:creationId xmlns:a16="http://schemas.microsoft.com/office/drawing/2014/main" id="{E1D82164-9AA1-4BD1-92D2-4375FD6407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8" name="Line 74">
                      <a:extLst>
                        <a:ext uri="{FF2B5EF4-FFF2-40B4-BE49-F238E27FC236}">
                          <a16:creationId xmlns:a16="http://schemas.microsoft.com/office/drawing/2014/main" id="{98A8F6EB-447E-4E55-8539-F57E2B292A2B}"/>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9" name="Freeform 78">
                      <a:extLst>
                        <a:ext uri="{FF2B5EF4-FFF2-40B4-BE49-F238E27FC236}">
                          <a16:creationId xmlns:a16="http://schemas.microsoft.com/office/drawing/2014/main" id="{37AD2296-B127-4E47-8CFB-81D312959AC9}"/>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Freeform 80">
                      <a:extLst>
                        <a:ext uri="{FF2B5EF4-FFF2-40B4-BE49-F238E27FC236}">
                          <a16:creationId xmlns:a16="http://schemas.microsoft.com/office/drawing/2014/main" id="{BEB3D0B5-8622-4780-8C9E-39FFD4AF3021}"/>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1575">
                      <a:extLst>
                        <a:ext uri="{FF2B5EF4-FFF2-40B4-BE49-F238E27FC236}">
                          <a16:creationId xmlns:a16="http://schemas.microsoft.com/office/drawing/2014/main" id="{738F0657-0BD0-4D03-B6EA-BD2D780F9F9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Freeform 1576">
                      <a:extLst>
                        <a:ext uri="{FF2B5EF4-FFF2-40B4-BE49-F238E27FC236}">
                          <a16:creationId xmlns:a16="http://schemas.microsoft.com/office/drawing/2014/main" id="{F010257B-2F86-4267-BF9A-A5018879EABD}"/>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1577">
                      <a:extLst>
                        <a:ext uri="{FF2B5EF4-FFF2-40B4-BE49-F238E27FC236}">
                          <a16:creationId xmlns:a16="http://schemas.microsoft.com/office/drawing/2014/main" id="{0EDEB22E-3329-4B5A-8FAF-6E31ABF12793}"/>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Freeform 1578">
                      <a:extLst>
                        <a:ext uri="{FF2B5EF4-FFF2-40B4-BE49-F238E27FC236}">
                          <a16:creationId xmlns:a16="http://schemas.microsoft.com/office/drawing/2014/main" id="{7938E217-E3D3-4ABE-9338-5E2199DC4778}"/>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5" name="Freeform 1579">
                      <a:extLst>
                        <a:ext uri="{FF2B5EF4-FFF2-40B4-BE49-F238E27FC236}">
                          <a16:creationId xmlns:a16="http://schemas.microsoft.com/office/drawing/2014/main" id="{B9D83343-09AE-4DA8-A30C-77AF8EE87C9A}"/>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6" name="Freeform 1580">
                      <a:extLst>
                        <a:ext uri="{FF2B5EF4-FFF2-40B4-BE49-F238E27FC236}">
                          <a16:creationId xmlns:a16="http://schemas.microsoft.com/office/drawing/2014/main" id="{019577C1-D65C-4469-A36B-7E23AB68A369}"/>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Freeform 1581">
                      <a:extLst>
                        <a:ext uri="{FF2B5EF4-FFF2-40B4-BE49-F238E27FC236}">
                          <a16:creationId xmlns:a16="http://schemas.microsoft.com/office/drawing/2014/main" id="{ADFE94A6-6EBA-4D1F-A39D-0B0D9F5FD2F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Freeform 1582">
                      <a:extLst>
                        <a:ext uri="{FF2B5EF4-FFF2-40B4-BE49-F238E27FC236}">
                          <a16:creationId xmlns:a16="http://schemas.microsoft.com/office/drawing/2014/main" id="{C7BE996B-21C2-40A9-B8E2-9BFFC1106535}"/>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Freeform 1583">
                      <a:extLst>
                        <a:ext uri="{FF2B5EF4-FFF2-40B4-BE49-F238E27FC236}">
                          <a16:creationId xmlns:a16="http://schemas.microsoft.com/office/drawing/2014/main" id="{3E5AE7C4-CA5C-4F64-AE39-1C30461A6F57}"/>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1584">
                      <a:extLst>
                        <a:ext uri="{FF2B5EF4-FFF2-40B4-BE49-F238E27FC236}">
                          <a16:creationId xmlns:a16="http://schemas.microsoft.com/office/drawing/2014/main" id="{A7F346BF-C9DA-4DD1-A359-87EE5863F945}"/>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1585">
                      <a:extLst>
                        <a:ext uri="{FF2B5EF4-FFF2-40B4-BE49-F238E27FC236}">
                          <a16:creationId xmlns:a16="http://schemas.microsoft.com/office/drawing/2014/main" id="{03AF5E99-0265-414D-B000-1B05B67EA63F}"/>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2" name="Freeform 1586">
                      <a:extLst>
                        <a:ext uri="{FF2B5EF4-FFF2-40B4-BE49-F238E27FC236}">
                          <a16:creationId xmlns:a16="http://schemas.microsoft.com/office/drawing/2014/main" id="{9C12FD66-0104-47B6-BA7B-61AEC8752599}"/>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3" name="Freeform 1587">
                      <a:extLst>
                        <a:ext uri="{FF2B5EF4-FFF2-40B4-BE49-F238E27FC236}">
                          <a16:creationId xmlns:a16="http://schemas.microsoft.com/office/drawing/2014/main" id="{9951E013-7E87-410C-8E24-29FDA7A6C6DA}"/>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4" name="Freeform 1588">
                      <a:extLst>
                        <a:ext uri="{FF2B5EF4-FFF2-40B4-BE49-F238E27FC236}">
                          <a16:creationId xmlns:a16="http://schemas.microsoft.com/office/drawing/2014/main" id="{CB66D67A-CD7C-45A5-93A0-17D2076B34FD}"/>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5" name="Rectangle 1589">
                      <a:extLst>
                        <a:ext uri="{FF2B5EF4-FFF2-40B4-BE49-F238E27FC236}">
                          <a16:creationId xmlns:a16="http://schemas.microsoft.com/office/drawing/2014/main" id="{BDF12F17-0C71-4937-9C30-C4456872E9F0}"/>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6" name="Rectangle 1590">
                      <a:extLst>
                        <a:ext uri="{FF2B5EF4-FFF2-40B4-BE49-F238E27FC236}">
                          <a16:creationId xmlns:a16="http://schemas.microsoft.com/office/drawing/2014/main" id="{8B492B29-7280-436E-9AC1-E80545DB4283}"/>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7" name="Freeform 1591">
                      <a:extLst>
                        <a:ext uri="{FF2B5EF4-FFF2-40B4-BE49-F238E27FC236}">
                          <a16:creationId xmlns:a16="http://schemas.microsoft.com/office/drawing/2014/main" id="{76139F27-78A2-42B0-9FDA-A8A0E3A35891}"/>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8" name="Freeform 1592">
                      <a:extLst>
                        <a:ext uri="{FF2B5EF4-FFF2-40B4-BE49-F238E27FC236}">
                          <a16:creationId xmlns:a16="http://schemas.microsoft.com/office/drawing/2014/main" id="{06F68C76-69CC-4184-B71A-BDFFCBBFFEB9}"/>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9" name="Freeform 1593">
                      <a:extLst>
                        <a:ext uri="{FF2B5EF4-FFF2-40B4-BE49-F238E27FC236}">
                          <a16:creationId xmlns:a16="http://schemas.microsoft.com/office/drawing/2014/main" id="{1D2BA2E5-E975-4297-8C48-495935B695B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0" name="Freeform 1594">
                      <a:extLst>
                        <a:ext uri="{FF2B5EF4-FFF2-40B4-BE49-F238E27FC236}">
                          <a16:creationId xmlns:a16="http://schemas.microsoft.com/office/drawing/2014/main" id="{839046DC-F08A-40B0-9130-29568052811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1" name="Freeform 1595">
                      <a:extLst>
                        <a:ext uri="{FF2B5EF4-FFF2-40B4-BE49-F238E27FC236}">
                          <a16:creationId xmlns:a16="http://schemas.microsoft.com/office/drawing/2014/main" id="{C7295905-C88D-4F88-A9B4-A3A04EEA38FC}"/>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2" name="Freeform 1596">
                      <a:extLst>
                        <a:ext uri="{FF2B5EF4-FFF2-40B4-BE49-F238E27FC236}">
                          <a16:creationId xmlns:a16="http://schemas.microsoft.com/office/drawing/2014/main" id="{372FE04C-F613-4FB1-A157-0EF46379F4A6}"/>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3" name="Freeform 1672">
                      <a:extLst>
                        <a:ext uri="{FF2B5EF4-FFF2-40B4-BE49-F238E27FC236}">
                          <a16:creationId xmlns:a16="http://schemas.microsoft.com/office/drawing/2014/main" id="{4E7B2D6E-1B1A-415E-B46A-017DE4077DAC}"/>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4" name="Freeform 1673">
                      <a:extLst>
                        <a:ext uri="{FF2B5EF4-FFF2-40B4-BE49-F238E27FC236}">
                          <a16:creationId xmlns:a16="http://schemas.microsoft.com/office/drawing/2014/main" id="{2480C457-4F1B-4A58-9719-8BCBF0654AA3}"/>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5" name="Freeform 1674">
                      <a:extLst>
                        <a:ext uri="{FF2B5EF4-FFF2-40B4-BE49-F238E27FC236}">
                          <a16:creationId xmlns:a16="http://schemas.microsoft.com/office/drawing/2014/main" id="{AA635A41-34E7-4935-8E2D-F92F15286436}"/>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6" name="Freeform 1675">
                      <a:extLst>
                        <a:ext uri="{FF2B5EF4-FFF2-40B4-BE49-F238E27FC236}">
                          <a16:creationId xmlns:a16="http://schemas.microsoft.com/office/drawing/2014/main" id="{6E9D52F0-964D-46B3-8F20-C7EF8B06F2B5}"/>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7" name="Freeform 1676">
                      <a:extLst>
                        <a:ext uri="{FF2B5EF4-FFF2-40B4-BE49-F238E27FC236}">
                          <a16:creationId xmlns:a16="http://schemas.microsoft.com/office/drawing/2014/main" id="{403901DA-19CB-4CB6-94A8-C4E9EC3E00C4}"/>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8" name="Freeform 1677">
                      <a:extLst>
                        <a:ext uri="{FF2B5EF4-FFF2-40B4-BE49-F238E27FC236}">
                          <a16:creationId xmlns:a16="http://schemas.microsoft.com/office/drawing/2014/main" id="{A549648E-DFDD-48B9-8545-D45CB2E0604A}"/>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9" name="Freeform 1678">
                      <a:extLst>
                        <a:ext uri="{FF2B5EF4-FFF2-40B4-BE49-F238E27FC236}">
                          <a16:creationId xmlns:a16="http://schemas.microsoft.com/office/drawing/2014/main" id="{6FE35CEC-37B7-4A4A-AEFB-51623D2782D4}"/>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0" name="Freeform 1679">
                      <a:extLst>
                        <a:ext uri="{FF2B5EF4-FFF2-40B4-BE49-F238E27FC236}">
                          <a16:creationId xmlns:a16="http://schemas.microsoft.com/office/drawing/2014/main" id="{180E4AD2-44CC-4BCC-9693-9C0750F52BCE}"/>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1" name="Freeform 1680">
                      <a:extLst>
                        <a:ext uri="{FF2B5EF4-FFF2-40B4-BE49-F238E27FC236}">
                          <a16:creationId xmlns:a16="http://schemas.microsoft.com/office/drawing/2014/main" id="{8F417B20-8A1C-4829-94FE-A47DE3B12C61}"/>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2" name="Freeform 1681">
                      <a:extLst>
                        <a:ext uri="{FF2B5EF4-FFF2-40B4-BE49-F238E27FC236}">
                          <a16:creationId xmlns:a16="http://schemas.microsoft.com/office/drawing/2014/main" id="{6D7DC1E0-4038-43AA-8125-8E0CF806B6AD}"/>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3" name="Freeform 1682">
                      <a:extLst>
                        <a:ext uri="{FF2B5EF4-FFF2-40B4-BE49-F238E27FC236}">
                          <a16:creationId xmlns:a16="http://schemas.microsoft.com/office/drawing/2014/main" id="{27DB94BA-2038-4889-A510-D7FE0E61E558}"/>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1683">
                      <a:extLst>
                        <a:ext uri="{FF2B5EF4-FFF2-40B4-BE49-F238E27FC236}">
                          <a16:creationId xmlns:a16="http://schemas.microsoft.com/office/drawing/2014/main" id="{3D210A7C-EA3E-47F3-AE43-70AB53A7C5D0}"/>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1684">
                      <a:extLst>
                        <a:ext uri="{FF2B5EF4-FFF2-40B4-BE49-F238E27FC236}">
                          <a16:creationId xmlns:a16="http://schemas.microsoft.com/office/drawing/2014/main" id="{CFBCD459-E0D1-404C-B043-B077C0C5982C}"/>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1685">
                      <a:extLst>
                        <a:ext uri="{FF2B5EF4-FFF2-40B4-BE49-F238E27FC236}">
                          <a16:creationId xmlns:a16="http://schemas.microsoft.com/office/drawing/2014/main" id="{CA1BEB67-CFD8-4327-A686-A8BB4B8363E1}"/>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1686">
                      <a:extLst>
                        <a:ext uri="{FF2B5EF4-FFF2-40B4-BE49-F238E27FC236}">
                          <a16:creationId xmlns:a16="http://schemas.microsoft.com/office/drawing/2014/main" id="{AD51BBB0-64A2-4678-A9D2-68515D15945C}"/>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1687">
                      <a:extLst>
                        <a:ext uri="{FF2B5EF4-FFF2-40B4-BE49-F238E27FC236}">
                          <a16:creationId xmlns:a16="http://schemas.microsoft.com/office/drawing/2014/main" id="{82164BEB-906C-49C0-8B3A-379BFB8927C4}"/>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1688">
                      <a:extLst>
                        <a:ext uri="{FF2B5EF4-FFF2-40B4-BE49-F238E27FC236}">
                          <a16:creationId xmlns:a16="http://schemas.microsoft.com/office/drawing/2014/main" id="{38C6A769-DFBC-4AE7-B73E-95E236380C09}"/>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1689">
                      <a:extLst>
                        <a:ext uri="{FF2B5EF4-FFF2-40B4-BE49-F238E27FC236}">
                          <a16:creationId xmlns:a16="http://schemas.microsoft.com/office/drawing/2014/main" id="{6C2B4535-51F1-4721-B868-442D390157FE}"/>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1690">
                      <a:extLst>
                        <a:ext uri="{FF2B5EF4-FFF2-40B4-BE49-F238E27FC236}">
                          <a16:creationId xmlns:a16="http://schemas.microsoft.com/office/drawing/2014/main" id="{2168089E-048B-4A03-9C25-750D9257C0C2}"/>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1691">
                      <a:extLst>
                        <a:ext uri="{FF2B5EF4-FFF2-40B4-BE49-F238E27FC236}">
                          <a16:creationId xmlns:a16="http://schemas.microsoft.com/office/drawing/2014/main" id="{DFA2A51B-8DD5-4A89-910D-CA1931958F9C}"/>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3" name="Freeform 1692">
                      <a:extLst>
                        <a:ext uri="{FF2B5EF4-FFF2-40B4-BE49-F238E27FC236}">
                          <a16:creationId xmlns:a16="http://schemas.microsoft.com/office/drawing/2014/main" id="{A9E5E83B-1642-437F-81A9-45B9216C6E76}"/>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4" name="Freeform 1693">
                      <a:extLst>
                        <a:ext uri="{FF2B5EF4-FFF2-40B4-BE49-F238E27FC236}">
                          <a16:creationId xmlns:a16="http://schemas.microsoft.com/office/drawing/2014/main" id="{4D17AC3A-3637-4B47-8F9F-1AD6086B342A}"/>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Freeform 1694">
                      <a:extLst>
                        <a:ext uri="{FF2B5EF4-FFF2-40B4-BE49-F238E27FC236}">
                          <a16:creationId xmlns:a16="http://schemas.microsoft.com/office/drawing/2014/main" id="{22067ED6-B214-45A8-B029-1E440A68DC0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6" name="Freeform 1695">
                      <a:extLst>
                        <a:ext uri="{FF2B5EF4-FFF2-40B4-BE49-F238E27FC236}">
                          <a16:creationId xmlns:a16="http://schemas.microsoft.com/office/drawing/2014/main" id="{1DD1A4F9-2A30-4003-A5DD-89591482972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7" name="Freeform 1696">
                      <a:extLst>
                        <a:ext uri="{FF2B5EF4-FFF2-40B4-BE49-F238E27FC236}">
                          <a16:creationId xmlns:a16="http://schemas.microsoft.com/office/drawing/2014/main" id="{75EC2E55-1218-45BC-85F3-E24F97CC503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Freeform 1697">
                      <a:extLst>
                        <a:ext uri="{FF2B5EF4-FFF2-40B4-BE49-F238E27FC236}">
                          <a16:creationId xmlns:a16="http://schemas.microsoft.com/office/drawing/2014/main" id="{3AD6C380-4F95-4912-9991-EAB99AD4D35D}"/>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801" name="Rectangle 2800">
              <a:extLst>
                <a:ext uri="{FF2B5EF4-FFF2-40B4-BE49-F238E27FC236}">
                  <a16:creationId xmlns:a16="http://schemas.microsoft.com/office/drawing/2014/main" id="{5CC3A915-C0CF-48D9-BE8E-52BB3F9E154F}"/>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15" name="Group 14">
            <a:extLst>
              <a:ext uri="{FF2B5EF4-FFF2-40B4-BE49-F238E27FC236}">
                <a16:creationId xmlns:a16="http://schemas.microsoft.com/office/drawing/2014/main" id="{A3D36A2B-F5C4-4D01-9709-E1957D7DC38A}"/>
              </a:ext>
            </a:extLst>
          </p:cNvPr>
          <p:cNvGrpSpPr/>
          <p:nvPr/>
        </p:nvGrpSpPr>
        <p:grpSpPr>
          <a:xfrm>
            <a:off x="3481621" y="3615964"/>
            <a:ext cx="4581486" cy="2892141"/>
            <a:chOff x="3480940" y="3616012"/>
            <a:chExt cx="4582679" cy="2892894"/>
          </a:xfrm>
        </p:grpSpPr>
        <p:grpSp>
          <p:nvGrpSpPr>
            <p:cNvPr id="7" name="Group 6">
              <a:extLst>
                <a:ext uri="{FF2B5EF4-FFF2-40B4-BE49-F238E27FC236}">
                  <a16:creationId xmlns:a16="http://schemas.microsoft.com/office/drawing/2014/main" id="{692D072B-49CC-4303-8CF2-3D45E20D9312}"/>
                </a:ext>
              </a:extLst>
            </p:cNvPr>
            <p:cNvGrpSpPr/>
            <p:nvPr/>
          </p:nvGrpSpPr>
          <p:grpSpPr>
            <a:xfrm>
              <a:off x="3480940" y="4590574"/>
              <a:ext cx="2021522" cy="1918332"/>
              <a:chOff x="3480940" y="4590574"/>
              <a:chExt cx="2021522" cy="1918332"/>
            </a:xfrm>
          </p:grpSpPr>
          <p:grpSp>
            <p:nvGrpSpPr>
              <p:cNvPr id="2018" name="Group 2017">
                <a:extLst>
                  <a:ext uri="{FF2B5EF4-FFF2-40B4-BE49-F238E27FC236}">
                    <a16:creationId xmlns:a16="http://schemas.microsoft.com/office/drawing/2014/main" id="{56540839-72CD-4906-AEB0-E18EC5A846B9}"/>
                  </a:ext>
                </a:extLst>
              </p:cNvPr>
              <p:cNvGrpSpPr/>
              <p:nvPr/>
            </p:nvGrpSpPr>
            <p:grpSpPr>
              <a:xfrm>
                <a:off x="3480940" y="4590574"/>
                <a:ext cx="2021522" cy="1918332"/>
                <a:chOff x="3489383" y="4562005"/>
                <a:chExt cx="2026683" cy="1923229"/>
              </a:xfrm>
            </p:grpSpPr>
            <p:sp>
              <p:nvSpPr>
                <p:cNvPr id="2019" name="Rectangle 2018">
                  <a:extLst>
                    <a:ext uri="{FF2B5EF4-FFF2-40B4-BE49-F238E27FC236}">
                      <a16:creationId xmlns:a16="http://schemas.microsoft.com/office/drawing/2014/main" id="{748B31C8-D114-4F7B-AF23-309F82F6A9F1}"/>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020" name="Picture 2019">
                  <a:extLst>
                    <a:ext uri="{FF2B5EF4-FFF2-40B4-BE49-F238E27FC236}">
                      <a16:creationId xmlns:a16="http://schemas.microsoft.com/office/drawing/2014/main" id="{29BBB789-058D-4185-8ABF-BA11CF4AA1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021" name="Rectangle 2020">
                  <a:extLst>
                    <a:ext uri="{FF2B5EF4-FFF2-40B4-BE49-F238E27FC236}">
                      <a16:creationId xmlns:a16="http://schemas.microsoft.com/office/drawing/2014/main" id="{19403D70-F06C-4607-9A22-DBDF11EF45BA}"/>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022" name="Group 2021">
                  <a:extLst>
                    <a:ext uri="{FF2B5EF4-FFF2-40B4-BE49-F238E27FC236}">
                      <a16:creationId xmlns:a16="http://schemas.microsoft.com/office/drawing/2014/main" id="{FDD675A8-B8D0-4448-A656-3949DF642096}"/>
                    </a:ext>
                  </a:extLst>
                </p:cNvPr>
                <p:cNvGrpSpPr/>
                <p:nvPr/>
              </p:nvGrpSpPr>
              <p:grpSpPr>
                <a:xfrm>
                  <a:off x="4439956" y="4676083"/>
                  <a:ext cx="1030675" cy="846880"/>
                  <a:chOff x="10800033" y="2297897"/>
                  <a:chExt cx="1600558" cy="1315140"/>
                </a:xfrm>
              </p:grpSpPr>
              <p:grpSp>
                <p:nvGrpSpPr>
                  <p:cNvPr id="2023" name="Group 2022">
                    <a:extLst>
                      <a:ext uri="{FF2B5EF4-FFF2-40B4-BE49-F238E27FC236}">
                        <a16:creationId xmlns:a16="http://schemas.microsoft.com/office/drawing/2014/main" id="{1D61E89D-80B4-4262-AD4B-4F1EFBD7F33F}"/>
                      </a:ext>
                    </a:extLst>
                  </p:cNvPr>
                  <p:cNvGrpSpPr>
                    <a:grpSpLocks/>
                  </p:cNvGrpSpPr>
                  <p:nvPr/>
                </p:nvGrpSpPr>
                <p:grpSpPr>
                  <a:xfrm>
                    <a:off x="10800033" y="2339037"/>
                    <a:ext cx="613092" cy="613092"/>
                    <a:chOff x="745985" y="4768134"/>
                    <a:chExt cx="368776" cy="368777"/>
                  </a:xfrm>
                </p:grpSpPr>
                <p:grpSp>
                  <p:nvGrpSpPr>
                    <p:cNvPr id="2087" name="Group 64">
                      <a:extLst>
                        <a:ext uri="{FF2B5EF4-FFF2-40B4-BE49-F238E27FC236}">
                          <a16:creationId xmlns:a16="http://schemas.microsoft.com/office/drawing/2014/main" id="{01E48BE4-E577-4DA7-A7DA-D47F81E40EA8}"/>
                        </a:ext>
                      </a:extLst>
                    </p:cNvPr>
                    <p:cNvGrpSpPr>
                      <a:grpSpLocks noChangeAspect="1"/>
                    </p:cNvGrpSpPr>
                    <p:nvPr/>
                  </p:nvGrpSpPr>
                  <p:grpSpPr bwMode="auto">
                    <a:xfrm rot="8100000">
                      <a:off x="745985" y="4768134"/>
                      <a:ext cx="368776" cy="368777"/>
                      <a:chOff x="701" y="2170"/>
                      <a:chExt cx="587" cy="587"/>
                    </a:xfrm>
                  </p:grpSpPr>
                  <p:sp>
                    <p:nvSpPr>
                      <p:cNvPr id="2098" name="Oval 65">
                        <a:extLst>
                          <a:ext uri="{FF2B5EF4-FFF2-40B4-BE49-F238E27FC236}">
                            <a16:creationId xmlns:a16="http://schemas.microsoft.com/office/drawing/2014/main" id="{0A886081-F1D0-4AEB-9041-0464331AAF2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Line 66">
                        <a:extLst>
                          <a:ext uri="{FF2B5EF4-FFF2-40B4-BE49-F238E27FC236}">
                            <a16:creationId xmlns:a16="http://schemas.microsoft.com/office/drawing/2014/main" id="{C2E285F7-F1EF-42B3-A7C4-9FB0D6ED700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0" name="Line 67">
                        <a:extLst>
                          <a:ext uri="{FF2B5EF4-FFF2-40B4-BE49-F238E27FC236}">
                            <a16:creationId xmlns:a16="http://schemas.microsoft.com/office/drawing/2014/main" id="{0E350AB0-6D10-4606-B539-2CA4EC77E00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1" name="Line 69">
                        <a:extLst>
                          <a:ext uri="{FF2B5EF4-FFF2-40B4-BE49-F238E27FC236}">
                            <a16:creationId xmlns:a16="http://schemas.microsoft.com/office/drawing/2014/main" id="{7F69DCC6-831C-4C0A-83DB-10573EFA410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2" name="Line 74">
                        <a:extLst>
                          <a:ext uri="{FF2B5EF4-FFF2-40B4-BE49-F238E27FC236}">
                            <a16:creationId xmlns:a16="http://schemas.microsoft.com/office/drawing/2014/main" id="{A945B4C0-A0A8-4357-BDCC-600F0584749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78">
                        <a:extLst>
                          <a:ext uri="{FF2B5EF4-FFF2-40B4-BE49-F238E27FC236}">
                            <a16:creationId xmlns:a16="http://schemas.microsoft.com/office/drawing/2014/main" id="{83080771-497A-49B6-9DD8-EC246B91EE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80">
                        <a:extLst>
                          <a:ext uri="{FF2B5EF4-FFF2-40B4-BE49-F238E27FC236}">
                            <a16:creationId xmlns:a16="http://schemas.microsoft.com/office/drawing/2014/main" id="{35116DAD-749B-45B8-9C86-0FA72B3638F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88" name="Group 2087">
                      <a:extLst>
                        <a:ext uri="{FF2B5EF4-FFF2-40B4-BE49-F238E27FC236}">
                          <a16:creationId xmlns:a16="http://schemas.microsoft.com/office/drawing/2014/main" id="{37B1DD8D-1211-492D-8E3E-883D25B35A83}"/>
                        </a:ext>
                      </a:extLst>
                    </p:cNvPr>
                    <p:cNvGrpSpPr/>
                    <p:nvPr/>
                  </p:nvGrpSpPr>
                  <p:grpSpPr>
                    <a:xfrm>
                      <a:off x="837312" y="4814434"/>
                      <a:ext cx="136805" cy="278689"/>
                      <a:chOff x="2806700" y="2803319"/>
                      <a:chExt cx="433387" cy="882861"/>
                    </a:xfrm>
                  </p:grpSpPr>
                  <p:grpSp>
                    <p:nvGrpSpPr>
                      <p:cNvPr id="2089" name="Group 2088">
                        <a:extLst>
                          <a:ext uri="{FF2B5EF4-FFF2-40B4-BE49-F238E27FC236}">
                            <a16:creationId xmlns:a16="http://schemas.microsoft.com/office/drawing/2014/main" id="{3A754CC2-FAD8-46DE-A50F-546C90D392FC}"/>
                          </a:ext>
                        </a:extLst>
                      </p:cNvPr>
                      <p:cNvGrpSpPr>
                        <a:grpSpLocks noChangeAspect="1"/>
                      </p:cNvGrpSpPr>
                      <p:nvPr/>
                    </p:nvGrpSpPr>
                    <p:grpSpPr bwMode="auto">
                      <a:xfrm>
                        <a:off x="2806700" y="3043242"/>
                        <a:ext cx="433387" cy="642938"/>
                        <a:chOff x="1768" y="1917"/>
                        <a:chExt cx="273" cy="405"/>
                      </a:xfrm>
                    </p:grpSpPr>
                    <p:sp>
                      <p:nvSpPr>
                        <p:cNvPr id="2091" name="Freeform 52">
                          <a:extLst>
                            <a:ext uri="{FF2B5EF4-FFF2-40B4-BE49-F238E27FC236}">
                              <a16:creationId xmlns:a16="http://schemas.microsoft.com/office/drawing/2014/main" id="{C242132A-76D3-438C-AC96-5DB53EFA2BA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2" name="Line 54">
                          <a:extLst>
                            <a:ext uri="{FF2B5EF4-FFF2-40B4-BE49-F238E27FC236}">
                              <a16:creationId xmlns:a16="http://schemas.microsoft.com/office/drawing/2014/main" id="{D462B0C0-A26C-408D-B7F4-25FC0A46FCF6}"/>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3" name="Line 55">
                          <a:extLst>
                            <a:ext uri="{FF2B5EF4-FFF2-40B4-BE49-F238E27FC236}">
                              <a16:creationId xmlns:a16="http://schemas.microsoft.com/office/drawing/2014/main" id="{36CE7D36-8D4E-4E7D-B44E-37EF507C2CFA}"/>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4" name="Freeform 56">
                          <a:extLst>
                            <a:ext uri="{FF2B5EF4-FFF2-40B4-BE49-F238E27FC236}">
                              <a16:creationId xmlns:a16="http://schemas.microsoft.com/office/drawing/2014/main" id="{08EF9AB4-BEA6-467D-A1D8-F77DE6A94B9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5" name="Line 57">
                          <a:extLst>
                            <a:ext uri="{FF2B5EF4-FFF2-40B4-BE49-F238E27FC236}">
                              <a16:creationId xmlns:a16="http://schemas.microsoft.com/office/drawing/2014/main" id="{CF6AEC22-0767-467A-81AD-C0DFD9A4AA36}"/>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6" name="Freeform 58">
                          <a:extLst>
                            <a:ext uri="{FF2B5EF4-FFF2-40B4-BE49-F238E27FC236}">
                              <a16:creationId xmlns:a16="http://schemas.microsoft.com/office/drawing/2014/main" id="{C2604C23-AD38-4566-BAD3-47B5EA86390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7" name="Rectangle 2096">
                          <a:extLst>
                            <a:ext uri="{FF2B5EF4-FFF2-40B4-BE49-F238E27FC236}">
                              <a16:creationId xmlns:a16="http://schemas.microsoft.com/office/drawing/2014/main" id="{8509A289-0E67-4A94-8BC5-CE91EA04DF7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090" name="Oval 2089">
                        <a:extLst>
                          <a:ext uri="{FF2B5EF4-FFF2-40B4-BE49-F238E27FC236}">
                            <a16:creationId xmlns:a16="http://schemas.microsoft.com/office/drawing/2014/main" id="{F0A3E300-0A0E-4060-8DDB-B6EBA012D9C7}"/>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024" name="Group 2023">
                    <a:extLst>
                      <a:ext uri="{FF2B5EF4-FFF2-40B4-BE49-F238E27FC236}">
                        <a16:creationId xmlns:a16="http://schemas.microsoft.com/office/drawing/2014/main" id="{DE0B9681-3DED-44E4-9627-E0B541A48C40}"/>
                      </a:ext>
                    </a:extLst>
                  </p:cNvPr>
                  <p:cNvGrpSpPr>
                    <a:grpSpLocks/>
                  </p:cNvGrpSpPr>
                  <p:nvPr/>
                </p:nvGrpSpPr>
                <p:grpSpPr>
                  <a:xfrm>
                    <a:off x="11166615" y="2825631"/>
                    <a:ext cx="787402" cy="787406"/>
                    <a:chOff x="1454941" y="4721722"/>
                    <a:chExt cx="473625" cy="473627"/>
                  </a:xfrm>
                </p:grpSpPr>
                <p:grpSp>
                  <p:nvGrpSpPr>
                    <p:cNvPr id="2048" name="Group 64">
                      <a:extLst>
                        <a:ext uri="{FF2B5EF4-FFF2-40B4-BE49-F238E27FC236}">
                          <a16:creationId xmlns:a16="http://schemas.microsoft.com/office/drawing/2014/main" id="{72DB5D0F-8955-442F-AE53-3D14F7805B61}"/>
                        </a:ext>
                      </a:extLst>
                    </p:cNvPr>
                    <p:cNvGrpSpPr>
                      <a:grpSpLocks noChangeAspect="1"/>
                    </p:cNvGrpSpPr>
                    <p:nvPr/>
                  </p:nvGrpSpPr>
                  <p:grpSpPr bwMode="auto">
                    <a:xfrm rot="8100000">
                      <a:off x="1454941" y="4721722"/>
                      <a:ext cx="473625" cy="473627"/>
                      <a:chOff x="701" y="2170"/>
                      <a:chExt cx="587" cy="587"/>
                    </a:xfrm>
                  </p:grpSpPr>
                  <p:sp>
                    <p:nvSpPr>
                      <p:cNvPr id="2080" name="Oval 65">
                        <a:extLst>
                          <a:ext uri="{FF2B5EF4-FFF2-40B4-BE49-F238E27FC236}">
                            <a16:creationId xmlns:a16="http://schemas.microsoft.com/office/drawing/2014/main" id="{ACE6D71E-9A7F-44F5-9810-DDC2B399078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81" name="Line 66">
                        <a:extLst>
                          <a:ext uri="{FF2B5EF4-FFF2-40B4-BE49-F238E27FC236}">
                            <a16:creationId xmlns:a16="http://schemas.microsoft.com/office/drawing/2014/main" id="{764A254C-EFAA-4983-9208-C93B7A14743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2" name="Line 67">
                        <a:extLst>
                          <a:ext uri="{FF2B5EF4-FFF2-40B4-BE49-F238E27FC236}">
                            <a16:creationId xmlns:a16="http://schemas.microsoft.com/office/drawing/2014/main" id="{93EADFD0-1ECF-4DD6-B959-0DE85C07259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3" name="Line 69">
                        <a:extLst>
                          <a:ext uri="{FF2B5EF4-FFF2-40B4-BE49-F238E27FC236}">
                            <a16:creationId xmlns:a16="http://schemas.microsoft.com/office/drawing/2014/main" id="{FC151A07-1A6D-489C-8F94-96192C8AF74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4" name="Line 74">
                        <a:extLst>
                          <a:ext uri="{FF2B5EF4-FFF2-40B4-BE49-F238E27FC236}">
                            <a16:creationId xmlns:a16="http://schemas.microsoft.com/office/drawing/2014/main" id="{56564724-9B6C-41A6-A179-CC0E3D81C6D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5" name="Freeform 78">
                        <a:extLst>
                          <a:ext uri="{FF2B5EF4-FFF2-40B4-BE49-F238E27FC236}">
                            <a16:creationId xmlns:a16="http://schemas.microsoft.com/office/drawing/2014/main" id="{8A75B03E-65C6-414B-83C9-15BB05C9A5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6" name="Freeform 80">
                        <a:extLst>
                          <a:ext uri="{FF2B5EF4-FFF2-40B4-BE49-F238E27FC236}">
                            <a16:creationId xmlns:a16="http://schemas.microsoft.com/office/drawing/2014/main" id="{6036BA97-74E3-4525-95A2-587018FBD06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49" name="Group 2048">
                      <a:extLst>
                        <a:ext uri="{FF2B5EF4-FFF2-40B4-BE49-F238E27FC236}">
                          <a16:creationId xmlns:a16="http://schemas.microsoft.com/office/drawing/2014/main" id="{8D9F6327-0B0B-485A-8EC5-F862A7E69C50}"/>
                        </a:ext>
                      </a:extLst>
                    </p:cNvPr>
                    <p:cNvGrpSpPr/>
                    <p:nvPr/>
                  </p:nvGrpSpPr>
                  <p:grpSpPr>
                    <a:xfrm>
                      <a:off x="1511214" y="4789508"/>
                      <a:ext cx="356509" cy="349884"/>
                      <a:chOff x="468738" y="2241878"/>
                      <a:chExt cx="1655483" cy="1624719"/>
                    </a:xfrm>
                  </p:grpSpPr>
                  <p:sp>
                    <p:nvSpPr>
                      <p:cNvPr id="2050" name="Freeform 5">
                        <a:extLst>
                          <a:ext uri="{FF2B5EF4-FFF2-40B4-BE49-F238E27FC236}">
                            <a16:creationId xmlns:a16="http://schemas.microsoft.com/office/drawing/2014/main" id="{8458A5E1-1B47-42D6-B27E-97B06E861C41}"/>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51" name="Freeform 6">
                        <a:extLst>
                          <a:ext uri="{FF2B5EF4-FFF2-40B4-BE49-F238E27FC236}">
                            <a16:creationId xmlns:a16="http://schemas.microsoft.com/office/drawing/2014/main" id="{5E623E06-E501-49AC-B639-E48CD049790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2" name="Line 7">
                        <a:extLst>
                          <a:ext uri="{FF2B5EF4-FFF2-40B4-BE49-F238E27FC236}">
                            <a16:creationId xmlns:a16="http://schemas.microsoft.com/office/drawing/2014/main" id="{8A8AEB48-8EA2-4AE9-A410-03E59D7B8A9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3" name="Freeform 8">
                        <a:extLst>
                          <a:ext uri="{FF2B5EF4-FFF2-40B4-BE49-F238E27FC236}">
                            <a16:creationId xmlns:a16="http://schemas.microsoft.com/office/drawing/2014/main" id="{DA15DEDE-44A2-46BA-91D5-8160FF5EC2E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4" name="Line 9">
                        <a:extLst>
                          <a:ext uri="{FF2B5EF4-FFF2-40B4-BE49-F238E27FC236}">
                            <a16:creationId xmlns:a16="http://schemas.microsoft.com/office/drawing/2014/main" id="{017EFE93-47AA-43AE-B2CC-D9295B6A9F99}"/>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55" name="Group 2054">
                        <a:extLst>
                          <a:ext uri="{FF2B5EF4-FFF2-40B4-BE49-F238E27FC236}">
                            <a16:creationId xmlns:a16="http://schemas.microsoft.com/office/drawing/2014/main" id="{084D1A28-0222-46DD-8E24-FFB39B1A73D9}"/>
                          </a:ext>
                        </a:extLst>
                      </p:cNvPr>
                      <p:cNvGrpSpPr/>
                      <p:nvPr/>
                    </p:nvGrpSpPr>
                    <p:grpSpPr>
                      <a:xfrm>
                        <a:off x="1207113" y="2241878"/>
                        <a:ext cx="178734" cy="348678"/>
                        <a:chOff x="1207113" y="2241878"/>
                        <a:chExt cx="178734" cy="348678"/>
                      </a:xfrm>
                    </p:grpSpPr>
                    <p:sp>
                      <p:nvSpPr>
                        <p:cNvPr id="2078" name="Freeform 10">
                          <a:extLst>
                            <a:ext uri="{FF2B5EF4-FFF2-40B4-BE49-F238E27FC236}">
                              <a16:creationId xmlns:a16="http://schemas.microsoft.com/office/drawing/2014/main" id="{A6C5B11D-8CDC-4FCE-8BD2-323816C319E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9" name="Line 11">
                          <a:extLst>
                            <a:ext uri="{FF2B5EF4-FFF2-40B4-BE49-F238E27FC236}">
                              <a16:creationId xmlns:a16="http://schemas.microsoft.com/office/drawing/2014/main" id="{C71CB6D2-F664-402E-9A23-8E043C87299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056" name="Freeform 12">
                        <a:extLst>
                          <a:ext uri="{FF2B5EF4-FFF2-40B4-BE49-F238E27FC236}">
                            <a16:creationId xmlns:a16="http://schemas.microsoft.com/office/drawing/2014/main" id="{71AF4565-F1DB-4FAA-ACBD-3BE44EDF480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7" name="Line 13">
                        <a:extLst>
                          <a:ext uri="{FF2B5EF4-FFF2-40B4-BE49-F238E27FC236}">
                            <a16:creationId xmlns:a16="http://schemas.microsoft.com/office/drawing/2014/main" id="{FCB036DD-2C22-45DF-89C6-21107DB7F46B}"/>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8" name="Freeform 14">
                        <a:extLst>
                          <a:ext uri="{FF2B5EF4-FFF2-40B4-BE49-F238E27FC236}">
                            <a16:creationId xmlns:a16="http://schemas.microsoft.com/office/drawing/2014/main" id="{ED66D134-CDCF-48B3-BA53-AABFBE5C14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9" name="Line 15">
                        <a:extLst>
                          <a:ext uri="{FF2B5EF4-FFF2-40B4-BE49-F238E27FC236}">
                            <a16:creationId xmlns:a16="http://schemas.microsoft.com/office/drawing/2014/main" id="{954244E4-308D-4F88-9DCF-7194D2801C8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0" name="Freeform 16">
                        <a:extLst>
                          <a:ext uri="{FF2B5EF4-FFF2-40B4-BE49-F238E27FC236}">
                            <a16:creationId xmlns:a16="http://schemas.microsoft.com/office/drawing/2014/main" id="{3F85E511-5E10-48E6-9EBC-83EB630E9B4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1" name="Line 17">
                        <a:extLst>
                          <a:ext uri="{FF2B5EF4-FFF2-40B4-BE49-F238E27FC236}">
                            <a16:creationId xmlns:a16="http://schemas.microsoft.com/office/drawing/2014/main" id="{6B909ABD-1595-4AD4-BC0B-DEC69383D0BC}"/>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2" name="Freeform 18">
                        <a:extLst>
                          <a:ext uri="{FF2B5EF4-FFF2-40B4-BE49-F238E27FC236}">
                            <a16:creationId xmlns:a16="http://schemas.microsoft.com/office/drawing/2014/main" id="{BDCEB189-E1A3-4F61-BE87-F10D87B2710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3" name="Line 19">
                        <a:extLst>
                          <a:ext uri="{FF2B5EF4-FFF2-40B4-BE49-F238E27FC236}">
                            <a16:creationId xmlns:a16="http://schemas.microsoft.com/office/drawing/2014/main" id="{A5801A50-A158-4B52-9E77-FF89C2D442E6}"/>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4" name="Freeform 35">
                        <a:extLst>
                          <a:ext uri="{FF2B5EF4-FFF2-40B4-BE49-F238E27FC236}">
                            <a16:creationId xmlns:a16="http://schemas.microsoft.com/office/drawing/2014/main" id="{A2A5B366-8854-45C4-8BEC-9E9F76CBAEF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5" name="Freeform 36">
                        <a:extLst>
                          <a:ext uri="{FF2B5EF4-FFF2-40B4-BE49-F238E27FC236}">
                            <a16:creationId xmlns:a16="http://schemas.microsoft.com/office/drawing/2014/main" id="{A9959492-14F1-4A2E-AE94-E9959B0345D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6" name="Freeform 37">
                        <a:extLst>
                          <a:ext uri="{FF2B5EF4-FFF2-40B4-BE49-F238E27FC236}">
                            <a16:creationId xmlns:a16="http://schemas.microsoft.com/office/drawing/2014/main" id="{5ED0F6C4-9257-4A26-82FD-6DA64DCDF93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7" name="Freeform 38">
                        <a:extLst>
                          <a:ext uri="{FF2B5EF4-FFF2-40B4-BE49-F238E27FC236}">
                            <a16:creationId xmlns:a16="http://schemas.microsoft.com/office/drawing/2014/main" id="{E6D4C4DE-85DA-4348-BAF1-FBDF5CB75BA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8" name="Freeform 39">
                        <a:extLst>
                          <a:ext uri="{FF2B5EF4-FFF2-40B4-BE49-F238E27FC236}">
                            <a16:creationId xmlns:a16="http://schemas.microsoft.com/office/drawing/2014/main" id="{A53B7A6D-CB31-4EE8-9E58-AC8FFE6CA5C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9" name="Freeform 40">
                        <a:extLst>
                          <a:ext uri="{FF2B5EF4-FFF2-40B4-BE49-F238E27FC236}">
                            <a16:creationId xmlns:a16="http://schemas.microsoft.com/office/drawing/2014/main" id="{090B3AC6-1F4F-43CF-9E4E-C4AB75FB265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0" name="Freeform 41">
                        <a:extLst>
                          <a:ext uri="{FF2B5EF4-FFF2-40B4-BE49-F238E27FC236}">
                            <a16:creationId xmlns:a16="http://schemas.microsoft.com/office/drawing/2014/main" id="{D01F9AD9-90A1-4084-857D-6A0CE0A59B96}"/>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1" name="Line 42">
                        <a:extLst>
                          <a:ext uri="{FF2B5EF4-FFF2-40B4-BE49-F238E27FC236}">
                            <a16:creationId xmlns:a16="http://schemas.microsoft.com/office/drawing/2014/main" id="{1B200E90-00C5-4D47-8EDC-739CE998E99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2" name="Freeform 43">
                        <a:extLst>
                          <a:ext uri="{FF2B5EF4-FFF2-40B4-BE49-F238E27FC236}">
                            <a16:creationId xmlns:a16="http://schemas.microsoft.com/office/drawing/2014/main" id="{57AC4181-E6DE-496C-8CC6-59006C184E4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3" name="Freeform 44">
                        <a:extLst>
                          <a:ext uri="{FF2B5EF4-FFF2-40B4-BE49-F238E27FC236}">
                            <a16:creationId xmlns:a16="http://schemas.microsoft.com/office/drawing/2014/main" id="{79C99E03-D11E-40AF-96F5-7947612FECB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4" name="Freeform 45">
                        <a:extLst>
                          <a:ext uri="{FF2B5EF4-FFF2-40B4-BE49-F238E27FC236}">
                            <a16:creationId xmlns:a16="http://schemas.microsoft.com/office/drawing/2014/main" id="{5317F08E-B27F-4FEC-BF2A-B6314519682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75" name="Group 2074">
                        <a:extLst>
                          <a:ext uri="{FF2B5EF4-FFF2-40B4-BE49-F238E27FC236}">
                            <a16:creationId xmlns:a16="http://schemas.microsoft.com/office/drawing/2014/main" id="{B2BECC28-D7C9-486B-B602-A81655E18478}"/>
                          </a:ext>
                        </a:extLst>
                      </p:cNvPr>
                      <p:cNvGrpSpPr/>
                      <p:nvPr/>
                    </p:nvGrpSpPr>
                    <p:grpSpPr>
                      <a:xfrm flipV="1">
                        <a:off x="1202047" y="3517919"/>
                        <a:ext cx="178734" cy="348678"/>
                        <a:chOff x="1207113" y="2241878"/>
                        <a:chExt cx="178734" cy="348678"/>
                      </a:xfrm>
                    </p:grpSpPr>
                    <p:sp>
                      <p:nvSpPr>
                        <p:cNvPr id="2076" name="Freeform 10">
                          <a:extLst>
                            <a:ext uri="{FF2B5EF4-FFF2-40B4-BE49-F238E27FC236}">
                              <a16:creationId xmlns:a16="http://schemas.microsoft.com/office/drawing/2014/main" id="{E98405F1-35EE-4CF6-B642-4093736BC42E}"/>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7" name="Line 11">
                          <a:extLst>
                            <a:ext uri="{FF2B5EF4-FFF2-40B4-BE49-F238E27FC236}">
                              <a16:creationId xmlns:a16="http://schemas.microsoft.com/office/drawing/2014/main" id="{368D9ED1-B092-4360-B4B0-D9D564B307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25" name="Group 2024">
                    <a:extLst>
                      <a:ext uri="{FF2B5EF4-FFF2-40B4-BE49-F238E27FC236}">
                        <a16:creationId xmlns:a16="http://schemas.microsoft.com/office/drawing/2014/main" id="{B037B739-0AC6-483D-9CD6-C23CB322CDCF}"/>
                      </a:ext>
                    </a:extLst>
                  </p:cNvPr>
                  <p:cNvGrpSpPr>
                    <a:grpSpLocks/>
                  </p:cNvGrpSpPr>
                  <p:nvPr/>
                </p:nvGrpSpPr>
                <p:grpSpPr>
                  <a:xfrm>
                    <a:off x="11709639" y="2297897"/>
                    <a:ext cx="690952" cy="690956"/>
                    <a:chOff x="2268747" y="4723725"/>
                    <a:chExt cx="415610" cy="415612"/>
                  </a:xfrm>
                </p:grpSpPr>
                <p:grpSp>
                  <p:nvGrpSpPr>
                    <p:cNvPr id="2026" name="Group 64">
                      <a:extLst>
                        <a:ext uri="{FF2B5EF4-FFF2-40B4-BE49-F238E27FC236}">
                          <a16:creationId xmlns:a16="http://schemas.microsoft.com/office/drawing/2014/main" id="{08D7E938-A413-4450-A19B-6A75A5009960}"/>
                        </a:ext>
                      </a:extLst>
                    </p:cNvPr>
                    <p:cNvGrpSpPr>
                      <a:grpSpLocks noChangeAspect="1"/>
                    </p:cNvGrpSpPr>
                    <p:nvPr/>
                  </p:nvGrpSpPr>
                  <p:grpSpPr bwMode="auto">
                    <a:xfrm rot="8100000">
                      <a:off x="2268747" y="4723725"/>
                      <a:ext cx="415610" cy="415612"/>
                      <a:chOff x="701" y="2170"/>
                      <a:chExt cx="587" cy="587"/>
                    </a:xfrm>
                  </p:grpSpPr>
                  <p:sp>
                    <p:nvSpPr>
                      <p:cNvPr id="2041" name="Oval 65">
                        <a:extLst>
                          <a:ext uri="{FF2B5EF4-FFF2-40B4-BE49-F238E27FC236}">
                            <a16:creationId xmlns:a16="http://schemas.microsoft.com/office/drawing/2014/main" id="{C0044DE8-339A-40BF-8511-55ED3339CF1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2" name="Line 66">
                        <a:extLst>
                          <a:ext uri="{FF2B5EF4-FFF2-40B4-BE49-F238E27FC236}">
                            <a16:creationId xmlns:a16="http://schemas.microsoft.com/office/drawing/2014/main" id="{E104734A-91B5-4854-B5E4-46A8B4BE5A5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3" name="Line 67">
                        <a:extLst>
                          <a:ext uri="{FF2B5EF4-FFF2-40B4-BE49-F238E27FC236}">
                            <a16:creationId xmlns:a16="http://schemas.microsoft.com/office/drawing/2014/main" id="{F8A00DAE-6A81-4FD7-8577-2A690D709D8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4" name="Line 69">
                        <a:extLst>
                          <a:ext uri="{FF2B5EF4-FFF2-40B4-BE49-F238E27FC236}">
                            <a16:creationId xmlns:a16="http://schemas.microsoft.com/office/drawing/2014/main" id="{E959F45C-F50B-48A5-ACAD-A8FD159609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5" name="Line 74">
                        <a:extLst>
                          <a:ext uri="{FF2B5EF4-FFF2-40B4-BE49-F238E27FC236}">
                            <a16:creationId xmlns:a16="http://schemas.microsoft.com/office/drawing/2014/main" id="{F7A415D4-892E-415D-B52D-4C31737AE6E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6" name="Freeform 78">
                        <a:extLst>
                          <a:ext uri="{FF2B5EF4-FFF2-40B4-BE49-F238E27FC236}">
                            <a16:creationId xmlns:a16="http://schemas.microsoft.com/office/drawing/2014/main" id="{24F79AE3-20DF-4F7B-84B6-6B1B62693B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7" name="Freeform 80">
                        <a:extLst>
                          <a:ext uri="{FF2B5EF4-FFF2-40B4-BE49-F238E27FC236}">
                            <a16:creationId xmlns:a16="http://schemas.microsoft.com/office/drawing/2014/main" id="{DC56F3FF-10DF-4FFC-9360-29442B3474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27" name="Group 2026">
                      <a:extLst>
                        <a:ext uri="{FF2B5EF4-FFF2-40B4-BE49-F238E27FC236}">
                          <a16:creationId xmlns:a16="http://schemas.microsoft.com/office/drawing/2014/main" id="{0E2DCCB4-C702-40DD-A4A1-69BC491A0C03}"/>
                        </a:ext>
                      </a:extLst>
                    </p:cNvPr>
                    <p:cNvGrpSpPr/>
                    <p:nvPr/>
                  </p:nvGrpSpPr>
                  <p:grpSpPr>
                    <a:xfrm>
                      <a:off x="2318076" y="4830163"/>
                      <a:ext cx="313949" cy="233075"/>
                      <a:chOff x="3707533" y="2731244"/>
                      <a:chExt cx="389644" cy="289271"/>
                    </a:xfrm>
                  </p:grpSpPr>
                  <p:sp>
                    <p:nvSpPr>
                      <p:cNvPr id="2028" name="Freeform 33">
                        <a:extLst>
                          <a:ext uri="{FF2B5EF4-FFF2-40B4-BE49-F238E27FC236}">
                            <a16:creationId xmlns:a16="http://schemas.microsoft.com/office/drawing/2014/main" id="{E8B2C79B-4AF1-4A44-A176-891EBCF127A3}"/>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29" name="Freeform 34">
                        <a:extLst>
                          <a:ext uri="{FF2B5EF4-FFF2-40B4-BE49-F238E27FC236}">
                            <a16:creationId xmlns:a16="http://schemas.microsoft.com/office/drawing/2014/main" id="{2B2340E6-B3CE-41D4-93E8-10F66EC1C005}"/>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0" name="Freeform 37">
                        <a:extLst>
                          <a:ext uri="{FF2B5EF4-FFF2-40B4-BE49-F238E27FC236}">
                            <a16:creationId xmlns:a16="http://schemas.microsoft.com/office/drawing/2014/main" id="{70FD9DBD-3EEE-4081-A7C5-623B318DEB6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1" name="Freeform 38">
                        <a:extLst>
                          <a:ext uri="{FF2B5EF4-FFF2-40B4-BE49-F238E27FC236}">
                            <a16:creationId xmlns:a16="http://schemas.microsoft.com/office/drawing/2014/main" id="{6B638651-29FF-47DA-A9EE-190AE460256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2" name="Freeform 32">
                        <a:extLst>
                          <a:ext uri="{FF2B5EF4-FFF2-40B4-BE49-F238E27FC236}">
                            <a16:creationId xmlns:a16="http://schemas.microsoft.com/office/drawing/2014/main" id="{52509299-95E6-477F-B2CE-5C495EFB222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3" name="Freeform 35">
                        <a:extLst>
                          <a:ext uri="{FF2B5EF4-FFF2-40B4-BE49-F238E27FC236}">
                            <a16:creationId xmlns:a16="http://schemas.microsoft.com/office/drawing/2014/main" id="{9D4A156B-550E-40AC-9F3C-1A59E40AD25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4" name="Freeform 36">
                        <a:extLst>
                          <a:ext uri="{FF2B5EF4-FFF2-40B4-BE49-F238E27FC236}">
                            <a16:creationId xmlns:a16="http://schemas.microsoft.com/office/drawing/2014/main" id="{0784B5FD-53DC-459C-9501-0DF1AD18B886}"/>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5" name="Freeform 25">
                        <a:extLst>
                          <a:ext uri="{FF2B5EF4-FFF2-40B4-BE49-F238E27FC236}">
                            <a16:creationId xmlns:a16="http://schemas.microsoft.com/office/drawing/2014/main" id="{063F9560-0D59-42B4-936E-5534763842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6" name="Freeform 39">
                        <a:extLst>
                          <a:ext uri="{FF2B5EF4-FFF2-40B4-BE49-F238E27FC236}">
                            <a16:creationId xmlns:a16="http://schemas.microsoft.com/office/drawing/2014/main" id="{6B294804-F521-46BA-87D4-E7C21805090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7" name="Freeform 26">
                        <a:extLst>
                          <a:ext uri="{FF2B5EF4-FFF2-40B4-BE49-F238E27FC236}">
                            <a16:creationId xmlns:a16="http://schemas.microsoft.com/office/drawing/2014/main" id="{4716EE93-6A1A-44B5-9DA4-72D5176B1770}"/>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8" name="Rectangle 27">
                        <a:extLst>
                          <a:ext uri="{FF2B5EF4-FFF2-40B4-BE49-F238E27FC236}">
                            <a16:creationId xmlns:a16="http://schemas.microsoft.com/office/drawing/2014/main" id="{4E146FFA-8A46-4665-AF88-43ADE3D3650D}"/>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9" name="Line 29">
                        <a:extLst>
                          <a:ext uri="{FF2B5EF4-FFF2-40B4-BE49-F238E27FC236}">
                            <a16:creationId xmlns:a16="http://schemas.microsoft.com/office/drawing/2014/main" id="{ECD43F80-7F01-4A04-AF12-F87ADD6E93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0" name="Line 31">
                        <a:extLst>
                          <a:ext uri="{FF2B5EF4-FFF2-40B4-BE49-F238E27FC236}">
                            <a16:creationId xmlns:a16="http://schemas.microsoft.com/office/drawing/2014/main" id="{494C1B5D-1A30-411F-B0DF-EFA8E546997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423" name="Group 2422">
                <a:extLst>
                  <a:ext uri="{FF2B5EF4-FFF2-40B4-BE49-F238E27FC236}">
                    <a16:creationId xmlns:a16="http://schemas.microsoft.com/office/drawing/2014/main" id="{0861F88F-F86B-4256-871A-619833B675D8}"/>
                  </a:ext>
                </a:extLst>
              </p:cNvPr>
              <p:cNvGrpSpPr/>
              <p:nvPr/>
            </p:nvGrpSpPr>
            <p:grpSpPr>
              <a:xfrm>
                <a:off x="3584215" y="5655005"/>
                <a:ext cx="1001118" cy="830281"/>
                <a:chOff x="3592922" y="5629153"/>
                <a:chExt cx="1003674" cy="832401"/>
              </a:xfrm>
            </p:grpSpPr>
            <p:pic>
              <p:nvPicPr>
                <p:cNvPr id="2424" name="Picture 1">
                  <a:extLst>
                    <a:ext uri="{FF2B5EF4-FFF2-40B4-BE49-F238E27FC236}">
                      <a16:creationId xmlns:a16="http://schemas.microsoft.com/office/drawing/2014/main" id="{2F855582-806F-4F4C-9E3E-ACC2A6B1559B}"/>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5" name="Rectangle 2424">
                  <a:extLst>
                    <a:ext uri="{FF2B5EF4-FFF2-40B4-BE49-F238E27FC236}">
                      <a16:creationId xmlns:a16="http://schemas.microsoft.com/office/drawing/2014/main" id="{46CEBEB8-20DE-4256-87A0-C6931B3E059E}"/>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802" name="Group 2801">
              <a:extLst>
                <a:ext uri="{FF2B5EF4-FFF2-40B4-BE49-F238E27FC236}">
                  <a16:creationId xmlns:a16="http://schemas.microsoft.com/office/drawing/2014/main" id="{B42686BC-04B1-4420-A0D9-BB8E0B6F4E1B}"/>
                </a:ext>
              </a:extLst>
            </p:cNvPr>
            <p:cNvGrpSpPr/>
            <p:nvPr/>
          </p:nvGrpSpPr>
          <p:grpSpPr>
            <a:xfrm>
              <a:off x="4527697" y="3616012"/>
              <a:ext cx="3535922" cy="312851"/>
              <a:chOff x="4538813" y="3457139"/>
              <a:chExt cx="3544948" cy="313650"/>
            </a:xfrm>
          </p:grpSpPr>
          <p:grpSp>
            <p:nvGrpSpPr>
              <p:cNvPr id="2803" name="Group 2802">
                <a:extLst>
                  <a:ext uri="{FF2B5EF4-FFF2-40B4-BE49-F238E27FC236}">
                    <a16:creationId xmlns:a16="http://schemas.microsoft.com/office/drawing/2014/main" id="{042C71BF-029D-49A1-8571-D8CA13FE0977}"/>
                  </a:ext>
                </a:extLst>
              </p:cNvPr>
              <p:cNvGrpSpPr/>
              <p:nvPr/>
            </p:nvGrpSpPr>
            <p:grpSpPr>
              <a:xfrm>
                <a:off x="4538813" y="3463012"/>
                <a:ext cx="3544948" cy="307777"/>
                <a:chOff x="4538813" y="3463012"/>
                <a:chExt cx="3544948" cy="307777"/>
              </a:xfrm>
            </p:grpSpPr>
            <p:sp>
              <p:nvSpPr>
                <p:cNvPr id="2805" name="Rectangle 2804">
                  <a:extLst>
                    <a:ext uri="{FF2B5EF4-FFF2-40B4-BE49-F238E27FC236}">
                      <a16:creationId xmlns:a16="http://schemas.microsoft.com/office/drawing/2014/main" id="{75C3E363-1F35-489E-BA74-0A779425B25C}"/>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6" name="Rectangle 2805">
                  <a:extLst>
                    <a:ext uri="{FF2B5EF4-FFF2-40B4-BE49-F238E27FC236}">
                      <a16:creationId xmlns:a16="http://schemas.microsoft.com/office/drawing/2014/main" id="{BD535703-7C60-48C0-A6F3-77B1BC346C9F}"/>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7" name="Rectangle 2806">
                  <a:extLst>
                    <a:ext uri="{FF2B5EF4-FFF2-40B4-BE49-F238E27FC236}">
                      <a16:creationId xmlns:a16="http://schemas.microsoft.com/office/drawing/2014/main" id="{47F71A10-A782-443A-8CBD-936E26C964D4}"/>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8" name="Rectangle 2807">
                  <a:extLst>
                    <a:ext uri="{FF2B5EF4-FFF2-40B4-BE49-F238E27FC236}">
                      <a16:creationId xmlns:a16="http://schemas.microsoft.com/office/drawing/2014/main" id="{08AC8244-6710-4675-8737-487150EB8633}"/>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9" name="Rectangle 2808">
                  <a:extLst>
                    <a:ext uri="{FF2B5EF4-FFF2-40B4-BE49-F238E27FC236}">
                      <a16:creationId xmlns:a16="http://schemas.microsoft.com/office/drawing/2014/main" id="{09A7514C-CF6A-4EB5-97F3-2B004132D70A}"/>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0" name="Rectangle 2809">
                  <a:extLst>
                    <a:ext uri="{FF2B5EF4-FFF2-40B4-BE49-F238E27FC236}">
                      <a16:creationId xmlns:a16="http://schemas.microsoft.com/office/drawing/2014/main" id="{D4BE4497-2EE1-4340-9A22-F07D1EEA1094}"/>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1" name="Rectangle 2810">
                  <a:extLst>
                    <a:ext uri="{FF2B5EF4-FFF2-40B4-BE49-F238E27FC236}">
                      <a16:creationId xmlns:a16="http://schemas.microsoft.com/office/drawing/2014/main" id="{AC1A6B11-647E-4E78-9141-5AB1BDC7AC86}"/>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804" name="Rectangle 2803">
                <a:extLst>
                  <a:ext uri="{FF2B5EF4-FFF2-40B4-BE49-F238E27FC236}">
                    <a16:creationId xmlns:a16="http://schemas.microsoft.com/office/drawing/2014/main" id="{84BE1BCD-92F1-4234-892B-3E3E3EB97326}"/>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3" name="Group 2">
            <a:extLst>
              <a:ext uri="{FF2B5EF4-FFF2-40B4-BE49-F238E27FC236}">
                <a16:creationId xmlns:a16="http://schemas.microsoft.com/office/drawing/2014/main" id="{F68ED92F-55F2-4796-B592-F951746241DD}"/>
              </a:ext>
            </a:extLst>
          </p:cNvPr>
          <p:cNvGrpSpPr/>
          <p:nvPr/>
        </p:nvGrpSpPr>
        <p:grpSpPr>
          <a:xfrm>
            <a:off x="1944832" y="1841990"/>
            <a:ext cx="1530261" cy="1365012"/>
            <a:chOff x="1943749" y="1841576"/>
            <a:chExt cx="1530660" cy="1365368"/>
          </a:xfrm>
        </p:grpSpPr>
        <p:grpSp>
          <p:nvGrpSpPr>
            <p:cNvPr id="2" name="Group 1">
              <a:extLst>
                <a:ext uri="{FF2B5EF4-FFF2-40B4-BE49-F238E27FC236}">
                  <a16:creationId xmlns:a16="http://schemas.microsoft.com/office/drawing/2014/main" id="{810E02F5-E91A-4A84-B614-26F7833E4F9E}"/>
                </a:ext>
              </a:extLst>
            </p:cNvPr>
            <p:cNvGrpSpPr/>
            <p:nvPr/>
          </p:nvGrpSpPr>
          <p:grpSpPr>
            <a:xfrm>
              <a:off x="1943749" y="2407608"/>
              <a:ext cx="1530660" cy="799336"/>
              <a:chOff x="1943749" y="2407608"/>
              <a:chExt cx="1530660" cy="799336"/>
            </a:xfrm>
          </p:grpSpPr>
          <p:cxnSp>
            <p:nvCxnSpPr>
              <p:cNvPr id="2812" name="Elbow Connector 558">
                <a:extLst>
                  <a:ext uri="{FF2B5EF4-FFF2-40B4-BE49-F238E27FC236}">
                    <a16:creationId xmlns:a16="http://schemas.microsoft.com/office/drawing/2014/main" id="{1935F575-87DC-442A-9CCD-6F852C78EB34}"/>
                  </a:ext>
                </a:extLst>
              </p:cNvPr>
              <p:cNvCxnSpPr>
                <a:cxnSpLocks/>
                <a:endCxn id="2814"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813" name="Elbow Connector 558">
                <a:extLst>
                  <a:ext uri="{FF2B5EF4-FFF2-40B4-BE49-F238E27FC236}">
                    <a16:creationId xmlns:a16="http://schemas.microsoft.com/office/drawing/2014/main" id="{37DBABF8-A9A5-45DD-953F-1B5BE29639BD}"/>
                  </a:ext>
                </a:extLst>
              </p:cNvPr>
              <p:cNvCxnSpPr>
                <a:cxnSpLocks/>
                <a:stCxn id="2814" idx="3"/>
                <a:endCxn id="2105" idx="1"/>
              </p:cNvCxnSpPr>
              <p:nvPr/>
            </p:nvCxnSpPr>
            <p:spPr>
              <a:xfrm flipV="1">
                <a:off x="2543277" y="2407608"/>
                <a:ext cx="931132" cy="374067"/>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814" name="Picture 2813">
                <a:extLst>
                  <a:ext uri="{FF2B5EF4-FFF2-40B4-BE49-F238E27FC236}">
                    <a16:creationId xmlns:a16="http://schemas.microsoft.com/office/drawing/2014/main" id="{B4B3FA98-B76F-474E-9F2A-47EBAD2A5D2E}"/>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815" name="Picture 2814">
              <a:extLst>
                <a:ext uri="{FF2B5EF4-FFF2-40B4-BE49-F238E27FC236}">
                  <a16:creationId xmlns:a16="http://schemas.microsoft.com/office/drawing/2014/main" id="{4A96C1DF-0971-4663-9F6A-90244601521F}"/>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17" name="Group 16">
            <a:extLst>
              <a:ext uri="{FF2B5EF4-FFF2-40B4-BE49-F238E27FC236}">
                <a16:creationId xmlns:a16="http://schemas.microsoft.com/office/drawing/2014/main" id="{33600B55-E1D3-4227-A53F-AD77EF5DC265}"/>
              </a:ext>
            </a:extLst>
          </p:cNvPr>
          <p:cNvGrpSpPr/>
          <p:nvPr/>
        </p:nvGrpSpPr>
        <p:grpSpPr>
          <a:xfrm>
            <a:off x="2967087" y="1754090"/>
            <a:ext cx="6753931" cy="2719939"/>
            <a:chOff x="2966271" y="1753652"/>
            <a:chExt cx="6755690" cy="2720648"/>
          </a:xfrm>
        </p:grpSpPr>
        <p:grpSp>
          <p:nvGrpSpPr>
            <p:cNvPr id="2492" name="Group 2491">
              <a:extLst>
                <a:ext uri="{FF2B5EF4-FFF2-40B4-BE49-F238E27FC236}">
                  <a16:creationId xmlns:a16="http://schemas.microsoft.com/office/drawing/2014/main" id="{C156E434-0C35-4614-A2F1-117C750B774A}"/>
                </a:ext>
              </a:extLst>
            </p:cNvPr>
            <p:cNvGrpSpPr/>
            <p:nvPr/>
          </p:nvGrpSpPr>
          <p:grpSpPr>
            <a:xfrm>
              <a:off x="2966271" y="3623425"/>
              <a:ext cx="5559816" cy="850875"/>
              <a:chOff x="2941193" y="3591455"/>
              <a:chExt cx="5574010" cy="853047"/>
            </a:xfrm>
          </p:grpSpPr>
          <p:grpSp>
            <p:nvGrpSpPr>
              <p:cNvPr id="2493" name="Group 2492">
                <a:extLst>
                  <a:ext uri="{FF2B5EF4-FFF2-40B4-BE49-F238E27FC236}">
                    <a16:creationId xmlns:a16="http://schemas.microsoft.com/office/drawing/2014/main" id="{8864D1B4-31CE-45B9-B68E-E0D72F5AEC42}"/>
                  </a:ext>
                </a:extLst>
              </p:cNvPr>
              <p:cNvGrpSpPr/>
              <p:nvPr/>
            </p:nvGrpSpPr>
            <p:grpSpPr>
              <a:xfrm>
                <a:off x="2941193" y="3710094"/>
                <a:ext cx="5483474" cy="734408"/>
                <a:chOff x="2941193" y="3710094"/>
                <a:chExt cx="5483474" cy="734408"/>
              </a:xfrm>
            </p:grpSpPr>
            <p:cxnSp>
              <p:nvCxnSpPr>
                <p:cNvPr id="2495" name="Elbow Connector 558">
                  <a:extLst>
                    <a:ext uri="{FF2B5EF4-FFF2-40B4-BE49-F238E27FC236}">
                      <a16:creationId xmlns:a16="http://schemas.microsoft.com/office/drawing/2014/main" id="{7A9F4266-D077-44DF-AE7B-293210D40A2B}"/>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496" name="Rectangle 2495">
                  <a:extLst>
                    <a:ext uri="{FF2B5EF4-FFF2-40B4-BE49-F238E27FC236}">
                      <a16:creationId xmlns:a16="http://schemas.microsoft.com/office/drawing/2014/main" id="{9ED04E6C-C783-43AF-B9D7-462D0CC74E93}"/>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494" name="Rectangle 2493">
                <a:extLst>
                  <a:ext uri="{FF2B5EF4-FFF2-40B4-BE49-F238E27FC236}">
                    <a16:creationId xmlns:a16="http://schemas.microsoft.com/office/drawing/2014/main" id="{6D209AB9-0138-4950-9BFB-7D6BE135A81D}"/>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16" name="Group 15">
              <a:extLst>
                <a:ext uri="{FF2B5EF4-FFF2-40B4-BE49-F238E27FC236}">
                  <a16:creationId xmlns:a16="http://schemas.microsoft.com/office/drawing/2014/main" id="{A333C4F2-11D6-4CD6-A48B-C540504BA326}"/>
                </a:ext>
              </a:extLst>
            </p:cNvPr>
            <p:cNvGrpSpPr/>
            <p:nvPr/>
          </p:nvGrpSpPr>
          <p:grpSpPr>
            <a:xfrm>
              <a:off x="6614264" y="1753652"/>
              <a:ext cx="3107697" cy="1310210"/>
              <a:chOff x="6614264" y="1753652"/>
              <a:chExt cx="3107697" cy="1310210"/>
            </a:xfrm>
          </p:grpSpPr>
          <p:sp>
            <p:nvSpPr>
              <p:cNvPr id="2193" name="Rectangle 2192">
                <a:extLst>
                  <a:ext uri="{FF2B5EF4-FFF2-40B4-BE49-F238E27FC236}">
                    <a16:creationId xmlns:a16="http://schemas.microsoft.com/office/drawing/2014/main" id="{04D16098-D91C-43FE-B655-4F16746A527E}"/>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194" name="Group 2193">
                <a:extLst>
                  <a:ext uri="{FF2B5EF4-FFF2-40B4-BE49-F238E27FC236}">
                    <a16:creationId xmlns:a16="http://schemas.microsoft.com/office/drawing/2014/main" id="{0DEF170E-3C53-4FE6-AD1B-1F5AA6C41BA8}"/>
                  </a:ext>
                </a:extLst>
              </p:cNvPr>
              <p:cNvGrpSpPr/>
              <p:nvPr/>
            </p:nvGrpSpPr>
            <p:grpSpPr>
              <a:xfrm>
                <a:off x="6970489" y="2381238"/>
                <a:ext cx="876005" cy="682624"/>
                <a:chOff x="8153924" y="1224949"/>
                <a:chExt cx="927652" cy="722869"/>
              </a:xfrm>
            </p:grpSpPr>
            <p:sp>
              <p:nvSpPr>
                <p:cNvPr id="2195" name="TextBox 2194">
                  <a:extLst>
                    <a:ext uri="{FF2B5EF4-FFF2-40B4-BE49-F238E27FC236}">
                      <a16:creationId xmlns:a16="http://schemas.microsoft.com/office/drawing/2014/main" id="{824EE8B9-F191-41E4-9E22-E40FF6265E49}"/>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196" name="Group 2195">
                  <a:extLst>
                    <a:ext uri="{FF2B5EF4-FFF2-40B4-BE49-F238E27FC236}">
                      <a16:creationId xmlns:a16="http://schemas.microsoft.com/office/drawing/2014/main" id="{97B3AC04-FD4F-464A-BF56-D40A68297AA4}"/>
                    </a:ext>
                  </a:extLst>
                </p:cNvPr>
                <p:cNvGrpSpPr/>
                <p:nvPr/>
              </p:nvGrpSpPr>
              <p:grpSpPr>
                <a:xfrm>
                  <a:off x="8153924" y="1224949"/>
                  <a:ext cx="927652" cy="402840"/>
                  <a:chOff x="8153924" y="1224949"/>
                  <a:chExt cx="927652" cy="402840"/>
                </a:xfrm>
              </p:grpSpPr>
              <p:sp>
                <p:nvSpPr>
                  <p:cNvPr id="2200" name="Freeform 78">
                    <a:extLst>
                      <a:ext uri="{FF2B5EF4-FFF2-40B4-BE49-F238E27FC236}">
                        <a16:creationId xmlns:a16="http://schemas.microsoft.com/office/drawing/2014/main" id="{BEF58473-7D8F-48A0-991C-D8D87A91540C}"/>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Freeform 80">
                    <a:extLst>
                      <a:ext uri="{FF2B5EF4-FFF2-40B4-BE49-F238E27FC236}">
                        <a16:creationId xmlns:a16="http://schemas.microsoft.com/office/drawing/2014/main" id="{327E6B47-E2EB-49E5-9A55-1DDEE77B94F9}"/>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Freeform 1576">
                    <a:extLst>
                      <a:ext uri="{FF2B5EF4-FFF2-40B4-BE49-F238E27FC236}">
                        <a16:creationId xmlns:a16="http://schemas.microsoft.com/office/drawing/2014/main" id="{D47E6B54-388A-47E6-A88D-82E39A0A150B}"/>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1577">
                    <a:extLst>
                      <a:ext uri="{FF2B5EF4-FFF2-40B4-BE49-F238E27FC236}">
                        <a16:creationId xmlns:a16="http://schemas.microsoft.com/office/drawing/2014/main" id="{CA03811B-4E2A-49E9-B01C-A03B133B9947}"/>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1578">
                    <a:extLst>
                      <a:ext uri="{FF2B5EF4-FFF2-40B4-BE49-F238E27FC236}">
                        <a16:creationId xmlns:a16="http://schemas.microsoft.com/office/drawing/2014/main" id="{7534C028-D396-4227-AE0D-3F8B78D92E79}"/>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1579">
                    <a:extLst>
                      <a:ext uri="{FF2B5EF4-FFF2-40B4-BE49-F238E27FC236}">
                        <a16:creationId xmlns:a16="http://schemas.microsoft.com/office/drawing/2014/main" id="{40686DC3-F18E-482F-99E4-7023BBFC12E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1580">
                    <a:extLst>
                      <a:ext uri="{FF2B5EF4-FFF2-40B4-BE49-F238E27FC236}">
                        <a16:creationId xmlns:a16="http://schemas.microsoft.com/office/drawing/2014/main" id="{931D6EF7-E1B2-4D53-AE4C-E5998F82EC9F}"/>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1581">
                    <a:extLst>
                      <a:ext uri="{FF2B5EF4-FFF2-40B4-BE49-F238E27FC236}">
                        <a16:creationId xmlns:a16="http://schemas.microsoft.com/office/drawing/2014/main" id="{E2B3C2B6-ECD7-4CE5-857E-595729D1D7BA}"/>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1582">
                    <a:extLst>
                      <a:ext uri="{FF2B5EF4-FFF2-40B4-BE49-F238E27FC236}">
                        <a16:creationId xmlns:a16="http://schemas.microsoft.com/office/drawing/2014/main" id="{8A045F3A-6F6F-4986-A97F-24BD7F224E2B}"/>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1583">
                    <a:extLst>
                      <a:ext uri="{FF2B5EF4-FFF2-40B4-BE49-F238E27FC236}">
                        <a16:creationId xmlns:a16="http://schemas.microsoft.com/office/drawing/2014/main" id="{057FD777-6EAB-4469-9C3A-6FF4E9FEEA9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Freeform 1584">
                    <a:extLst>
                      <a:ext uri="{FF2B5EF4-FFF2-40B4-BE49-F238E27FC236}">
                        <a16:creationId xmlns:a16="http://schemas.microsoft.com/office/drawing/2014/main" id="{88CF09A3-214A-4DDE-BCF6-0C5C938EFABE}"/>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1585">
                    <a:extLst>
                      <a:ext uri="{FF2B5EF4-FFF2-40B4-BE49-F238E27FC236}">
                        <a16:creationId xmlns:a16="http://schemas.microsoft.com/office/drawing/2014/main" id="{A9693C23-CAAF-44C8-AA56-29ADD4984252}"/>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1586">
                    <a:extLst>
                      <a:ext uri="{FF2B5EF4-FFF2-40B4-BE49-F238E27FC236}">
                        <a16:creationId xmlns:a16="http://schemas.microsoft.com/office/drawing/2014/main" id="{FDAAD9FE-FEC4-4690-9F45-517DC82D194A}"/>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1587">
                    <a:extLst>
                      <a:ext uri="{FF2B5EF4-FFF2-40B4-BE49-F238E27FC236}">
                        <a16:creationId xmlns:a16="http://schemas.microsoft.com/office/drawing/2014/main" id="{4318389F-9D63-4534-A104-FB617913DAB0}"/>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5" name="Freeform 1588">
                    <a:extLst>
                      <a:ext uri="{FF2B5EF4-FFF2-40B4-BE49-F238E27FC236}">
                        <a16:creationId xmlns:a16="http://schemas.microsoft.com/office/drawing/2014/main" id="{D016AAB5-CB66-4CBD-9774-2524E682D3C2}"/>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6" name="Rectangle 1589">
                    <a:extLst>
                      <a:ext uri="{FF2B5EF4-FFF2-40B4-BE49-F238E27FC236}">
                        <a16:creationId xmlns:a16="http://schemas.microsoft.com/office/drawing/2014/main" id="{17A56E3F-1447-4D06-9A4D-BB6FD2FAA6CE}"/>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Rectangle 1590">
                    <a:extLst>
                      <a:ext uri="{FF2B5EF4-FFF2-40B4-BE49-F238E27FC236}">
                        <a16:creationId xmlns:a16="http://schemas.microsoft.com/office/drawing/2014/main" id="{D9147DB1-38ED-402D-9211-821A252C5E1C}"/>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8" name="Freeform 1591">
                    <a:extLst>
                      <a:ext uri="{FF2B5EF4-FFF2-40B4-BE49-F238E27FC236}">
                        <a16:creationId xmlns:a16="http://schemas.microsoft.com/office/drawing/2014/main" id="{7DB3C441-9633-4B8F-BB72-F116B61E5E01}"/>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Freeform 1592">
                    <a:extLst>
                      <a:ext uri="{FF2B5EF4-FFF2-40B4-BE49-F238E27FC236}">
                        <a16:creationId xmlns:a16="http://schemas.microsoft.com/office/drawing/2014/main" id="{05BC030C-DE2B-44CA-A36B-40B8460CA415}"/>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20" name="Freeform 1593">
                    <a:extLst>
                      <a:ext uri="{FF2B5EF4-FFF2-40B4-BE49-F238E27FC236}">
                        <a16:creationId xmlns:a16="http://schemas.microsoft.com/office/drawing/2014/main" id="{5F8E574F-A395-4515-93A0-85FC183285A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Freeform 1596">
                    <a:extLst>
                      <a:ext uri="{FF2B5EF4-FFF2-40B4-BE49-F238E27FC236}">
                        <a16:creationId xmlns:a16="http://schemas.microsoft.com/office/drawing/2014/main" id="{724BE479-F3CC-4D83-99F2-8C8213FE3F45}"/>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50" name="Group 2249">
                <a:extLst>
                  <a:ext uri="{FF2B5EF4-FFF2-40B4-BE49-F238E27FC236}">
                    <a16:creationId xmlns:a16="http://schemas.microsoft.com/office/drawing/2014/main" id="{D70A11B7-6F64-47DA-8A7A-4040F6B9646E}"/>
                  </a:ext>
                </a:extLst>
              </p:cNvPr>
              <p:cNvGrpSpPr/>
              <p:nvPr/>
            </p:nvGrpSpPr>
            <p:grpSpPr>
              <a:xfrm>
                <a:off x="7508988" y="1995190"/>
                <a:ext cx="2049581" cy="1005869"/>
                <a:chOff x="8356478" y="3790294"/>
                <a:chExt cx="3013725" cy="1479041"/>
              </a:xfrm>
            </p:grpSpPr>
            <p:sp>
              <p:nvSpPr>
                <p:cNvPr id="2251" name="Rectangle 2250">
                  <a:extLst>
                    <a:ext uri="{FF2B5EF4-FFF2-40B4-BE49-F238E27FC236}">
                      <a16:creationId xmlns:a16="http://schemas.microsoft.com/office/drawing/2014/main" id="{3ED95D22-5E94-4761-94DD-A54B165BACF5}"/>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252" name="Rectangle 2251">
                  <a:extLst>
                    <a:ext uri="{FF2B5EF4-FFF2-40B4-BE49-F238E27FC236}">
                      <a16:creationId xmlns:a16="http://schemas.microsoft.com/office/drawing/2014/main" id="{EED4F708-8071-4275-9E31-8505C7FD8A44}"/>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253" name="Straight Arrow Connector 2252">
                  <a:extLst>
                    <a:ext uri="{FF2B5EF4-FFF2-40B4-BE49-F238E27FC236}">
                      <a16:creationId xmlns:a16="http://schemas.microsoft.com/office/drawing/2014/main" id="{2AA744CC-9F4A-455B-9006-7EEAC9DB6BCB}"/>
                    </a:ext>
                  </a:extLst>
                </p:cNvPr>
                <p:cNvCxnSpPr>
                  <a:cxnSpLocks/>
                  <a:stCxn id="2251"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54" name="Group 2253">
                <a:extLst>
                  <a:ext uri="{FF2B5EF4-FFF2-40B4-BE49-F238E27FC236}">
                    <a16:creationId xmlns:a16="http://schemas.microsoft.com/office/drawing/2014/main" id="{963BF23F-F68D-4BE6-8CA5-B08509740B15}"/>
                  </a:ext>
                </a:extLst>
              </p:cNvPr>
              <p:cNvGrpSpPr/>
              <p:nvPr/>
            </p:nvGrpSpPr>
            <p:grpSpPr>
              <a:xfrm>
                <a:off x="8556157" y="1876097"/>
                <a:ext cx="1088511" cy="894403"/>
                <a:chOff x="10800033" y="2297897"/>
                <a:chExt cx="1600558" cy="1315140"/>
              </a:xfrm>
            </p:grpSpPr>
            <p:grpSp>
              <p:nvGrpSpPr>
                <p:cNvPr id="2255" name="Group 2254">
                  <a:extLst>
                    <a:ext uri="{FF2B5EF4-FFF2-40B4-BE49-F238E27FC236}">
                      <a16:creationId xmlns:a16="http://schemas.microsoft.com/office/drawing/2014/main" id="{C8C784BB-19F1-406E-B59C-36FB6E7F259A}"/>
                    </a:ext>
                  </a:extLst>
                </p:cNvPr>
                <p:cNvGrpSpPr>
                  <a:grpSpLocks/>
                </p:cNvGrpSpPr>
                <p:nvPr/>
              </p:nvGrpSpPr>
              <p:grpSpPr>
                <a:xfrm>
                  <a:off x="10800033" y="2339037"/>
                  <a:ext cx="613092" cy="613092"/>
                  <a:chOff x="745985" y="4768134"/>
                  <a:chExt cx="368776" cy="368777"/>
                </a:xfrm>
              </p:grpSpPr>
              <p:grpSp>
                <p:nvGrpSpPr>
                  <p:cNvPr id="2319" name="Group 64">
                    <a:extLst>
                      <a:ext uri="{FF2B5EF4-FFF2-40B4-BE49-F238E27FC236}">
                        <a16:creationId xmlns:a16="http://schemas.microsoft.com/office/drawing/2014/main" id="{28586376-98DE-4204-92A9-3C759DF31E19}"/>
                      </a:ext>
                    </a:extLst>
                  </p:cNvPr>
                  <p:cNvGrpSpPr>
                    <a:grpSpLocks noChangeAspect="1"/>
                  </p:cNvGrpSpPr>
                  <p:nvPr/>
                </p:nvGrpSpPr>
                <p:grpSpPr bwMode="auto">
                  <a:xfrm rot="8100000">
                    <a:off x="745985" y="4768134"/>
                    <a:ext cx="368776" cy="368777"/>
                    <a:chOff x="701" y="2170"/>
                    <a:chExt cx="587" cy="587"/>
                  </a:xfrm>
                </p:grpSpPr>
                <p:sp>
                  <p:nvSpPr>
                    <p:cNvPr id="2330" name="Oval 65">
                      <a:extLst>
                        <a:ext uri="{FF2B5EF4-FFF2-40B4-BE49-F238E27FC236}">
                          <a16:creationId xmlns:a16="http://schemas.microsoft.com/office/drawing/2014/main" id="{286BE6FE-9FBA-4C95-BBE8-74EF00253D7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1" name="Line 66">
                      <a:extLst>
                        <a:ext uri="{FF2B5EF4-FFF2-40B4-BE49-F238E27FC236}">
                          <a16:creationId xmlns:a16="http://schemas.microsoft.com/office/drawing/2014/main" id="{FDA59EFF-5D40-49A4-9ED1-4CFCE8B73F7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Line 67">
                      <a:extLst>
                        <a:ext uri="{FF2B5EF4-FFF2-40B4-BE49-F238E27FC236}">
                          <a16:creationId xmlns:a16="http://schemas.microsoft.com/office/drawing/2014/main" id="{60FB569F-8A3D-4DA4-BB3D-6AC5EB8E64A4}"/>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69">
                      <a:extLst>
                        <a:ext uri="{FF2B5EF4-FFF2-40B4-BE49-F238E27FC236}">
                          <a16:creationId xmlns:a16="http://schemas.microsoft.com/office/drawing/2014/main" id="{85A77D11-EA84-4456-B02C-854AEE672F5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Line 74">
                      <a:extLst>
                        <a:ext uri="{FF2B5EF4-FFF2-40B4-BE49-F238E27FC236}">
                          <a16:creationId xmlns:a16="http://schemas.microsoft.com/office/drawing/2014/main" id="{7DD60C16-9C83-4FFD-9696-C1692E8AE99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78">
                      <a:extLst>
                        <a:ext uri="{FF2B5EF4-FFF2-40B4-BE49-F238E27FC236}">
                          <a16:creationId xmlns:a16="http://schemas.microsoft.com/office/drawing/2014/main" id="{D58AF235-6886-4EE5-8E1E-DD472C984A46}"/>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80">
                      <a:extLst>
                        <a:ext uri="{FF2B5EF4-FFF2-40B4-BE49-F238E27FC236}">
                          <a16:creationId xmlns:a16="http://schemas.microsoft.com/office/drawing/2014/main" id="{62009741-4586-4C75-A8B6-9A7F152F5F4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20" name="Group 2319">
                    <a:extLst>
                      <a:ext uri="{FF2B5EF4-FFF2-40B4-BE49-F238E27FC236}">
                        <a16:creationId xmlns:a16="http://schemas.microsoft.com/office/drawing/2014/main" id="{A72F4352-F5AE-4A8D-A9DB-718879387E83}"/>
                      </a:ext>
                    </a:extLst>
                  </p:cNvPr>
                  <p:cNvGrpSpPr/>
                  <p:nvPr/>
                </p:nvGrpSpPr>
                <p:grpSpPr>
                  <a:xfrm>
                    <a:off x="837312" y="4814434"/>
                    <a:ext cx="136805" cy="278689"/>
                    <a:chOff x="2806700" y="2803319"/>
                    <a:chExt cx="433387" cy="882861"/>
                  </a:xfrm>
                </p:grpSpPr>
                <p:grpSp>
                  <p:nvGrpSpPr>
                    <p:cNvPr id="2321" name="Group 2320">
                      <a:extLst>
                        <a:ext uri="{FF2B5EF4-FFF2-40B4-BE49-F238E27FC236}">
                          <a16:creationId xmlns:a16="http://schemas.microsoft.com/office/drawing/2014/main" id="{8226CFC8-1121-4F85-B51B-ED7288DE0663}"/>
                        </a:ext>
                      </a:extLst>
                    </p:cNvPr>
                    <p:cNvGrpSpPr>
                      <a:grpSpLocks noChangeAspect="1"/>
                    </p:cNvGrpSpPr>
                    <p:nvPr/>
                  </p:nvGrpSpPr>
                  <p:grpSpPr bwMode="auto">
                    <a:xfrm>
                      <a:off x="2806700" y="3043242"/>
                      <a:ext cx="433387" cy="642938"/>
                      <a:chOff x="1768" y="1917"/>
                      <a:chExt cx="273" cy="405"/>
                    </a:xfrm>
                  </p:grpSpPr>
                  <p:sp>
                    <p:nvSpPr>
                      <p:cNvPr id="2323" name="Freeform 52">
                        <a:extLst>
                          <a:ext uri="{FF2B5EF4-FFF2-40B4-BE49-F238E27FC236}">
                            <a16:creationId xmlns:a16="http://schemas.microsoft.com/office/drawing/2014/main" id="{8F916E64-9176-45EF-B6BD-542BB871AA28}"/>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4" name="Line 54">
                        <a:extLst>
                          <a:ext uri="{FF2B5EF4-FFF2-40B4-BE49-F238E27FC236}">
                            <a16:creationId xmlns:a16="http://schemas.microsoft.com/office/drawing/2014/main" id="{F32349BC-E762-4775-A2C4-2FED49E03842}"/>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5" name="Line 55">
                        <a:extLst>
                          <a:ext uri="{FF2B5EF4-FFF2-40B4-BE49-F238E27FC236}">
                            <a16:creationId xmlns:a16="http://schemas.microsoft.com/office/drawing/2014/main" id="{ECDE6D1F-2512-4CE7-8B21-305CCE6898E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6" name="Freeform 56">
                        <a:extLst>
                          <a:ext uri="{FF2B5EF4-FFF2-40B4-BE49-F238E27FC236}">
                            <a16:creationId xmlns:a16="http://schemas.microsoft.com/office/drawing/2014/main" id="{4B93A918-E18A-41AB-B94E-1728F138E0BA}"/>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57">
                        <a:extLst>
                          <a:ext uri="{FF2B5EF4-FFF2-40B4-BE49-F238E27FC236}">
                            <a16:creationId xmlns:a16="http://schemas.microsoft.com/office/drawing/2014/main" id="{C814B30C-1691-49DC-A7D1-74881FA9CC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58">
                        <a:extLst>
                          <a:ext uri="{FF2B5EF4-FFF2-40B4-BE49-F238E27FC236}">
                            <a16:creationId xmlns:a16="http://schemas.microsoft.com/office/drawing/2014/main" id="{0C9E511B-A7E9-4088-882B-8904E92B7C8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Rectangle 2328">
                        <a:extLst>
                          <a:ext uri="{FF2B5EF4-FFF2-40B4-BE49-F238E27FC236}">
                            <a16:creationId xmlns:a16="http://schemas.microsoft.com/office/drawing/2014/main" id="{0D382042-197D-49FF-AB83-A1DA3315DA0F}"/>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22" name="Oval 2321">
                      <a:extLst>
                        <a:ext uri="{FF2B5EF4-FFF2-40B4-BE49-F238E27FC236}">
                          <a16:creationId xmlns:a16="http://schemas.microsoft.com/office/drawing/2014/main" id="{88AD37F8-65CD-4867-AF7F-5DCEBDAC6D2D}"/>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56" name="Group 2255">
                  <a:extLst>
                    <a:ext uri="{FF2B5EF4-FFF2-40B4-BE49-F238E27FC236}">
                      <a16:creationId xmlns:a16="http://schemas.microsoft.com/office/drawing/2014/main" id="{B310D40B-2040-47A0-A781-C7B19F426D3E}"/>
                    </a:ext>
                  </a:extLst>
                </p:cNvPr>
                <p:cNvGrpSpPr>
                  <a:grpSpLocks/>
                </p:cNvGrpSpPr>
                <p:nvPr/>
              </p:nvGrpSpPr>
              <p:grpSpPr>
                <a:xfrm>
                  <a:off x="11166615" y="2825631"/>
                  <a:ext cx="787402" cy="787406"/>
                  <a:chOff x="1454941" y="4721722"/>
                  <a:chExt cx="473625" cy="473627"/>
                </a:xfrm>
              </p:grpSpPr>
              <p:grpSp>
                <p:nvGrpSpPr>
                  <p:cNvPr id="2280" name="Group 64">
                    <a:extLst>
                      <a:ext uri="{FF2B5EF4-FFF2-40B4-BE49-F238E27FC236}">
                        <a16:creationId xmlns:a16="http://schemas.microsoft.com/office/drawing/2014/main" id="{44165CC7-83EE-4033-B931-B535DCA7D595}"/>
                      </a:ext>
                    </a:extLst>
                  </p:cNvPr>
                  <p:cNvGrpSpPr>
                    <a:grpSpLocks noChangeAspect="1"/>
                  </p:cNvGrpSpPr>
                  <p:nvPr/>
                </p:nvGrpSpPr>
                <p:grpSpPr bwMode="auto">
                  <a:xfrm rot="8100000">
                    <a:off x="1454941" y="4721722"/>
                    <a:ext cx="473625" cy="473627"/>
                    <a:chOff x="701" y="2170"/>
                    <a:chExt cx="587" cy="587"/>
                  </a:xfrm>
                </p:grpSpPr>
                <p:sp>
                  <p:nvSpPr>
                    <p:cNvPr id="2312" name="Oval 65">
                      <a:extLst>
                        <a:ext uri="{FF2B5EF4-FFF2-40B4-BE49-F238E27FC236}">
                          <a16:creationId xmlns:a16="http://schemas.microsoft.com/office/drawing/2014/main" id="{AC6CEA27-6C62-43E7-A9BE-CEFEB056B58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3" name="Line 66">
                      <a:extLst>
                        <a:ext uri="{FF2B5EF4-FFF2-40B4-BE49-F238E27FC236}">
                          <a16:creationId xmlns:a16="http://schemas.microsoft.com/office/drawing/2014/main" id="{A7E90AC8-5A63-46C2-952A-0C80F8D6550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7">
                      <a:extLst>
                        <a:ext uri="{FF2B5EF4-FFF2-40B4-BE49-F238E27FC236}">
                          <a16:creationId xmlns:a16="http://schemas.microsoft.com/office/drawing/2014/main" id="{2F3CB1E3-A4C6-4ED6-8D8B-74D9DE25D43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69">
                      <a:extLst>
                        <a:ext uri="{FF2B5EF4-FFF2-40B4-BE49-F238E27FC236}">
                          <a16:creationId xmlns:a16="http://schemas.microsoft.com/office/drawing/2014/main" id="{B6689590-AA68-408D-A328-BEDB4AC98D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Line 74">
                      <a:extLst>
                        <a:ext uri="{FF2B5EF4-FFF2-40B4-BE49-F238E27FC236}">
                          <a16:creationId xmlns:a16="http://schemas.microsoft.com/office/drawing/2014/main" id="{92CFBBEB-06C6-462E-9492-A2CB23D7A0B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78">
                      <a:extLst>
                        <a:ext uri="{FF2B5EF4-FFF2-40B4-BE49-F238E27FC236}">
                          <a16:creationId xmlns:a16="http://schemas.microsoft.com/office/drawing/2014/main" id="{C7CCC532-5538-475F-ADA6-B6D75D71209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8" name="Freeform 80">
                      <a:extLst>
                        <a:ext uri="{FF2B5EF4-FFF2-40B4-BE49-F238E27FC236}">
                          <a16:creationId xmlns:a16="http://schemas.microsoft.com/office/drawing/2014/main" id="{5E1F4A4B-A6AC-4DF5-ACA4-8081C09BC651}"/>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81" name="Group 2280">
                    <a:extLst>
                      <a:ext uri="{FF2B5EF4-FFF2-40B4-BE49-F238E27FC236}">
                        <a16:creationId xmlns:a16="http://schemas.microsoft.com/office/drawing/2014/main" id="{5759AB8D-CB6E-4B7D-B2D7-DCB0BA1A9B5E}"/>
                      </a:ext>
                    </a:extLst>
                  </p:cNvPr>
                  <p:cNvGrpSpPr/>
                  <p:nvPr/>
                </p:nvGrpSpPr>
                <p:grpSpPr>
                  <a:xfrm>
                    <a:off x="1511214" y="4789508"/>
                    <a:ext cx="356509" cy="349884"/>
                    <a:chOff x="468738" y="2241878"/>
                    <a:chExt cx="1655483" cy="1624719"/>
                  </a:xfrm>
                </p:grpSpPr>
                <p:sp>
                  <p:nvSpPr>
                    <p:cNvPr id="2282" name="Freeform 5">
                      <a:extLst>
                        <a:ext uri="{FF2B5EF4-FFF2-40B4-BE49-F238E27FC236}">
                          <a16:creationId xmlns:a16="http://schemas.microsoft.com/office/drawing/2014/main" id="{951560DE-6EE5-49BC-8309-BCBFB2520EDE}"/>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3" name="Freeform 6">
                      <a:extLst>
                        <a:ext uri="{FF2B5EF4-FFF2-40B4-BE49-F238E27FC236}">
                          <a16:creationId xmlns:a16="http://schemas.microsoft.com/office/drawing/2014/main" id="{C8A60117-4A28-42E3-9277-E9B5BEB4C47C}"/>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4" name="Line 7">
                      <a:extLst>
                        <a:ext uri="{FF2B5EF4-FFF2-40B4-BE49-F238E27FC236}">
                          <a16:creationId xmlns:a16="http://schemas.microsoft.com/office/drawing/2014/main" id="{A513A69F-1DAB-474C-9D79-602D69B7938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5" name="Freeform 8">
                      <a:extLst>
                        <a:ext uri="{FF2B5EF4-FFF2-40B4-BE49-F238E27FC236}">
                          <a16:creationId xmlns:a16="http://schemas.microsoft.com/office/drawing/2014/main" id="{2894406B-3D41-4130-BD4C-7FA8ADD3C530}"/>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9">
                      <a:extLst>
                        <a:ext uri="{FF2B5EF4-FFF2-40B4-BE49-F238E27FC236}">
                          <a16:creationId xmlns:a16="http://schemas.microsoft.com/office/drawing/2014/main" id="{4983E88B-02D0-443D-A8E4-109B266442A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87" name="Group 2286">
                      <a:extLst>
                        <a:ext uri="{FF2B5EF4-FFF2-40B4-BE49-F238E27FC236}">
                          <a16:creationId xmlns:a16="http://schemas.microsoft.com/office/drawing/2014/main" id="{54BC51B2-8E56-47FC-85F4-E996BDBFE4CA}"/>
                        </a:ext>
                      </a:extLst>
                    </p:cNvPr>
                    <p:cNvGrpSpPr/>
                    <p:nvPr/>
                  </p:nvGrpSpPr>
                  <p:grpSpPr>
                    <a:xfrm>
                      <a:off x="1207113" y="2241878"/>
                      <a:ext cx="178734" cy="348678"/>
                      <a:chOff x="1207113" y="2241878"/>
                      <a:chExt cx="178734" cy="348678"/>
                    </a:xfrm>
                  </p:grpSpPr>
                  <p:sp>
                    <p:nvSpPr>
                      <p:cNvPr id="2310" name="Freeform 10">
                        <a:extLst>
                          <a:ext uri="{FF2B5EF4-FFF2-40B4-BE49-F238E27FC236}">
                            <a16:creationId xmlns:a16="http://schemas.microsoft.com/office/drawing/2014/main" id="{6C2989C1-8072-4F03-A61E-43B91E9D549F}"/>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1" name="Line 11">
                        <a:extLst>
                          <a:ext uri="{FF2B5EF4-FFF2-40B4-BE49-F238E27FC236}">
                            <a16:creationId xmlns:a16="http://schemas.microsoft.com/office/drawing/2014/main" id="{0301896B-7DBD-415E-ADE2-3A87AE6A8C4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88" name="Freeform 12">
                      <a:extLst>
                        <a:ext uri="{FF2B5EF4-FFF2-40B4-BE49-F238E27FC236}">
                          <a16:creationId xmlns:a16="http://schemas.microsoft.com/office/drawing/2014/main" id="{0EC32524-89B0-4DEB-BD97-B96C42D7F6C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Line 13">
                      <a:extLst>
                        <a:ext uri="{FF2B5EF4-FFF2-40B4-BE49-F238E27FC236}">
                          <a16:creationId xmlns:a16="http://schemas.microsoft.com/office/drawing/2014/main" id="{73F7FBEC-CB36-4691-A985-43E561464932}"/>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14">
                      <a:extLst>
                        <a:ext uri="{FF2B5EF4-FFF2-40B4-BE49-F238E27FC236}">
                          <a16:creationId xmlns:a16="http://schemas.microsoft.com/office/drawing/2014/main" id="{58E0825E-0424-40B4-AB08-AC62A9844FF8}"/>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1" name="Line 15">
                      <a:extLst>
                        <a:ext uri="{FF2B5EF4-FFF2-40B4-BE49-F238E27FC236}">
                          <a16:creationId xmlns:a16="http://schemas.microsoft.com/office/drawing/2014/main" id="{C2C69BCE-F279-4966-8F4A-2DD1ADDA579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2" name="Freeform 16">
                      <a:extLst>
                        <a:ext uri="{FF2B5EF4-FFF2-40B4-BE49-F238E27FC236}">
                          <a16:creationId xmlns:a16="http://schemas.microsoft.com/office/drawing/2014/main" id="{6E789726-F51E-4926-BFEC-F979E358871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3" name="Line 17">
                      <a:extLst>
                        <a:ext uri="{FF2B5EF4-FFF2-40B4-BE49-F238E27FC236}">
                          <a16:creationId xmlns:a16="http://schemas.microsoft.com/office/drawing/2014/main" id="{D47BFB8E-F127-4215-881F-2EAC3FD1A3D6}"/>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4" name="Freeform 18">
                      <a:extLst>
                        <a:ext uri="{FF2B5EF4-FFF2-40B4-BE49-F238E27FC236}">
                          <a16:creationId xmlns:a16="http://schemas.microsoft.com/office/drawing/2014/main" id="{246B6867-150F-4628-905D-EA7A93B1AE1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5" name="Line 19">
                      <a:extLst>
                        <a:ext uri="{FF2B5EF4-FFF2-40B4-BE49-F238E27FC236}">
                          <a16:creationId xmlns:a16="http://schemas.microsoft.com/office/drawing/2014/main" id="{796D3A11-69AD-4D1E-8E23-1B67194C2A8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6" name="Freeform 35">
                      <a:extLst>
                        <a:ext uri="{FF2B5EF4-FFF2-40B4-BE49-F238E27FC236}">
                          <a16:creationId xmlns:a16="http://schemas.microsoft.com/office/drawing/2014/main" id="{57D76E0E-0C9F-486F-9AB6-F21B4CAEF5E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7" name="Freeform 36">
                      <a:extLst>
                        <a:ext uri="{FF2B5EF4-FFF2-40B4-BE49-F238E27FC236}">
                          <a16:creationId xmlns:a16="http://schemas.microsoft.com/office/drawing/2014/main" id="{2FF9A1E2-286D-4FA2-A459-EA349B9B9DAF}"/>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8" name="Freeform 37">
                      <a:extLst>
                        <a:ext uri="{FF2B5EF4-FFF2-40B4-BE49-F238E27FC236}">
                          <a16:creationId xmlns:a16="http://schemas.microsoft.com/office/drawing/2014/main" id="{AD5AC173-D913-4236-AFE8-FB2185560EE2}"/>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8">
                      <a:extLst>
                        <a:ext uri="{FF2B5EF4-FFF2-40B4-BE49-F238E27FC236}">
                          <a16:creationId xmlns:a16="http://schemas.microsoft.com/office/drawing/2014/main" id="{4EF0C878-6C78-4A40-8BF3-09CD74FE827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9">
                      <a:extLst>
                        <a:ext uri="{FF2B5EF4-FFF2-40B4-BE49-F238E27FC236}">
                          <a16:creationId xmlns:a16="http://schemas.microsoft.com/office/drawing/2014/main" id="{425A2A43-590B-4467-BBB2-3D4ADD82E0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40">
                      <a:extLst>
                        <a:ext uri="{FF2B5EF4-FFF2-40B4-BE49-F238E27FC236}">
                          <a16:creationId xmlns:a16="http://schemas.microsoft.com/office/drawing/2014/main" id="{1EADE06F-C13E-460C-8520-800624459926}"/>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41">
                      <a:extLst>
                        <a:ext uri="{FF2B5EF4-FFF2-40B4-BE49-F238E27FC236}">
                          <a16:creationId xmlns:a16="http://schemas.microsoft.com/office/drawing/2014/main" id="{AF4EDC2D-16F1-4F8F-8C09-FA664401471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3" name="Line 42">
                      <a:extLst>
                        <a:ext uri="{FF2B5EF4-FFF2-40B4-BE49-F238E27FC236}">
                          <a16:creationId xmlns:a16="http://schemas.microsoft.com/office/drawing/2014/main" id="{85EA9BCD-6BDF-4635-BD6D-4EF5F18FFB8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43">
                      <a:extLst>
                        <a:ext uri="{FF2B5EF4-FFF2-40B4-BE49-F238E27FC236}">
                          <a16:creationId xmlns:a16="http://schemas.microsoft.com/office/drawing/2014/main" id="{C38D20FD-BD40-485F-B654-3CCFD71FFAC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44">
                      <a:extLst>
                        <a:ext uri="{FF2B5EF4-FFF2-40B4-BE49-F238E27FC236}">
                          <a16:creationId xmlns:a16="http://schemas.microsoft.com/office/drawing/2014/main" id="{3A52AB7B-E857-4C55-BE93-1AD49193949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45">
                      <a:extLst>
                        <a:ext uri="{FF2B5EF4-FFF2-40B4-BE49-F238E27FC236}">
                          <a16:creationId xmlns:a16="http://schemas.microsoft.com/office/drawing/2014/main" id="{34F50FA1-A883-405B-A52C-A75782AFF624}"/>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07" name="Group 2306">
                      <a:extLst>
                        <a:ext uri="{FF2B5EF4-FFF2-40B4-BE49-F238E27FC236}">
                          <a16:creationId xmlns:a16="http://schemas.microsoft.com/office/drawing/2014/main" id="{B1A9EBE2-6A5F-4B6C-96DC-E627DCECAA7D}"/>
                        </a:ext>
                      </a:extLst>
                    </p:cNvPr>
                    <p:cNvGrpSpPr/>
                    <p:nvPr/>
                  </p:nvGrpSpPr>
                  <p:grpSpPr>
                    <a:xfrm flipV="1">
                      <a:off x="1202047" y="3517919"/>
                      <a:ext cx="178734" cy="348678"/>
                      <a:chOff x="1207113" y="2241878"/>
                      <a:chExt cx="178734" cy="348678"/>
                    </a:xfrm>
                  </p:grpSpPr>
                  <p:sp>
                    <p:nvSpPr>
                      <p:cNvPr id="2308" name="Freeform 10">
                        <a:extLst>
                          <a:ext uri="{FF2B5EF4-FFF2-40B4-BE49-F238E27FC236}">
                            <a16:creationId xmlns:a16="http://schemas.microsoft.com/office/drawing/2014/main" id="{F8AF0355-F600-4EF6-925F-1B282A05D59C}"/>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9" name="Line 11">
                        <a:extLst>
                          <a:ext uri="{FF2B5EF4-FFF2-40B4-BE49-F238E27FC236}">
                            <a16:creationId xmlns:a16="http://schemas.microsoft.com/office/drawing/2014/main" id="{1943D528-BC61-435A-BCCF-F220FBB4ABA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57" name="Group 2256">
                  <a:extLst>
                    <a:ext uri="{FF2B5EF4-FFF2-40B4-BE49-F238E27FC236}">
                      <a16:creationId xmlns:a16="http://schemas.microsoft.com/office/drawing/2014/main" id="{8C6B2209-8961-4089-BCEC-4C63B52CC961}"/>
                    </a:ext>
                  </a:extLst>
                </p:cNvPr>
                <p:cNvGrpSpPr>
                  <a:grpSpLocks/>
                </p:cNvGrpSpPr>
                <p:nvPr/>
              </p:nvGrpSpPr>
              <p:grpSpPr>
                <a:xfrm>
                  <a:off x="11709639" y="2297897"/>
                  <a:ext cx="690952" cy="690956"/>
                  <a:chOff x="2268747" y="4723725"/>
                  <a:chExt cx="415610" cy="415612"/>
                </a:xfrm>
              </p:grpSpPr>
              <p:grpSp>
                <p:nvGrpSpPr>
                  <p:cNvPr id="2258" name="Group 64">
                    <a:extLst>
                      <a:ext uri="{FF2B5EF4-FFF2-40B4-BE49-F238E27FC236}">
                        <a16:creationId xmlns:a16="http://schemas.microsoft.com/office/drawing/2014/main" id="{867FAEE0-2D04-4E3C-AE38-C9592A0000FD}"/>
                      </a:ext>
                    </a:extLst>
                  </p:cNvPr>
                  <p:cNvGrpSpPr>
                    <a:grpSpLocks noChangeAspect="1"/>
                  </p:cNvGrpSpPr>
                  <p:nvPr/>
                </p:nvGrpSpPr>
                <p:grpSpPr bwMode="auto">
                  <a:xfrm rot="8100000">
                    <a:off x="2268747" y="4723725"/>
                    <a:ext cx="415610" cy="415612"/>
                    <a:chOff x="701" y="2170"/>
                    <a:chExt cx="587" cy="587"/>
                  </a:xfrm>
                </p:grpSpPr>
                <p:sp>
                  <p:nvSpPr>
                    <p:cNvPr id="2273" name="Oval 65">
                      <a:extLst>
                        <a:ext uri="{FF2B5EF4-FFF2-40B4-BE49-F238E27FC236}">
                          <a16:creationId xmlns:a16="http://schemas.microsoft.com/office/drawing/2014/main" id="{2D30A910-537A-44BD-8D3C-B2531C63D10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Line 66">
                      <a:extLst>
                        <a:ext uri="{FF2B5EF4-FFF2-40B4-BE49-F238E27FC236}">
                          <a16:creationId xmlns:a16="http://schemas.microsoft.com/office/drawing/2014/main" id="{A3FB047A-6916-4966-8E37-F240AD19858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67">
                      <a:extLst>
                        <a:ext uri="{FF2B5EF4-FFF2-40B4-BE49-F238E27FC236}">
                          <a16:creationId xmlns:a16="http://schemas.microsoft.com/office/drawing/2014/main" id="{C545B188-8835-4CBB-8F48-99A3CA90A3D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Line 69">
                      <a:extLst>
                        <a:ext uri="{FF2B5EF4-FFF2-40B4-BE49-F238E27FC236}">
                          <a16:creationId xmlns:a16="http://schemas.microsoft.com/office/drawing/2014/main" id="{52769506-D07D-408B-ACCF-3272D7D8C96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Line 74">
                      <a:extLst>
                        <a:ext uri="{FF2B5EF4-FFF2-40B4-BE49-F238E27FC236}">
                          <a16:creationId xmlns:a16="http://schemas.microsoft.com/office/drawing/2014/main" id="{54E708BD-39A2-4099-B662-7D5020D598C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78">
                      <a:extLst>
                        <a:ext uri="{FF2B5EF4-FFF2-40B4-BE49-F238E27FC236}">
                          <a16:creationId xmlns:a16="http://schemas.microsoft.com/office/drawing/2014/main" id="{2CDE9587-AEC6-4A14-9D23-A609DD1063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9" name="Freeform 80">
                      <a:extLst>
                        <a:ext uri="{FF2B5EF4-FFF2-40B4-BE49-F238E27FC236}">
                          <a16:creationId xmlns:a16="http://schemas.microsoft.com/office/drawing/2014/main" id="{DB301EE2-DFB4-4909-8F90-436561CC40D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9" name="Group 2258">
                    <a:extLst>
                      <a:ext uri="{FF2B5EF4-FFF2-40B4-BE49-F238E27FC236}">
                        <a16:creationId xmlns:a16="http://schemas.microsoft.com/office/drawing/2014/main" id="{242CEC30-89C0-4D6A-A16D-951F24084E42}"/>
                      </a:ext>
                    </a:extLst>
                  </p:cNvPr>
                  <p:cNvGrpSpPr/>
                  <p:nvPr/>
                </p:nvGrpSpPr>
                <p:grpSpPr>
                  <a:xfrm>
                    <a:off x="2318076" y="4830163"/>
                    <a:ext cx="313949" cy="233075"/>
                    <a:chOff x="3707533" y="2731244"/>
                    <a:chExt cx="389644" cy="289271"/>
                  </a:xfrm>
                </p:grpSpPr>
                <p:sp>
                  <p:nvSpPr>
                    <p:cNvPr id="2260" name="Freeform 33">
                      <a:extLst>
                        <a:ext uri="{FF2B5EF4-FFF2-40B4-BE49-F238E27FC236}">
                          <a16:creationId xmlns:a16="http://schemas.microsoft.com/office/drawing/2014/main" id="{59784E4B-68D3-42AF-B089-C1F1BDF9EEE4}"/>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1" name="Freeform 34">
                      <a:extLst>
                        <a:ext uri="{FF2B5EF4-FFF2-40B4-BE49-F238E27FC236}">
                          <a16:creationId xmlns:a16="http://schemas.microsoft.com/office/drawing/2014/main" id="{C2C6D420-A586-49AC-B57F-8DE6886C1E0D}"/>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37">
                      <a:extLst>
                        <a:ext uri="{FF2B5EF4-FFF2-40B4-BE49-F238E27FC236}">
                          <a16:creationId xmlns:a16="http://schemas.microsoft.com/office/drawing/2014/main" id="{A9210B00-A6F1-4F07-98B9-9931A4177B0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3" name="Freeform 38">
                      <a:extLst>
                        <a:ext uri="{FF2B5EF4-FFF2-40B4-BE49-F238E27FC236}">
                          <a16:creationId xmlns:a16="http://schemas.microsoft.com/office/drawing/2014/main" id="{D1E78EBA-035E-4FFC-A183-6A904EF5668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32">
                      <a:extLst>
                        <a:ext uri="{FF2B5EF4-FFF2-40B4-BE49-F238E27FC236}">
                          <a16:creationId xmlns:a16="http://schemas.microsoft.com/office/drawing/2014/main" id="{D60C9B6A-A919-4748-BC27-A46A1F5053E3}"/>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5" name="Freeform 35">
                      <a:extLst>
                        <a:ext uri="{FF2B5EF4-FFF2-40B4-BE49-F238E27FC236}">
                          <a16:creationId xmlns:a16="http://schemas.microsoft.com/office/drawing/2014/main" id="{9059E0AB-2383-4C75-A025-9E690335644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36">
                      <a:extLst>
                        <a:ext uri="{FF2B5EF4-FFF2-40B4-BE49-F238E27FC236}">
                          <a16:creationId xmlns:a16="http://schemas.microsoft.com/office/drawing/2014/main" id="{21366FDE-FD8F-4797-975D-08893A37E31A}"/>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7" name="Freeform 25">
                      <a:extLst>
                        <a:ext uri="{FF2B5EF4-FFF2-40B4-BE49-F238E27FC236}">
                          <a16:creationId xmlns:a16="http://schemas.microsoft.com/office/drawing/2014/main" id="{AECB81F4-CB9D-4D47-93EA-B4E073B580C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9">
                      <a:extLst>
                        <a:ext uri="{FF2B5EF4-FFF2-40B4-BE49-F238E27FC236}">
                          <a16:creationId xmlns:a16="http://schemas.microsoft.com/office/drawing/2014/main" id="{2E2DA5F3-8449-46DD-8F67-78CF4CFF952D}"/>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26">
                      <a:extLst>
                        <a:ext uri="{FF2B5EF4-FFF2-40B4-BE49-F238E27FC236}">
                          <a16:creationId xmlns:a16="http://schemas.microsoft.com/office/drawing/2014/main" id="{564F2F0C-C423-44E0-81F0-264D8E480D2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0" name="Rectangle 27">
                      <a:extLst>
                        <a:ext uri="{FF2B5EF4-FFF2-40B4-BE49-F238E27FC236}">
                          <a16:creationId xmlns:a16="http://schemas.microsoft.com/office/drawing/2014/main" id="{02C9AAC2-93ED-4623-9BDC-F5F9B73C59DE}"/>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1" name="Line 29">
                      <a:extLst>
                        <a:ext uri="{FF2B5EF4-FFF2-40B4-BE49-F238E27FC236}">
                          <a16:creationId xmlns:a16="http://schemas.microsoft.com/office/drawing/2014/main" id="{D2C6A72A-AB29-4D59-AB6D-C832C3D2C68A}"/>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2" name="Line 31">
                      <a:extLst>
                        <a:ext uri="{FF2B5EF4-FFF2-40B4-BE49-F238E27FC236}">
                          <a16:creationId xmlns:a16="http://schemas.microsoft.com/office/drawing/2014/main" id="{DD5CC3D3-3BB4-4134-B783-4C7E859A2518}"/>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16" name="Group 2815">
                <a:extLst>
                  <a:ext uri="{FF2B5EF4-FFF2-40B4-BE49-F238E27FC236}">
                    <a16:creationId xmlns:a16="http://schemas.microsoft.com/office/drawing/2014/main" id="{5B1B28BD-A612-42D7-A8A3-F8F1CE7C3B2F}"/>
                  </a:ext>
                </a:extLst>
              </p:cNvPr>
              <p:cNvGrpSpPr/>
              <p:nvPr/>
            </p:nvGrpSpPr>
            <p:grpSpPr>
              <a:xfrm>
                <a:off x="6802541" y="1842565"/>
                <a:ext cx="314357" cy="580832"/>
                <a:chOff x="6355981" y="199813"/>
                <a:chExt cx="314357" cy="580832"/>
              </a:xfrm>
            </p:grpSpPr>
            <p:pic>
              <p:nvPicPr>
                <p:cNvPr id="2817" name="Picture 2816">
                  <a:extLst>
                    <a:ext uri="{FF2B5EF4-FFF2-40B4-BE49-F238E27FC236}">
                      <a16:creationId xmlns:a16="http://schemas.microsoft.com/office/drawing/2014/main" id="{A106E996-A475-40B1-BD5E-C9C9B7915933}"/>
                    </a:ext>
                  </a:extLst>
                </p:cNvPr>
                <p:cNvPicPr>
                  <a:picLocks noChangeAspect="1"/>
                </p:cNvPicPr>
                <p:nvPr/>
              </p:nvPicPr>
              <p:blipFill>
                <a:blip r:embed="rId7"/>
                <a:stretch>
                  <a:fillRect/>
                </a:stretch>
              </p:blipFill>
              <p:spPr>
                <a:xfrm>
                  <a:off x="6355981" y="199813"/>
                  <a:ext cx="302738" cy="580832"/>
                </a:xfrm>
                <a:prstGeom prst="rect">
                  <a:avLst/>
                </a:prstGeom>
              </p:spPr>
            </p:pic>
            <p:sp>
              <p:nvSpPr>
                <p:cNvPr id="2818" name="Freeform 152">
                  <a:extLst>
                    <a:ext uri="{FF2B5EF4-FFF2-40B4-BE49-F238E27FC236}">
                      <a16:creationId xmlns:a16="http://schemas.microsoft.com/office/drawing/2014/main" id="{CB4974FC-A5CE-4B39-A5CF-6BC57603010B}"/>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819" name="Picture 2818">
            <a:extLst>
              <a:ext uri="{FF2B5EF4-FFF2-40B4-BE49-F238E27FC236}">
                <a16:creationId xmlns:a16="http://schemas.microsoft.com/office/drawing/2014/main" id="{6544E938-61F0-46D9-A75C-4BF3D3484FA3}"/>
              </a:ext>
            </a:extLst>
          </p:cNvPr>
          <p:cNvPicPr>
            <a:picLocks noChangeAspect="1"/>
          </p:cNvPicPr>
          <p:nvPr/>
        </p:nvPicPr>
        <p:blipFill>
          <a:blip r:embed="rId8"/>
          <a:stretch>
            <a:fillRect/>
          </a:stretch>
        </p:blipFill>
        <p:spPr>
          <a:xfrm rot="19800000">
            <a:off x="421100" y="4657564"/>
            <a:ext cx="884802" cy="447298"/>
          </a:xfrm>
          <a:prstGeom prst="rect">
            <a:avLst/>
          </a:prstGeom>
        </p:spPr>
      </p:pic>
      <p:graphicFrame>
        <p:nvGraphicFramePr>
          <p:cNvPr id="2820" name="Table 2819">
            <a:extLst>
              <a:ext uri="{FF2B5EF4-FFF2-40B4-BE49-F238E27FC236}">
                <a16:creationId xmlns:a16="http://schemas.microsoft.com/office/drawing/2014/main" id="{89A8A12C-D536-4549-8896-ACAF02458597}"/>
              </a:ext>
            </a:extLst>
          </p:cNvPr>
          <p:cNvGraphicFramePr>
            <a:graphicFrameLocks noGrp="1"/>
          </p:cNvGraphicFramePr>
          <p:nvPr/>
        </p:nvGraphicFramePr>
        <p:xfrm>
          <a:off x="723088" y="3207003"/>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821" name="Group 2820">
            <a:extLst>
              <a:ext uri="{FF2B5EF4-FFF2-40B4-BE49-F238E27FC236}">
                <a16:creationId xmlns:a16="http://schemas.microsoft.com/office/drawing/2014/main" id="{1A72D80C-EC97-4590-90E5-A0435476FCFE}"/>
              </a:ext>
            </a:extLst>
          </p:cNvPr>
          <p:cNvGrpSpPr/>
          <p:nvPr/>
        </p:nvGrpSpPr>
        <p:grpSpPr>
          <a:xfrm>
            <a:off x="766965" y="3483750"/>
            <a:ext cx="381241" cy="766727"/>
            <a:chOff x="765576" y="3316088"/>
            <a:chExt cx="381340" cy="766927"/>
          </a:xfrm>
        </p:grpSpPr>
        <p:pic>
          <p:nvPicPr>
            <p:cNvPr id="2822" name="Picture 2821">
              <a:extLst>
                <a:ext uri="{FF2B5EF4-FFF2-40B4-BE49-F238E27FC236}">
                  <a16:creationId xmlns:a16="http://schemas.microsoft.com/office/drawing/2014/main" id="{FE11C917-2E55-4F7D-A2A1-2EFAB11CDE0C}"/>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823" name="Picture 2822">
              <a:extLst>
                <a:ext uri="{FF2B5EF4-FFF2-40B4-BE49-F238E27FC236}">
                  <a16:creationId xmlns:a16="http://schemas.microsoft.com/office/drawing/2014/main" id="{17224878-9330-48F3-B403-329D12D003CF}"/>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824" name="Picture 2823">
              <a:extLst>
                <a:ext uri="{FF2B5EF4-FFF2-40B4-BE49-F238E27FC236}">
                  <a16:creationId xmlns:a16="http://schemas.microsoft.com/office/drawing/2014/main" id="{852FF2A2-2767-4AFF-951E-8472461D8D9B}"/>
                </a:ext>
              </a:extLst>
            </p:cNvPr>
            <p:cNvPicPr>
              <a:picLocks noChangeAspect="1"/>
            </p:cNvPicPr>
            <p:nvPr/>
          </p:nvPicPr>
          <p:blipFill>
            <a:blip r:embed="rId9"/>
            <a:stretch>
              <a:fillRect/>
            </a:stretch>
          </p:blipFill>
          <p:spPr>
            <a:xfrm flipH="1">
              <a:off x="846734" y="3707789"/>
              <a:ext cx="300182" cy="375226"/>
            </a:xfrm>
            <a:prstGeom prst="rect">
              <a:avLst/>
            </a:prstGeom>
          </p:spPr>
        </p:pic>
      </p:grpSp>
      <p:sp>
        <p:nvSpPr>
          <p:cNvPr id="2825" name="Rectangle 2824">
            <a:extLst>
              <a:ext uri="{FF2B5EF4-FFF2-40B4-BE49-F238E27FC236}">
                <a16:creationId xmlns:a16="http://schemas.microsoft.com/office/drawing/2014/main" id="{5224E924-2468-41ED-95B1-F5004958C1BE}"/>
              </a:ext>
            </a:extLst>
          </p:cNvPr>
          <p:cNvSpPr>
            <a:spLocks/>
          </p:cNvSpPr>
          <p:nvPr/>
        </p:nvSpPr>
        <p:spPr bwMode="gray">
          <a:xfrm>
            <a:off x="392096" y="1689529"/>
            <a:ext cx="2869470" cy="4861963"/>
          </a:xfrm>
          <a:prstGeom prst="rect">
            <a:avLst/>
          </a:prstGeom>
          <a:no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5" name="Group 4">
            <a:extLst>
              <a:ext uri="{FF2B5EF4-FFF2-40B4-BE49-F238E27FC236}">
                <a16:creationId xmlns:a16="http://schemas.microsoft.com/office/drawing/2014/main" id="{5EEE3459-2DC7-42CE-BC3F-E8DC87CB15E6}"/>
              </a:ext>
            </a:extLst>
          </p:cNvPr>
          <p:cNvGrpSpPr/>
          <p:nvPr/>
        </p:nvGrpSpPr>
        <p:grpSpPr>
          <a:xfrm>
            <a:off x="3475092" y="1754090"/>
            <a:ext cx="3106888" cy="2174645"/>
            <a:chOff x="3474409" y="1753652"/>
            <a:chExt cx="3107697" cy="2175211"/>
          </a:xfrm>
        </p:grpSpPr>
        <p:sp>
          <p:nvSpPr>
            <p:cNvPr id="2191" name="Rectangle 2190">
              <a:extLst>
                <a:ext uri="{FF2B5EF4-FFF2-40B4-BE49-F238E27FC236}">
                  <a16:creationId xmlns:a16="http://schemas.microsoft.com/office/drawing/2014/main" id="{89D1F8BB-2ACD-46A8-BABB-497E2F300D91}"/>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4" name="Group 3">
              <a:extLst>
                <a:ext uri="{FF2B5EF4-FFF2-40B4-BE49-F238E27FC236}">
                  <a16:creationId xmlns:a16="http://schemas.microsoft.com/office/drawing/2014/main" id="{D07FDF92-4F18-4D73-938A-6E4D44CEEA44}"/>
                </a:ext>
              </a:extLst>
            </p:cNvPr>
            <p:cNvGrpSpPr/>
            <p:nvPr/>
          </p:nvGrpSpPr>
          <p:grpSpPr>
            <a:xfrm>
              <a:off x="3474409" y="1753652"/>
              <a:ext cx="3107697" cy="1338890"/>
              <a:chOff x="3474409" y="1753652"/>
              <a:chExt cx="3107697" cy="1338890"/>
            </a:xfrm>
          </p:grpSpPr>
          <p:sp>
            <p:nvSpPr>
              <p:cNvPr id="2105" name="Rectangle 2104">
                <a:extLst>
                  <a:ext uri="{FF2B5EF4-FFF2-40B4-BE49-F238E27FC236}">
                    <a16:creationId xmlns:a16="http://schemas.microsoft.com/office/drawing/2014/main" id="{44E516F3-313F-4914-B318-9AB1CD619BCC}"/>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106" name="Group 2105">
                <a:extLst>
                  <a:ext uri="{FF2B5EF4-FFF2-40B4-BE49-F238E27FC236}">
                    <a16:creationId xmlns:a16="http://schemas.microsoft.com/office/drawing/2014/main" id="{5AF1A57A-6041-40E5-95D8-3110D4631C73}"/>
                  </a:ext>
                </a:extLst>
              </p:cNvPr>
              <p:cNvGrpSpPr/>
              <p:nvPr/>
            </p:nvGrpSpPr>
            <p:grpSpPr>
              <a:xfrm>
                <a:off x="3504077" y="2398698"/>
                <a:ext cx="1559613" cy="693844"/>
                <a:chOff x="3512580" y="2236718"/>
                <a:chExt cx="1563594" cy="695615"/>
              </a:xfrm>
            </p:grpSpPr>
            <p:grpSp>
              <p:nvGrpSpPr>
                <p:cNvPr id="2107" name="Group 2106">
                  <a:extLst>
                    <a:ext uri="{FF2B5EF4-FFF2-40B4-BE49-F238E27FC236}">
                      <a16:creationId xmlns:a16="http://schemas.microsoft.com/office/drawing/2014/main" id="{3FAA8F21-0B40-4BFE-ABF3-D6F66711CD94}"/>
                    </a:ext>
                  </a:extLst>
                </p:cNvPr>
                <p:cNvGrpSpPr>
                  <a:grpSpLocks/>
                </p:cNvGrpSpPr>
                <p:nvPr/>
              </p:nvGrpSpPr>
              <p:grpSpPr>
                <a:xfrm>
                  <a:off x="3512580" y="2240647"/>
                  <a:ext cx="418017" cy="418017"/>
                  <a:chOff x="745985" y="4768134"/>
                  <a:chExt cx="368776" cy="368777"/>
                </a:xfrm>
              </p:grpSpPr>
              <p:grpSp>
                <p:nvGrpSpPr>
                  <p:cNvPr id="2171" name="Group 64">
                    <a:extLst>
                      <a:ext uri="{FF2B5EF4-FFF2-40B4-BE49-F238E27FC236}">
                        <a16:creationId xmlns:a16="http://schemas.microsoft.com/office/drawing/2014/main" id="{38EC354A-5F5B-414D-9BE2-F680719CDB0D}"/>
                      </a:ext>
                    </a:extLst>
                  </p:cNvPr>
                  <p:cNvGrpSpPr>
                    <a:grpSpLocks noChangeAspect="1"/>
                  </p:cNvGrpSpPr>
                  <p:nvPr/>
                </p:nvGrpSpPr>
                <p:grpSpPr bwMode="auto">
                  <a:xfrm rot="8100000">
                    <a:off x="745985" y="4768134"/>
                    <a:ext cx="368776" cy="368777"/>
                    <a:chOff x="701" y="2170"/>
                    <a:chExt cx="587" cy="587"/>
                  </a:xfrm>
                </p:grpSpPr>
                <p:sp>
                  <p:nvSpPr>
                    <p:cNvPr id="2182" name="Oval 65">
                      <a:extLst>
                        <a:ext uri="{FF2B5EF4-FFF2-40B4-BE49-F238E27FC236}">
                          <a16:creationId xmlns:a16="http://schemas.microsoft.com/office/drawing/2014/main" id="{E48D45F4-2D4B-4F31-90D7-988033BE94A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3" name="Line 66">
                      <a:extLst>
                        <a:ext uri="{FF2B5EF4-FFF2-40B4-BE49-F238E27FC236}">
                          <a16:creationId xmlns:a16="http://schemas.microsoft.com/office/drawing/2014/main" id="{17980589-1B20-462C-9FD7-541129E1D23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7">
                      <a:extLst>
                        <a:ext uri="{FF2B5EF4-FFF2-40B4-BE49-F238E27FC236}">
                          <a16:creationId xmlns:a16="http://schemas.microsoft.com/office/drawing/2014/main" id="{08F6E583-99D8-4EFD-917A-22B56D6A3AF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69">
                      <a:extLst>
                        <a:ext uri="{FF2B5EF4-FFF2-40B4-BE49-F238E27FC236}">
                          <a16:creationId xmlns:a16="http://schemas.microsoft.com/office/drawing/2014/main" id="{F84751FB-D875-443B-B9F1-00A506F2C9B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Line 74">
                      <a:extLst>
                        <a:ext uri="{FF2B5EF4-FFF2-40B4-BE49-F238E27FC236}">
                          <a16:creationId xmlns:a16="http://schemas.microsoft.com/office/drawing/2014/main" id="{8980D920-70AF-4C24-A8A5-A29A9D314CB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78">
                      <a:extLst>
                        <a:ext uri="{FF2B5EF4-FFF2-40B4-BE49-F238E27FC236}">
                          <a16:creationId xmlns:a16="http://schemas.microsoft.com/office/drawing/2014/main" id="{7278A439-704A-41CA-80D3-8832931F3B3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8" name="Freeform 80">
                      <a:extLst>
                        <a:ext uri="{FF2B5EF4-FFF2-40B4-BE49-F238E27FC236}">
                          <a16:creationId xmlns:a16="http://schemas.microsoft.com/office/drawing/2014/main" id="{4407C87D-B2E5-428A-B68F-9BEE53F202D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72" name="Group 2171">
                    <a:extLst>
                      <a:ext uri="{FF2B5EF4-FFF2-40B4-BE49-F238E27FC236}">
                        <a16:creationId xmlns:a16="http://schemas.microsoft.com/office/drawing/2014/main" id="{AF84420C-E4A9-4F8C-9324-06623783D1A5}"/>
                      </a:ext>
                    </a:extLst>
                  </p:cNvPr>
                  <p:cNvGrpSpPr/>
                  <p:nvPr/>
                </p:nvGrpSpPr>
                <p:grpSpPr>
                  <a:xfrm>
                    <a:off x="837312" y="4814434"/>
                    <a:ext cx="136805" cy="278689"/>
                    <a:chOff x="2806700" y="2803319"/>
                    <a:chExt cx="433387" cy="882861"/>
                  </a:xfrm>
                </p:grpSpPr>
                <p:grpSp>
                  <p:nvGrpSpPr>
                    <p:cNvPr id="2173" name="Group 2172">
                      <a:extLst>
                        <a:ext uri="{FF2B5EF4-FFF2-40B4-BE49-F238E27FC236}">
                          <a16:creationId xmlns:a16="http://schemas.microsoft.com/office/drawing/2014/main" id="{A5E697F8-92AC-4BD0-9129-C67AF64A3869}"/>
                        </a:ext>
                      </a:extLst>
                    </p:cNvPr>
                    <p:cNvGrpSpPr>
                      <a:grpSpLocks noChangeAspect="1"/>
                    </p:cNvGrpSpPr>
                    <p:nvPr/>
                  </p:nvGrpSpPr>
                  <p:grpSpPr bwMode="auto">
                    <a:xfrm>
                      <a:off x="2806700" y="3043242"/>
                      <a:ext cx="433387" cy="642938"/>
                      <a:chOff x="1768" y="1917"/>
                      <a:chExt cx="273" cy="405"/>
                    </a:xfrm>
                  </p:grpSpPr>
                  <p:sp>
                    <p:nvSpPr>
                      <p:cNvPr id="2175" name="Freeform 52">
                        <a:extLst>
                          <a:ext uri="{FF2B5EF4-FFF2-40B4-BE49-F238E27FC236}">
                            <a16:creationId xmlns:a16="http://schemas.microsoft.com/office/drawing/2014/main" id="{C449D0F1-569C-42BE-B5E1-518BB0764D5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Line 54">
                        <a:extLst>
                          <a:ext uri="{FF2B5EF4-FFF2-40B4-BE49-F238E27FC236}">
                            <a16:creationId xmlns:a16="http://schemas.microsoft.com/office/drawing/2014/main" id="{4D088C09-DDB8-43AA-952A-CA9724EC801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7" name="Line 55">
                        <a:extLst>
                          <a:ext uri="{FF2B5EF4-FFF2-40B4-BE49-F238E27FC236}">
                            <a16:creationId xmlns:a16="http://schemas.microsoft.com/office/drawing/2014/main" id="{A7A5D080-91B1-406C-B744-3E56686F247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8" name="Freeform 56">
                        <a:extLst>
                          <a:ext uri="{FF2B5EF4-FFF2-40B4-BE49-F238E27FC236}">
                            <a16:creationId xmlns:a16="http://schemas.microsoft.com/office/drawing/2014/main" id="{2D15C026-04EE-4121-9FF3-3195568DE13D}"/>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9" name="Line 57">
                        <a:extLst>
                          <a:ext uri="{FF2B5EF4-FFF2-40B4-BE49-F238E27FC236}">
                            <a16:creationId xmlns:a16="http://schemas.microsoft.com/office/drawing/2014/main" id="{225C9A12-C9E9-43F5-B14C-4A90A9ECFC3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Freeform 58">
                        <a:extLst>
                          <a:ext uri="{FF2B5EF4-FFF2-40B4-BE49-F238E27FC236}">
                            <a16:creationId xmlns:a16="http://schemas.microsoft.com/office/drawing/2014/main" id="{4EDD10A5-C468-4686-802A-FAF24DE2F2A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1" name="Rectangle 2180">
                        <a:extLst>
                          <a:ext uri="{FF2B5EF4-FFF2-40B4-BE49-F238E27FC236}">
                            <a16:creationId xmlns:a16="http://schemas.microsoft.com/office/drawing/2014/main" id="{5606A2F7-2BC4-41E7-A55B-553E73182730}"/>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174" name="Oval 2173">
                      <a:extLst>
                        <a:ext uri="{FF2B5EF4-FFF2-40B4-BE49-F238E27FC236}">
                          <a16:creationId xmlns:a16="http://schemas.microsoft.com/office/drawing/2014/main" id="{09ACAF1E-A7C8-4DB3-BBC4-2010ACA3D51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08" name="Group 2107">
                  <a:extLst>
                    <a:ext uri="{FF2B5EF4-FFF2-40B4-BE49-F238E27FC236}">
                      <a16:creationId xmlns:a16="http://schemas.microsoft.com/office/drawing/2014/main" id="{792DAFCB-C935-451B-B203-1C3F9D9170FF}"/>
                    </a:ext>
                  </a:extLst>
                </p:cNvPr>
                <p:cNvGrpSpPr>
                  <a:grpSpLocks/>
                </p:cNvGrpSpPr>
                <p:nvPr/>
              </p:nvGrpSpPr>
              <p:grpSpPr>
                <a:xfrm>
                  <a:off x="3989965" y="2395465"/>
                  <a:ext cx="536865" cy="536868"/>
                  <a:chOff x="1454941" y="4721722"/>
                  <a:chExt cx="473625" cy="473627"/>
                </a:xfrm>
              </p:grpSpPr>
              <p:grpSp>
                <p:nvGrpSpPr>
                  <p:cNvPr id="2132" name="Group 64">
                    <a:extLst>
                      <a:ext uri="{FF2B5EF4-FFF2-40B4-BE49-F238E27FC236}">
                        <a16:creationId xmlns:a16="http://schemas.microsoft.com/office/drawing/2014/main" id="{95FC00C3-E804-45A7-A377-AD11BF922982}"/>
                      </a:ext>
                    </a:extLst>
                  </p:cNvPr>
                  <p:cNvGrpSpPr>
                    <a:grpSpLocks noChangeAspect="1"/>
                  </p:cNvGrpSpPr>
                  <p:nvPr/>
                </p:nvGrpSpPr>
                <p:grpSpPr bwMode="auto">
                  <a:xfrm rot="8100000">
                    <a:off x="1454941" y="4721722"/>
                    <a:ext cx="473625" cy="473627"/>
                    <a:chOff x="701" y="2170"/>
                    <a:chExt cx="587" cy="587"/>
                  </a:xfrm>
                </p:grpSpPr>
                <p:sp>
                  <p:nvSpPr>
                    <p:cNvPr id="2164" name="Oval 65">
                      <a:extLst>
                        <a:ext uri="{FF2B5EF4-FFF2-40B4-BE49-F238E27FC236}">
                          <a16:creationId xmlns:a16="http://schemas.microsoft.com/office/drawing/2014/main" id="{EACF8D5C-608F-48E7-B074-B183F86E0A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5" name="Line 66">
                      <a:extLst>
                        <a:ext uri="{FF2B5EF4-FFF2-40B4-BE49-F238E27FC236}">
                          <a16:creationId xmlns:a16="http://schemas.microsoft.com/office/drawing/2014/main" id="{1F6A04EB-1B9D-4A53-BB4E-BE0BBD531D9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6" name="Line 67">
                      <a:extLst>
                        <a:ext uri="{FF2B5EF4-FFF2-40B4-BE49-F238E27FC236}">
                          <a16:creationId xmlns:a16="http://schemas.microsoft.com/office/drawing/2014/main" id="{7EBB1F3F-FBFC-44BA-B0D6-3EE0FD2D410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7" name="Line 69">
                      <a:extLst>
                        <a:ext uri="{FF2B5EF4-FFF2-40B4-BE49-F238E27FC236}">
                          <a16:creationId xmlns:a16="http://schemas.microsoft.com/office/drawing/2014/main" id="{F20ADE09-C140-4F3C-AE4C-A9786262BDD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8" name="Line 74">
                      <a:extLst>
                        <a:ext uri="{FF2B5EF4-FFF2-40B4-BE49-F238E27FC236}">
                          <a16:creationId xmlns:a16="http://schemas.microsoft.com/office/drawing/2014/main" id="{CE1C09F1-0967-4544-8899-A5768B0B4F2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78">
                      <a:extLst>
                        <a:ext uri="{FF2B5EF4-FFF2-40B4-BE49-F238E27FC236}">
                          <a16:creationId xmlns:a16="http://schemas.microsoft.com/office/drawing/2014/main" id="{56EB5BCF-13D1-4C3D-BE9D-3872A5AE096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80">
                      <a:extLst>
                        <a:ext uri="{FF2B5EF4-FFF2-40B4-BE49-F238E27FC236}">
                          <a16:creationId xmlns:a16="http://schemas.microsoft.com/office/drawing/2014/main" id="{7CCAB085-C2B9-460B-BA69-B4D5776216D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33" name="Group 2132">
                    <a:extLst>
                      <a:ext uri="{FF2B5EF4-FFF2-40B4-BE49-F238E27FC236}">
                        <a16:creationId xmlns:a16="http://schemas.microsoft.com/office/drawing/2014/main" id="{2D4DB5BA-3D87-4D38-81F4-383C4020368B}"/>
                      </a:ext>
                    </a:extLst>
                  </p:cNvPr>
                  <p:cNvGrpSpPr/>
                  <p:nvPr/>
                </p:nvGrpSpPr>
                <p:grpSpPr>
                  <a:xfrm>
                    <a:off x="1511214" y="4789508"/>
                    <a:ext cx="356509" cy="349884"/>
                    <a:chOff x="468738" y="2241878"/>
                    <a:chExt cx="1655483" cy="1624719"/>
                  </a:xfrm>
                </p:grpSpPr>
                <p:sp>
                  <p:nvSpPr>
                    <p:cNvPr id="2134" name="Freeform 5">
                      <a:extLst>
                        <a:ext uri="{FF2B5EF4-FFF2-40B4-BE49-F238E27FC236}">
                          <a16:creationId xmlns:a16="http://schemas.microsoft.com/office/drawing/2014/main" id="{AD3029D4-64CC-47C2-B1C4-D8ED8754387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6">
                      <a:extLst>
                        <a:ext uri="{FF2B5EF4-FFF2-40B4-BE49-F238E27FC236}">
                          <a16:creationId xmlns:a16="http://schemas.microsoft.com/office/drawing/2014/main" id="{B5BFE621-131C-4D52-9439-80C4EC959B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Line 7">
                      <a:extLst>
                        <a:ext uri="{FF2B5EF4-FFF2-40B4-BE49-F238E27FC236}">
                          <a16:creationId xmlns:a16="http://schemas.microsoft.com/office/drawing/2014/main" id="{BB28B918-CD33-43C8-879C-64C3265172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8">
                      <a:extLst>
                        <a:ext uri="{FF2B5EF4-FFF2-40B4-BE49-F238E27FC236}">
                          <a16:creationId xmlns:a16="http://schemas.microsoft.com/office/drawing/2014/main" id="{B2F90028-D1CD-4003-860F-9380A5C2844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8" name="Line 9">
                      <a:extLst>
                        <a:ext uri="{FF2B5EF4-FFF2-40B4-BE49-F238E27FC236}">
                          <a16:creationId xmlns:a16="http://schemas.microsoft.com/office/drawing/2014/main" id="{D7D524DB-5ED9-4BEC-BD8E-345DBDE0EA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39" name="Group 2138">
                      <a:extLst>
                        <a:ext uri="{FF2B5EF4-FFF2-40B4-BE49-F238E27FC236}">
                          <a16:creationId xmlns:a16="http://schemas.microsoft.com/office/drawing/2014/main" id="{22510D73-D663-4E1A-9845-701E923B6979}"/>
                        </a:ext>
                      </a:extLst>
                    </p:cNvPr>
                    <p:cNvGrpSpPr/>
                    <p:nvPr/>
                  </p:nvGrpSpPr>
                  <p:grpSpPr>
                    <a:xfrm>
                      <a:off x="1207113" y="2241878"/>
                      <a:ext cx="178734" cy="348678"/>
                      <a:chOff x="1207113" y="2241878"/>
                      <a:chExt cx="178734" cy="348678"/>
                    </a:xfrm>
                  </p:grpSpPr>
                  <p:sp>
                    <p:nvSpPr>
                      <p:cNvPr id="2162" name="Freeform 10">
                        <a:extLst>
                          <a:ext uri="{FF2B5EF4-FFF2-40B4-BE49-F238E27FC236}">
                            <a16:creationId xmlns:a16="http://schemas.microsoft.com/office/drawing/2014/main" id="{6EFEEAC3-1634-423B-A959-6E7830384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3" name="Line 11">
                        <a:extLst>
                          <a:ext uri="{FF2B5EF4-FFF2-40B4-BE49-F238E27FC236}">
                            <a16:creationId xmlns:a16="http://schemas.microsoft.com/office/drawing/2014/main" id="{8F45FDBF-0115-45E1-9B55-D71F0010094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40" name="Freeform 12">
                      <a:extLst>
                        <a:ext uri="{FF2B5EF4-FFF2-40B4-BE49-F238E27FC236}">
                          <a16:creationId xmlns:a16="http://schemas.microsoft.com/office/drawing/2014/main" id="{3C495552-3098-4661-BDFD-B955DD6BCB1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13">
                      <a:extLst>
                        <a:ext uri="{FF2B5EF4-FFF2-40B4-BE49-F238E27FC236}">
                          <a16:creationId xmlns:a16="http://schemas.microsoft.com/office/drawing/2014/main" id="{ECD214C7-EACD-4229-9560-F610FE81A74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14">
                      <a:extLst>
                        <a:ext uri="{FF2B5EF4-FFF2-40B4-BE49-F238E27FC236}">
                          <a16:creationId xmlns:a16="http://schemas.microsoft.com/office/drawing/2014/main" id="{B4CDA5FF-6B69-415F-ADAB-F765E69E2C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Line 15">
                      <a:extLst>
                        <a:ext uri="{FF2B5EF4-FFF2-40B4-BE49-F238E27FC236}">
                          <a16:creationId xmlns:a16="http://schemas.microsoft.com/office/drawing/2014/main" id="{05E8653C-22F0-4581-A223-FEED3790531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16">
                      <a:extLst>
                        <a:ext uri="{FF2B5EF4-FFF2-40B4-BE49-F238E27FC236}">
                          <a16:creationId xmlns:a16="http://schemas.microsoft.com/office/drawing/2014/main" id="{80E39A21-A447-4749-943A-F7C93F46E12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5" name="Line 17">
                      <a:extLst>
                        <a:ext uri="{FF2B5EF4-FFF2-40B4-BE49-F238E27FC236}">
                          <a16:creationId xmlns:a16="http://schemas.microsoft.com/office/drawing/2014/main" id="{83312F89-1163-44C1-AE9E-FC31ABFC0208}"/>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6" name="Freeform 18">
                      <a:extLst>
                        <a:ext uri="{FF2B5EF4-FFF2-40B4-BE49-F238E27FC236}">
                          <a16:creationId xmlns:a16="http://schemas.microsoft.com/office/drawing/2014/main" id="{2F1608BA-2BDB-4E5F-AB8F-D06BB95AEB6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9">
                      <a:extLst>
                        <a:ext uri="{FF2B5EF4-FFF2-40B4-BE49-F238E27FC236}">
                          <a16:creationId xmlns:a16="http://schemas.microsoft.com/office/drawing/2014/main" id="{1CF28B91-606F-47BB-8755-7C9F19B86E1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8" name="Freeform 35">
                      <a:extLst>
                        <a:ext uri="{FF2B5EF4-FFF2-40B4-BE49-F238E27FC236}">
                          <a16:creationId xmlns:a16="http://schemas.microsoft.com/office/drawing/2014/main" id="{0D9FC22C-6B97-4EA5-A232-FBADFB8B1072}"/>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9" name="Freeform 36">
                      <a:extLst>
                        <a:ext uri="{FF2B5EF4-FFF2-40B4-BE49-F238E27FC236}">
                          <a16:creationId xmlns:a16="http://schemas.microsoft.com/office/drawing/2014/main" id="{2280C96F-7F21-4E0E-8D7B-080AE874B62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0" name="Freeform 37">
                      <a:extLst>
                        <a:ext uri="{FF2B5EF4-FFF2-40B4-BE49-F238E27FC236}">
                          <a16:creationId xmlns:a16="http://schemas.microsoft.com/office/drawing/2014/main" id="{208BDDF9-9F22-4BE0-B5C5-C73D78961BE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1" name="Freeform 38">
                      <a:extLst>
                        <a:ext uri="{FF2B5EF4-FFF2-40B4-BE49-F238E27FC236}">
                          <a16:creationId xmlns:a16="http://schemas.microsoft.com/office/drawing/2014/main" id="{8F240DD0-ACA1-4935-8CAD-EBB363D9A10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2" name="Freeform 39">
                      <a:extLst>
                        <a:ext uri="{FF2B5EF4-FFF2-40B4-BE49-F238E27FC236}">
                          <a16:creationId xmlns:a16="http://schemas.microsoft.com/office/drawing/2014/main" id="{431E5ABE-687E-4F2C-A695-BA8B469E494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3" name="Freeform 40">
                      <a:extLst>
                        <a:ext uri="{FF2B5EF4-FFF2-40B4-BE49-F238E27FC236}">
                          <a16:creationId xmlns:a16="http://schemas.microsoft.com/office/drawing/2014/main" id="{C770EBE2-7126-4073-9654-A1DCC6FD2EE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4" name="Freeform 41">
                      <a:extLst>
                        <a:ext uri="{FF2B5EF4-FFF2-40B4-BE49-F238E27FC236}">
                          <a16:creationId xmlns:a16="http://schemas.microsoft.com/office/drawing/2014/main" id="{ECE5DD8B-DAF3-41D3-B6B2-8B48854F1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Line 42">
                      <a:extLst>
                        <a:ext uri="{FF2B5EF4-FFF2-40B4-BE49-F238E27FC236}">
                          <a16:creationId xmlns:a16="http://schemas.microsoft.com/office/drawing/2014/main" id="{D85E7B62-8E0C-40C5-B75A-8D5B4D07F08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43">
                      <a:extLst>
                        <a:ext uri="{FF2B5EF4-FFF2-40B4-BE49-F238E27FC236}">
                          <a16:creationId xmlns:a16="http://schemas.microsoft.com/office/drawing/2014/main" id="{F750F8AA-167B-49D8-8200-E25925C7C5A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7" name="Freeform 44">
                      <a:extLst>
                        <a:ext uri="{FF2B5EF4-FFF2-40B4-BE49-F238E27FC236}">
                          <a16:creationId xmlns:a16="http://schemas.microsoft.com/office/drawing/2014/main" id="{26A05AF0-E552-4E8A-8650-8F2D50EB62BE}"/>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8" name="Freeform 45">
                      <a:extLst>
                        <a:ext uri="{FF2B5EF4-FFF2-40B4-BE49-F238E27FC236}">
                          <a16:creationId xmlns:a16="http://schemas.microsoft.com/office/drawing/2014/main" id="{90A305AF-DC97-4D53-A390-B839E25094CC}"/>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59" name="Group 2158">
                      <a:extLst>
                        <a:ext uri="{FF2B5EF4-FFF2-40B4-BE49-F238E27FC236}">
                          <a16:creationId xmlns:a16="http://schemas.microsoft.com/office/drawing/2014/main" id="{16EBB8D7-590F-405B-AC14-9407C90A88BE}"/>
                        </a:ext>
                      </a:extLst>
                    </p:cNvPr>
                    <p:cNvGrpSpPr/>
                    <p:nvPr/>
                  </p:nvGrpSpPr>
                  <p:grpSpPr>
                    <a:xfrm flipV="1">
                      <a:off x="1202047" y="3517919"/>
                      <a:ext cx="178734" cy="348678"/>
                      <a:chOff x="1207113" y="2241878"/>
                      <a:chExt cx="178734" cy="348678"/>
                    </a:xfrm>
                  </p:grpSpPr>
                  <p:sp>
                    <p:nvSpPr>
                      <p:cNvPr id="2160" name="Freeform 10">
                        <a:extLst>
                          <a:ext uri="{FF2B5EF4-FFF2-40B4-BE49-F238E27FC236}">
                            <a16:creationId xmlns:a16="http://schemas.microsoft.com/office/drawing/2014/main" id="{0260155B-1A8C-4AC0-B5E4-EA605B4CCA8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1" name="Line 11">
                        <a:extLst>
                          <a:ext uri="{FF2B5EF4-FFF2-40B4-BE49-F238E27FC236}">
                            <a16:creationId xmlns:a16="http://schemas.microsoft.com/office/drawing/2014/main" id="{FD8CD03B-2BD9-44F1-9372-51F29A34087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09" name="Group 2108">
                  <a:extLst>
                    <a:ext uri="{FF2B5EF4-FFF2-40B4-BE49-F238E27FC236}">
                      <a16:creationId xmlns:a16="http://schemas.microsoft.com/office/drawing/2014/main" id="{F743C01D-A412-4502-B453-0E322E740488}"/>
                    </a:ext>
                  </a:extLst>
                </p:cNvPr>
                <p:cNvGrpSpPr>
                  <a:grpSpLocks/>
                </p:cNvGrpSpPr>
                <p:nvPr/>
              </p:nvGrpSpPr>
              <p:grpSpPr>
                <a:xfrm>
                  <a:off x="4605070" y="2236718"/>
                  <a:ext cx="471104" cy="471107"/>
                  <a:chOff x="2268747" y="4723725"/>
                  <a:chExt cx="415610" cy="415612"/>
                </a:xfrm>
              </p:grpSpPr>
              <p:grpSp>
                <p:nvGrpSpPr>
                  <p:cNvPr id="2110" name="Group 64">
                    <a:extLst>
                      <a:ext uri="{FF2B5EF4-FFF2-40B4-BE49-F238E27FC236}">
                        <a16:creationId xmlns:a16="http://schemas.microsoft.com/office/drawing/2014/main" id="{3ED6BA51-88C4-475D-8CAE-3A4E1CE80C92}"/>
                      </a:ext>
                    </a:extLst>
                  </p:cNvPr>
                  <p:cNvGrpSpPr>
                    <a:grpSpLocks noChangeAspect="1"/>
                  </p:cNvGrpSpPr>
                  <p:nvPr/>
                </p:nvGrpSpPr>
                <p:grpSpPr bwMode="auto">
                  <a:xfrm rot="8100000">
                    <a:off x="2268747" y="4723725"/>
                    <a:ext cx="415610" cy="415612"/>
                    <a:chOff x="701" y="2170"/>
                    <a:chExt cx="587" cy="587"/>
                  </a:xfrm>
                </p:grpSpPr>
                <p:sp>
                  <p:nvSpPr>
                    <p:cNvPr id="2125" name="Oval 65">
                      <a:extLst>
                        <a:ext uri="{FF2B5EF4-FFF2-40B4-BE49-F238E27FC236}">
                          <a16:creationId xmlns:a16="http://schemas.microsoft.com/office/drawing/2014/main" id="{3F488B35-08AC-4424-88EE-CFC42A9905E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6" name="Line 66">
                      <a:extLst>
                        <a:ext uri="{FF2B5EF4-FFF2-40B4-BE49-F238E27FC236}">
                          <a16:creationId xmlns:a16="http://schemas.microsoft.com/office/drawing/2014/main" id="{E6EEE647-50EC-466A-9CED-4EBA5BAAF6A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67">
                      <a:extLst>
                        <a:ext uri="{FF2B5EF4-FFF2-40B4-BE49-F238E27FC236}">
                          <a16:creationId xmlns:a16="http://schemas.microsoft.com/office/drawing/2014/main" id="{D279D004-E98F-487A-BBC8-DF988B5B044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Line 69">
                      <a:extLst>
                        <a:ext uri="{FF2B5EF4-FFF2-40B4-BE49-F238E27FC236}">
                          <a16:creationId xmlns:a16="http://schemas.microsoft.com/office/drawing/2014/main" id="{0F201E97-2DE5-4039-8A87-56466A0473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74">
                      <a:extLst>
                        <a:ext uri="{FF2B5EF4-FFF2-40B4-BE49-F238E27FC236}">
                          <a16:creationId xmlns:a16="http://schemas.microsoft.com/office/drawing/2014/main" id="{35691D03-9390-4324-8F43-D5A21341F7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78">
                      <a:extLst>
                        <a:ext uri="{FF2B5EF4-FFF2-40B4-BE49-F238E27FC236}">
                          <a16:creationId xmlns:a16="http://schemas.microsoft.com/office/drawing/2014/main" id="{B1E74084-BDAB-40C6-9B50-F0C5FCC255D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Freeform 80">
                      <a:extLst>
                        <a:ext uri="{FF2B5EF4-FFF2-40B4-BE49-F238E27FC236}">
                          <a16:creationId xmlns:a16="http://schemas.microsoft.com/office/drawing/2014/main" id="{B05E470F-89A9-431A-9AD0-683F759B5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1" name="Group 2110">
                    <a:extLst>
                      <a:ext uri="{FF2B5EF4-FFF2-40B4-BE49-F238E27FC236}">
                        <a16:creationId xmlns:a16="http://schemas.microsoft.com/office/drawing/2014/main" id="{9CBA07D6-2EC5-4BE0-8326-6F02B874729E}"/>
                      </a:ext>
                    </a:extLst>
                  </p:cNvPr>
                  <p:cNvGrpSpPr/>
                  <p:nvPr/>
                </p:nvGrpSpPr>
                <p:grpSpPr>
                  <a:xfrm>
                    <a:off x="2318076" y="4830163"/>
                    <a:ext cx="313949" cy="233075"/>
                    <a:chOff x="3707533" y="2731244"/>
                    <a:chExt cx="389644" cy="289271"/>
                  </a:xfrm>
                </p:grpSpPr>
                <p:sp>
                  <p:nvSpPr>
                    <p:cNvPr id="2112" name="Freeform 33">
                      <a:extLst>
                        <a:ext uri="{FF2B5EF4-FFF2-40B4-BE49-F238E27FC236}">
                          <a16:creationId xmlns:a16="http://schemas.microsoft.com/office/drawing/2014/main" id="{C428139F-5A6B-4BA0-A0B1-5076AAFF743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3" name="Freeform 34">
                      <a:extLst>
                        <a:ext uri="{FF2B5EF4-FFF2-40B4-BE49-F238E27FC236}">
                          <a16:creationId xmlns:a16="http://schemas.microsoft.com/office/drawing/2014/main" id="{9F0DD76B-86BA-436E-98AA-27F8CA5AB0EF}"/>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4" name="Freeform 37">
                      <a:extLst>
                        <a:ext uri="{FF2B5EF4-FFF2-40B4-BE49-F238E27FC236}">
                          <a16:creationId xmlns:a16="http://schemas.microsoft.com/office/drawing/2014/main" id="{328E1ECE-0B47-40FF-ADC8-52A869AD539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5" name="Freeform 38">
                      <a:extLst>
                        <a:ext uri="{FF2B5EF4-FFF2-40B4-BE49-F238E27FC236}">
                          <a16:creationId xmlns:a16="http://schemas.microsoft.com/office/drawing/2014/main" id="{FBC1A354-40E6-4BA7-A7FC-12DFA0ED8DF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32">
                      <a:extLst>
                        <a:ext uri="{FF2B5EF4-FFF2-40B4-BE49-F238E27FC236}">
                          <a16:creationId xmlns:a16="http://schemas.microsoft.com/office/drawing/2014/main" id="{44A20234-6690-46A4-AF7F-55903773AB65}"/>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35">
                      <a:extLst>
                        <a:ext uri="{FF2B5EF4-FFF2-40B4-BE49-F238E27FC236}">
                          <a16:creationId xmlns:a16="http://schemas.microsoft.com/office/drawing/2014/main" id="{E8FFE7C3-81CC-46D2-A00F-E52399A2758E}"/>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8" name="Freeform 36">
                      <a:extLst>
                        <a:ext uri="{FF2B5EF4-FFF2-40B4-BE49-F238E27FC236}">
                          <a16:creationId xmlns:a16="http://schemas.microsoft.com/office/drawing/2014/main" id="{80451F71-A3E1-4C02-A56E-4B6B9C65B39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9" name="Freeform 25">
                      <a:extLst>
                        <a:ext uri="{FF2B5EF4-FFF2-40B4-BE49-F238E27FC236}">
                          <a16:creationId xmlns:a16="http://schemas.microsoft.com/office/drawing/2014/main" id="{79CCFFCF-160C-44C1-98F6-600F7AEF940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0" name="Freeform 39">
                      <a:extLst>
                        <a:ext uri="{FF2B5EF4-FFF2-40B4-BE49-F238E27FC236}">
                          <a16:creationId xmlns:a16="http://schemas.microsoft.com/office/drawing/2014/main" id="{96C9F0EB-878A-4903-9840-A01FC702A21C}"/>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26">
                      <a:extLst>
                        <a:ext uri="{FF2B5EF4-FFF2-40B4-BE49-F238E27FC236}">
                          <a16:creationId xmlns:a16="http://schemas.microsoft.com/office/drawing/2014/main" id="{96D32403-D861-4D9C-BCAB-F0E3CBF48F8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2" name="Rectangle 27">
                      <a:extLst>
                        <a:ext uri="{FF2B5EF4-FFF2-40B4-BE49-F238E27FC236}">
                          <a16:creationId xmlns:a16="http://schemas.microsoft.com/office/drawing/2014/main" id="{C3B97169-9DC7-44F5-8846-86615CCD4FEB}"/>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3" name="Line 29">
                      <a:extLst>
                        <a:ext uri="{FF2B5EF4-FFF2-40B4-BE49-F238E27FC236}">
                          <a16:creationId xmlns:a16="http://schemas.microsoft.com/office/drawing/2014/main" id="{064DEB77-4693-426F-9A52-6172A03002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31">
                      <a:extLst>
                        <a:ext uri="{FF2B5EF4-FFF2-40B4-BE49-F238E27FC236}">
                          <a16:creationId xmlns:a16="http://schemas.microsoft.com/office/drawing/2014/main" id="{B5D17F89-315F-44FC-A2F6-8C02B4CAB390}"/>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6" name="Group 2825">
                <a:extLst>
                  <a:ext uri="{FF2B5EF4-FFF2-40B4-BE49-F238E27FC236}">
                    <a16:creationId xmlns:a16="http://schemas.microsoft.com/office/drawing/2014/main" id="{10B0253C-5C94-429F-BBF1-611BB03ABB88}"/>
                  </a:ext>
                </a:extLst>
              </p:cNvPr>
              <p:cNvGrpSpPr/>
              <p:nvPr/>
            </p:nvGrpSpPr>
            <p:grpSpPr>
              <a:xfrm>
                <a:off x="5261891" y="1974470"/>
                <a:ext cx="1115908" cy="967814"/>
                <a:chOff x="7338624" y="178556"/>
                <a:chExt cx="1115908" cy="967814"/>
              </a:xfrm>
            </p:grpSpPr>
            <p:grpSp>
              <p:nvGrpSpPr>
                <p:cNvPr id="2827" name="Group 2826">
                  <a:extLst>
                    <a:ext uri="{FF2B5EF4-FFF2-40B4-BE49-F238E27FC236}">
                      <a16:creationId xmlns:a16="http://schemas.microsoft.com/office/drawing/2014/main" id="{E28F05B0-9772-44E3-B5B8-58C6DAC79255}"/>
                    </a:ext>
                  </a:extLst>
                </p:cNvPr>
                <p:cNvGrpSpPr/>
                <p:nvPr/>
              </p:nvGrpSpPr>
              <p:grpSpPr>
                <a:xfrm flipH="1">
                  <a:off x="7603032" y="178556"/>
                  <a:ext cx="524442" cy="697246"/>
                  <a:chOff x="8607957" y="605299"/>
                  <a:chExt cx="2806962" cy="3731864"/>
                </a:xfrm>
              </p:grpSpPr>
              <p:sp>
                <p:nvSpPr>
                  <p:cNvPr id="2829" name="iBar:31/138">
                    <a:extLst>
                      <a:ext uri="{FF2B5EF4-FFF2-40B4-BE49-F238E27FC236}">
                        <a16:creationId xmlns:a16="http://schemas.microsoft.com/office/drawing/2014/main" id="{76083AC9-51FA-4E2F-83DF-C02B81FEC2E0}"/>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0" name="Rectangle 2829">
                    <a:extLst>
                      <a:ext uri="{FF2B5EF4-FFF2-40B4-BE49-F238E27FC236}">
                        <a16:creationId xmlns:a16="http://schemas.microsoft.com/office/drawing/2014/main" id="{E6C84DCD-DA8A-456D-AF0E-EF979749E31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31" name="Group 2830">
                    <a:extLst>
                      <a:ext uri="{FF2B5EF4-FFF2-40B4-BE49-F238E27FC236}">
                        <a16:creationId xmlns:a16="http://schemas.microsoft.com/office/drawing/2014/main" id="{1AB2D2B6-42E6-45AE-A96E-238D173DB770}"/>
                      </a:ext>
                    </a:extLst>
                  </p:cNvPr>
                  <p:cNvGrpSpPr/>
                  <p:nvPr/>
                </p:nvGrpSpPr>
                <p:grpSpPr>
                  <a:xfrm>
                    <a:off x="8776645" y="2392984"/>
                    <a:ext cx="2463737" cy="1844316"/>
                    <a:chOff x="8566719" y="2617154"/>
                    <a:chExt cx="2463737" cy="1844316"/>
                  </a:xfrm>
                </p:grpSpPr>
                <p:sp>
                  <p:nvSpPr>
                    <p:cNvPr id="2845" name="Rectangle 2844">
                      <a:extLst>
                        <a:ext uri="{FF2B5EF4-FFF2-40B4-BE49-F238E27FC236}">
                          <a16:creationId xmlns:a16="http://schemas.microsoft.com/office/drawing/2014/main" id="{96505904-8AB3-48C5-B8E0-5633CA83587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6" name="Group 2845">
                      <a:extLst>
                        <a:ext uri="{FF2B5EF4-FFF2-40B4-BE49-F238E27FC236}">
                          <a16:creationId xmlns:a16="http://schemas.microsoft.com/office/drawing/2014/main" id="{0757CA4A-A2A4-4482-8ED7-6ABA1D868BBE}"/>
                        </a:ext>
                      </a:extLst>
                    </p:cNvPr>
                    <p:cNvGrpSpPr/>
                    <p:nvPr/>
                  </p:nvGrpSpPr>
                  <p:grpSpPr>
                    <a:xfrm>
                      <a:off x="8720849" y="2791577"/>
                      <a:ext cx="2190282" cy="1669893"/>
                      <a:chOff x="5195358" y="4591383"/>
                      <a:chExt cx="1906459" cy="1380076"/>
                    </a:xfrm>
                  </p:grpSpPr>
                  <p:grpSp>
                    <p:nvGrpSpPr>
                      <p:cNvPr id="2847" name="Group 2846">
                        <a:extLst>
                          <a:ext uri="{FF2B5EF4-FFF2-40B4-BE49-F238E27FC236}">
                            <a16:creationId xmlns:a16="http://schemas.microsoft.com/office/drawing/2014/main" id="{BF629DC0-DE9F-4F1C-AFA9-FD31D01C65DD}"/>
                          </a:ext>
                        </a:extLst>
                      </p:cNvPr>
                      <p:cNvGrpSpPr/>
                      <p:nvPr/>
                    </p:nvGrpSpPr>
                    <p:grpSpPr>
                      <a:xfrm>
                        <a:off x="5195358" y="4591383"/>
                        <a:ext cx="1020183" cy="1224086"/>
                        <a:chOff x="10650533" y="3663550"/>
                        <a:chExt cx="575867" cy="836067"/>
                      </a:xfrm>
                    </p:grpSpPr>
                    <p:grpSp>
                      <p:nvGrpSpPr>
                        <p:cNvPr id="2849" name="Group 2848">
                          <a:extLst>
                            <a:ext uri="{FF2B5EF4-FFF2-40B4-BE49-F238E27FC236}">
                              <a16:creationId xmlns:a16="http://schemas.microsoft.com/office/drawing/2014/main" id="{BB98506A-FA0C-4492-9504-F1365ACE114B}"/>
                            </a:ext>
                          </a:extLst>
                        </p:cNvPr>
                        <p:cNvGrpSpPr/>
                        <p:nvPr/>
                      </p:nvGrpSpPr>
                      <p:grpSpPr>
                        <a:xfrm>
                          <a:off x="10650533" y="3663550"/>
                          <a:ext cx="575867" cy="728623"/>
                          <a:chOff x="5717961" y="2827338"/>
                          <a:chExt cx="282576" cy="387350"/>
                        </a:xfrm>
                      </p:grpSpPr>
                      <p:sp>
                        <p:nvSpPr>
                          <p:cNvPr id="2851" name="Freeform 1754">
                            <a:extLst>
                              <a:ext uri="{FF2B5EF4-FFF2-40B4-BE49-F238E27FC236}">
                                <a16:creationId xmlns:a16="http://schemas.microsoft.com/office/drawing/2014/main" id="{29A43FEB-3397-4D64-8742-218DE128F717}"/>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2" name="Freeform 1755">
                            <a:extLst>
                              <a:ext uri="{FF2B5EF4-FFF2-40B4-BE49-F238E27FC236}">
                                <a16:creationId xmlns:a16="http://schemas.microsoft.com/office/drawing/2014/main" id="{4CA2087B-D49F-46EC-AE28-3B14506FD4B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53" name="Freeform 1756">
                            <a:extLst>
                              <a:ext uri="{FF2B5EF4-FFF2-40B4-BE49-F238E27FC236}">
                                <a16:creationId xmlns:a16="http://schemas.microsoft.com/office/drawing/2014/main" id="{C8403C95-BCEE-465E-ADAC-A020457D09BE}"/>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4" name="Freeform 1757">
                            <a:extLst>
                              <a:ext uri="{FF2B5EF4-FFF2-40B4-BE49-F238E27FC236}">
                                <a16:creationId xmlns:a16="http://schemas.microsoft.com/office/drawing/2014/main" id="{2561EC10-7056-4F74-8284-A8C753A830C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5" name="Freeform 1758">
                            <a:extLst>
                              <a:ext uri="{FF2B5EF4-FFF2-40B4-BE49-F238E27FC236}">
                                <a16:creationId xmlns:a16="http://schemas.microsoft.com/office/drawing/2014/main" id="{931576A2-EA44-463F-A03A-911B6FC5D780}"/>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50" name="TextBox 2849">
                          <a:extLst>
                            <a:ext uri="{FF2B5EF4-FFF2-40B4-BE49-F238E27FC236}">
                              <a16:creationId xmlns:a16="http://schemas.microsoft.com/office/drawing/2014/main" id="{3D98CFE1-0FD4-4645-87E5-09E842BBE60A}"/>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48" name="TextBox 2847">
                        <a:extLst>
                          <a:ext uri="{FF2B5EF4-FFF2-40B4-BE49-F238E27FC236}">
                            <a16:creationId xmlns:a16="http://schemas.microsoft.com/office/drawing/2014/main" id="{89484070-167C-403C-8732-0E81C207859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32" name="Group 2831">
                    <a:extLst>
                      <a:ext uri="{FF2B5EF4-FFF2-40B4-BE49-F238E27FC236}">
                        <a16:creationId xmlns:a16="http://schemas.microsoft.com/office/drawing/2014/main" id="{8B11732F-9CC2-42EE-AB66-BE2E5101BD37}"/>
                      </a:ext>
                    </a:extLst>
                  </p:cNvPr>
                  <p:cNvGrpSpPr/>
                  <p:nvPr/>
                </p:nvGrpSpPr>
                <p:grpSpPr>
                  <a:xfrm>
                    <a:off x="9538998" y="605299"/>
                    <a:ext cx="944881" cy="858986"/>
                    <a:chOff x="3369813" y="4950013"/>
                    <a:chExt cx="440826" cy="400751"/>
                  </a:xfrm>
                </p:grpSpPr>
                <p:sp>
                  <p:nvSpPr>
                    <p:cNvPr id="2841" name="Oval 2840">
                      <a:extLst>
                        <a:ext uri="{FF2B5EF4-FFF2-40B4-BE49-F238E27FC236}">
                          <a16:creationId xmlns:a16="http://schemas.microsoft.com/office/drawing/2014/main" id="{AA81403E-440E-46C0-8AAD-EAF0C5501D0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2" name="Group 226">
                      <a:extLst>
                        <a:ext uri="{FF2B5EF4-FFF2-40B4-BE49-F238E27FC236}">
                          <a16:creationId xmlns:a16="http://schemas.microsoft.com/office/drawing/2014/main" id="{565B5CAF-270F-478D-B29E-678341F504CA}"/>
                        </a:ext>
                      </a:extLst>
                    </p:cNvPr>
                    <p:cNvGrpSpPr>
                      <a:grpSpLocks noChangeAspect="1"/>
                    </p:cNvGrpSpPr>
                    <p:nvPr/>
                  </p:nvGrpSpPr>
                  <p:grpSpPr bwMode="auto">
                    <a:xfrm>
                      <a:off x="3437467" y="4997630"/>
                      <a:ext cx="305517" cy="305517"/>
                      <a:chOff x="5048" y="783"/>
                      <a:chExt cx="340" cy="340"/>
                    </a:xfrm>
                    <a:solidFill>
                      <a:schemeClr val="bg1"/>
                    </a:solidFill>
                  </p:grpSpPr>
                  <p:sp>
                    <p:nvSpPr>
                      <p:cNvPr id="2843" name="Freeform 227">
                        <a:extLst>
                          <a:ext uri="{FF2B5EF4-FFF2-40B4-BE49-F238E27FC236}">
                            <a16:creationId xmlns:a16="http://schemas.microsoft.com/office/drawing/2014/main" id="{366C18A2-9552-40A8-9B31-D9E6E6F42751}"/>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44" name="Freeform 228">
                        <a:extLst>
                          <a:ext uri="{FF2B5EF4-FFF2-40B4-BE49-F238E27FC236}">
                            <a16:creationId xmlns:a16="http://schemas.microsoft.com/office/drawing/2014/main" id="{21FD642E-B72D-4CA8-9986-89D6870F3588}"/>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33" name="Straight Connector 2832">
                    <a:extLst>
                      <a:ext uri="{FF2B5EF4-FFF2-40B4-BE49-F238E27FC236}">
                        <a16:creationId xmlns:a16="http://schemas.microsoft.com/office/drawing/2014/main" id="{383E3174-9BB6-4919-9467-9F8C351AA09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4" name="Straight Connector 2833">
                    <a:extLst>
                      <a:ext uri="{FF2B5EF4-FFF2-40B4-BE49-F238E27FC236}">
                        <a16:creationId xmlns:a16="http://schemas.microsoft.com/office/drawing/2014/main" id="{F9B7EB99-914D-41FC-AF5A-F90C88EDD6CC}"/>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5" name="Straight Connector 2834">
                    <a:extLst>
                      <a:ext uri="{FF2B5EF4-FFF2-40B4-BE49-F238E27FC236}">
                        <a16:creationId xmlns:a16="http://schemas.microsoft.com/office/drawing/2014/main" id="{BC2B2B6B-849E-4DD8-8550-64D70B59D3B9}"/>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6" name="Straight Connector 2835">
                    <a:extLst>
                      <a:ext uri="{FF2B5EF4-FFF2-40B4-BE49-F238E27FC236}">
                        <a16:creationId xmlns:a16="http://schemas.microsoft.com/office/drawing/2014/main" id="{A48ADA09-496D-45B9-96E9-D85E34A3C95D}"/>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7" name="Straight Connector 2836">
                    <a:extLst>
                      <a:ext uri="{FF2B5EF4-FFF2-40B4-BE49-F238E27FC236}">
                        <a16:creationId xmlns:a16="http://schemas.microsoft.com/office/drawing/2014/main" id="{DC4DBB82-431A-4CE8-8A16-3D69C3A21B9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8" name="Straight Connector 2837">
                    <a:extLst>
                      <a:ext uri="{FF2B5EF4-FFF2-40B4-BE49-F238E27FC236}">
                        <a16:creationId xmlns:a16="http://schemas.microsoft.com/office/drawing/2014/main" id="{A16B99CE-E9EE-4DAB-8AE5-A5F1DC8559CC}"/>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9" name="Straight Connector 2838">
                    <a:extLst>
                      <a:ext uri="{FF2B5EF4-FFF2-40B4-BE49-F238E27FC236}">
                        <a16:creationId xmlns:a16="http://schemas.microsoft.com/office/drawing/2014/main" id="{DCCDAB6B-C5CD-4CBF-8E38-210CB00383F7}"/>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0" name="Straight Connector 2839">
                    <a:extLst>
                      <a:ext uri="{FF2B5EF4-FFF2-40B4-BE49-F238E27FC236}">
                        <a16:creationId xmlns:a16="http://schemas.microsoft.com/office/drawing/2014/main" id="{A296BF29-EB62-4597-8850-8C45C724A659}"/>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28" name="Rectangle 2827">
                  <a:extLst>
                    <a:ext uri="{FF2B5EF4-FFF2-40B4-BE49-F238E27FC236}">
                      <a16:creationId xmlns:a16="http://schemas.microsoft.com/office/drawing/2014/main" id="{F06BBE9B-80D6-4DEE-92CB-5CB4F1CBF1C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856" name="Group 2855">
                <a:extLst>
                  <a:ext uri="{FF2B5EF4-FFF2-40B4-BE49-F238E27FC236}">
                    <a16:creationId xmlns:a16="http://schemas.microsoft.com/office/drawing/2014/main" id="{39FBE55D-3B31-4558-AA6D-C82DF7F5AB12}"/>
                  </a:ext>
                </a:extLst>
              </p:cNvPr>
              <p:cNvGrpSpPr/>
              <p:nvPr/>
            </p:nvGrpSpPr>
            <p:grpSpPr>
              <a:xfrm>
                <a:off x="6189282" y="2207036"/>
                <a:ext cx="309777" cy="570271"/>
                <a:chOff x="6298183" y="258138"/>
                <a:chExt cx="309777" cy="570271"/>
              </a:xfrm>
            </p:grpSpPr>
            <p:pic>
              <p:nvPicPr>
                <p:cNvPr id="2857" name="Picture 2856">
                  <a:extLst>
                    <a:ext uri="{FF2B5EF4-FFF2-40B4-BE49-F238E27FC236}">
                      <a16:creationId xmlns:a16="http://schemas.microsoft.com/office/drawing/2014/main" id="{4BBE49CE-786F-4672-A5CA-941B8AF71A9F}"/>
                    </a:ext>
                  </a:extLst>
                </p:cNvPr>
                <p:cNvPicPr>
                  <a:picLocks noChangeAspect="1"/>
                </p:cNvPicPr>
                <p:nvPr/>
              </p:nvPicPr>
              <p:blipFill>
                <a:blip r:embed="rId6"/>
                <a:stretch>
                  <a:fillRect/>
                </a:stretch>
              </p:blipFill>
              <p:spPr>
                <a:xfrm>
                  <a:off x="6298183" y="258138"/>
                  <a:ext cx="309777" cy="570271"/>
                </a:xfrm>
                <a:prstGeom prst="rect">
                  <a:avLst/>
                </a:prstGeom>
              </p:spPr>
            </p:pic>
            <p:sp>
              <p:nvSpPr>
                <p:cNvPr id="2858" name="Freeform 152">
                  <a:extLst>
                    <a:ext uri="{FF2B5EF4-FFF2-40B4-BE49-F238E27FC236}">
                      <a16:creationId xmlns:a16="http://schemas.microsoft.com/office/drawing/2014/main" id="{E3CD1546-4807-4BEC-AEFD-4BC1E9269A7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sp>
        <p:nvSpPr>
          <p:cNvPr id="2859" name="Rectangle 2858">
            <a:extLst>
              <a:ext uri="{FF2B5EF4-FFF2-40B4-BE49-F238E27FC236}">
                <a16:creationId xmlns:a16="http://schemas.microsoft.com/office/drawing/2014/main" id="{68B15680-A55E-47F6-8D5C-D956EDAD387E}"/>
              </a:ext>
            </a:extLst>
          </p:cNvPr>
          <p:cNvSpPr>
            <a:spLocks/>
          </p:cNvSpPr>
          <p:nvPr/>
        </p:nvSpPr>
        <p:spPr bwMode="gray">
          <a:xfrm>
            <a:off x="3378079" y="1689529"/>
            <a:ext cx="6421217" cy="4861963"/>
          </a:xfrm>
          <a:prstGeom prst="rect">
            <a:avLst/>
          </a:prstGeom>
          <a:no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grpSp>
        <p:nvGrpSpPr>
          <p:cNvPr id="2860" name="Group 2859">
            <a:extLst>
              <a:ext uri="{FF2B5EF4-FFF2-40B4-BE49-F238E27FC236}">
                <a16:creationId xmlns:a16="http://schemas.microsoft.com/office/drawing/2014/main" id="{8469F45A-26BD-4B2C-B9E7-6A5F332A7359}"/>
              </a:ext>
            </a:extLst>
          </p:cNvPr>
          <p:cNvGrpSpPr/>
          <p:nvPr/>
        </p:nvGrpSpPr>
        <p:grpSpPr>
          <a:xfrm>
            <a:off x="412748" y="1219432"/>
            <a:ext cx="11430427" cy="561479"/>
            <a:chOff x="347472" y="1051180"/>
            <a:chExt cx="11667743" cy="561625"/>
          </a:xfrm>
        </p:grpSpPr>
        <p:grpSp>
          <p:nvGrpSpPr>
            <p:cNvPr id="2861" name="Group 2860">
              <a:extLst>
                <a:ext uri="{FF2B5EF4-FFF2-40B4-BE49-F238E27FC236}">
                  <a16:creationId xmlns:a16="http://schemas.microsoft.com/office/drawing/2014/main" id="{4C8E5E70-E4D0-4028-8B01-CF3D9E25E7CD}"/>
                </a:ext>
              </a:extLst>
            </p:cNvPr>
            <p:cNvGrpSpPr/>
            <p:nvPr/>
          </p:nvGrpSpPr>
          <p:grpSpPr>
            <a:xfrm>
              <a:off x="347472" y="1051180"/>
              <a:ext cx="11667743" cy="561625"/>
              <a:chOff x="347472" y="1051180"/>
              <a:chExt cx="11667743" cy="561625"/>
            </a:xfrm>
          </p:grpSpPr>
          <p:grpSp>
            <p:nvGrpSpPr>
              <p:cNvPr id="2863" name="Group 2862">
                <a:extLst>
                  <a:ext uri="{FF2B5EF4-FFF2-40B4-BE49-F238E27FC236}">
                    <a16:creationId xmlns:a16="http://schemas.microsoft.com/office/drawing/2014/main" id="{19B053B6-D501-46E8-8324-28B2181F54E8}"/>
                  </a:ext>
                </a:extLst>
              </p:cNvPr>
              <p:cNvGrpSpPr/>
              <p:nvPr/>
            </p:nvGrpSpPr>
            <p:grpSpPr>
              <a:xfrm>
                <a:off x="347472" y="1154250"/>
                <a:ext cx="11667743" cy="458555"/>
                <a:chOff x="390609" y="1132914"/>
                <a:chExt cx="11511569" cy="458555"/>
              </a:xfrm>
            </p:grpSpPr>
            <p:sp>
              <p:nvSpPr>
                <p:cNvPr id="2865" name="Rectangle: Rounded Corners 2864">
                  <a:extLst>
                    <a:ext uri="{FF2B5EF4-FFF2-40B4-BE49-F238E27FC236}">
                      <a16:creationId xmlns:a16="http://schemas.microsoft.com/office/drawing/2014/main" id="{C0ECC67F-0257-4ADE-8214-7AF66289F9D4}"/>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66" name="Rectangle 2865">
                  <a:extLst>
                    <a:ext uri="{FF2B5EF4-FFF2-40B4-BE49-F238E27FC236}">
                      <a16:creationId xmlns:a16="http://schemas.microsoft.com/office/drawing/2014/main" id="{31A4B2A4-CB38-47F9-918B-83E5241FED48}"/>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867" name="Rectangle 2866">
                  <a:extLst>
                    <a:ext uri="{FF2B5EF4-FFF2-40B4-BE49-F238E27FC236}">
                      <a16:creationId xmlns:a16="http://schemas.microsoft.com/office/drawing/2014/main" id="{D4656027-3B78-4CB3-A1A2-D6BB2C320FF7}"/>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868" name="Rectangle 2867">
                  <a:extLst>
                    <a:ext uri="{FF2B5EF4-FFF2-40B4-BE49-F238E27FC236}">
                      <a16:creationId xmlns:a16="http://schemas.microsoft.com/office/drawing/2014/main" id="{C98E7147-5C83-4907-A983-19382A05947B}"/>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869" name="Isosceles Triangle 2868">
                  <a:extLst>
                    <a:ext uri="{FF2B5EF4-FFF2-40B4-BE49-F238E27FC236}">
                      <a16:creationId xmlns:a16="http://schemas.microsoft.com/office/drawing/2014/main" id="{377B7AEF-DD5C-407A-BC96-22FE913B1FDF}"/>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70" name="Isosceles Triangle 2869">
                  <a:extLst>
                    <a:ext uri="{FF2B5EF4-FFF2-40B4-BE49-F238E27FC236}">
                      <a16:creationId xmlns:a16="http://schemas.microsoft.com/office/drawing/2014/main" id="{9E20B44C-313C-46AE-B0F0-4AB18A509ADA}"/>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4" name="Isosceles Triangle 2863">
                <a:extLst>
                  <a:ext uri="{FF2B5EF4-FFF2-40B4-BE49-F238E27FC236}">
                    <a16:creationId xmlns:a16="http://schemas.microsoft.com/office/drawing/2014/main" id="{A841C7DD-F4A1-4DCA-8EFD-70E365D590F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2" name="Isosceles Triangle 2861">
              <a:extLst>
                <a:ext uri="{FF2B5EF4-FFF2-40B4-BE49-F238E27FC236}">
                  <a16:creationId xmlns:a16="http://schemas.microsoft.com/office/drawing/2014/main" id="{6C5E3EB9-EC10-4A5A-BE32-40C4AD1E2BB9}"/>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835" name="Rectangle 834">
            <a:extLst>
              <a:ext uri="{FF2B5EF4-FFF2-40B4-BE49-F238E27FC236}">
                <a16:creationId xmlns:a16="http://schemas.microsoft.com/office/drawing/2014/main" id="{3469B68B-C9A4-4AF7-AD6E-427D79845E3D}"/>
              </a:ext>
            </a:extLst>
          </p:cNvPr>
          <p:cNvSpPr/>
          <p:nvPr/>
        </p:nvSpPr>
        <p:spPr>
          <a:xfrm>
            <a:off x="7011392" y="474389"/>
            <a:ext cx="4360636" cy="502702"/>
          </a:xfrm>
          <a:prstGeom prst="rect">
            <a:avLst/>
          </a:prstGeom>
          <a:solidFill>
            <a:schemeClr val="bg1"/>
          </a:solidFill>
          <a:ln w="28575">
            <a:solidFill>
              <a:schemeClr val="accent3"/>
            </a:solidFill>
          </a:ln>
        </p:spPr>
        <p:txBody>
          <a:bodyPr wrap="square">
            <a:spAutoFit/>
          </a:bodyPr>
          <a:lstStyle/>
          <a:p>
            <a:pPr>
              <a:lnSpc>
                <a:spcPts val="1278"/>
              </a:lnSpc>
              <a:spcAft>
                <a:spcPts val="602"/>
              </a:spcAft>
              <a:tabLst>
                <a:tab pos="343739" algn="l"/>
              </a:tabLst>
            </a:pPr>
            <a:r>
              <a:rPr lang="en-US" sz="1200" b="1" dirty="0">
                <a:cs typeface="Times New Roman" panose="02020603050405020304" pitchFamily="18" charset="0"/>
              </a:rPr>
              <a:t>Purpose: </a:t>
            </a:r>
            <a:r>
              <a:rPr lang="en-US" sz="1200" dirty="0">
                <a:cs typeface="Times New Roman" panose="02020603050405020304" pitchFamily="18" charset="0"/>
              </a:rPr>
              <a:t>To identify continuous improvement opportunities. </a:t>
            </a:r>
          </a:p>
          <a:p>
            <a:pPr>
              <a:lnSpc>
                <a:spcPts val="1278"/>
              </a:lnSpc>
              <a:spcAft>
                <a:spcPts val="602"/>
              </a:spcAft>
              <a:tabLst>
                <a:tab pos="343739" algn="l"/>
              </a:tabLst>
            </a:pPr>
            <a:endParaRPr lang="en-US" sz="1200" b="1" dirty="0">
              <a:cs typeface="Times New Roman" panose="02020603050405020304" pitchFamily="18" charset="0"/>
            </a:endParaRPr>
          </a:p>
        </p:txBody>
      </p:sp>
    </p:spTree>
    <p:custDataLst>
      <p:tags r:id="rId1"/>
    </p:custDataLst>
    <p:extLst>
      <p:ext uri="{BB962C8B-B14F-4D97-AF65-F5344CB8AC3E}">
        <p14:creationId xmlns:p14="http://schemas.microsoft.com/office/powerpoint/2010/main" val="151503160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Release: Product Increment</a:t>
            </a:r>
          </a:p>
        </p:txBody>
      </p:sp>
      <p:graphicFrame>
        <p:nvGraphicFramePr>
          <p:cNvPr id="2189" name="Table 2188">
            <a:extLst>
              <a:ext uri="{FF2B5EF4-FFF2-40B4-BE49-F238E27FC236}">
                <a16:creationId xmlns:a16="http://schemas.microsoft.com/office/drawing/2014/main" id="{F0E03C91-B69E-47A5-BFB5-55222D8F4D7C}"/>
              </a:ext>
            </a:extLst>
          </p:cNvPr>
          <p:cNvGraphicFramePr>
            <a:graphicFrameLocks noGrp="1"/>
          </p:cNvGraphicFramePr>
          <p:nvPr/>
        </p:nvGraphicFramePr>
        <p:xfrm>
          <a:off x="4180215" y="3297078"/>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190" name="Rectangle 2189">
            <a:extLst>
              <a:ext uri="{FF2B5EF4-FFF2-40B4-BE49-F238E27FC236}">
                <a16:creationId xmlns:a16="http://schemas.microsoft.com/office/drawing/2014/main" id="{5B242AB0-D087-45B9-991C-D144B01E7F0A}"/>
              </a:ext>
            </a:extLst>
          </p:cNvPr>
          <p:cNvSpPr>
            <a:spLocks/>
          </p:cNvSpPr>
          <p:nvPr/>
        </p:nvSpPr>
        <p:spPr bwMode="gray">
          <a:xfrm>
            <a:off x="9920415" y="1689529"/>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192" name="Table 2191">
            <a:extLst>
              <a:ext uri="{FF2B5EF4-FFF2-40B4-BE49-F238E27FC236}">
                <a16:creationId xmlns:a16="http://schemas.microsoft.com/office/drawing/2014/main" id="{2AC1EC88-3AC8-4154-AB0C-7952CEFF5CBB}"/>
              </a:ext>
            </a:extLst>
          </p:cNvPr>
          <p:cNvGraphicFramePr>
            <a:graphicFrameLocks noGrp="1"/>
          </p:cNvGraphicFramePr>
          <p:nvPr/>
        </p:nvGraphicFramePr>
        <p:xfrm>
          <a:off x="470204" y="4578245"/>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426" name="Group 2425">
            <a:extLst>
              <a:ext uri="{FF2B5EF4-FFF2-40B4-BE49-F238E27FC236}">
                <a16:creationId xmlns:a16="http://schemas.microsoft.com/office/drawing/2014/main" id="{2F4C1848-C988-45F9-9A19-5A120656476B}"/>
              </a:ext>
            </a:extLst>
          </p:cNvPr>
          <p:cNvGrpSpPr/>
          <p:nvPr/>
        </p:nvGrpSpPr>
        <p:grpSpPr>
          <a:xfrm>
            <a:off x="7903676" y="3444205"/>
            <a:ext cx="1851680" cy="1646153"/>
            <a:chOff x="7893402" y="3412713"/>
            <a:chExt cx="1856890" cy="1650785"/>
          </a:xfrm>
        </p:grpSpPr>
        <p:sp>
          <p:nvSpPr>
            <p:cNvPr id="2427" name="Rectangle 2426">
              <a:extLst>
                <a:ext uri="{FF2B5EF4-FFF2-40B4-BE49-F238E27FC236}">
                  <a16:creationId xmlns:a16="http://schemas.microsoft.com/office/drawing/2014/main" id="{D9F7DB93-4E3A-445A-84F6-267EFDFB5C92}"/>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2428" name="Rectangle 2427">
              <a:extLst>
                <a:ext uri="{FF2B5EF4-FFF2-40B4-BE49-F238E27FC236}">
                  <a16:creationId xmlns:a16="http://schemas.microsoft.com/office/drawing/2014/main" id="{5A4FD49F-7F1D-4CC7-879F-A7ABB52F356B}"/>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2429" name="Group 2428">
              <a:extLst>
                <a:ext uri="{FF2B5EF4-FFF2-40B4-BE49-F238E27FC236}">
                  <a16:creationId xmlns:a16="http://schemas.microsoft.com/office/drawing/2014/main" id="{E550472D-B9B8-4771-92F4-8C23F6AF67DF}"/>
                </a:ext>
              </a:extLst>
            </p:cNvPr>
            <p:cNvGrpSpPr>
              <a:grpSpLocks/>
            </p:cNvGrpSpPr>
            <p:nvPr/>
          </p:nvGrpSpPr>
          <p:grpSpPr>
            <a:xfrm>
              <a:off x="8732469" y="4576554"/>
              <a:ext cx="486942" cy="486944"/>
              <a:chOff x="9882273" y="6953856"/>
              <a:chExt cx="473625" cy="473627"/>
            </a:xfrm>
          </p:grpSpPr>
          <p:grpSp>
            <p:nvGrpSpPr>
              <p:cNvPr id="2453" name="Group 64">
                <a:extLst>
                  <a:ext uri="{FF2B5EF4-FFF2-40B4-BE49-F238E27FC236}">
                    <a16:creationId xmlns:a16="http://schemas.microsoft.com/office/drawing/2014/main" id="{5A9F3FCF-076A-4178-91D1-F68A9EE43502}"/>
                  </a:ext>
                </a:extLst>
              </p:cNvPr>
              <p:cNvGrpSpPr>
                <a:grpSpLocks noChangeAspect="1"/>
              </p:cNvGrpSpPr>
              <p:nvPr/>
            </p:nvGrpSpPr>
            <p:grpSpPr bwMode="auto">
              <a:xfrm rot="8100000">
                <a:off x="9882273" y="6953856"/>
                <a:ext cx="473625" cy="473627"/>
                <a:chOff x="701" y="2170"/>
                <a:chExt cx="587" cy="587"/>
              </a:xfrm>
            </p:grpSpPr>
            <p:sp>
              <p:nvSpPr>
                <p:cNvPr id="2485" name="Oval 65">
                  <a:extLst>
                    <a:ext uri="{FF2B5EF4-FFF2-40B4-BE49-F238E27FC236}">
                      <a16:creationId xmlns:a16="http://schemas.microsoft.com/office/drawing/2014/main" id="{C06DCFE0-CD33-46A3-89C2-7B34BD64FF8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86" name="Line 66">
                  <a:extLst>
                    <a:ext uri="{FF2B5EF4-FFF2-40B4-BE49-F238E27FC236}">
                      <a16:creationId xmlns:a16="http://schemas.microsoft.com/office/drawing/2014/main" id="{E38981EB-CCBD-4C80-8E94-4444018615C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7" name="Line 67">
                  <a:extLst>
                    <a:ext uri="{FF2B5EF4-FFF2-40B4-BE49-F238E27FC236}">
                      <a16:creationId xmlns:a16="http://schemas.microsoft.com/office/drawing/2014/main" id="{C186E825-A38E-4E39-9B40-6D5B1F81404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8" name="Line 69">
                  <a:extLst>
                    <a:ext uri="{FF2B5EF4-FFF2-40B4-BE49-F238E27FC236}">
                      <a16:creationId xmlns:a16="http://schemas.microsoft.com/office/drawing/2014/main" id="{14D5BAF0-9E9C-489A-92B1-1DE9CD9CA6B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9" name="Line 74">
                  <a:extLst>
                    <a:ext uri="{FF2B5EF4-FFF2-40B4-BE49-F238E27FC236}">
                      <a16:creationId xmlns:a16="http://schemas.microsoft.com/office/drawing/2014/main" id="{1DC512FF-4C45-449B-BD3B-FB57DC2DA17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0" name="Freeform 78">
                  <a:extLst>
                    <a:ext uri="{FF2B5EF4-FFF2-40B4-BE49-F238E27FC236}">
                      <a16:creationId xmlns:a16="http://schemas.microsoft.com/office/drawing/2014/main" id="{11F014B2-A79B-4EE6-8822-F8FFB8A3145F}"/>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1" name="Freeform 80">
                  <a:extLst>
                    <a:ext uri="{FF2B5EF4-FFF2-40B4-BE49-F238E27FC236}">
                      <a16:creationId xmlns:a16="http://schemas.microsoft.com/office/drawing/2014/main" id="{176D9644-E2D3-47F1-A3BD-EFE68816428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54" name="Group 2453">
                <a:extLst>
                  <a:ext uri="{FF2B5EF4-FFF2-40B4-BE49-F238E27FC236}">
                    <a16:creationId xmlns:a16="http://schemas.microsoft.com/office/drawing/2014/main" id="{A36C6C24-1B12-4B73-B1D3-DA437E6DB632}"/>
                  </a:ext>
                </a:extLst>
              </p:cNvPr>
              <p:cNvGrpSpPr/>
              <p:nvPr/>
            </p:nvGrpSpPr>
            <p:grpSpPr>
              <a:xfrm>
                <a:off x="9938546" y="7021642"/>
                <a:ext cx="356509" cy="349884"/>
                <a:chOff x="468738" y="2241878"/>
                <a:chExt cx="1655483" cy="1624719"/>
              </a:xfrm>
            </p:grpSpPr>
            <p:sp>
              <p:nvSpPr>
                <p:cNvPr id="2455" name="Freeform 5">
                  <a:extLst>
                    <a:ext uri="{FF2B5EF4-FFF2-40B4-BE49-F238E27FC236}">
                      <a16:creationId xmlns:a16="http://schemas.microsoft.com/office/drawing/2014/main" id="{81516C26-7CC0-4865-98F2-05E519A79E28}"/>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6" name="Freeform 6">
                  <a:extLst>
                    <a:ext uri="{FF2B5EF4-FFF2-40B4-BE49-F238E27FC236}">
                      <a16:creationId xmlns:a16="http://schemas.microsoft.com/office/drawing/2014/main" id="{EE1ECE39-B1C7-4972-AFDA-9B1C7AE92CAF}"/>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7" name="Line 7">
                  <a:extLst>
                    <a:ext uri="{FF2B5EF4-FFF2-40B4-BE49-F238E27FC236}">
                      <a16:creationId xmlns:a16="http://schemas.microsoft.com/office/drawing/2014/main" id="{69BEF833-005A-448B-A4A9-24B2B3F1948D}"/>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8" name="Freeform 8">
                  <a:extLst>
                    <a:ext uri="{FF2B5EF4-FFF2-40B4-BE49-F238E27FC236}">
                      <a16:creationId xmlns:a16="http://schemas.microsoft.com/office/drawing/2014/main" id="{4CA596B5-A245-4062-A62B-36A320793F1D}"/>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9" name="Line 9">
                  <a:extLst>
                    <a:ext uri="{FF2B5EF4-FFF2-40B4-BE49-F238E27FC236}">
                      <a16:creationId xmlns:a16="http://schemas.microsoft.com/office/drawing/2014/main" id="{12F30B3B-3621-49D6-B689-39D1687694B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460" name="Group 2459">
                  <a:extLst>
                    <a:ext uri="{FF2B5EF4-FFF2-40B4-BE49-F238E27FC236}">
                      <a16:creationId xmlns:a16="http://schemas.microsoft.com/office/drawing/2014/main" id="{47E72258-8CD2-4EDB-A4D3-4378433914C3}"/>
                    </a:ext>
                  </a:extLst>
                </p:cNvPr>
                <p:cNvGrpSpPr/>
                <p:nvPr/>
              </p:nvGrpSpPr>
              <p:grpSpPr>
                <a:xfrm>
                  <a:off x="1207113" y="2241878"/>
                  <a:ext cx="178734" cy="348678"/>
                  <a:chOff x="1207113" y="2241878"/>
                  <a:chExt cx="178734" cy="348678"/>
                </a:xfrm>
              </p:grpSpPr>
              <p:sp>
                <p:nvSpPr>
                  <p:cNvPr id="2483" name="Freeform 10">
                    <a:extLst>
                      <a:ext uri="{FF2B5EF4-FFF2-40B4-BE49-F238E27FC236}">
                        <a16:creationId xmlns:a16="http://schemas.microsoft.com/office/drawing/2014/main" id="{0C47D3E7-79FB-4169-AE5B-0D9C483BA7E2}"/>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4" name="Line 11">
                    <a:extLst>
                      <a:ext uri="{FF2B5EF4-FFF2-40B4-BE49-F238E27FC236}">
                        <a16:creationId xmlns:a16="http://schemas.microsoft.com/office/drawing/2014/main" id="{670F208F-5573-499B-AFB3-91B6275BEE3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461" name="Freeform 12">
                  <a:extLst>
                    <a:ext uri="{FF2B5EF4-FFF2-40B4-BE49-F238E27FC236}">
                      <a16:creationId xmlns:a16="http://schemas.microsoft.com/office/drawing/2014/main" id="{A86151A1-61DE-43C2-951B-92C53D5C336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2" name="Line 13">
                  <a:extLst>
                    <a:ext uri="{FF2B5EF4-FFF2-40B4-BE49-F238E27FC236}">
                      <a16:creationId xmlns:a16="http://schemas.microsoft.com/office/drawing/2014/main" id="{6673D6AB-E26B-405F-A42F-2A1A51E2797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3" name="Freeform 14">
                  <a:extLst>
                    <a:ext uri="{FF2B5EF4-FFF2-40B4-BE49-F238E27FC236}">
                      <a16:creationId xmlns:a16="http://schemas.microsoft.com/office/drawing/2014/main" id="{B1450993-D7A3-4940-9FF8-C4D4522FDEC1}"/>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4" name="Line 15">
                  <a:extLst>
                    <a:ext uri="{FF2B5EF4-FFF2-40B4-BE49-F238E27FC236}">
                      <a16:creationId xmlns:a16="http://schemas.microsoft.com/office/drawing/2014/main" id="{8804D058-A88A-4253-9F88-02814469569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5" name="Freeform 16">
                  <a:extLst>
                    <a:ext uri="{FF2B5EF4-FFF2-40B4-BE49-F238E27FC236}">
                      <a16:creationId xmlns:a16="http://schemas.microsoft.com/office/drawing/2014/main" id="{E79C8EA9-FB58-48CF-B309-653D723A975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6" name="Line 17">
                  <a:extLst>
                    <a:ext uri="{FF2B5EF4-FFF2-40B4-BE49-F238E27FC236}">
                      <a16:creationId xmlns:a16="http://schemas.microsoft.com/office/drawing/2014/main" id="{2E751352-0CED-402A-983C-643AA669C58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7" name="Freeform 18">
                  <a:extLst>
                    <a:ext uri="{FF2B5EF4-FFF2-40B4-BE49-F238E27FC236}">
                      <a16:creationId xmlns:a16="http://schemas.microsoft.com/office/drawing/2014/main" id="{BE6BE07E-AD0A-4D9D-AB39-55236A5F97F1}"/>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8" name="Line 19">
                  <a:extLst>
                    <a:ext uri="{FF2B5EF4-FFF2-40B4-BE49-F238E27FC236}">
                      <a16:creationId xmlns:a16="http://schemas.microsoft.com/office/drawing/2014/main" id="{60456495-5CCC-4911-B95C-E462C266330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9" name="Freeform 35">
                  <a:extLst>
                    <a:ext uri="{FF2B5EF4-FFF2-40B4-BE49-F238E27FC236}">
                      <a16:creationId xmlns:a16="http://schemas.microsoft.com/office/drawing/2014/main" id="{1CADC041-943B-40B2-B55B-0437641409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0" name="Freeform 36">
                  <a:extLst>
                    <a:ext uri="{FF2B5EF4-FFF2-40B4-BE49-F238E27FC236}">
                      <a16:creationId xmlns:a16="http://schemas.microsoft.com/office/drawing/2014/main" id="{4B6A0B8D-17F7-4756-A6EF-FE5DC608CF4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1" name="Freeform 37">
                  <a:extLst>
                    <a:ext uri="{FF2B5EF4-FFF2-40B4-BE49-F238E27FC236}">
                      <a16:creationId xmlns:a16="http://schemas.microsoft.com/office/drawing/2014/main" id="{50720E32-9884-47CE-866D-8AAE8D1C2A2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2" name="Freeform 38">
                  <a:extLst>
                    <a:ext uri="{FF2B5EF4-FFF2-40B4-BE49-F238E27FC236}">
                      <a16:creationId xmlns:a16="http://schemas.microsoft.com/office/drawing/2014/main" id="{362F3DD2-60D2-402A-B035-A720A7D359B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3" name="Freeform 39">
                  <a:extLst>
                    <a:ext uri="{FF2B5EF4-FFF2-40B4-BE49-F238E27FC236}">
                      <a16:creationId xmlns:a16="http://schemas.microsoft.com/office/drawing/2014/main" id="{C23041C7-275B-41D8-A4A1-068955263D77}"/>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4" name="Freeform 40">
                  <a:extLst>
                    <a:ext uri="{FF2B5EF4-FFF2-40B4-BE49-F238E27FC236}">
                      <a16:creationId xmlns:a16="http://schemas.microsoft.com/office/drawing/2014/main" id="{B6C4A717-EA59-4FB6-BDE5-D06AE891B2DF}"/>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5" name="Freeform 41">
                  <a:extLst>
                    <a:ext uri="{FF2B5EF4-FFF2-40B4-BE49-F238E27FC236}">
                      <a16:creationId xmlns:a16="http://schemas.microsoft.com/office/drawing/2014/main" id="{97FAACF2-4CB6-4043-BF5E-E182F7F483EB}"/>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6" name="Line 42">
                  <a:extLst>
                    <a:ext uri="{FF2B5EF4-FFF2-40B4-BE49-F238E27FC236}">
                      <a16:creationId xmlns:a16="http://schemas.microsoft.com/office/drawing/2014/main" id="{DB8A49ED-314B-40BB-84B6-0D3E1E29134E}"/>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7" name="Freeform 43">
                  <a:extLst>
                    <a:ext uri="{FF2B5EF4-FFF2-40B4-BE49-F238E27FC236}">
                      <a16:creationId xmlns:a16="http://schemas.microsoft.com/office/drawing/2014/main" id="{B603E387-9F0D-4EFE-8C6B-3652B87F880F}"/>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8" name="Freeform 44">
                  <a:extLst>
                    <a:ext uri="{FF2B5EF4-FFF2-40B4-BE49-F238E27FC236}">
                      <a16:creationId xmlns:a16="http://schemas.microsoft.com/office/drawing/2014/main" id="{34A2BAC5-CCD7-4F5E-8E6F-CC2F1CAE997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9" name="Freeform 45">
                  <a:extLst>
                    <a:ext uri="{FF2B5EF4-FFF2-40B4-BE49-F238E27FC236}">
                      <a16:creationId xmlns:a16="http://schemas.microsoft.com/office/drawing/2014/main" id="{3FD94874-42D9-4265-8762-1AD68273C555}"/>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480" name="Group 2479">
                  <a:extLst>
                    <a:ext uri="{FF2B5EF4-FFF2-40B4-BE49-F238E27FC236}">
                      <a16:creationId xmlns:a16="http://schemas.microsoft.com/office/drawing/2014/main" id="{2034E04A-B735-4A02-8D5B-E3C9EA6E29AE}"/>
                    </a:ext>
                  </a:extLst>
                </p:cNvPr>
                <p:cNvGrpSpPr/>
                <p:nvPr/>
              </p:nvGrpSpPr>
              <p:grpSpPr>
                <a:xfrm flipV="1">
                  <a:off x="1202047" y="3517919"/>
                  <a:ext cx="178734" cy="348678"/>
                  <a:chOff x="1207113" y="2241878"/>
                  <a:chExt cx="178734" cy="348678"/>
                </a:xfrm>
              </p:grpSpPr>
              <p:sp>
                <p:nvSpPr>
                  <p:cNvPr id="2481" name="Freeform 10">
                    <a:extLst>
                      <a:ext uri="{FF2B5EF4-FFF2-40B4-BE49-F238E27FC236}">
                        <a16:creationId xmlns:a16="http://schemas.microsoft.com/office/drawing/2014/main" id="{FBDB3A36-C844-4BDA-963C-79EA7B4ED2C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2" name="Line 11">
                    <a:extLst>
                      <a:ext uri="{FF2B5EF4-FFF2-40B4-BE49-F238E27FC236}">
                        <a16:creationId xmlns:a16="http://schemas.microsoft.com/office/drawing/2014/main" id="{DF8CECD6-1E34-4AF6-B617-12E9FA8F9DF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430" name="Group 2429">
              <a:extLst>
                <a:ext uri="{FF2B5EF4-FFF2-40B4-BE49-F238E27FC236}">
                  <a16:creationId xmlns:a16="http://schemas.microsoft.com/office/drawing/2014/main" id="{311AA17F-9D68-4446-AAFF-6662572D33E6}"/>
                </a:ext>
              </a:extLst>
            </p:cNvPr>
            <p:cNvGrpSpPr>
              <a:grpSpLocks/>
            </p:cNvGrpSpPr>
            <p:nvPr/>
          </p:nvGrpSpPr>
          <p:grpSpPr>
            <a:xfrm>
              <a:off x="9270466" y="4594229"/>
              <a:ext cx="427295" cy="427297"/>
              <a:chOff x="10412894" y="6962721"/>
              <a:chExt cx="415610" cy="415612"/>
            </a:xfrm>
          </p:grpSpPr>
          <p:grpSp>
            <p:nvGrpSpPr>
              <p:cNvPr id="2431" name="Group 64">
                <a:extLst>
                  <a:ext uri="{FF2B5EF4-FFF2-40B4-BE49-F238E27FC236}">
                    <a16:creationId xmlns:a16="http://schemas.microsoft.com/office/drawing/2014/main" id="{0585745F-8B89-418D-ABF6-725A793FA0E4}"/>
                  </a:ext>
                </a:extLst>
              </p:cNvPr>
              <p:cNvGrpSpPr>
                <a:grpSpLocks noChangeAspect="1"/>
              </p:cNvGrpSpPr>
              <p:nvPr/>
            </p:nvGrpSpPr>
            <p:grpSpPr bwMode="auto">
              <a:xfrm rot="8100000">
                <a:off x="10412894" y="6962721"/>
                <a:ext cx="415610" cy="415612"/>
                <a:chOff x="701" y="2170"/>
                <a:chExt cx="587" cy="587"/>
              </a:xfrm>
            </p:grpSpPr>
            <p:sp>
              <p:nvSpPr>
                <p:cNvPr id="2446" name="Oval 65">
                  <a:extLst>
                    <a:ext uri="{FF2B5EF4-FFF2-40B4-BE49-F238E27FC236}">
                      <a16:creationId xmlns:a16="http://schemas.microsoft.com/office/drawing/2014/main" id="{19B83C1E-219C-4B3C-B71A-59335E29C2B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7" name="Line 66">
                  <a:extLst>
                    <a:ext uri="{FF2B5EF4-FFF2-40B4-BE49-F238E27FC236}">
                      <a16:creationId xmlns:a16="http://schemas.microsoft.com/office/drawing/2014/main" id="{64CA6489-A276-4ED8-AA94-72D2C0F7868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8" name="Line 67">
                  <a:extLst>
                    <a:ext uri="{FF2B5EF4-FFF2-40B4-BE49-F238E27FC236}">
                      <a16:creationId xmlns:a16="http://schemas.microsoft.com/office/drawing/2014/main" id="{85350875-FACD-4FC9-BA3C-D95C80EAF55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9" name="Line 69">
                  <a:extLst>
                    <a:ext uri="{FF2B5EF4-FFF2-40B4-BE49-F238E27FC236}">
                      <a16:creationId xmlns:a16="http://schemas.microsoft.com/office/drawing/2014/main" id="{C8F7BDCA-3A94-48F0-B7F9-14A930A3162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0" name="Line 74">
                  <a:extLst>
                    <a:ext uri="{FF2B5EF4-FFF2-40B4-BE49-F238E27FC236}">
                      <a16:creationId xmlns:a16="http://schemas.microsoft.com/office/drawing/2014/main" id="{1F58BD8D-6337-4B89-9129-BBAD78998B0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1" name="Freeform 78">
                  <a:extLst>
                    <a:ext uri="{FF2B5EF4-FFF2-40B4-BE49-F238E27FC236}">
                      <a16:creationId xmlns:a16="http://schemas.microsoft.com/office/drawing/2014/main" id="{4BCFDDBE-5789-4746-9A72-7EDE017E542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2" name="Freeform 80">
                  <a:extLst>
                    <a:ext uri="{FF2B5EF4-FFF2-40B4-BE49-F238E27FC236}">
                      <a16:creationId xmlns:a16="http://schemas.microsoft.com/office/drawing/2014/main" id="{AD97CBBD-6549-44BB-9F9D-027D10B7DA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32" name="Group 2431">
                <a:extLst>
                  <a:ext uri="{FF2B5EF4-FFF2-40B4-BE49-F238E27FC236}">
                    <a16:creationId xmlns:a16="http://schemas.microsoft.com/office/drawing/2014/main" id="{7EF2BD52-6578-4359-A7D9-4AC44EC3D103}"/>
                  </a:ext>
                </a:extLst>
              </p:cNvPr>
              <p:cNvGrpSpPr/>
              <p:nvPr/>
            </p:nvGrpSpPr>
            <p:grpSpPr>
              <a:xfrm>
                <a:off x="10462223" y="7069159"/>
                <a:ext cx="313949" cy="233075"/>
                <a:chOff x="3707533" y="2731244"/>
                <a:chExt cx="389644" cy="289271"/>
              </a:xfrm>
            </p:grpSpPr>
            <p:sp>
              <p:nvSpPr>
                <p:cNvPr id="2433" name="Freeform 33">
                  <a:extLst>
                    <a:ext uri="{FF2B5EF4-FFF2-40B4-BE49-F238E27FC236}">
                      <a16:creationId xmlns:a16="http://schemas.microsoft.com/office/drawing/2014/main" id="{D1D4276D-451B-4FE1-9E0F-A5B8F7439124}"/>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4" name="Freeform 34">
                  <a:extLst>
                    <a:ext uri="{FF2B5EF4-FFF2-40B4-BE49-F238E27FC236}">
                      <a16:creationId xmlns:a16="http://schemas.microsoft.com/office/drawing/2014/main" id="{50D4FCBD-D976-4EA2-BA1B-DB3EF5235A83}"/>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5" name="Freeform 37">
                  <a:extLst>
                    <a:ext uri="{FF2B5EF4-FFF2-40B4-BE49-F238E27FC236}">
                      <a16:creationId xmlns:a16="http://schemas.microsoft.com/office/drawing/2014/main" id="{2B2EB6E4-37C9-41EA-84A7-8B166E2D064F}"/>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6" name="Freeform 38">
                  <a:extLst>
                    <a:ext uri="{FF2B5EF4-FFF2-40B4-BE49-F238E27FC236}">
                      <a16:creationId xmlns:a16="http://schemas.microsoft.com/office/drawing/2014/main" id="{BFCCACAB-FE16-48E8-838D-6DCDA830CC0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7" name="Freeform 32">
                  <a:extLst>
                    <a:ext uri="{FF2B5EF4-FFF2-40B4-BE49-F238E27FC236}">
                      <a16:creationId xmlns:a16="http://schemas.microsoft.com/office/drawing/2014/main" id="{ED8F3D9C-0215-41CC-A90E-73B73C68EB9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8" name="Freeform 35">
                  <a:extLst>
                    <a:ext uri="{FF2B5EF4-FFF2-40B4-BE49-F238E27FC236}">
                      <a16:creationId xmlns:a16="http://schemas.microsoft.com/office/drawing/2014/main" id="{37E9A7A7-5B56-430D-834C-10E6DF2F379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9" name="Freeform 36">
                  <a:extLst>
                    <a:ext uri="{FF2B5EF4-FFF2-40B4-BE49-F238E27FC236}">
                      <a16:creationId xmlns:a16="http://schemas.microsoft.com/office/drawing/2014/main" id="{FF15E7F0-F770-4E15-8E33-A02E938758B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0" name="Freeform 25">
                  <a:extLst>
                    <a:ext uri="{FF2B5EF4-FFF2-40B4-BE49-F238E27FC236}">
                      <a16:creationId xmlns:a16="http://schemas.microsoft.com/office/drawing/2014/main" id="{27F35ECA-7C27-4B01-9FC3-14067978EFBA}"/>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1" name="Freeform 39">
                  <a:extLst>
                    <a:ext uri="{FF2B5EF4-FFF2-40B4-BE49-F238E27FC236}">
                      <a16:creationId xmlns:a16="http://schemas.microsoft.com/office/drawing/2014/main" id="{0D7AA89B-64C7-4FE2-9C24-3EDEA31C2CC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2" name="Freeform 26">
                  <a:extLst>
                    <a:ext uri="{FF2B5EF4-FFF2-40B4-BE49-F238E27FC236}">
                      <a16:creationId xmlns:a16="http://schemas.microsoft.com/office/drawing/2014/main" id="{CC0AACFB-71F3-47B0-ADF2-0611DA8D663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3" name="Rectangle 27">
                  <a:extLst>
                    <a:ext uri="{FF2B5EF4-FFF2-40B4-BE49-F238E27FC236}">
                      <a16:creationId xmlns:a16="http://schemas.microsoft.com/office/drawing/2014/main" id="{88FDFBFF-ACE6-470A-B16F-0AEB7BCCEAF8}"/>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4" name="Line 29">
                  <a:extLst>
                    <a:ext uri="{FF2B5EF4-FFF2-40B4-BE49-F238E27FC236}">
                      <a16:creationId xmlns:a16="http://schemas.microsoft.com/office/drawing/2014/main" id="{4F0085F7-28FC-4EE7-A48B-589D7EF6E6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5" name="Line 31">
                  <a:extLst>
                    <a:ext uri="{FF2B5EF4-FFF2-40B4-BE49-F238E27FC236}">
                      <a16:creationId xmlns:a16="http://schemas.microsoft.com/office/drawing/2014/main" id="{97D0E542-07D1-492A-B517-2D28E090A289}"/>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 name="Group 20">
            <a:extLst>
              <a:ext uri="{FF2B5EF4-FFF2-40B4-BE49-F238E27FC236}">
                <a16:creationId xmlns:a16="http://schemas.microsoft.com/office/drawing/2014/main" id="{E0FFFACC-468F-4412-AE49-ACAE9C7DF27C}"/>
              </a:ext>
            </a:extLst>
          </p:cNvPr>
          <p:cNvGrpSpPr/>
          <p:nvPr/>
        </p:nvGrpSpPr>
        <p:grpSpPr>
          <a:xfrm>
            <a:off x="5338229" y="3985905"/>
            <a:ext cx="4367346" cy="2539218"/>
            <a:chOff x="5338031" y="3986050"/>
            <a:chExt cx="4368484" cy="2539879"/>
          </a:xfrm>
        </p:grpSpPr>
        <p:grpSp>
          <p:nvGrpSpPr>
            <p:cNvPr id="2337" name="Group 2336">
              <a:extLst>
                <a:ext uri="{FF2B5EF4-FFF2-40B4-BE49-F238E27FC236}">
                  <a16:creationId xmlns:a16="http://schemas.microsoft.com/office/drawing/2014/main" id="{DDA94247-6C21-47BD-8890-27617C827EBD}"/>
                </a:ext>
              </a:extLst>
            </p:cNvPr>
            <p:cNvGrpSpPr/>
            <p:nvPr/>
          </p:nvGrpSpPr>
          <p:grpSpPr>
            <a:xfrm>
              <a:off x="6626435" y="3986050"/>
              <a:ext cx="3080080" cy="2539879"/>
              <a:chOff x="6642908" y="3955938"/>
              <a:chExt cx="3087943" cy="2546363"/>
            </a:xfrm>
          </p:grpSpPr>
          <p:sp>
            <p:nvSpPr>
              <p:cNvPr id="2338" name="Rectangle 2337">
                <a:extLst>
                  <a:ext uri="{FF2B5EF4-FFF2-40B4-BE49-F238E27FC236}">
                    <a16:creationId xmlns:a16="http://schemas.microsoft.com/office/drawing/2014/main" id="{A7B93953-84E2-40F4-93F9-ABD28544EE3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339" name="Group 2338">
                <a:extLst>
                  <a:ext uri="{FF2B5EF4-FFF2-40B4-BE49-F238E27FC236}">
                    <a16:creationId xmlns:a16="http://schemas.microsoft.com/office/drawing/2014/main" id="{8EBD560F-D7D0-41D2-91A0-A393A0E9F35B}"/>
                  </a:ext>
                </a:extLst>
              </p:cNvPr>
              <p:cNvGrpSpPr/>
              <p:nvPr/>
            </p:nvGrpSpPr>
            <p:grpSpPr>
              <a:xfrm>
                <a:off x="8222643" y="5655421"/>
                <a:ext cx="1030675" cy="846880"/>
                <a:chOff x="10800033" y="2297897"/>
                <a:chExt cx="1600558" cy="1315140"/>
              </a:xfrm>
            </p:grpSpPr>
            <p:grpSp>
              <p:nvGrpSpPr>
                <p:cNvPr id="2341" name="Group 2340">
                  <a:extLst>
                    <a:ext uri="{FF2B5EF4-FFF2-40B4-BE49-F238E27FC236}">
                      <a16:creationId xmlns:a16="http://schemas.microsoft.com/office/drawing/2014/main" id="{AC94F9E1-FBAF-41DB-BEF3-9C11C4CFF810}"/>
                    </a:ext>
                  </a:extLst>
                </p:cNvPr>
                <p:cNvGrpSpPr>
                  <a:grpSpLocks/>
                </p:cNvGrpSpPr>
                <p:nvPr/>
              </p:nvGrpSpPr>
              <p:grpSpPr>
                <a:xfrm>
                  <a:off x="10800033" y="2339037"/>
                  <a:ext cx="613092" cy="613092"/>
                  <a:chOff x="745985" y="4768134"/>
                  <a:chExt cx="368776" cy="368777"/>
                </a:xfrm>
              </p:grpSpPr>
              <p:grpSp>
                <p:nvGrpSpPr>
                  <p:cNvPr id="2405" name="Group 64">
                    <a:extLst>
                      <a:ext uri="{FF2B5EF4-FFF2-40B4-BE49-F238E27FC236}">
                        <a16:creationId xmlns:a16="http://schemas.microsoft.com/office/drawing/2014/main" id="{2D467CFE-327F-4C11-8F98-67E4589F53EB}"/>
                      </a:ext>
                    </a:extLst>
                  </p:cNvPr>
                  <p:cNvGrpSpPr>
                    <a:grpSpLocks noChangeAspect="1"/>
                  </p:cNvGrpSpPr>
                  <p:nvPr/>
                </p:nvGrpSpPr>
                <p:grpSpPr bwMode="auto">
                  <a:xfrm rot="8100000">
                    <a:off x="745985" y="4768134"/>
                    <a:ext cx="368776" cy="368777"/>
                    <a:chOff x="701" y="2170"/>
                    <a:chExt cx="587" cy="587"/>
                  </a:xfrm>
                </p:grpSpPr>
                <p:sp>
                  <p:nvSpPr>
                    <p:cNvPr id="2416" name="Oval 65">
                      <a:extLst>
                        <a:ext uri="{FF2B5EF4-FFF2-40B4-BE49-F238E27FC236}">
                          <a16:creationId xmlns:a16="http://schemas.microsoft.com/office/drawing/2014/main" id="{ED0F215B-BA8F-408F-BF8C-FA3F6EFA154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7" name="Line 66">
                      <a:extLst>
                        <a:ext uri="{FF2B5EF4-FFF2-40B4-BE49-F238E27FC236}">
                          <a16:creationId xmlns:a16="http://schemas.microsoft.com/office/drawing/2014/main" id="{1F8CD18C-E8E8-459C-AD51-26757D53317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Line 67">
                      <a:extLst>
                        <a:ext uri="{FF2B5EF4-FFF2-40B4-BE49-F238E27FC236}">
                          <a16:creationId xmlns:a16="http://schemas.microsoft.com/office/drawing/2014/main" id="{DD463698-E1B2-4255-847B-A436D2B5AC1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Line 69">
                      <a:extLst>
                        <a:ext uri="{FF2B5EF4-FFF2-40B4-BE49-F238E27FC236}">
                          <a16:creationId xmlns:a16="http://schemas.microsoft.com/office/drawing/2014/main" id="{B0314370-C385-4F54-B179-55D915F8ABD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Line 74">
                      <a:extLst>
                        <a:ext uri="{FF2B5EF4-FFF2-40B4-BE49-F238E27FC236}">
                          <a16:creationId xmlns:a16="http://schemas.microsoft.com/office/drawing/2014/main" id="{CE969C45-AC61-45CD-BF5A-1B7472E30E2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78">
                      <a:extLst>
                        <a:ext uri="{FF2B5EF4-FFF2-40B4-BE49-F238E27FC236}">
                          <a16:creationId xmlns:a16="http://schemas.microsoft.com/office/drawing/2014/main" id="{7DDFE362-3C90-499D-AFEE-8DF46024377D}"/>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80">
                      <a:extLst>
                        <a:ext uri="{FF2B5EF4-FFF2-40B4-BE49-F238E27FC236}">
                          <a16:creationId xmlns:a16="http://schemas.microsoft.com/office/drawing/2014/main" id="{43213219-1909-4E43-AF35-9ABE9D9A903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06" name="Group 2405">
                    <a:extLst>
                      <a:ext uri="{FF2B5EF4-FFF2-40B4-BE49-F238E27FC236}">
                        <a16:creationId xmlns:a16="http://schemas.microsoft.com/office/drawing/2014/main" id="{A18EEDD0-E7A1-42F6-B034-2DD7587C985A}"/>
                      </a:ext>
                    </a:extLst>
                  </p:cNvPr>
                  <p:cNvGrpSpPr/>
                  <p:nvPr/>
                </p:nvGrpSpPr>
                <p:grpSpPr>
                  <a:xfrm>
                    <a:off x="837312" y="4814434"/>
                    <a:ext cx="136805" cy="278689"/>
                    <a:chOff x="2806700" y="2803319"/>
                    <a:chExt cx="433387" cy="882861"/>
                  </a:xfrm>
                </p:grpSpPr>
                <p:grpSp>
                  <p:nvGrpSpPr>
                    <p:cNvPr id="2407" name="Group 2406">
                      <a:extLst>
                        <a:ext uri="{FF2B5EF4-FFF2-40B4-BE49-F238E27FC236}">
                          <a16:creationId xmlns:a16="http://schemas.microsoft.com/office/drawing/2014/main" id="{2A89FE14-587D-4D2E-BA45-6DE7BA51FF28}"/>
                        </a:ext>
                      </a:extLst>
                    </p:cNvPr>
                    <p:cNvGrpSpPr>
                      <a:grpSpLocks noChangeAspect="1"/>
                    </p:cNvGrpSpPr>
                    <p:nvPr/>
                  </p:nvGrpSpPr>
                  <p:grpSpPr bwMode="auto">
                    <a:xfrm>
                      <a:off x="2806700" y="3043242"/>
                      <a:ext cx="433387" cy="642938"/>
                      <a:chOff x="1768" y="1917"/>
                      <a:chExt cx="273" cy="405"/>
                    </a:xfrm>
                  </p:grpSpPr>
                  <p:sp>
                    <p:nvSpPr>
                      <p:cNvPr id="2409" name="Freeform 52">
                        <a:extLst>
                          <a:ext uri="{FF2B5EF4-FFF2-40B4-BE49-F238E27FC236}">
                            <a16:creationId xmlns:a16="http://schemas.microsoft.com/office/drawing/2014/main" id="{95CD2D06-24F8-4449-9951-6BD7EBAE1AAB}"/>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0" name="Line 54">
                        <a:extLst>
                          <a:ext uri="{FF2B5EF4-FFF2-40B4-BE49-F238E27FC236}">
                            <a16:creationId xmlns:a16="http://schemas.microsoft.com/office/drawing/2014/main" id="{1A539A6E-3242-484B-8613-6F2BA665639C}"/>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Line 55">
                        <a:extLst>
                          <a:ext uri="{FF2B5EF4-FFF2-40B4-BE49-F238E27FC236}">
                            <a16:creationId xmlns:a16="http://schemas.microsoft.com/office/drawing/2014/main" id="{CDABBCFE-228A-48EF-AD10-4DFBD675AF5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56">
                        <a:extLst>
                          <a:ext uri="{FF2B5EF4-FFF2-40B4-BE49-F238E27FC236}">
                            <a16:creationId xmlns:a16="http://schemas.microsoft.com/office/drawing/2014/main" id="{444D8612-3446-4481-891A-621EE811D71C}"/>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Line 57">
                        <a:extLst>
                          <a:ext uri="{FF2B5EF4-FFF2-40B4-BE49-F238E27FC236}">
                            <a16:creationId xmlns:a16="http://schemas.microsoft.com/office/drawing/2014/main" id="{68EC78A2-36FF-47FA-9EFC-0F52E307B26F}"/>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58">
                        <a:extLst>
                          <a:ext uri="{FF2B5EF4-FFF2-40B4-BE49-F238E27FC236}">
                            <a16:creationId xmlns:a16="http://schemas.microsoft.com/office/drawing/2014/main" id="{AFE44C6B-E778-4641-AA4D-415A808CB891}"/>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Rectangle 2414">
                        <a:extLst>
                          <a:ext uri="{FF2B5EF4-FFF2-40B4-BE49-F238E27FC236}">
                            <a16:creationId xmlns:a16="http://schemas.microsoft.com/office/drawing/2014/main" id="{20614383-BF9F-49D7-9A9C-282CFE73CEE7}"/>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408" name="Oval 2407">
                      <a:extLst>
                        <a:ext uri="{FF2B5EF4-FFF2-40B4-BE49-F238E27FC236}">
                          <a16:creationId xmlns:a16="http://schemas.microsoft.com/office/drawing/2014/main" id="{7DD6504C-6A76-4898-A418-811D7A7F346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42" name="Group 2341">
                  <a:extLst>
                    <a:ext uri="{FF2B5EF4-FFF2-40B4-BE49-F238E27FC236}">
                      <a16:creationId xmlns:a16="http://schemas.microsoft.com/office/drawing/2014/main" id="{7862826A-9D36-468A-AB87-67D1C10C33F3}"/>
                    </a:ext>
                  </a:extLst>
                </p:cNvPr>
                <p:cNvGrpSpPr>
                  <a:grpSpLocks/>
                </p:cNvGrpSpPr>
                <p:nvPr/>
              </p:nvGrpSpPr>
              <p:grpSpPr>
                <a:xfrm>
                  <a:off x="11166615" y="2825631"/>
                  <a:ext cx="787402" cy="787406"/>
                  <a:chOff x="1454941" y="4721722"/>
                  <a:chExt cx="473625" cy="473627"/>
                </a:xfrm>
              </p:grpSpPr>
              <p:grpSp>
                <p:nvGrpSpPr>
                  <p:cNvPr id="2366" name="Group 64">
                    <a:extLst>
                      <a:ext uri="{FF2B5EF4-FFF2-40B4-BE49-F238E27FC236}">
                        <a16:creationId xmlns:a16="http://schemas.microsoft.com/office/drawing/2014/main" id="{6D8D3179-A03D-4140-A35D-9ED871DEE497}"/>
                      </a:ext>
                    </a:extLst>
                  </p:cNvPr>
                  <p:cNvGrpSpPr>
                    <a:grpSpLocks noChangeAspect="1"/>
                  </p:cNvGrpSpPr>
                  <p:nvPr/>
                </p:nvGrpSpPr>
                <p:grpSpPr bwMode="auto">
                  <a:xfrm rot="8100000">
                    <a:off x="1454941" y="4721722"/>
                    <a:ext cx="473625" cy="473627"/>
                    <a:chOff x="701" y="2170"/>
                    <a:chExt cx="587" cy="587"/>
                  </a:xfrm>
                </p:grpSpPr>
                <p:sp>
                  <p:nvSpPr>
                    <p:cNvPr id="2398" name="Oval 65">
                      <a:extLst>
                        <a:ext uri="{FF2B5EF4-FFF2-40B4-BE49-F238E27FC236}">
                          <a16:creationId xmlns:a16="http://schemas.microsoft.com/office/drawing/2014/main" id="{A9C2940D-ADE4-4B5C-9D2F-CE7D925DDBE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9" name="Line 66">
                      <a:extLst>
                        <a:ext uri="{FF2B5EF4-FFF2-40B4-BE49-F238E27FC236}">
                          <a16:creationId xmlns:a16="http://schemas.microsoft.com/office/drawing/2014/main" id="{1083C9EE-F127-4DE3-918F-A3CA43958F0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0" name="Line 67">
                      <a:extLst>
                        <a:ext uri="{FF2B5EF4-FFF2-40B4-BE49-F238E27FC236}">
                          <a16:creationId xmlns:a16="http://schemas.microsoft.com/office/drawing/2014/main" id="{9E15F4CB-1172-4731-91B9-D33A02D874E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1" name="Line 69">
                      <a:extLst>
                        <a:ext uri="{FF2B5EF4-FFF2-40B4-BE49-F238E27FC236}">
                          <a16:creationId xmlns:a16="http://schemas.microsoft.com/office/drawing/2014/main" id="{9B8C72DA-58C4-42C5-B9CB-ADA3C34E94F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2" name="Line 74">
                      <a:extLst>
                        <a:ext uri="{FF2B5EF4-FFF2-40B4-BE49-F238E27FC236}">
                          <a16:creationId xmlns:a16="http://schemas.microsoft.com/office/drawing/2014/main" id="{6A1C3B98-9F28-4D4C-A627-B93893FC94C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78">
                      <a:extLst>
                        <a:ext uri="{FF2B5EF4-FFF2-40B4-BE49-F238E27FC236}">
                          <a16:creationId xmlns:a16="http://schemas.microsoft.com/office/drawing/2014/main" id="{20E1F880-8D77-47DC-90B2-33E26040C38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4" name="Freeform 80">
                      <a:extLst>
                        <a:ext uri="{FF2B5EF4-FFF2-40B4-BE49-F238E27FC236}">
                          <a16:creationId xmlns:a16="http://schemas.microsoft.com/office/drawing/2014/main" id="{61247636-7F48-4A31-95CC-1F25BEB816F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67" name="Group 2366">
                    <a:extLst>
                      <a:ext uri="{FF2B5EF4-FFF2-40B4-BE49-F238E27FC236}">
                        <a16:creationId xmlns:a16="http://schemas.microsoft.com/office/drawing/2014/main" id="{7CA603DC-2CB3-4457-BC06-9D9C66995682}"/>
                      </a:ext>
                    </a:extLst>
                  </p:cNvPr>
                  <p:cNvGrpSpPr/>
                  <p:nvPr/>
                </p:nvGrpSpPr>
                <p:grpSpPr>
                  <a:xfrm>
                    <a:off x="1511214" y="4789508"/>
                    <a:ext cx="356509" cy="349884"/>
                    <a:chOff x="468738" y="2241878"/>
                    <a:chExt cx="1655483" cy="1624719"/>
                  </a:xfrm>
                </p:grpSpPr>
                <p:sp>
                  <p:nvSpPr>
                    <p:cNvPr id="2368" name="Freeform 5">
                      <a:extLst>
                        <a:ext uri="{FF2B5EF4-FFF2-40B4-BE49-F238E27FC236}">
                          <a16:creationId xmlns:a16="http://schemas.microsoft.com/office/drawing/2014/main" id="{ADC07B4E-EB60-437D-B88B-7D6F7BAB9233}"/>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Freeform 6">
                      <a:extLst>
                        <a:ext uri="{FF2B5EF4-FFF2-40B4-BE49-F238E27FC236}">
                          <a16:creationId xmlns:a16="http://schemas.microsoft.com/office/drawing/2014/main" id="{4DB7CFF2-1361-40F5-87D8-09A6625F8B7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7">
                      <a:extLst>
                        <a:ext uri="{FF2B5EF4-FFF2-40B4-BE49-F238E27FC236}">
                          <a16:creationId xmlns:a16="http://schemas.microsoft.com/office/drawing/2014/main" id="{953A429A-1E35-4CEE-BA64-D9FC04FA086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Freeform 8">
                      <a:extLst>
                        <a:ext uri="{FF2B5EF4-FFF2-40B4-BE49-F238E27FC236}">
                          <a16:creationId xmlns:a16="http://schemas.microsoft.com/office/drawing/2014/main" id="{C4FE8D59-A063-4D15-B49E-79B6D722D5F7}"/>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9">
                      <a:extLst>
                        <a:ext uri="{FF2B5EF4-FFF2-40B4-BE49-F238E27FC236}">
                          <a16:creationId xmlns:a16="http://schemas.microsoft.com/office/drawing/2014/main" id="{9142A3A8-5AEE-4E91-8FCF-C44DB5FDD00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73" name="Group 2372">
                      <a:extLst>
                        <a:ext uri="{FF2B5EF4-FFF2-40B4-BE49-F238E27FC236}">
                          <a16:creationId xmlns:a16="http://schemas.microsoft.com/office/drawing/2014/main" id="{D0D9E88A-7125-463C-99F6-69E652DF1D6C}"/>
                        </a:ext>
                      </a:extLst>
                    </p:cNvPr>
                    <p:cNvGrpSpPr/>
                    <p:nvPr/>
                  </p:nvGrpSpPr>
                  <p:grpSpPr>
                    <a:xfrm>
                      <a:off x="1207113" y="2241878"/>
                      <a:ext cx="178734" cy="348678"/>
                      <a:chOff x="1207113" y="2241878"/>
                      <a:chExt cx="178734" cy="348678"/>
                    </a:xfrm>
                  </p:grpSpPr>
                  <p:sp>
                    <p:nvSpPr>
                      <p:cNvPr id="2396" name="Freeform 10">
                        <a:extLst>
                          <a:ext uri="{FF2B5EF4-FFF2-40B4-BE49-F238E27FC236}">
                            <a16:creationId xmlns:a16="http://schemas.microsoft.com/office/drawing/2014/main" id="{2A346116-E741-4C3B-B914-47EC427CBE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Line 11">
                        <a:extLst>
                          <a:ext uri="{FF2B5EF4-FFF2-40B4-BE49-F238E27FC236}">
                            <a16:creationId xmlns:a16="http://schemas.microsoft.com/office/drawing/2014/main" id="{89626DE7-3267-48D4-9E34-062FB83C8135}"/>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74" name="Freeform 12">
                      <a:extLst>
                        <a:ext uri="{FF2B5EF4-FFF2-40B4-BE49-F238E27FC236}">
                          <a16:creationId xmlns:a16="http://schemas.microsoft.com/office/drawing/2014/main" id="{CBFF604C-CEE7-486B-9F59-ABD512FE14A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5" name="Line 13">
                      <a:extLst>
                        <a:ext uri="{FF2B5EF4-FFF2-40B4-BE49-F238E27FC236}">
                          <a16:creationId xmlns:a16="http://schemas.microsoft.com/office/drawing/2014/main" id="{011D96E9-7F00-4481-9DDF-B78A8C268821}"/>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6" name="Freeform 14">
                      <a:extLst>
                        <a:ext uri="{FF2B5EF4-FFF2-40B4-BE49-F238E27FC236}">
                          <a16:creationId xmlns:a16="http://schemas.microsoft.com/office/drawing/2014/main" id="{57984474-AE19-49E3-94BE-8BFA97336C0D}"/>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7" name="Line 15">
                      <a:extLst>
                        <a:ext uri="{FF2B5EF4-FFF2-40B4-BE49-F238E27FC236}">
                          <a16:creationId xmlns:a16="http://schemas.microsoft.com/office/drawing/2014/main" id="{594098A5-7450-4664-BEB0-FC2CEF910AA1}"/>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8" name="Freeform 16">
                      <a:extLst>
                        <a:ext uri="{FF2B5EF4-FFF2-40B4-BE49-F238E27FC236}">
                          <a16:creationId xmlns:a16="http://schemas.microsoft.com/office/drawing/2014/main" id="{CE415B0A-B475-47FB-90FA-56BCE302B1D9}"/>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9" name="Line 17">
                      <a:extLst>
                        <a:ext uri="{FF2B5EF4-FFF2-40B4-BE49-F238E27FC236}">
                          <a16:creationId xmlns:a16="http://schemas.microsoft.com/office/drawing/2014/main" id="{BC94CB20-B81C-43DF-B564-C5DF3CF4A340}"/>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0" name="Freeform 18">
                      <a:extLst>
                        <a:ext uri="{FF2B5EF4-FFF2-40B4-BE49-F238E27FC236}">
                          <a16:creationId xmlns:a16="http://schemas.microsoft.com/office/drawing/2014/main" id="{895FC050-8001-4852-A7AF-7F87A6378499}"/>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1" name="Line 19">
                      <a:extLst>
                        <a:ext uri="{FF2B5EF4-FFF2-40B4-BE49-F238E27FC236}">
                          <a16:creationId xmlns:a16="http://schemas.microsoft.com/office/drawing/2014/main" id="{233316F3-03F8-4F7D-8722-2FD8EDA0EAE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2" name="Freeform 35">
                      <a:extLst>
                        <a:ext uri="{FF2B5EF4-FFF2-40B4-BE49-F238E27FC236}">
                          <a16:creationId xmlns:a16="http://schemas.microsoft.com/office/drawing/2014/main" id="{4B42AF4F-2D22-448F-930F-162DB142B27D}"/>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3" name="Freeform 36">
                      <a:extLst>
                        <a:ext uri="{FF2B5EF4-FFF2-40B4-BE49-F238E27FC236}">
                          <a16:creationId xmlns:a16="http://schemas.microsoft.com/office/drawing/2014/main" id="{8DC55D13-4AB8-4C8B-B2E1-2F97079CB3C8}"/>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4" name="Freeform 37">
                      <a:extLst>
                        <a:ext uri="{FF2B5EF4-FFF2-40B4-BE49-F238E27FC236}">
                          <a16:creationId xmlns:a16="http://schemas.microsoft.com/office/drawing/2014/main" id="{6926E905-EFDD-46F5-A590-0959E3EB46F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5" name="Freeform 38">
                      <a:extLst>
                        <a:ext uri="{FF2B5EF4-FFF2-40B4-BE49-F238E27FC236}">
                          <a16:creationId xmlns:a16="http://schemas.microsoft.com/office/drawing/2014/main" id="{466BD8AB-1D34-408E-8594-79176E97B0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6" name="Freeform 39">
                      <a:extLst>
                        <a:ext uri="{FF2B5EF4-FFF2-40B4-BE49-F238E27FC236}">
                          <a16:creationId xmlns:a16="http://schemas.microsoft.com/office/drawing/2014/main" id="{463F6AB8-DE9E-47E4-89F2-3E4897B7F15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7" name="Freeform 40">
                      <a:extLst>
                        <a:ext uri="{FF2B5EF4-FFF2-40B4-BE49-F238E27FC236}">
                          <a16:creationId xmlns:a16="http://schemas.microsoft.com/office/drawing/2014/main" id="{4C784F7D-23CF-492E-A85D-7A42CC055BDB}"/>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41">
                      <a:extLst>
                        <a:ext uri="{FF2B5EF4-FFF2-40B4-BE49-F238E27FC236}">
                          <a16:creationId xmlns:a16="http://schemas.microsoft.com/office/drawing/2014/main" id="{18619CC1-E2C8-4597-8D19-17C051AC5832}"/>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Line 42">
                      <a:extLst>
                        <a:ext uri="{FF2B5EF4-FFF2-40B4-BE49-F238E27FC236}">
                          <a16:creationId xmlns:a16="http://schemas.microsoft.com/office/drawing/2014/main" id="{077688DD-4959-492D-A38B-F7F4DA2D706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43">
                      <a:extLst>
                        <a:ext uri="{FF2B5EF4-FFF2-40B4-BE49-F238E27FC236}">
                          <a16:creationId xmlns:a16="http://schemas.microsoft.com/office/drawing/2014/main" id="{63964BEB-5C80-422C-9B02-903C695A74F9}"/>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44">
                      <a:extLst>
                        <a:ext uri="{FF2B5EF4-FFF2-40B4-BE49-F238E27FC236}">
                          <a16:creationId xmlns:a16="http://schemas.microsoft.com/office/drawing/2014/main" id="{8781F828-477B-454E-BFB9-0F0612F363B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45">
                      <a:extLst>
                        <a:ext uri="{FF2B5EF4-FFF2-40B4-BE49-F238E27FC236}">
                          <a16:creationId xmlns:a16="http://schemas.microsoft.com/office/drawing/2014/main" id="{491C9A09-CF23-4BDC-B52E-C10D665FD5DB}"/>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93" name="Group 2392">
                      <a:extLst>
                        <a:ext uri="{FF2B5EF4-FFF2-40B4-BE49-F238E27FC236}">
                          <a16:creationId xmlns:a16="http://schemas.microsoft.com/office/drawing/2014/main" id="{898AB74D-865B-4AC1-A2E1-6A721810FC08}"/>
                        </a:ext>
                      </a:extLst>
                    </p:cNvPr>
                    <p:cNvGrpSpPr/>
                    <p:nvPr/>
                  </p:nvGrpSpPr>
                  <p:grpSpPr>
                    <a:xfrm flipV="1">
                      <a:off x="1202047" y="3517919"/>
                      <a:ext cx="178734" cy="348678"/>
                      <a:chOff x="1207113" y="2241878"/>
                      <a:chExt cx="178734" cy="348678"/>
                    </a:xfrm>
                  </p:grpSpPr>
                  <p:sp>
                    <p:nvSpPr>
                      <p:cNvPr id="2394" name="Freeform 10">
                        <a:extLst>
                          <a:ext uri="{FF2B5EF4-FFF2-40B4-BE49-F238E27FC236}">
                            <a16:creationId xmlns:a16="http://schemas.microsoft.com/office/drawing/2014/main" id="{32BFCF5B-2A90-4D1E-BC5D-ED90BA60A8E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Line 11">
                        <a:extLst>
                          <a:ext uri="{FF2B5EF4-FFF2-40B4-BE49-F238E27FC236}">
                            <a16:creationId xmlns:a16="http://schemas.microsoft.com/office/drawing/2014/main" id="{940EEEED-205D-45E2-8045-4D4CB193EFC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43" name="Group 2342">
                  <a:extLst>
                    <a:ext uri="{FF2B5EF4-FFF2-40B4-BE49-F238E27FC236}">
                      <a16:creationId xmlns:a16="http://schemas.microsoft.com/office/drawing/2014/main" id="{F2787B05-646C-4D65-9A7A-36A88A926A83}"/>
                    </a:ext>
                  </a:extLst>
                </p:cNvPr>
                <p:cNvGrpSpPr>
                  <a:grpSpLocks/>
                </p:cNvGrpSpPr>
                <p:nvPr/>
              </p:nvGrpSpPr>
              <p:grpSpPr>
                <a:xfrm>
                  <a:off x="11709639" y="2297897"/>
                  <a:ext cx="690952" cy="690956"/>
                  <a:chOff x="2268747" y="4723725"/>
                  <a:chExt cx="415610" cy="415612"/>
                </a:xfrm>
              </p:grpSpPr>
              <p:grpSp>
                <p:nvGrpSpPr>
                  <p:cNvPr id="2344" name="Group 64">
                    <a:extLst>
                      <a:ext uri="{FF2B5EF4-FFF2-40B4-BE49-F238E27FC236}">
                        <a16:creationId xmlns:a16="http://schemas.microsoft.com/office/drawing/2014/main" id="{06346E34-701B-4AD6-964D-7A9F9B49A695}"/>
                      </a:ext>
                    </a:extLst>
                  </p:cNvPr>
                  <p:cNvGrpSpPr>
                    <a:grpSpLocks noChangeAspect="1"/>
                  </p:cNvGrpSpPr>
                  <p:nvPr/>
                </p:nvGrpSpPr>
                <p:grpSpPr bwMode="auto">
                  <a:xfrm rot="8100000">
                    <a:off x="2268747" y="4723725"/>
                    <a:ext cx="415610" cy="415612"/>
                    <a:chOff x="701" y="2170"/>
                    <a:chExt cx="587" cy="587"/>
                  </a:xfrm>
                </p:grpSpPr>
                <p:sp>
                  <p:nvSpPr>
                    <p:cNvPr id="2359" name="Oval 65">
                      <a:extLst>
                        <a:ext uri="{FF2B5EF4-FFF2-40B4-BE49-F238E27FC236}">
                          <a16:creationId xmlns:a16="http://schemas.microsoft.com/office/drawing/2014/main" id="{8EB33C98-7919-40A6-BA81-0DB10021E60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0" name="Line 66">
                      <a:extLst>
                        <a:ext uri="{FF2B5EF4-FFF2-40B4-BE49-F238E27FC236}">
                          <a16:creationId xmlns:a16="http://schemas.microsoft.com/office/drawing/2014/main" id="{8B436F5E-7B09-4197-A9BF-AA3EEB50A01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1" name="Line 67">
                      <a:extLst>
                        <a:ext uri="{FF2B5EF4-FFF2-40B4-BE49-F238E27FC236}">
                          <a16:creationId xmlns:a16="http://schemas.microsoft.com/office/drawing/2014/main" id="{B8415E10-9FE4-423F-A0F8-1E3F1B261D6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2" name="Line 69">
                      <a:extLst>
                        <a:ext uri="{FF2B5EF4-FFF2-40B4-BE49-F238E27FC236}">
                          <a16:creationId xmlns:a16="http://schemas.microsoft.com/office/drawing/2014/main" id="{DE306D38-3265-45BF-8970-3D7CCF01C57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74">
                      <a:extLst>
                        <a:ext uri="{FF2B5EF4-FFF2-40B4-BE49-F238E27FC236}">
                          <a16:creationId xmlns:a16="http://schemas.microsoft.com/office/drawing/2014/main" id="{88B5FD0F-2773-4164-8157-34B9773714E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78">
                      <a:extLst>
                        <a:ext uri="{FF2B5EF4-FFF2-40B4-BE49-F238E27FC236}">
                          <a16:creationId xmlns:a16="http://schemas.microsoft.com/office/drawing/2014/main" id="{B247FC20-0A3F-45C6-9310-F0A34F056B1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Freeform 80">
                      <a:extLst>
                        <a:ext uri="{FF2B5EF4-FFF2-40B4-BE49-F238E27FC236}">
                          <a16:creationId xmlns:a16="http://schemas.microsoft.com/office/drawing/2014/main" id="{1842726F-5069-4D24-AAC7-751E3A3B4E8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45" name="Group 2344">
                    <a:extLst>
                      <a:ext uri="{FF2B5EF4-FFF2-40B4-BE49-F238E27FC236}">
                        <a16:creationId xmlns:a16="http://schemas.microsoft.com/office/drawing/2014/main" id="{20B13210-E291-4DD2-AE8D-C0095A6E585F}"/>
                      </a:ext>
                    </a:extLst>
                  </p:cNvPr>
                  <p:cNvGrpSpPr/>
                  <p:nvPr/>
                </p:nvGrpSpPr>
                <p:grpSpPr>
                  <a:xfrm>
                    <a:off x="2318076" y="4830163"/>
                    <a:ext cx="313949" cy="233075"/>
                    <a:chOff x="3707533" y="2731244"/>
                    <a:chExt cx="389644" cy="289271"/>
                  </a:xfrm>
                </p:grpSpPr>
                <p:sp>
                  <p:nvSpPr>
                    <p:cNvPr id="2346" name="Freeform 33">
                      <a:extLst>
                        <a:ext uri="{FF2B5EF4-FFF2-40B4-BE49-F238E27FC236}">
                          <a16:creationId xmlns:a16="http://schemas.microsoft.com/office/drawing/2014/main" id="{3D2F6D8B-4EF2-4583-94C4-F7B0C276277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7" name="Freeform 34">
                      <a:extLst>
                        <a:ext uri="{FF2B5EF4-FFF2-40B4-BE49-F238E27FC236}">
                          <a16:creationId xmlns:a16="http://schemas.microsoft.com/office/drawing/2014/main" id="{66562D15-4F81-4EC2-94BD-B73F3671CBC9}"/>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8" name="Freeform 37">
                      <a:extLst>
                        <a:ext uri="{FF2B5EF4-FFF2-40B4-BE49-F238E27FC236}">
                          <a16:creationId xmlns:a16="http://schemas.microsoft.com/office/drawing/2014/main" id="{5E1EF50E-8816-410A-B0E5-FE1A6E2996B7}"/>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9" name="Freeform 38">
                      <a:extLst>
                        <a:ext uri="{FF2B5EF4-FFF2-40B4-BE49-F238E27FC236}">
                          <a16:creationId xmlns:a16="http://schemas.microsoft.com/office/drawing/2014/main" id="{FAA8FFD6-4CAD-4586-B4B6-700EE72F8056}"/>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0" name="Freeform 32">
                      <a:extLst>
                        <a:ext uri="{FF2B5EF4-FFF2-40B4-BE49-F238E27FC236}">
                          <a16:creationId xmlns:a16="http://schemas.microsoft.com/office/drawing/2014/main" id="{168CC538-A4CE-43C1-96E6-15B7BEEF59CA}"/>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Freeform 35">
                      <a:extLst>
                        <a:ext uri="{FF2B5EF4-FFF2-40B4-BE49-F238E27FC236}">
                          <a16:creationId xmlns:a16="http://schemas.microsoft.com/office/drawing/2014/main" id="{061EBEBB-DE89-4A39-9F78-9C28C6C763F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2" name="Freeform 36">
                      <a:extLst>
                        <a:ext uri="{FF2B5EF4-FFF2-40B4-BE49-F238E27FC236}">
                          <a16:creationId xmlns:a16="http://schemas.microsoft.com/office/drawing/2014/main" id="{DE766E5A-D0AA-4A96-989C-4929378FA152}"/>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3" name="Freeform 25">
                      <a:extLst>
                        <a:ext uri="{FF2B5EF4-FFF2-40B4-BE49-F238E27FC236}">
                          <a16:creationId xmlns:a16="http://schemas.microsoft.com/office/drawing/2014/main" id="{F9F012C2-0C37-494E-833D-97D5C4B492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4" name="Freeform 39">
                      <a:extLst>
                        <a:ext uri="{FF2B5EF4-FFF2-40B4-BE49-F238E27FC236}">
                          <a16:creationId xmlns:a16="http://schemas.microsoft.com/office/drawing/2014/main" id="{48F7AFF8-F6F7-4916-A70E-D5FDC70A6B2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26">
                      <a:extLst>
                        <a:ext uri="{FF2B5EF4-FFF2-40B4-BE49-F238E27FC236}">
                          <a16:creationId xmlns:a16="http://schemas.microsoft.com/office/drawing/2014/main" id="{53E3DA99-94AD-46F8-954D-8C76941515D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6" name="Rectangle 27">
                      <a:extLst>
                        <a:ext uri="{FF2B5EF4-FFF2-40B4-BE49-F238E27FC236}">
                          <a16:creationId xmlns:a16="http://schemas.microsoft.com/office/drawing/2014/main" id="{8CC9A94E-14AB-4B5F-8C21-11B171CD12F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7" name="Line 29">
                      <a:extLst>
                        <a:ext uri="{FF2B5EF4-FFF2-40B4-BE49-F238E27FC236}">
                          <a16:creationId xmlns:a16="http://schemas.microsoft.com/office/drawing/2014/main" id="{EE064643-6E4D-4CA1-A72B-E8FE744C65B0}"/>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8" name="Line 31">
                      <a:extLst>
                        <a:ext uri="{FF2B5EF4-FFF2-40B4-BE49-F238E27FC236}">
                          <a16:creationId xmlns:a16="http://schemas.microsoft.com/office/drawing/2014/main" id="{8457FEE4-3039-499F-80C6-B2026E6F2B17}"/>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340" name="Rectangle 2339">
                <a:extLst>
                  <a:ext uri="{FF2B5EF4-FFF2-40B4-BE49-F238E27FC236}">
                    <a16:creationId xmlns:a16="http://schemas.microsoft.com/office/drawing/2014/main" id="{6CE99C9D-6327-4B9A-9064-CCAD4C95F15C}"/>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497" name="Rectangle 2496">
              <a:extLst>
                <a:ext uri="{FF2B5EF4-FFF2-40B4-BE49-F238E27FC236}">
                  <a16:creationId xmlns:a16="http://schemas.microsoft.com/office/drawing/2014/main" id="{5321E8A4-5150-488B-82C4-764ADF9097B1}"/>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498" name="Group 2497">
            <a:extLst>
              <a:ext uri="{FF2B5EF4-FFF2-40B4-BE49-F238E27FC236}">
                <a16:creationId xmlns:a16="http://schemas.microsoft.com/office/drawing/2014/main" id="{A22AA78F-EC81-4790-A968-4880B75551F0}"/>
              </a:ext>
            </a:extLst>
          </p:cNvPr>
          <p:cNvGrpSpPr/>
          <p:nvPr/>
        </p:nvGrpSpPr>
        <p:grpSpPr>
          <a:xfrm>
            <a:off x="5583102" y="3985906"/>
            <a:ext cx="2022711" cy="2582790"/>
            <a:chOff x="5596776" y="3955938"/>
            <a:chExt cx="2028403" cy="2590058"/>
          </a:xfrm>
        </p:grpSpPr>
        <p:sp>
          <p:nvSpPr>
            <p:cNvPr id="2499" name="Rectangle 2498">
              <a:extLst>
                <a:ext uri="{FF2B5EF4-FFF2-40B4-BE49-F238E27FC236}">
                  <a16:creationId xmlns:a16="http://schemas.microsoft.com/office/drawing/2014/main" id="{747F3B1D-4231-4467-A673-6484A60D9E94}"/>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500" name="Group 2499">
              <a:extLst>
                <a:ext uri="{FF2B5EF4-FFF2-40B4-BE49-F238E27FC236}">
                  <a16:creationId xmlns:a16="http://schemas.microsoft.com/office/drawing/2014/main" id="{4834553C-37FE-4DD4-B011-F068374A0F7D}"/>
                </a:ext>
              </a:extLst>
            </p:cNvPr>
            <p:cNvGrpSpPr/>
            <p:nvPr/>
          </p:nvGrpSpPr>
          <p:grpSpPr>
            <a:xfrm>
              <a:off x="5596776" y="4804677"/>
              <a:ext cx="2028403" cy="1741319"/>
              <a:chOff x="5596776" y="4804677"/>
              <a:chExt cx="2028403" cy="1741319"/>
            </a:xfrm>
          </p:grpSpPr>
          <p:sp>
            <p:nvSpPr>
              <p:cNvPr id="2501" name="Rectangle 2500">
                <a:extLst>
                  <a:ext uri="{FF2B5EF4-FFF2-40B4-BE49-F238E27FC236}">
                    <a16:creationId xmlns:a16="http://schemas.microsoft.com/office/drawing/2014/main" id="{EDD45DF1-3CD0-4861-94DA-60880A14B3C6}"/>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502" name="Rectangle 2501">
                <a:extLst>
                  <a:ext uri="{FF2B5EF4-FFF2-40B4-BE49-F238E27FC236}">
                    <a16:creationId xmlns:a16="http://schemas.microsoft.com/office/drawing/2014/main" id="{AFC0305D-06B3-4DFB-ACAE-82A4CFE82F6F}"/>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503" name="Picture 2502">
                <a:extLst>
                  <a:ext uri="{FF2B5EF4-FFF2-40B4-BE49-F238E27FC236}">
                    <a16:creationId xmlns:a16="http://schemas.microsoft.com/office/drawing/2014/main" id="{A933AF52-26A1-422B-8C8C-C6BC39FEA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504" name="Group 2503">
                <a:extLst>
                  <a:ext uri="{FF2B5EF4-FFF2-40B4-BE49-F238E27FC236}">
                    <a16:creationId xmlns:a16="http://schemas.microsoft.com/office/drawing/2014/main" id="{FE2D0EDD-D308-4EBF-8BB6-0809850D2B1A}"/>
                  </a:ext>
                </a:extLst>
              </p:cNvPr>
              <p:cNvGrpSpPr>
                <a:grpSpLocks/>
              </p:cNvGrpSpPr>
              <p:nvPr/>
            </p:nvGrpSpPr>
            <p:grpSpPr>
              <a:xfrm>
                <a:off x="6916019" y="5876745"/>
                <a:ext cx="476834" cy="476835"/>
                <a:chOff x="7895435" y="7917966"/>
                <a:chExt cx="473625" cy="473627"/>
              </a:xfrm>
            </p:grpSpPr>
            <p:grpSp>
              <p:nvGrpSpPr>
                <p:cNvPr id="2505" name="Group 64">
                  <a:extLst>
                    <a:ext uri="{FF2B5EF4-FFF2-40B4-BE49-F238E27FC236}">
                      <a16:creationId xmlns:a16="http://schemas.microsoft.com/office/drawing/2014/main" id="{31D78AB9-CECB-4598-B9D6-FBE4C3F66FDB}"/>
                    </a:ext>
                  </a:extLst>
                </p:cNvPr>
                <p:cNvGrpSpPr>
                  <a:grpSpLocks noChangeAspect="1"/>
                </p:cNvGrpSpPr>
                <p:nvPr/>
              </p:nvGrpSpPr>
              <p:grpSpPr bwMode="auto">
                <a:xfrm rot="8100000">
                  <a:off x="7895435" y="7917966"/>
                  <a:ext cx="473625" cy="473627"/>
                  <a:chOff x="701" y="2170"/>
                  <a:chExt cx="587" cy="587"/>
                </a:xfrm>
              </p:grpSpPr>
              <p:sp>
                <p:nvSpPr>
                  <p:cNvPr id="2537" name="Oval 65">
                    <a:extLst>
                      <a:ext uri="{FF2B5EF4-FFF2-40B4-BE49-F238E27FC236}">
                        <a16:creationId xmlns:a16="http://schemas.microsoft.com/office/drawing/2014/main" id="{46CD0B3D-FC8D-40C8-A592-C97C7402BCAD}"/>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8" name="Line 66">
                    <a:extLst>
                      <a:ext uri="{FF2B5EF4-FFF2-40B4-BE49-F238E27FC236}">
                        <a16:creationId xmlns:a16="http://schemas.microsoft.com/office/drawing/2014/main" id="{293808B9-88D3-4773-80AA-F37D257B15B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Line 67">
                    <a:extLst>
                      <a:ext uri="{FF2B5EF4-FFF2-40B4-BE49-F238E27FC236}">
                        <a16:creationId xmlns:a16="http://schemas.microsoft.com/office/drawing/2014/main" id="{50ABD547-5FD6-4567-B008-7210CDE073F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Line 69">
                    <a:extLst>
                      <a:ext uri="{FF2B5EF4-FFF2-40B4-BE49-F238E27FC236}">
                        <a16:creationId xmlns:a16="http://schemas.microsoft.com/office/drawing/2014/main" id="{5B9FD4E6-5AB1-4416-A345-814920CA797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Line 74">
                    <a:extLst>
                      <a:ext uri="{FF2B5EF4-FFF2-40B4-BE49-F238E27FC236}">
                        <a16:creationId xmlns:a16="http://schemas.microsoft.com/office/drawing/2014/main" id="{91FE552D-39A3-4EAD-B688-0B4842DBFDF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78">
                    <a:extLst>
                      <a:ext uri="{FF2B5EF4-FFF2-40B4-BE49-F238E27FC236}">
                        <a16:creationId xmlns:a16="http://schemas.microsoft.com/office/drawing/2014/main" id="{E5F96C76-0E0C-4AE3-BB59-196115BED910}"/>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80">
                    <a:extLst>
                      <a:ext uri="{FF2B5EF4-FFF2-40B4-BE49-F238E27FC236}">
                        <a16:creationId xmlns:a16="http://schemas.microsoft.com/office/drawing/2014/main" id="{811CFDE9-8578-4084-9896-EE967494D5A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06" name="Group 2505">
                  <a:extLst>
                    <a:ext uri="{FF2B5EF4-FFF2-40B4-BE49-F238E27FC236}">
                      <a16:creationId xmlns:a16="http://schemas.microsoft.com/office/drawing/2014/main" id="{D393629C-BC7D-4B72-9D8F-FF7461506E86}"/>
                    </a:ext>
                  </a:extLst>
                </p:cNvPr>
                <p:cNvGrpSpPr/>
                <p:nvPr/>
              </p:nvGrpSpPr>
              <p:grpSpPr>
                <a:xfrm>
                  <a:off x="7951708" y="7985752"/>
                  <a:ext cx="356509" cy="349884"/>
                  <a:chOff x="468738" y="2241878"/>
                  <a:chExt cx="1655483" cy="1624719"/>
                </a:xfrm>
              </p:grpSpPr>
              <p:sp>
                <p:nvSpPr>
                  <p:cNvPr id="2507" name="Freeform 5">
                    <a:extLst>
                      <a:ext uri="{FF2B5EF4-FFF2-40B4-BE49-F238E27FC236}">
                        <a16:creationId xmlns:a16="http://schemas.microsoft.com/office/drawing/2014/main" id="{B6CB8661-51F1-4427-9630-C6FF092E6200}"/>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6">
                    <a:extLst>
                      <a:ext uri="{FF2B5EF4-FFF2-40B4-BE49-F238E27FC236}">
                        <a16:creationId xmlns:a16="http://schemas.microsoft.com/office/drawing/2014/main" id="{4ED5D328-033E-4613-B0F5-9AC2158F6FA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Line 7">
                    <a:extLst>
                      <a:ext uri="{FF2B5EF4-FFF2-40B4-BE49-F238E27FC236}">
                        <a16:creationId xmlns:a16="http://schemas.microsoft.com/office/drawing/2014/main" id="{DBEA3398-AF4F-4885-B6CC-26351AF7282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8">
                    <a:extLst>
                      <a:ext uri="{FF2B5EF4-FFF2-40B4-BE49-F238E27FC236}">
                        <a16:creationId xmlns:a16="http://schemas.microsoft.com/office/drawing/2014/main" id="{C9BA89EA-25F1-4AF6-A8C9-E885829E415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Line 9">
                    <a:extLst>
                      <a:ext uri="{FF2B5EF4-FFF2-40B4-BE49-F238E27FC236}">
                        <a16:creationId xmlns:a16="http://schemas.microsoft.com/office/drawing/2014/main" id="{B4924420-51F8-4E90-A5BC-2B568D0F640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12" name="Group 2511">
                    <a:extLst>
                      <a:ext uri="{FF2B5EF4-FFF2-40B4-BE49-F238E27FC236}">
                        <a16:creationId xmlns:a16="http://schemas.microsoft.com/office/drawing/2014/main" id="{2B1FF5C1-655C-4D84-8357-FBEFF88CD753}"/>
                      </a:ext>
                    </a:extLst>
                  </p:cNvPr>
                  <p:cNvGrpSpPr/>
                  <p:nvPr/>
                </p:nvGrpSpPr>
                <p:grpSpPr>
                  <a:xfrm>
                    <a:off x="1207113" y="2241878"/>
                    <a:ext cx="178734" cy="348678"/>
                    <a:chOff x="1207113" y="2241878"/>
                    <a:chExt cx="178734" cy="348678"/>
                  </a:xfrm>
                </p:grpSpPr>
                <p:sp>
                  <p:nvSpPr>
                    <p:cNvPr id="2535" name="Freeform 10">
                      <a:extLst>
                        <a:ext uri="{FF2B5EF4-FFF2-40B4-BE49-F238E27FC236}">
                          <a16:creationId xmlns:a16="http://schemas.microsoft.com/office/drawing/2014/main" id="{13288FA8-69DE-4B8F-938F-EAFBC8D8689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Line 11">
                      <a:extLst>
                        <a:ext uri="{FF2B5EF4-FFF2-40B4-BE49-F238E27FC236}">
                          <a16:creationId xmlns:a16="http://schemas.microsoft.com/office/drawing/2014/main" id="{05635318-9DD3-47B6-AF53-F2E88F8E7D49}"/>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13" name="Freeform 12">
                    <a:extLst>
                      <a:ext uri="{FF2B5EF4-FFF2-40B4-BE49-F238E27FC236}">
                        <a16:creationId xmlns:a16="http://schemas.microsoft.com/office/drawing/2014/main" id="{75421306-8DF7-42AD-950B-FA9036E7693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4" name="Line 13">
                    <a:extLst>
                      <a:ext uri="{FF2B5EF4-FFF2-40B4-BE49-F238E27FC236}">
                        <a16:creationId xmlns:a16="http://schemas.microsoft.com/office/drawing/2014/main" id="{CF179717-3DEA-4B09-AC03-712A5CB8A00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4">
                    <a:extLst>
                      <a:ext uri="{FF2B5EF4-FFF2-40B4-BE49-F238E27FC236}">
                        <a16:creationId xmlns:a16="http://schemas.microsoft.com/office/drawing/2014/main" id="{3377E841-63A0-48A3-B027-19508466199E}"/>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6" name="Line 15">
                    <a:extLst>
                      <a:ext uri="{FF2B5EF4-FFF2-40B4-BE49-F238E27FC236}">
                        <a16:creationId xmlns:a16="http://schemas.microsoft.com/office/drawing/2014/main" id="{EA066626-FE54-4A5B-B3D9-E39814C33F7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Freeform 16">
                    <a:extLst>
                      <a:ext uri="{FF2B5EF4-FFF2-40B4-BE49-F238E27FC236}">
                        <a16:creationId xmlns:a16="http://schemas.microsoft.com/office/drawing/2014/main" id="{366A3F47-A9AF-42FF-B639-14B6CE96B163}"/>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Line 17">
                    <a:extLst>
                      <a:ext uri="{FF2B5EF4-FFF2-40B4-BE49-F238E27FC236}">
                        <a16:creationId xmlns:a16="http://schemas.microsoft.com/office/drawing/2014/main" id="{084A0566-0D88-40B9-8942-404A11A5775D}"/>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8">
                    <a:extLst>
                      <a:ext uri="{FF2B5EF4-FFF2-40B4-BE49-F238E27FC236}">
                        <a16:creationId xmlns:a16="http://schemas.microsoft.com/office/drawing/2014/main" id="{FFAD812C-E870-46B0-B2C9-8CF5C0FA946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Line 19">
                    <a:extLst>
                      <a:ext uri="{FF2B5EF4-FFF2-40B4-BE49-F238E27FC236}">
                        <a16:creationId xmlns:a16="http://schemas.microsoft.com/office/drawing/2014/main" id="{DA262064-351F-44CF-9B13-A177FF0E84D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35">
                    <a:extLst>
                      <a:ext uri="{FF2B5EF4-FFF2-40B4-BE49-F238E27FC236}">
                        <a16:creationId xmlns:a16="http://schemas.microsoft.com/office/drawing/2014/main" id="{28C2291A-182E-473D-B28F-613B49F49F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36">
                    <a:extLst>
                      <a:ext uri="{FF2B5EF4-FFF2-40B4-BE49-F238E27FC236}">
                        <a16:creationId xmlns:a16="http://schemas.microsoft.com/office/drawing/2014/main" id="{AE5F9676-2C2C-4086-A074-4395A8F1316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37">
                    <a:extLst>
                      <a:ext uri="{FF2B5EF4-FFF2-40B4-BE49-F238E27FC236}">
                        <a16:creationId xmlns:a16="http://schemas.microsoft.com/office/drawing/2014/main" id="{ECCBBBB8-BCA3-4313-A865-509D9DA9DDFD}"/>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38">
                    <a:extLst>
                      <a:ext uri="{FF2B5EF4-FFF2-40B4-BE49-F238E27FC236}">
                        <a16:creationId xmlns:a16="http://schemas.microsoft.com/office/drawing/2014/main" id="{717182B7-9ED3-488D-B869-09159943C40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39">
                    <a:extLst>
                      <a:ext uri="{FF2B5EF4-FFF2-40B4-BE49-F238E27FC236}">
                        <a16:creationId xmlns:a16="http://schemas.microsoft.com/office/drawing/2014/main" id="{FB56E7B4-5069-4EB9-8242-B7F2C922E89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40">
                    <a:extLst>
                      <a:ext uri="{FF2B5EF4-FFF2-40B4-BE49-F238E27FC236}">
                        <a16:creationId xmlns:a16="http://schemas.microsoft.com/office/drawing/2014/main" id="{89F2894D-26FA-4B43-A0E7-A222091799E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41">
                    <a:extLst>
                      <a:ext uri="{FF2B5EF4-FFF2-40B4-BE49-F238E27FC236}">
                        <a16:creationId xmlns:a16="http://schemas.microsoft.com/office/drawing/2014/main" id="{088EBEFD-D722-4C11-9B83-8AFB21AE7838}"/>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Line 42">
                    <a:extLst>
                      <a:ext uri="{FF2B5EF4-FFF2-40B4-BE49-F238E27FC236}">
                        <a16:creationId xmlns:a16="http://schemas.microsoft.com/office/drawing/2014/main" id="{1C001CC8-7999-446D-B698-FEB6F9C469ED}"/>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43">
                    <a:extLst>
                      <a:ext uri="{FF2B5EF4-FFF2-40B4-BE49-F238E27FC236}">
                        <a16:creationId xmlns:a16="http://schemas.microsoft.com/office/drawing/2014/main" id="{308239DF-11B1-4567-AEA1-4968356A70E3}"/>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44">
                    <a:extLst>
                      <a:ext uri="{FF2B5EF4-FFF2-40B4-BE49-F238E27FC236}">
                        <a16:creationId xmlns:a16="http://schemas.microsoft.com/office/drawing/2014/main" id="{E43DD64A-034B-4995-9BA0-CD09EA99263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45">
                    <a:extLst>
                      <a:ext uri="{FF2B5EF4-FFF2-40B4-BE49-F238E27FC236}">
                        <a16:creationId xmlns:a16="http://schemas.microsoft.com/office/drawing/2014/main" id="{71FABE57-4F57-40F4-9656-C826889EF9C9}"/>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32" name="Group 2531">
                    <a:extLst>
                      <a:ext uri="{FF2B5EF4-FFF2-40B4-BE49-F238E27FC236}">
                        <a16:creationId xmlns:a16="http://schemas.microsoft.com/office/drawing/2014/main" id="{3C83AEA8-0A02-4B1D-98DB-F79693425584}"/>
                      </a:ext>
                    </a:extLst>
                  </p:cNvPr>
                  <p:cNvGrpSpPr/>
                  <p:nvPr/>
                </p:nvGrpSpPr>
                <p:grpSpPr>
                  <a:xfrm flipV="1">
                    <a:off x="1202047" y="3517919"/>
                    <a:ext cx="178734" cy="348678"/>
                    <a:chOff x="1207113" y="2241878"/>
                    <a:chExt cx="178734" cy="348678"/>
                  </a:xfrm>
                </p:grpSpPr>
                <p:sp>
                  <p:nvSpPr>
                    <p:cNvPr id="2533" name="Freeform 10">
                      <a:extLst>
                        <a:ext uri="{FF2B5EF4-FFF2-40B4-BE49-F238E27FC236}">
                          <a16:creationId xmlns:a16="http://schemas.microsoft.com/office/drawing/2014/main" id="{4CC281CB-067A-4636-91B4-74D36C97DF7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Line 11">
                      <a:extLst>
                        <a:ext uri="{FF2B5EF4-FFF2-40B4-BE49-F238E27FC236}">
                          <a16:creationId xmlns:a16="http://schemas.microsoft.com/office/drawing/2014/main" id="{F728501F-9AD2-40C4-9BEB-EAE71FEAE25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544" name="Group 2543">
            <a:extLst>
              <a:ext uri="{FF2B5EF4-FFF2-40B4-BE49-F238E27FC236}">
                <a16:creationId xmlns:a16="http://schemas.microsoft.com/office/drawing/2014/main" id="{7CF70DB9-3C21-4F6A-A0D2-87A2EAFF679D}"/>
              </a:ext>
            </a:extLst>
          </p:cNvPr>
          <p:cNvGrpSpPr/>
          <p:nvPr/>
        </p:nvGrpSpPr>
        <p:grpSpPr>
          <a:xfrm>
            <a:off x="496680" y="1864299"/>
            <a:ext cx="1451488" cy="649270"/>
            <a:chOff x="1688915" y="1573673"/>
            <a:chExt cx="1455572" cy="651097"/>
          </a:xfrm>
        </p:grpSpPr>
        <p:sp>
          <p:nvSpPr>
            <p:cNvPr id="2545" name="Right Arrow 551">
              <a:extLst>
                <a:ext uri="{FF2B5EF4-FFF2-40B4-BE49-F238E27FC236}">
                  <a16:creationId xmlns:a16="http://schemas.microsoft.com/office/drawing/2014/main" id="{60716A56-708D-4D57-A035-5566C369D652}"/>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546" name="Group 2545">
              <a:extLst>
                <a:ext uri="{FF2B5EF4-FFF2-40B4-BE49-F238E27FC236}">
                  <a16:creationId xmlns:a16="http://schemas.microsoft.com/office/drawing/2014/main" id="{2A86400A-22B2-422F-88B6-A6CFA4435DE2}"/>
                </a:ext>
              </a:extLst>
            </p:cNvPr>
            <p:cNvGrpSpPr>
              <a:grpSpLocks/>
            </p:cNvGrpSpPr>
            <p:nvPr/>
          </p:nvGrpSpPr>
          <p:grpSpPr>
            <a:xfrm>
              <a:off x="1688915" y="1795002"/>
              <a:ext cx="418017" cy="418017"/>
              <a:chOff x="745985" y="4768134"/>
              <a:chExt cx="368776" cy="368777"/>
            </a:xfrm>
          </p:grpSpPr>
          <p:grpSp>
            <p:nvGrpSpPr>
              <p:cNvPr id="2610" name="Group 64">
                <a:extLst>
                  <a:ext uri="{FF2B5EF4-FFF2-40B4-BE49-F238E27FC236}">
                    <a16:creationId xmlns:a16="http://schemas.microsoft.com/office/drawing/2014/main" id="{37876098-F815-4A75-A3F5-8342895CBBEF}"/>
                  </a:ext>
                </a:extLst>
              </p:cNvPr>
              <p:cNvGrpSpPr>
                <a:grpSpLocks noChangeAspect="1"/>
              </p:cNvGrpSpPr>
              <p:nvPr/>
            </p:nvGrpSpPr>
            <p:grpSpPr bwMode="auto">
              <a:xfrm rot="8100000">
                <a:off x="745985" y="4768134"/>
                <a:ext cx="368776" cy="368777"/>
                <a:chOff x="701" y="2170"/>
                <a:chExt cx="587" cy="587"/>
              </a:xfrm>
            </p:grpSpPr>
            <p:sp>
              <p:nvSpPr>
                <p:cNvPr id="2621" name="Oval 65">
                  <a:extLst>
                    <a:ext uri="{FF2B5EF4-FFF2-40B4-BE49-F238E27FC236}">
                      <a16:creationId xmlns:a16="http://schemas.microsoft.com/office/drawing/2014/main" id="{2DF0D91C-2D49-46A4-8E67-9D5B89E66B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2" name="Line 66">
                  <a:extLst>
                    <a:ext uri="{FF2B5EF4-FFF2-40B4-BE49-F238E27FC236}">
                      <a16:creationId xmlns:a16="http://schemas.microsoft.com/office/drawing/2014/main" id="{54F40249-A4E6-4758-A6D0-B2E796EF826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3" name="Line 67">
                  <a:extLst>
                    <a:ext uri="{FF2B5EF4-FFF2-40B4-BE49-F238E27FC236}">
                      <a16:creationId xmlns:a16="http://schemas.microsoft.com/office/drawing/2014/main" id="{07CC7B68-631A-483D-B0A0-D20552A4A07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69">
                  <a:extLst>
                    <a:ext uri="{FF2B5EF4-FFF2-40B4-BE49-F238E27FC236}">
                      <a16:creationId xmlns:a16="http://schemas.microsoft.com/office/drawing/2014/main" id="{737AEDA1-E4DE-4651-93A7-CDF6E1C2D9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5" name="Line 74">
                  <a:extLst>
                    <a:ext uri="{FF2B5EF4-FFF2-40B4-BE49-F238E27FC236}">
                      <a16:creationId xmlns:a16="http://schemas.microsoft.com/office/drawing/2014/main" id="{E9A3B492-7197-464A-B9EB-B58BA964764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Freeform 78">
                  <a:extLst>
                    <a:ext uri="{FF2B5EF4-FFF2-40B4-BE49-F238E27FC236}">
                      <a16:creationId xmlns:a16="http://schemas.microsoft.com/office/drawing/2014/main" id="{2578CF9C-E829-48FA-AA33-AEA16D6FFD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7" name="Freeform 80">
                  <a:extLst>
                    <a:ext uri="{FF2B5EF4-FFF2-40B4-BE49-F238E27FC236}">
                      <a16:creationId xmlns:a16="http://schemas.microsoft.com/office/drawing/2014/main" id="{E9C922BB-A626-4ADB-B528-1CE3E09729D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11" name="Group 2610">
                <a:extLst>
                  <a:ext uri="{FF2B5EF4-FFF2-40B4-BE49-F238E27FC236}">
                    <a16:creationId xmlns:a16="http://schemas.microsoft.com/office/drawing/2014/main" id="{B05CA430-DBB2-4069-83F5-B0564A8088E4}"/>
                  </a:ext>
                </a:extLst>
              </p:cNvPr>
              <p:cNvGrpSpPr/>
              <p:nvPr/>
            </p:nvGrpSpPr>
            <p:grpSpPr>
              <a:xfrm>
                <a:off x="837312" y="4814434"/>
                <a:ext cx="136805" cy="278689"/>
                <a:chOff x="2806700" y="2803319"/>
                <a:chExt cx="433387" cy="882861"/>
              </a:xfrm>
            </p:grpSpPr>
            <p:grpSp>
              <p:nvGrpSpPr>
                <p:cNvPr id="2612" name="Group 2611">
                  <a:extLst>
                    <a:ext uri="{FF2B5EF4-FFF2-40B4-BE49-F238E27FC236}">
                      <a16:creationId xmlns:a16="http://schemas.microsoft.com/office/drawing/2014/main" id="{0EDC82F8-83D1-4536-A959-C2D2FD5273E9}"/>
                    </a:ext>
                  </a:extLst>
                </p:cNvPr>
                <p:cNvGrpSpPr>
                  <a:grpSpLocks noChangeAspect="1"/>
                </p:cNvGrpSpPr>
                <p:nvPr/>
              </p:nvGrpSpPr>
              <p:grpSpPr bwMode="auto">
                <a:xfrm>
                  <a:off x="2806700" y="3043242"/>
                  <a:ext cx="433387" cy="642938"/>
                  <a:chOff x="1768" y="1917"/>
                  <a:chExt cx="273" cy="405"/>
                </a:xfrm>
              </p:grpSpPr>
              <p:sp>
                <p:nvSpPr>
                  <p:cNvPr id="2614" name="Freeform 52">
                    <a:extLst>
                      <a:ext uri="{FF2B5EF4-FFF2-40B4-BE49-F238E27FC236}">
                        <a16:creationId xmlns:a16="http://schemas.microsoft.com/office/drawing/2014/main" id="{0BCE2018-B6C9-4D30-9121-A67C4EE2AB3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Line 54">
                    <a:extLst>
                      <a:ext uri="{FF2B5EF4-FFF2-40B4-BE49-F238E27FC236}">
                        <a16:creationId xmlns:a16="http://schemas.microsoft.com/office/drawing/2014/main" id="{EC581916-8210-4552-9CD2-6819AC9BAA7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6" name="Line 55">
                    <a:extLst>
                      <a:ext uri="{FF2B5EF4-FFF2-40B4-BE49-F238E27FC236}">
                        <a16:creationId xmlns:a16="http://schemas.microsoft.com/office/drawing/2014/main" id="{258D4DF1-6C6F-424D-9ED5-1E6427BB5C6D}"/>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56">
                    <a:extLst>
                      <a:ext uri="{FF2B5EF4-FFF2-40B4-BE49-F238E27FC236}">
                        <a16:creationId xmlns:a16="http://schemas.microsoft.com/office/drawing/2014/main" id="{EFC4BA31-C988-4E9F-BCA1-A5BE4DA774B7}"/>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57">
                    <a:extLst>
                      <a:ext uri="{FF2B5EF4-FFF2-40B4-BE49-F238E27FC236}">
                        <a16:creationId xmlns:a16="http://schemas.microsoft.com/office/drawing/2014/main" id="{60554008-CF73-4CB7-B029-7BB6BC69B4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58">
                    <a:extLst>
                      <a:ext uri="{FF2B5EF4-FFF2-40B4-BE49-F238E27FC236}">
                        <a16:creationId xmlns:a16="http://schemas.microsoft.com/office/drawing/2014/main" id="{8663360D-1E34-41B4-9F2E-AD0DC682F5E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Rectangle 2619">
                    <a:extLst>
                      <a:ext uri="{FF2B5EF4-FFF2-40B4-BE49-F238E27FC236}">
                        <a16:creationId xmlns:a16="http://schemas.microsoft.com/office/drawing/2014/main" id="{5B65E2D2-857D-40B6-8F41-EA1235FAE848}"/>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13" name="Oval 2612">
                  <a:extLst>
                    <a:ext uri="{FF2B5EF4-FFF2-40B4-BE49-F238E27FC236}">
                      <a16:creationId xmlns:a16="http://schemas.microsoft.com/office/drawing/2014/main" id="{B63520A8-B7C0-44DB-955E-5A06BF0CF4B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47" name="Group 2546">
              <a:extLst>
                <a:ext uri="{FF2B5EF4-FFF2-40B4-BE49-F238E27FC236}">
                  <a16:creationId xmlns:a16="http://schemas.microsoft.com/office/drawing/2014/main" id="{70E3FDAB-8078-4444-B685-4B8E2BB15BF0}"/>
                </a:ext>
              </a:extLst>
            </p:cNvPr>
            <p:cNvGrpSpPr>
              <a:grpSpLocks/>
            </p:cNvGrpSpPr>
            <p:nvPr/>
          </p:nvGrpSpPr>
          <p:grpSpPr>
            <a:xfrm>
              <a:off x="2196256" y="1795002"/>
              <a:ext cx="429139" cy="429142"/>
              <a:chOff x="1454941" y="4721722"/>
              <a:chExt cx="473625" cy="473627"/>
            </a:xfrm>
          </p:grpSpPr>
          <p:grpSp>
            <p:nvGrpSpPr>
              <p:cNvPr id="2571" name="Group 64">
                <a:extLst>
                  <a:ext uri="{FF2B5EF4-FFF2-40B4-BE49-F238E27FC236}">
                    <a16:creationId xmlns:a16="http://schemas.microsoft.com/office/drawing/2014/main" id="{B39C39E7-EA9F-4EBC-9AAB-F9883F63F91C}"/>
                  </a:ext>
                </a:extLst>
              </p:cNvPr>
              <p:cNvGrpSpPr>
                <a:grpSpLocks noChangeAspect="1"/>
              </p:cNvGrpSpPr>
              <p:nvPr/>
            </p:nvGrpSpPr>
            <p:grpSpPr bwMode="auto">
              <a:xfrm rot="8100000">
                <a:off x="1454941" y="4721722"/>
                <a:ext cx="473625" cy="473627"/>
                <a:chOff x="701" y="2170"/>
                <a:chExt cx="587" cy="587"/>
              </a:xfrm>
            </p:grpSpPr>
            <p:sp>
              <p:nvSpPr>
                <p:cNvPr id="2603" name="Oval 65">
                  <a:extLst>
                    <a:ext uri="{FF2B5EF4-FFF2-40B4-BE49-F238E27FC236}">
                      <a16:creationId xmlns:a16="http://schemas.microsoft.com/office/drawing/2014/main" id="{1741B508-5571-4D54-A0EB-547A9E77B78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04" name="Line 66">
                  <a:extLst>
                    <a:ext uri="{FF2B5EF4-FFF2-40B4-BE49-F238E27FC236}">
                      <a16:creationId xmlns:a16="http://schemas.microsoft.com/office/drawing/2014/main" id="{70676CEF-249F-420C-85A3-B991722F7A3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Line 67">
                  <a:extLst>
                    <a:ext uri="{FF2B5EF4-FFF2-40B4-BE49-F238E27FC236}">
                      <a16:creationId xmlns:a16="http://schemas.microsoft.com/office/drawing/2014/main" id="{1EF5F94B-E9B8-4900-A031-222A5CC2040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69">
                  <a:extLst>
                    <a:ext uri="{FF2B5EF4-FFF2-40B4-BE49-F238E27FC236}">
                      <a16:creationId xmlns:a16="http://schemas.microsoft.com/office/drawing/2014/main" id="{2BB013A3-42B7-4018-89D4-5C83D78682F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Line 74">
                  <a:extLst>
                    <a:ext uri="{FF2B5EF4-FFF2-40B4-BE49-F238E27FC236}">
                      <a16:creationId xmlns:a16="http://schemas.microsoft.com/office/drawing/2014/main" id="{00686483-DECD-45BF-9A77-564856213CC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Freeform 78">
                  <a:extLst>
                    <a:ext uri="{FF2B5EF4-FFF2-40B4-BE49-F238E27FC236}">
                      <a16:creationId xmlns:a16="http://schemas.microsoft.com/office/drawing/2014/main" id="{84F7DED2-E0F1-4DE4-A520-B0C26D9E750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80">
                  <a:extLst>
                    <a:ext uri="{FF2B5EF4-FFF2-40B4-BE49-F238E27FC236}">
                      <a16:creationId xmlns:a16="http://schemas.microsoft.com/office/drawing/2014/main" id="{039693EE-14A9-4591-B409-53500D914F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2" name="Group 2571">
                <a:extLst>
                  <a:ext uri="{FF2B5EF4-FFF2-40B4-BE49-F238E27FC236}">
                    <a16:creationId xmlns:a16="http://schemas.microsoft.com/office/drawing/2014/main" id="{89DDA1AB-DB1A-4F2A-A1F6-F55E86107FD2}"/>
                  </a:ext>
                </a:extLst>
              </p:cNvPr>
              <p:cNvGrpSpPr/>
              <p:nvPr/>
            </p:nvGrpSpPr>
            <p:grpSpPr>
              <a:xfrm>
                <a:off x="1511214" y="4789508"/>
                <a:ext cx="356509" cy="349884"/>
                <a:chOff x="468738" y="2241878"/>
                <a:chExt cx="1655483" cy="1624719"/>
              </a:xfrm>
            </p:grpSpPr>
            <p:sp>
              <p:nvSpPr>
                <p:cNvPr id="2573" name="Freeform 5">
                  <a:extLst>
                    <a:ext uri="{FF2B5EF4-FFF2-40B4-BE49-F238E27FC236}">
                      <a16:creationId xmlns:a16="http://schemas.microsoft.com/office/drawing/2014/main" id="{172B99D1-5F8D-43B0-A8CF-683A3625D04B}"/>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4" name="Freeform 6">
                  <a:extLst>
                    <a:ext uri="{FF2B5EF4-FFF2-40B4-BE49-F238E27FC236}">
                      <a16:creationId xmlns:a16="http://schemas.microsoft.com/office/drawing/2014/main" id="{F3FDED16-95F9-45A6-A5C2-AF3C7FBE84F6}"/>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5" name="Line 7">
                  <a:extLst>
                    <a:ext uri="{FF2B5EF4-FFF2-40B4-BE49-F238E27FC236}">
                      <a16:creationId xmlns:a16="http://schemas.microsoft.com/office/drawing/2014/main" id="{AAD0AA96-C242-4B23-8EFA-298E3BEDAA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8">
                  <a:extLst>
                    <a:ext uri="{FF2B5EF4-FFF2-40B4-BE49-F238E27FC236}">
                      <a16:creationId xmlns:a16="http://schemas.microsoft.com/office/drawing/2014/main" id="{65ACEBDE-EC2B-4A9C-8F9A-3E59E956386C}"/>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7" name="Line 9">
                  <a:extLst>
                    <a:ext uri="{FF2B5EF4-FFF2-40B4-BE49-F238E27FC236}">
                      <a16:creationId xmlns:a16="http://schemas.microsoft.com/office/drawing/2014/main" id="{FA37A858-97DB-4449-ACE8-3885E0019D9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78" name="Group 2577">
                  <a:extLst>
                    <a:ext uri="{FF2B5EF4-FFF2-40B4-BE49-F238E27FC236}">
                      <a16:creationId xmlns:a16="http://schemas.microsoft.com/office/drawing/2014/main" id="{79C5D445-41D4-40B0-AF1A-755E76DDC7B4}"/>
                    </a:ext>
                  </a:extLst>
                </p:cNvPr>
                <p:cNvGrpSpPr/>
                <p:nvPr/>
              </p:nvGrpSpPr>
              <p:grpSpPr>
                <a:xfrm>
                  <a:off x="1207113" y="2241878"/>
                  <a:ext cx="178734" cy="348678"/>
                  <a:chOff x="1207113" y="2241878"/>
                  <a:chExt cx="178734" cy="348678"/>
                </a:xfrm>
              </p:grpSpPr>
              <p:sp>
                <p:nvSpPr>
                  <p:cNvPr id="2601" name="Freeform 10">
                    <a:extLst>
                      <a:ext uri="{FF2B5EF4-FFF2-40B4-BE49-F238E27FC236}">
                        <a16:creationId xmlns:a16="http://schemas.microsoft.com/office/drawing/2014/main" id="{54AC54D8-9353-4873-A0D6-DA52C82071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2" name="Line 11">
                    <a:extLst>
                      <a:ext uri="{FF2B5EF4-FFF2-40B4-BE49-F238E27FC236}">
                        <a16:creationId xmlns:a16="http://schemas.microsoft.com/office/drawing/2014/main" id="{67538569-E1FB-43CB-8C4E-E50AB927A62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79" name="Freeform 12">
                  <a:extLst>
                    <a:ext uri="{FF2B5EF4-FFF2-40B4-BE49-F238E27FC236}">
                      <a16:creationId xmlns:a16="http://schemas.microsoft.com/office/drawing/2014/main" id="{23AB89EB-3C17-472E-A344-FA38E6EB684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0" name="Line 13">
                  <a:extLst>
                    <a:ext uri="{FF2B5EF4-FFF2-40B4-BE49-F238E27FC236}">
                      <a16:creationId xmlns:a16="http://schemas.microsoft.com/office/drawing/2014/main" id="{43C11C09-0BC9-4BFF-875F-ABE448A152D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14">
                  <a:extLst>
                    <a:ext uri="{FF2B5EF4-FFF2-40B4-BE49-F238E27FC236}">
                      <a16:creationId xmlns:a16="http://schemas.microsoft.com/office/drawing/2014/main" id="{F0F5FDC1-C77E-42C1-837C-FAF73023CF4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2" name="Line 15">
                  <a:extLst>
                    <a:ext uri="{FF2B5EF4-FFF2-40B4-BE49-F238E27FC236}">
                      <a16:creationId xmlns:a16="http://schemas.microsoft.com/office/drawing/2014/main" id="{D14B5AA4-719D-4159-8916-F2A1A34A91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16">
                  <a:extLst>
                    <a:ext uri="{FF2B5EF4-FFF2-40B4-BE49-F238E27FC236}">
                      <a16:creationId xmlns:a16="http://schemas.microsoft.com/office/drawing/2014/main" id="{F8FBC1AC-6574-47C3-8438-C023623B260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4" name="Line 17">
                  <a:extLst>
                    <a:ext uri="{FF2B5EF4-FFF2-40B4-BE49-F238E27FC236}">
                      <a16:creationId xmlns:a16="http://schemas.microsoft.com/office/drawing/2014/main" id="{08056CE5-759B-45BA-AD64-E8F92BBD2A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5" name="Freeform 18">
                  <a:extLst>
                    <a:ext uri="{FF2B5EF4-FFF2-40B4-BE49-F238E27FC236}">
                      <a16:creationId xmlns:a16="http://schemas.microsoft.com/office/drawing/2014/main" id="{6A51513C-BEE0-4282-A5DF-6205F1EA066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6" name="Line 19">
                  <a:extLst>
                    <a:ext uri="{FF2B5EF4-FFF2-40B4-BE49-F238E27FC236}">
                      <a16:creationId xmlns:a16="http://schemas.microsoft.com/office/drawing/2014/main" id="{AEAAE65E-5999-432E-9C21-5E4FB83DDEB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Freeform 35">
                  <a:extLst>
                    <a:ext uri="{FF2B5EF4-FFF2-40B4-BE49-F238E27FC236}">
                      <a16:creationId xmlns:a16="http://schemas.microsoft.com/office/drawing/2014/main" id="{905B05FD-7A7F-48F9-A413-495E4E3EF3B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8" name="Freeform 36">
                  <a:extLst>
                    <a:ext uri="{FF2B5EF4-FFF2-40B4-BE49-F238E27FC236}">
                      <a16:creationId xmlns:a16="http://schemas.microsoft.com/office/drawing/2014/main" id="{2921A0B4-2BEA-4CE2-8F22-3E172B32B81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9" name="Freeform 37">
                  <a:extLst>
                    <a:ext uri="{FF2B5EF4-FFF2-40B4-BE49-F238E27FC236}">
                      <a16:creationId xmlns:a16="http://schemas.microsoft.com/office/drawing/2014/main" id="{74FD599A-C4E5-4385-B21D-C11D5169B587}"/>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Freeform 38">
                  <a:extLst>
                    <a:ext uri="{FF2B5EF4-FFF2-40B4-BE49-F238E27FC236}">
                      <a16:creationId xmlns:a16="http://schemas.microsoft.com/office/drawing/2014/main" id="{8F85F175-9B1B-40F9-946C-DE9DDA6E8A4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1" name="Freeform 39">
                  <a:extLst>
                    <a:ext uri="{FF2B5EF4-FFF2-40B4-BE49-F238E27FC236}">
                      <a16:creationId xmlns:a16="http://schemas.microsoft.com/office/drawing/2014/main" id="{53790508-4459-4A51-8C21-80B6C72D01A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2" name="Freeform 40">
                  <a:extLst>
                    <a:ext uri="{FF2B5EF4-FFF2-40B4-BE49-F238E27FC236}">
                      <a16:creationId xmlns:a16="http://schemas.microsoft.com/office/drawing/2014/main" id="{E9E238AF-9ECF-452F-B6DB-E6DF88A9C969}"/>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41">
                  <a:extLst>
                    <a:ext uri="{FF2B5EF4-FFF2-40B4-BE49-F238E27FC236}">
                      <a16:creationId xmlns:a16="http://schemas.microsoft.com/office/drawing/2014/main" id="{D11F8F04-D95B-4398-934F-456924E564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Line 42">
                  <a:extLst>
                    <a:ext uri="{FF2B5EF4-FFF2-40B4-BE49-F238E27FC236}">
                      <a16:creationId xmlns:a16="http://schemas.microsoft.com/office/drawing/2014/main" id="{7CA960FB-560C-4E5A-8FE9-85E545A1B2C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5" name="Freeform 43">
                  <a:extLst>
                    <a:ext uri="{FF2B5EF4-FFF2-40B4-BE49-F238E27FC236}">
                      <a16:creationId xmlns:a16="http://schemas.microsoft.com/office/drawing/2014/main" id="{8352DF51-BA50-42A8-AAA7-896B47106C3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6" name="Freeform 44">
                  <a:extLst>
                    <a:ext uri="{FF2B5EF4-FFF2-40B4-BE49-F238E27FC236}">
                      <a16:creationId xmlns:a16="http://schemas.microsoft.com/office/drawing/2014/main" id="{BDD7E630-68FF-4E07-BB6A-C1149D795D9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7" name="Freeform 45">
                  <a:extLst>
                    <a:ext uri="{FF2B5EF4-FFF2-40B4-BE49-F238E27FC236}">
                      <a16:creationId xmlns:a16="http://schemas.microsoft.com/office/drawing/2014/main" id="{861BDD01-35EE-466A-B33F-9A1961BB3060}"/>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98" name="Group 2597">
                  <a:extLst>
                    <a:ext uri="{FF2B5EF4-FFF2-40B4-BE49-F238E27FC236}">
                      <a16:creationId xmlns:a16="http://schemas.microsoft.com/office/drawing/2014/main" id="{7B1758D7-BE5F-464F-BC14-3A269D9754BC}"/>
                    </a:ext>
                  </a:extLst>
                </p:cNvPr>
                <p:cNvGrpSpPr/>
                <p:nvPr/>
              </p:nvGrpSpPr>
              <p:grpSpPr>
                <a:xfrm flipV="1">
                  <a:off x="1202047" y="3517919"/>
                  <a:ext cx="178734" cy="348678"/>
                  <a:chOff x="1207113" y="2241878"/>
                  <a:chExt cx="178734" cy="348678"/>
                </a:xfrm>
              </p:grpSpPr>
              <p:sp>
                <p:nvSpPr>
                  <p:cNvPr id="2599" name="Freeform 10">
                    <a:extLst>
                      <a:ext uri="{FF2B5EF4-FFF2-40B4-BE49-F238E27FC236}">
                        <a16:creationId xmlns:a16="http://schemas.microsoft.com/office/drawing/2014/main" id="{019506FC-658D-4D9A-A18D-8059D37E15F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Line 11">
                    <a:extLst>
                      <a:ext uri="{FF2B5EF4-FFF2-40B4-BE49-F238E27FC236}">
                        <a16:creationId xmlns:a16="http://schemas.microsoft.com/office/drawing/2014/main" id="{99B84B6D-9AFF-4FEA-9FDC-B8BF3387F94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48" name="Group 2547">
              <a:extLst>
                <a:ext uri="{FF2B5EF4-FFF2-40B4-BE49-F238E27FC236}">
                  <a16:creationId xmlns:a16="http://schemas.microsoft.com/office/drawing/2014/main" id="{5EA11509-A1A4-44A6-A1A4-17F4B555AAC6}"/>
                </a:ext>
              </a:extLst>
            </p:cNvPr>
            <p:cNvGrpSpPr>
              <a:grpSpLocks/>
            </p:cNvGrpSpPr>
            <p:nvPr/>
          </p:nvGrpSpPr>
          <p:grpSpPr>
            <a:xfrm>
              <a:off x="2714719" y="1795002"/>
              <a:ext cx="429768" cy="429768"/>
              <a:chOff x="2268747" y="4723725"/>
              <a:chExt cx="415610" cy="415612"/>
            </a:xfrm>
          </p:grpSpPr>
          <p:grpSp>
            <p:nvGrpSpPr>
              <p:cNvPr id="2549" name="Group 64">
                <a:extLst>
                  <a:ext uri="{FF2B5EF4-FFF2-40B4-BE49-F238E27FC236}">
                    <a16:creationId xmlns:a16="http://schemas.microsoft.com/office/drawing/2014/main" id="{9994E78A-F8C7-4ECE-944A-E097AE751DB8}"/>
                  </a:ext>
                </a:extLst>
              </p:cNvPr>
              <p:cNvGrpSpPr>
                <a:grpSpLocks noChangeAspect="1"/>
              </p:cNvGrpSpPr>
              <p:nvPr/>
            </p:nvGrpSpPr>
            <p:grpSpPr bwMode="auto">
              <a:xfrm rot="8100000">
                <a:off x="2268747" y="4723725"/>
                <a:ext cx="415610" cy="415612"/>
                <a:chOff x="701" y="2170"/>
                <a:chExt cx="587" cy="587"/>
              </a:xfrm>
            </p:grpSpPr>
            <p:sp>
              <p:nvSpPr>
                <p:cNvPr id="2564" name="Oval 65">
                  <a:extLst>
                    <a:ext uri="{FF2B5EF4-FFF2-40B4-BE49-F238E27FC236}">
                      <a16:creationId xmlns:a16="http://schemas.microsoft.com/office/drawing/2014/main" id="{B0440BC5-094D-472D-B738-365BFF23A97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5" name="Line 66">
                  <a:extLst>
                    <a:ext uri="{FF2B5EF4-FFF2-40B4-BE49-F238E27FC236}">
                      <a16:creationId xmlns:a16="http://schemas.microsoft.com/office/drawing/2014/main" id="{2A47616E-CFA9-48B9-9249-5868F9E3FC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6" name="Line 67">
                  <a:extLst>
                    <a:ext uri="{FF2B5EF4-FFF2-40B4-BE49-F238E27FC236}">
                      <a16:creationId xmlns:a16="http://schemas.microsoft.com/office/drawing/2014/main" id="{F77ABEAB-5DBD-4EAF-8B07-2263A00DC3F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7" name="Line 69">
                  <a:extLst>
                    <a:ext uri="{FF2B5EF4-FFF2-40B4-BE49-F238E27FC236}">
                      <a16:creationId xmlns:a16="http://schemas.microsoft.com/office/drawing/2014/main" id="{DE510E65-BE79-46F0-B8B4-232037F6B76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8" name="Line 74">
                  <a:extLst>
                    <a:ext uri="{FF2B5EF4-FFF2-40B4-BE49-F238E27FC236}">
                      <a16:creationId xmlns:a16="http://schemas.microsoft.com/office/drawing/2014/main" id="{CD3FFEA8-D4AB-4078-A060-33DF4A788FE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9" name="Freeform 78">
                  <a:extLst>
                    <a:ext uri="{FF2B5EF4-FFF2-40B4-BE49-F238E27FC236}">
                      <a16:creationId xmlns:a16="http://schemas.microsoft.com/office/drawing/2014/main" id="{2EDC1EE5-42BD-4CDA-813D-5E6FB6792E2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0" name="Freeform 80">
                  <a:extLst>
                    <a:ext uri="{FF2B5EF4-FFF2-40B4-BE49-F238E27FC236}">
                      <a16:creationId xmlns:a16="http://schemas.microsoft.com/office/drawing/2014/main" id="{A5B3BECE-23D7-41D4-8D21-E529128AD14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50" name="Group 2549">
                <a:extLst>
                  <a:ext uri="{FF2B5EF4-FFF2-40B4-BE49-F238E27FC236}">
                    <a16:creationId xmlns:a16="http://schemas.microsoft.com/office/drawing/2014/main" id="{CDDC6E90-998A-4279-AA1D-88E0676C2A65}"/>
                  </a:ext>
                </a:extLst>
              </p:cNvPr>
              <p:cNvGrpSpPr/>
              <p:nvPr/>
            </p:nvGrpSpPr>
            <p:grpSpPr>
              <a:xfrm>
                <a:off x="2318076" y="4830163"/>
                <a:ext cx="313949" cy="233075"/>
                <a:chOff x="3707533" y="2731244"/>
                <a:chExt cx="389644" cy="289271"/>
              </a:xfrm>
            </p:grpSpPr>
            <p:sp>
              <p:nvSpPr>
                <p:cNvPr id="2551" name="Freeform 33">
                  <a:extLst>
                    <a:ext uri="{FF2B5EF4-FFF2-40B4-BE49-F238E27FC236}">
                      <a16:creationId xmlns:a16="http://schemas.microsoft.com/office/drawing/2014/main" id="{3E33581A-5603-47FA-8C77-22600BCDE6E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2" name="Freeform 34">
                  <a:extLst>
                    <a:ext uri="{FF2B5EF4-FFF2-40B4-BE49-F238E27FC236}">
                      <a16:creationId xmlns:a16="http://schemas.microsoft.com/office/drawing/2014/main" id="{ACDF47B3-1CA7-4271-867B-F114B297691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3" name="Freeform 37">
                  <a:extLst>
                    <a:ext uri="{FF2B5EF4-FFF2-40B4-BE49-F238E27FC236}">
                      <a16:creationId xmlns:a16="http://schemas.microsoft.com/office/drawing/2014/main" id="{B543CB0C-D03B-4720-A607-0FCD07E9D4B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4" name="Freeform 38">
                  <a:extLst>
                    <a:ext uri="{FF2B5EF4-FFF2-40B4-BE49-F238E27FC236}">
                      <a16:creationId xmlns:a16="http://schemas.microsoft.com/office/drawing/2014/main" id="{372AC087-985F-4869-B0F9-042502D250D4}"/>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5" name="Freeform 32">
                  <a:extLst>
                    <a:ext uri="{FF2B5EF4-FFF2-40B4-BE49-F238E27FC236}">
                      <a16:creationId xmlns:a16="http://schemas.microsoft.com/office/drawing/2014/main" id="{38C5052C-A37E-470F-B686-3D80031B8B8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6" name="Freeform 35">
                  <a:extLst>
                    <a:ext uri="{FF2B5EF4-FFF2-40B4-BE49-F238E27FC236}">
                      <a16:creationId xmlns:a16="http://schemas.microsoft.com/office/drawing/2014/main" id="{B2446279-1BCD-4191-8B55-C5D69A343EE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7" name="Freeform 36">
                  <a:extLst>
                    <a:ext uri="{FF2B5EF4-FFF2-40B4-BE49-F238E27FC236}">
                      <a16:creationId xmlns:a16="http://schemas.microsoft.com/office/drawing/2014/main" id="{C85BCDF6-D6D7-4002-A4B7-F17FFEAB5D3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8" name="Freeform 25">
                  <a:extLst>
                    <a:ext uri="{FF2B5EF4-FFF2-40B4-BE49-F238E27FC236}">
                      <a16:creationId xmlns:a16="http://schemas.microsoft.com/office/drawing/2014/main" id="{C36CC8CF-82FF-428E-BC50-3225F0505AF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9" name="Freeform 39">
                  <a:extLst>
                    <a:ext uri="{FF2B5EF4-FFF2-40B4-BE49-F238E27FC236}">
                      <a16:creationId xmlns:a16="http://schemas.microsoft.com/office/drawing/2014/main" id="{B9E1B1BD-9826-44F1-8BFA-FD3EE138DEA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0" name="Freeform 26">
                  <a:extLst>
                    <a:ext uri="{FF2B5EF4-FFF2-40B4-BE49-F238E27FC236}">
                      <a16:creationId xmlns:a16="http://schemas.microsoft.com/office/drawing/2014/main" id="{E70AECCB-A7E1-4AF4-AD81-97B4AD7E5A3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1" name="Rectangle 27">
                  <a:extLst>
                    <a:ext uri="{FF2B5EF4-FFF2-40B4-BE49-F238E27FC236}">
                      <a16:creationId xmlns:a16="http://schemas.microsoft.com/office/drawing/2014/main" id="{AE5DB8C7-52CD-4F4D-AD7D-713470DD0519}"/>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2" name="Line 29">
                  <a:extLst>
                    <a:ext uri="{FF2B5EF4-FFF2-40B4-BE49-F238E27FC236}">
                      <a16:creationId xmlns:a16="http://schemas.microsoft.com/office/drawing/2014/main" id="{C1EDC3FA-8CEB-4FB2-816D-A14C07043183}"/>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3" name="Line 31">
                  <a:extLst>
                    <a:ext uri="{FF2B5EF4-FFF2-40B4-BE49-F238E27FC236}">
                      <a16:creationId xmlns:a16="http://schemas.microsoft.com/office/drawing/2014/main" id="{2438B17F-954A-450B-8F24-DD7E7E7D6E0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 name="Group 21">
            <a:extLst>
              <a:ext uri="{FF2B5EF4-FFF2-40B4-BE49-F238E27FC236}">
                <a16:creationId xmlns:a16="http://schemas.microsoft.com/office/drawing/2014/main" id="{6E4C0B98-8312-4240-91AD-56D15DC8F0EB}"/>
              </a:ext>
            </a:extLst>
          </p:cNvPr>
          <p:cNvGrpSpPr/>
          <p:nvPr/>
        </p:nvGrpSpPr>
        <p:grpSpPr>
          <a:xfrm>
            <a:off x="10071532" y="2269806"/>
            <a:ext cx="1723479" cy="3110477"/>
            <a:chOff x="10072567" y="2269503"/>
            <a:chExt cx="1723928" cy="3111287"/>
          </a:xfrm>
        </p:grpSpPr>
        <p:grpSp>
          <p:nvGrpSpPr>
            <p:cNvPr id="2628" name="Group 2627">
              <a:extLst>
                <a:ext uri="{FF2B5EF4-FFF2-40B4-BE49-F238E27FC236}">
                  <a16:creationId xmlns:a16="http://schemas.microsoft.com/office/drawing/2014/main" id="{5CB17104-CCCA-4F2F-BCBE-97E71FB6F56C}"/>
                </a:ext>
              </a:extLst>
            </p:cNvPr>
            <p:cNvGrpSpPr/>
            <p:nvPr/>
          </p:nvGrpSpPr>
          <p:grpSpPr>
            <a:xfrm>
              <a:off x="10075218" y="2269503"/>
              <a:ext cx="1586257" cy="2254230"/>
              <a:chOff x="9895314" y="2107193"/>
              <a:chExt cx="1590306" cy="2259985"/>
            </a:xfrm>
          </p:grpSpPr>
          <p:grpSp>
            <p:nvGrpSpPr>
              <p:cNvPr id="2629" name="Group 2628">
                <a:extLst>
                  <a:ext uri="{FF2B5EF4-FFF2-40B4-BE49-F238E27FC236}">
                    <a16:creationId xmlns:a16="http://schemas.microsoft.com/office/drawing/2014/main" id="{75F7C261-4B8F-45FE-824C-8DB0963CCF23}"/>
                  </a:ext>
                </a:extLst>
              </p:cNvPr>
              <p:cNvGrpSpPr/>
              <p:nvPr/>
            </p:nvGrpSpPr>
            <p:grpSpPr>
              <a:xfrm>
                <a:off x="9895314" y="2107193"/>
                <a:ext cx="1231250" cy="1189486"/>
                <a:chOff x="7839761" y="1053755"/>
                <a:chExt cx="927651" cy="896185"/>
              </a:xfrm>
            </p:grpSpPr>
            <p:sp>
              <p:nvSpPr>
                <p:cNvPr id="2746" name="TextBox 2745">
                  <a:extLst>
                    <a:ext uri="{FF2B5EF4-FFF2-40B4-BE49-F238E27FC236}">
                      <a16:creationId xmlns:a16="http://schemas.microsoft.com/office/drawing/2014/main" id="{A89C0F18-FA20-4891-8E84-A8A00C5A9499}"/>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47" name="Group 2746">
                  <a:extLst>
                    <a:ext uri="{FF2B5EF4-FFF2-40B4-BE49-F238E27FC236}">
                      <a16:creationId xmlns:a16="http://schemas.microsoft.com/office/drawing/2014/main" id="{41A641A2-BA06-4CF0-B09C-EF17BDDDA17C}"/>
                    </a:ext>
                  </a:extLst>
                </p:cNvPr>
                <p:cNvGrpSpPr/>
                <p:nvPr/>
              </p:nvGrpSpPr>
              <p:grpSpPr>
                <a:xfrm>
                  <a:off x="7839761" y="1053755"/>
                  <a:ext cx="927651" cy="523122"/>
                  <a:chOff x="7839761" y="1053755"/>
                  <a:chExt cx="927651" cy="523122"/>
                </a:xfrm>
              </p:grpSpPr>
              <p:sp>
                <p:nvSpPr>
                  <p:cNvPr id="2748" name="Line 66">
                    <a:extLst>
                      <a:ext uri="{FF2B5EF4-FFF2-40B4-BE49-F238E27FC236}">
                        <a16:creationId xmlns:a16="http://schemas.microsoft.com/office/drawing/2014/main" id="{EF576319-484F-4E1A-83E5-E731B3A05C8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Line 67">
                    <a:extLst>
                      <a:ext uri="{FF2B5EF4-FFF2-40B4-BE49-F238E27FC236}">
                        <a16:creationId xmlns:a16="http://schemas.microsoft.com/office/drawing/2014/main" id="{4C11F583-E796-42B1-B36E-F135E3677C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0" name="Line 74">
                    <a:extLst>
                      <a:ext uri="{FF2B5EF4-FFF2-40B4-BE49-F238E27FC236}">
                        <a16:creationId xmlns:a16="http://schemas.microsoft.com/office/drawing/2014/main" id="{A3D791A1-8161-4216-9837-9D5C6939A3A7}"/>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1" name="Freeform 78">
                    <a:extLst>
                      <a:ext uri="{FF2B5EF4-FFF2-40B4-BE49-F238E27FC236}">
                        <a16:creationId xmlns:a16="http://schemas.microsoft.com/office/drawing/2014/main" id="{71B5307A-0003-42E4-A2BB-6E78B51CF045}"/>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2" name="Freeform 80">
                    <a:extLst>
                      <a:ext uri="{FF2B5EF4-FFF2-40B4-BE49-F238E27FC236}">
                        <a16:creationId xmlns:a16="http://schemas.microsoft.com/office/drawing/2014/main" id="{12E186D9-86A8-4315-B5A9-558C950A79EF}"/>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3" name="Freeform 1575">
                    <a:extLst>
                      <a:ext uri="{FF2B5EF4-FFF2-40B4-BE49-F238E27FC236}">
                        <a16:creationId xmlns:a16="http://schemas.microsoft.com/office/drawing/2014/main" id="{C8E9D922-B157-4514-9971-B03785F0ACC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4" name="Freeform 1576">
                    <a:extLst>
                      <a:ext uri="{FF2B5EF4-FFF2-40B4-BE49-F238E27FC236}">
                        <a16:creationId xmlns:a16="http://schemas.microsoft.com/office/drawing/2014/main" id="{C3C1296B-EC9F-49B6-ACCF-2210563B18AA}"/>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5" name="Freeform 1577">
                    <a:extLst>
                      <a:ext uri="{FF2B5EF4-FFF2-40B4-BE49-F238E27FC236}">
                        <a16:creationId xmlns:a16="http://schemas.microsoft.com/office/drawing/2014/main" id="{9363EDAB-65B6-45DE-9953-CC2140D357BB}"/>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1578">
                    <a:extLst>
                      <a:ext uri="{FF2B5EF4-FFF2-40B4-BE49-F238E27FC236}">
                        <a16:creationId xmlns:a16="http://schemas.microsoft.com/office/drawing/2014/main" id="{4B747CE4-EE46-4782-A953-6C0BE6CE175A}"/>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9">
                    <a:extLst>
                      <a:ext uri="{FF2B5EF4-FFF2-40B4-BE49-F238E27FC236}">
                        <a16:creationId xmlns:a16="http://schemas.microsoft.com/office/drawing/2014/main" id="{C5BBF474-3AE4-4A00-91FE-30C4D12C3F0E}"/>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80">
                    <a:extLst>
                      <a:ext uri="{FF2B5EF4-FFF2-40B4-BE49-F238E27FC236}">
                        <a16:creationId xmlns:a16="http://schemas.microsoft.com/office/drawing/2014/main" id="{AC37283D-B98B-427A-B0E6-8E1697E106F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81">
                    <a:extLst>
                      <a:ext uri="{FF2B5EF4-FFF2-40B4-BE49-F238E27FC236}">
                        <a16:creationId xmlns:a16="http://schemas.microsoft.com/office/drawing/2014/main" id="{2712851D-4408-49D2-B71D-BC8549552CE6}"/>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82">
                    <a:extLst>
                      <a:ext uri="{FF2B5EF4-FFF2-40B4-BE49-F238E27FC236}">
                        <a16:creationId xmlns:a16="http://schemas.microsoft.com/office/drawing/2014/main" id="{BA067DA5-B09F-4290-BC07-39E7ACAE2522}"/>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3">
                    <a:extLst>
                      <a:ext uri="{FF2B5EF4-FFF2-40B4-BE49-F238E27FC236}">
                        <a16:creationId xmlns:a16="http://schemas.microsoft.com/office/drawing/2014/main" id="{8600E721-4879-4205-BA8C-6FF01585C4B6}"/>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4">
                    <a:extLst>
                      <a:ext uri="{FF2B5EF4-FFF2-40B4-BE49-F238E27FC236}">
                        <a16:creationId xmlns:a16="http://schemas.microsoft.com/office/drawing/2014/main" id="{6C52C4E5-C141-43AA-A779-84596D472BE1}"/>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5">
                    <a:extLst>
                      <a:ext uri="{FF2B5EF4-FFF2-40B4-BE49-F238E27FC236}">
                        <a16:creationId xmlns:a16="http://schemas.microsoft.com/office/drawing/2014/main" id="{DACFF4D9-98B0-4EC9-8EF9-8A4BEF530A08}"/>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6">
                    <a:extLst>
                      <a:ext uri="{FF2B5EF4-FFF2-40B4-BE49-F238E27FC236}">
                        <a16:creationId xmlns:a16="http://schemas.microsoft.com/office/drawing/2014/main" id="{5CE3602F-29E5-4849-AC85-A181EF04DF4A}"/>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7">
                    <a:extLst>
                      <a:ext uri="{FF2B5EF4-FFF2-40B4-BE49-F238E27FC236}">
                        <a16:creationId xmlns:a16="http://schemas.microsoft.com/office/drawing/2014/main" id="{AD26EE88-98D6-4D97-BFBE-71841124747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8">
                    <a:extLst>
                      <a:ext uri="{FF2B5EF4-FFF2-40B4-BE49-F238E27FC236}">
                        <a16:creationId xmlns:a16="http://schemas.microsoft.com/office/drawing/2014/main" id="{4B71DBF9-CCCE-4B50-9211-994E7BB25A66}"/>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Rectangle 1589">
                    <a:extLst>
                      <a:ext uri="{FF2B5EF4-FFF2-40B4-BE49-F238E27FC236}">
                        <a16:creationId xmlns:a16="http://schemas.microsoft.com/office/drawing/2014/main" id="{E19A6D98-F107-4271-8471-B1B5EEB975F8}"/>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8" name="Rectangle 1590">
                    <a:extLst>
                      <a:ext uri="{FF2B5EF4-FFF2-40B4-BE49-F238E27FC236}">
                        <a16:creationId xmlns:a16="http://schemas.microsoft.com/office/drawing/2014/main" id="{7122575D-1BF0-4900-9BDA-5CCB8705DEC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91">
                    <a:extLst>
                      <a:ext uri="{FF2B5EF4-FFF2-40B4-BE49-F238E27FC236}">
                        <a16:creationId xmlns:a16="http://schemas.microsoft.com/office/drawing/2014/main" id="{FB79298F-73E1-4FD1-B18F-ECF09E695349}"/>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0" name="Freeform 1592">
                    <a:extLst>
                      <a:ext uri="{FF2B5EF4-FFF2-40B4-BE49-F238E27FC236}">
                        <a16:creationId xmlns:a16="http://schemas.microsoft.com/office/drawing/2014/main" id="{FF735AAF-A3E5-47C6-B26B-4C4C16042FD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Freeform 1593">
                    <a:extLst>
                      <a:ext uri="{FF2B5EF4-FFF2-40B4-BE49-F238E27FC236}">
                        <a16:creationId xmlns:a16="http://schemas.microsoft.com/office/drawing/2014/main" id="{B39FBEE9-F252-4A22-8264-2A1D60F5A03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4">
                    <a:extLst>
                      <a:ext uri="{FF2B5EF4-FFF2-40B4-BE49-F238E27FC236}">
                        <a16:creationId xmlns:a16="http://schemas.microsoft.com/office/drawing/2014/main" id="{A29FD2F8-9C95-4F0B-B897-4B5A4B10D567}"/>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5">
                    <a:extLst>
                      <a:ext uri="{FF2B5EF4-FFF2-40B4-BE49-F238E27FC236}">
                        <a16:creationId xmlns:a16="http://schemas.microsoft.com/office/drawing/2014/main" id="{8F7A0336-F79D-42EE-8B74-35B637B42972}"/>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6">
                    <a:extLst>
                      <a:ext uri="{FF2B5EF4-FFF2-40B4-BE49-F238E27FC236}">
                        <a16:creationId xmlns:a16="http://schemas.microsoft.com/office/drawing/2014/main" id="{E704E2E2-425C-405C-B59B-B09A9DAC05E3}"/>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672">
                    <a:extLst>
                      <a:ext uri="{FF2B5EF4-FFF2-40B4-BE49-F238E27FC236}">
                        <a16:creationId xmlns:a16="http://schemas.microsoft.com/office/drawing/2014/main" id="{58BEAE7A-63F2-4A3E-A465-6CAE93E908D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6" name="Freeform 1673">
                    <a:extLst>
                      <a:ext uri="{FF2B5EF4-FFF2-40B4-BE49-F238E27FC236}">
                        <a16:creationId xmlns:a16="http://schemas.microsoft.com/office/drawing/2014/main" id="{BF103C68-5C78-437C-B8F9-00C278917209}"/>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7" name="Freeform 1674">
                    <a:extLst>
                      <a:ext uri="{FF2B5EF4-FFF2-40B4-BE49-F238E27FC236}">
                        <a16:creationId xmlns:a16="http://schemas.microsoft.com/office/drawing/2014/main" id="{101D078E-1E0B-4970-9DE6-08C78AC150F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8" name="Freeform 1675">
                    <a:extLst>
                      <a:ext uri="{FF2B5EF4-FFF2-40B4-BE49-F238E27FC236}">
                        <a16:creationId xmlns:a16="http://schemas.microsoft.com/office/drawing/2014/main" id="{D1AF199D-33F3-4BC3-A642-B2EA8C8D0BCC}"/>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9" name="Freeform 1676">
                    <a:extLst>
                      <a:ext uri="{FF2B5EF4-FFF2-40B4-BE49-F238E27FC236}">
                        <a16:creationId xmlns:a16="http://schemas.microsoft.com/office/drawing/2014/main" id="{3CC628BB-8473-481C-9A04-3B24474C37F0}"/>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0" name="Freeform 1677">
                    <a:extLst>
                      <a:ext uri="{FF2B5EF4-FFF2-40B4-BE49-F238E27FC236}">
                        <a16:creationId xmlns:a16="http://schemas.microsoft.com/office/drawing/2014/main" id="{8A7374C2-2413-4C93-B716-E567E539CAB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1" name="Freeform 1678">
                    <a:extLst>
                      <a:ext uri="{FF2B5EF4-FFF2-40B4-BE49-F238E27FC236}">
                        <a16:creationId xmlns:a16="http://schemas.microsoft.com/office/drawing/2014/main" id="{8529CFF3-4A2F-4293-A8C3-12FD1EE8C27E}"/>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2" name="Freeform 1679">
                    <a:extLst>
                      <a:ext uri="{FF2B5EF4-FFF2-40B4-BE49-F238E27FC236}">
                        <a16:creationId xmlns:a16="http://schemas.microsoft.com/office/drawing/2014/main" id="{F1D1EC2E-B9B6-4DE5-AE78-4AAF84AD21F5}"/>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3" name="Freeform 1680">
                    <a:extLst>
                      <a:ext uri="{FF2B5EF4-FFF2-40B4-BE49-F238E27FC236}">
                        <a16:creationId xmlns:a16="http://schemas.microsoft.com/office/drawing/2014/main" id="{87D879A7-2CA4-43AF-A70E-B0F6582C7648}"/>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4" name="Freeform 1681">
                    <a:extLst>
                      <a:ext uri="{FF2B5EF4-FFF2-40B4-BE49-F238E27FC236}">
                        <a16:creationId xmlns:a16="http://schemas.microsoft.com/office/drawing/2014/main" id="{9C2394F2-1F2D-4793-BBE1-59163EF9C2B8}"/>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5" name="Freeform 1682">
                    <a:extLst>
                      <a:ext uri="{FF2B5EF4-FFF2-40B4-BE49-F238E27FC236}">
                        <a16:creationId xmlns:a16="http://schemas.microsoft.com/office/drawing/2014/main" id="{56C73A33-D3CA-4FE3-B422-3B52E4830496}"/>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6" name="Freeform 1683">
                    <a:extLst>
                      <a:ext uri="{FF2B5EF4-FFF2-40B4-BE49-F238E27FC236}">
                        <a16:creationId xmlns:a16="http://schemas.microsoft.com/office/drawing/2014/main" id="{E1FE82CE-C9EF-4092-8A68-1AAF8E855F8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7" name="Freeform 1684">
                    <a:extLst>
                      <a:ext uri="{FF2B5EF4-FFF2-40B4-BE49-F238E27FC236}">
                        <a16:creationId xmlns:a16="http://schemas.microsoft.com/office/drawing/2014/main" id="{0F03233A-E0A2-4D93-8E4E-D5E4E5F5D838}"/>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8" name="Freeform 1685">
                    <a:extLst>
                      <a:ext uri="{FF2B5EF4-FFF2-40B4-BE49-F238E27FC236}">
                        <a16:creationId xmlns:a16="http://schemas.microsoft.com/office/drawing/2014/main" id="{E0895045-18EC-4FB1-AAF6-795CAE8A8712}"/>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9" name="Freeform 1686">
                    <a:extLst>
                      <a:ext uri="{FF2B5EF4-FFF2-40B4-BE49-F238E27FC236}">
                        <a16:creationId xmlns:a16="http://schemas.microsoft.com/office/drawing/2014/main" id="{076A71FE-C096-464F-811B-4B53BFCF0D9E}"/>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0" name="Freeform 1687">
                    <a:extLst>
                      <a:ext uri="{FF2B5EF4-FFF2-40B4-BE49-F238E27FC236}">
                        <a16:creationId xmlns:a16="http://schemas.microsoft.com/office/drawing/2014/main" id="{5D0860EE-8598-4911-BB8A-8FCCF93123F9}"/>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1" name="Freeform 1688">
                    <a:extLst>
                      <a:ext uri="{FF2B5EF4-FFF2-40B4-BE49-F238E27FC236}">
                        <a16:creationId xmlns:a16="http://schemas.microsoft.com/office/drawing/2014/main" id="{87035EA2-95A4-4FE3-AAA4-3EE997309AC6}"/>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2" name="Freeform 1689">
                    <a:extLst>
                      <a:ext uri="{FF2B5EF4-FFF2-40B4-BE49-F238E27FC236}">
                        <a16:creationId xmlns:a16="http://schemas.microsoft.com/office/drawing/2014/main" id="{03B0CAB4-E6D2-4AD1-82FA-C4C6530AA120}"/>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3" name="Freeform 1690">
                    <a:extLst>
                      <a:ext uri="{FF2B5EF4-FFF2-40B4-BE49-F238E27FC236}">
                        <a16:creationId xmlns:a16="http://schemas.microsoft.com/office/drawing/2014/main" id="{A87F4AFD-7BFE-49CC-B161-040D7981115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4" name="Freeform 1691">
                    <a:extLst>
                      <a:ext uri="{FF2B5EF4-FFF2-40B4-BE49-F238E27FC236}">
                        <a16:creationId xmlns:a16="http://schemas.microsoft.com/office/drawing/2014/main" id="{A550F790-F21F-454D-BB0C-C78B801D0FF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5" name="Freeform 1692">
                    <a:extLst>
                      <a:ext uri="{FF2B5EF4-FFF2-40B4-BE49-F238E27FC236}">
                        <a16:creationId xmlns:a16="http://schemas.microsoft.com/office/drawing/2014/main" id="{3DA499CB-99FF-466E-B9C3-1C07C4DA9999}"/>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6" name="Freeform 1693">
                    <a:extLst>
                      <a:ext uri="{FF2B5EF4-FFF2-40B4-BE49-F238E27FC236}">
                        <a16:creationId xmlns:a16="http://schemas.microsoft.com/office/drawing/2014/main" id="{B0673750-09B7-4844-BCD6-D8B77703CBCC}"/>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7" name="Freeform 1694">
                    <a:extLst>
                      <a:ext uri="{FF2B5EF4-FFF2-40B4-BE49-F238E27FC236}">
                        <a16:creationId xmlns:a16="http://schemas.microsoft.com/office/drawing/2014/main" id="{3A5E945C-07AA-4DC8-9235-A4E604F5D6F3}"/>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8" name="Freeform 1695">
                    <a:extLst>
                      <a:ext uri="{FF2B5EF4-FFF2-40B4-BE49-F238E27FC236}">
                        <a16:creationId xmlns:a16="http://schemas.microsoft.com/office/drawing/2014/main" id="{F9203E1B-DDEA-4683-92CF-8791003D3C51}"/>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9" name="Freeform 1696">
                    <a:extLst>
                      <a:ext uri="{FF2B5EF4-FFF2-40B4-BE49-F238E27FC236}">
                        <a16:creationId xmlns:a16="http://schemas.microsoft.com/office/drawing/2014/main" id="{9FF08ADD-648E-4896-9B4F-86A830ACA1A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800" name="Freeform 1697">
                    <a:extLst>
                      <a:ext uri="{FF2B5EF4-FFF2-40B4-BE49-F238E27FC236}">
                        <a16:creationId xmlns:a16="http://schemas.microsoft.com/office/drawing/2014/main" id="{F4256F3D-1F56-47B8-AB85-9A61C6E953CF}"/>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30" name="Group 2629">
                <a:extLst>
                  <a:ext uri="{FF2B5EF4-FFF2-40B4-BE49-F238E27FC236}">
                    <a16:creationId xmlns:a16="http://schemas.microsoft.com/office/drawing/2014/main" id="{D1BCEA53-D951-4F05-8FB7-4C9D8228522E}"/>
                  </a:ext>
                </a:extLst>
              </p:cNvPr>
              <p:cNvGrpSpPr/>
              <p:nvPr/>
            </p:nvGrpSpPr>
            <p:grpSpPr>
              <a:xfrm>
                <a:off x="10074842" y="2518176"/>
                <a:ext cx="1231250" cy="1313698"/>
                <a:chOff x="12023909" y="2412144"/>
                <a:chExt cx="1231250" cy="1313698"/>
              </a:xfrm>
            </p:grpSpPr>
            <p:sp>
              <p:nvSpPr>
                <p:cNvPr id="2689" name="Rectangle: Rounded Corners 2688">
                  <a:extLst>
                    <a:ext uri="{FF2B5EF4-FFF2-40B4-BE49-F238E27FC236}">
                      <a16:creationId xmlns:a16="http://schemas.microsoft.com/office/drawing/2014/main" id="{91A53174-C73B-4A41-A639-68B5892DC955}"/>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90" name="Group 2689">
                  <a:extLst>
                    <a:ext uri="{FF2B5EF4-FFF2-40B4-BE49-F238E27FC236}">
                      <a16:creationId xmlns:a16="http://schemas.microsoft.com/office/drawing/2014/main" id="{59FDA0AC-DAD5-4EAB-9FA8-C8C9E032B070}"/>
                    </a:ext>
                  </a:extLst>
                </p:cNvPr>
                <p:cNvGrpSpPr/>
                <p:nvPr/>
              </p:nvGrpSpPr>
              <p:grpSpPr>
                <a:xfrm>
                  <a:off x="12023909" y="2526190"/>
                  <a:ext cx="1231250" cy="1189484"/>
                  <a:chOff x="7839761" y="1053755"/>
                  <a:chExt cx="927651" cy="896184"/>
                </a:xfrm>
              </p:grpSpPr>
              <p:sp>
                <p:nvSpPr>
                  <p:cNvPr id="2691" name="TextBox 2690">
                    <a:extLst>
                      <a:ext uri="{FF2B5EF4-FFF2-40B4-BE49-F238E27FC236}">
                        <a16:creationId xmlns:a16="http://schemas.microsoft.com/office/drawing/2014/main" id="{951F8931-F331-4D77-92A1-4D698A2F44A9}"/>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92" name="Group 2691">
                    <a:extLst>
                      <a:ext uri="{FF2B5EF4-FFF2-40B4-BE49-F238E27FC236}">
                        <a16:creationId xmlns:a16="http://schemas.microsoft.com/office/drawing/2014/main" id="{D2EF0292-F278-4306-8E39-9E45FF9C395F}"/>
                      </a:ext>
                    </a:extLst>
                  </p:cNvPr>
                  <p:cNvGrpSpPr/>
                  <p:nvPr/>
                </p:nvGrpSpPr>
                <p:grpSpPr>
                  <a:xfrm>
                    <a:off x="7839761" y="1053755"/>
                    <a:ext cx="927651" cy="523122"/>
                    <a:chOff x="7839761" y="1053755"/>
                    <a:chExt cx="927651" cy="523122"/>
                  </a:xfrm>
                </p:grpSpPr>
                <p:sp>
                  <p:nvSpPr>
                    <p:cNvPr id="2693" name="Line 66">
                      <a:extLst>
                        <a:ext uri="{FF2B5EF4-FFF2-40B4-BE49-F238E27FC236}">
                          <a16:creationId xmlns:a16="http://schemas.microsoft.com/office/drawing/2014/main" id="{D1724EA5-C098-405F-B785-A50FF3E283C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4" name="Line 67">
                      <a:extLst>
                        <a:ext uri="{FF2B5EF4-FFF2-40B4-BE49-F238E27FC236}">
                          <a16:creationId xmlns:a16="http://schemas.microsoft.com/office/drawing/2014/main" id="{2E4BAB87-A458-4ADA-8E65-BD063B95D12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5" name="Line 74">
                      <a:extLst>
                        <a:ext uri="{FF2B5EF4-FFF2-40B4-BE49-F238E27FC236}">
                          <a16:creationId xmlns:a16="http://schemas.microsoft.com/office/drawing/2014/main" id="{E831C2F1-FE8A-491F-912D-5519707E7C6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78">
                      <a:extLst>
                        <a:ext uri="{FF2B5EF4-FFF2-40B4-BE49-F238E27FC236}">
                          <a16:creationId xmlns:a16="http://schemas.microsoft.com/office/drawing/2014/main" id="{F462DEB7-EC2F-4AF6-BBDF-732A07AD7EFE}"/>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Freeform 80">
                      <a:extLst>
                        <a:ext uri="{FF2B5EF4-FFF2-40B4-BE49-F238E27FC236}">
                          <a16:creationId xmlns:a16="http://schemas.microsoft.com/office/drawing/2014/main" id="{C5616C0F-90D5-43A2-89DE-9531D6399EC2}"/>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1575">
                      <a:extLst>
                        <a:ext uri="{FF2B5EF4-FFF2-40B4-BE49-F238E27FC236}">
                          <a16:creationId xmlns:a16="http://schemas.microsoft.com/office/drawing/2014/main" id="{EC1D94CD-F268-409B-817D-B3E9ADBB7485}"/>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Freeform 1576">
                      <a:extLst>
                        <a:ext uri="{FF2B5EF4-FFF2-40B4-BE49-F238E27FC236}">
                          <a16:creationId xmlns:a16="http://schemas.microsoft.com/office/drawing/2014/main" id="{BCE8E171-ACD3-4BD1-A640-E8DD0D1C102B}"/>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0" name="Freeform 1577">
                      <a:extLst>
                        <a:ext uri="{FF2B5EF4-FFF2-40B4-BE49-F238E27FC236}">
                          <a16:creationId xmlns:a16="http://schemas.microsoft.com/office/drawing/2014/main" id="{9C320188-957D-491D-95A5-ED14741EA2E7}"/>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1" name="Freeform 1578">
                      <a:extLst>
                        <a:ext uri="{FF2B5EF4-FFF2-40B4-BE49-F238E27FC236}">
                          <a16:creationId xmlns:a16="http://schemas.microsoft.com/office/drawing/2014/main" id="{22C479F3-80B7-46D3-A222-FDFB5FE1CE7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Freeform 1579">
                      <a:extLst>
                        <a:ext uri="{FF2B5EF4-FFF2-40B4-BE49-F238E27FC236}">
                          <a16:creationId xmlns:a16="http://schemas.microsoft.com/office/drawing/2014/main" id="{0C8E3682-ABAB-4DE4-8355-7FC9789A3823}"/>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580">
                      <a:extLst>
                        <a:ext uri="{FF2B5EF4-FFF2-40B4-BE49-F238E27FC236}">
                          <a16:creationId xmlns:a16="http://schemas.microsoft.com/office/drawing/2014/main" id="{AA16A155-6C7E-4264-8FAD-610A15F64D6B}"/>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Freeform 1581">
                      <a:extLst>
                        <a:ext uri="{FF2B5EF4-FFF2-40B4-BE49-F238E27FC236}">
                          <a16:creationId xmlns:a16="http://schemas.microsoft.com/office/drawing/2014/main" id="{FE5E1229-9FDD-483D-AD60-960FB0F825CA}"/>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582">
                      <a:extLst>
                        <a:ext uri="{FF2B5EF4-FFF2-40B4-BE49-F238E27FC236}">
                          <a16:creationId xmlns:a16="http://schemas.microsoft.com/office/drawing/2014/main" id="{9CE62FEB-6A4F-4FF1-8073-B9DAAC73C340}"/>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Freeform 1583">
                      <a:extLst>
                        <a:ext uri="{FF2B5EF4-FFF2-40B4-BE49-F238E27FC236}">
                          <a16:creationId xmlns:a16="http://schemas.microsoft.com/office/drawing/2014/main" id="{BBD5B248-B8BC-4B5D-BD47-414597690FF2}"/>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584">
                      <a:extLst>
                        <a:ext uri="{FF2B5EF4-FFF2-40B4-BE49-F238E27FC236}">
                          <a16:creationId xmlns:a16="http://schemas.microsoft.com/office/drawing/2014/main" id="{FD17B1F5-285E-415E-8560-0E05239B32FA}"/>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8" name="Freeform 1585">
                      <a:extLst>
                        <a:ext uri="{FF2B5EF4-FFF2-40B4-BE49-F238E27FC236}">
                          <a16:creationId xmlns:a16="http://schemas.microsoft.com/office/drawing/2014/main" id="{3EAFE9E0-D08C-41B2-86BD-8F32994102B7}"/>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1586">
                      <a:extLst>
                        <a:ext uri="{FF2B5EF4-FFF2-40B4-BE49-F238E27FC236}">
                          <a16:creationId xmlns:a16="http://schemas.microsoft.com/office/drawing/2014/main" id="{5C65412E-9468-4106-9F48-7986D3F5F43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1587">
                      <a:extLst>
                        <a:ext uri="{FF2B5EF4-FFF2-40B4-BE49-F238E27FC236}">
                          <a16:creationId xmlns:a16="http://schemas.microsoft.com/office/drawing/2014/main" id="{DE20BEC4-0D49-4293-81E2-EF5DAFE71D5E}"/>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1588">
                      <a:extLst>
                        <a:ext uri="{FF2B5EF4-FFF2-40B4-BE49-F238E27FC236}">
                          <a16:creationId xmlns:a16="http://schemas.microsoft.com/office/drawing/2014/main" id="{28C1646F-B8FB-4CE9-AB8B-CBBE74C4BBAC}"/>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2" name="Rectangle 1589">
                      <a:extLst>
                        <a:ext uri="{FF2B5EF4-FFF2-40B4-BE49-F238E27FC236}">
                          <a16:creationId xmlns:a16="http://schemas.microsoft.com/office/drawing/2014/main" id="{CEDA4D48-ADBF-440A-8BF8-D42CDB1A2637}"/>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3" name="Rectangle 1590">
                      <a:extLst>
                        <a:ext uri="{FF2B5EF4-FFF2-40B4-BE49-F238E27FC236}">
                          <a16:creationId xmlns:a16="http://schemas.microsoft.com/office/drawing/2014/main" id="{C8C4E0AE-7A5E-468F-9CA8-6A6CD03E672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1591">
                      <a:extLst>
                        <a:ext uri="{FF2B5EF4-FFF2-40B4-BE49-F238E27FC236}">
                          <a16:creationId xmlns:a16="http://schemas.microsoft.com/office/drawing/2014/main" id="{8BDFE8BA-7AFC-4C63-9271-063CFC257A9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1592">
                      <a:extLst>
                        <a:ext uri="{FF2B5EF4-FFF2-40B4-BE49-F238E27FC236}">
                          <a16:creationId xmlns:a16="http://schemas.microsoft.com/office/drawing/2014/main" id="{0FD1EE23-4C1E-47A2-9790-BDA2A1D5EDCB}"/>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Freeform 1593">
                      <a:extLst>
                        <a:ext uri="{FF2B5EF4-FFF2-40B4-BE49-F238E27FC236}">
                          <a16:creationId xmlns:a16="http://schemas.microsoft.com/office/drawing/2014/main" id="{DB2B39AB-BCC9-4A15-9D95-704AFDB8A40F}"/>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1594">
                      <a:extLst>
                        <a:ext uri="{FF2B5EF4-FFF2-40B4-BE49-F238E27FC236}">
                          <a16:creationId xmlns:a16="http://schemas.microsoft.com/office/drawing/2014/main" id="{B05ED7C0-526A-4E3D-981D-0BE77988113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1595">
                      <a:extLst>
                        <a:ext uri="{FF2B5EF4-FFF2-40B4-BE49-F238E27FC236}">
                          <a16:creationId xmlns:a16="http://schemas.microsoft.com/office/drawing/2014/main" id="{00ED5C3D-3E08-4299-AE7B-F9E6D1C150D6}"/>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1596">
                      <a:extLst>
                        <a:ext uri="{FF2B5EF4-FFF2-40B4-BE49-F238E27FC236}">
                          <a16:creationId xmlns:a16="http://schemas.microsoft.com/office/drawing/2014/main" id="{CA35C96E-07DF-4F04-AF18-B3B6732185CF}"/>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0" name="Freeform 1672">
                      <a:extLst>
                        <a:ext uri="{FF2B5EF4-FFF2-40B4-BE49-F238E27FC236}">
                          <a16:creationId xmlns:a16="http://schemas.microsoft.com/office/drawing/2014/main" id="{DC177AC4-10E0-4F84-905E-C94B565B604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1" name="Freeform 1673">
                      <a:extLst>
                        <a:ext uri="{FF2B5EF4-FFF2-40B4-BE49-F238E27FC236}">
                          <a16:creationId xmlns:a16="http://schemas.microsoft.com/office/drawing/2014/main" id="{11BFE0DA-7415-41AE-95B4-F4895BD91ABF}"/>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Freeform 1674">
                      <a:extLst>
                        <a:ext uri="{FF2B5EF4-FFF2-40B4-BE49-F238E27FC236}">
                          <a16:creationId xmlns:a16="http://schemas.microsoft.com/office/drawing/2014/main" id="{506ECD3B-A929-4E98-8457-A36A8609D63C}"/>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3" name="Freeform 1675">
                      <a:extLst>
                        <a:ext uri="{FF2B5EF4-FFF2-40B4-BE49-F238E27FC236}">
                          <a16:creationId xmlns:a16="http://schemas.microsoft.com/office/drawing/2014/main" id="{14B5096B-D826-425D-A2A2-2523BBCF6B5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Freeform 1676">
                      <a:extLst>
                        <a:ext uri="{FF2B5EF4-FFF2-40B4-BE49-F238E27FC236}">
                          <a16:creationId xmlns:a16="http://schemas.microsoft.com/office/drawing/2014/main" id="{737F7F6E-2D63-4E6C-81D7-91AFFDDD556A}"/>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5" name="Freeform 1677">
                      <a:extLst>
                        <a:ext uri="{FF2B5EF4-FFF2-40B4-BE49-F238E27FC236}">
                          <a16:creationId xmlns:a16="http://schemas.microsoft.com/office/drawing/2014/main" id="{8E64054A-2936-4A57-839F-7FA708078D60}"/>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6" name="Freeform 1678">
                      <a:extLst>
                        <a:ext uri="{FF2B5EF4-FFF2-40B4-BE49-F238E27FC236}">
                          <a16:creationId xmlns:a16="http://schemas.microsoft.com/office/drawing/2014/main" id="{C29FD5A6-29A3-4401-A8BF-39DC8B8B6655}"/>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Freeform 1679">
                      <a:extLst>
                        <a:ext uri="{FF2B5EF4-FFF2-40B4-BE49-F238E27FC236}">
                          <a16:creationId xmlns:a16="http://schemas.microsoft.com/office/drawing/2014/main" id="{14AD96D0-BC0A-4E33-960F-29938829B668}"/>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Freeform 1680">
                      <a:extLst>
                        <a:ext uri="{FF2B5EF4-FFF2-40B4-BE49-F238E27FC236}">
                          <a16:creationId xmlns:a16="http://schemas.microsoft.com/office/drawing/2014/main" id="{0D92EF58-DE3A-4CCA-97D0-DC4A871C0AF4}"/>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Freeform 1681">
                      <a:extLst>
                        <a:ext uri="{FF2B5EF4-FFF2-40B4-BE49-F238E27FC236}">
                          <a16:creationId xmlns:a16="http://schemas.microsoft.com/office/drawing/2014/main" id="{46830979-AF97-4F96-AB0B-347AA1CAA3F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1682">
                      <a:extLst>
                        <a:ext uri="{FF2B5EF4-FFF2-40B4-BE49-F238E27FC236}">
                          <a16:creationId xmlns:a16="http://schemas.microsoft.com/office/drawing/2014/main" id="{39CA5108-DB0E-4809-BEAE-DD3DC99EE4A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1683">
                      <a:extLst>
                        <a:ext uri="{FF2B5EF4-FFF2-40B4-BE49-F238E27FC236}">
                          <a16:creationId xmlns:a16="http://schemas.microsoft.com/office/drawing/2014/main" id="{737C8CB1-174C-4C3A-9686-8D9736AEE847}"/>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2" name="Freeform 1684">
                      <a:extLst>
                        <a:ext uri="{FF2B5EF4-FFF2-40B4-BE49-F238E27FC236}">
                          <a16:creationId xmlns:a16="http://schemas.microsoft.com/office/drawing/2014/main" id="{F344A9A7-FED2-4359-8651-4407D9421D5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3" name="Freeform 1685">
                      <a:extLst>
                        <a:ext uri="{FF2B5EF4-FFF2-40B4-BE49-F238E27FC236}">
                          <a16:creationId xmlns:a16="http://schemas.microsoft.com/office/drawing/2014/main" id="{93F29FDC-67C7-4633-8C80-AB75AFBC8A19}"/>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4" name="Freeform 1686">
                      <a:extLst>
                        <a:ext uri="{FF2B5EF4-FFF2-40B4-BE49-F238E27FC236}">
                          <a16:creationId xmlns:a16="http://schemas.microsoft.com/office/drawing/2014/main" id="{9D3A2E45-B7CC-41C6-B50D-FF964AC72DE6}"/>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5" name="Freeform 1687">
                      <a:extLst>
                        <a:ext uri="{FF2B5EF4-FFF2-40B4-BE49-F238E27FC236}">
                          <a16:creationId xmlns:a16="http://schemas.microsoft.com/office/drawing/2014/main" id="{26372EFF-07B2-4A49-8C56-E7E82317E75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6" name="Freeform 1688">
                      <a:extLst>
                        <a:ext uri="{FF2B5EF4-FFF2-40B4-BE49-F238E27FC236}">
                          <a16:creationId xmlns:a16="http://schemas.microsoft.com/office/drawing/2014/main" id="{C26448E3-729C-450A-954C-134CCBB2713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7" name="Freeform 1689">
                      <a:extLst>
                        <a:ext uri="{FF2B5EF4-FFF2-40B4-BE49-F238E27FC236}">
                          <a16:creationId xmlns:a16="http://schemas.microsoft.com/office/drawing/2014/main" id="{3BD3E1FE-AEA1-4328-A84F-A4C371E93E53}"/>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Freeform 1690">
                      <a:extLst>
                        <a:ext uri="{FF2B5EF4-FFF2-40B4-BE49-F238E27FC236}">
                          <a16:creationId xmlns:a16="http://schemas.microsoft.com/office/drawing/2014/main" id="{B9305820-4255-4D54-AA5C-875C771A9508}"/>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1691">
                      <a:extLst>
                        <a:ext uri="{FF2B5EF4-FFF2-40B4-BE49-F238E27FC236}">
                          <a16:creationId xmlns:a16="http://schemas.microsoft.com/office/drawing/2014/main" id="{B4D941B1-12C7-4728-8E98-021D086752D5}"/>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Freeform 1692">
                      <a:extLst>
                        <a:ext uri="{FF2B5EF4-FFF2-40B4-BE49-F238E27FC236}">
                          <a16:creationId xmlns:a16="http://schemas.microsoft.com/office/drawing/2014/main" id="{D4E3DAA5-AD36-490F-BC2F-CCDCBD04F1C1}"/>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1693">
                      <a:extLst>
                        <a:ext uri="{FF2B5EF4-FFF2-40B4-BE49-F238E27FC236}">
                          <a16:creationId xmlns:a16="http://schemas.microsoft.com/office/drawing/2014/main" id="{B25E74AB-2B33-4B89-8D2F-2CF2A3CA5FF1}"/>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Freeform 1694">
                      <a:extLst>
                        <a:ext uri="{FF2B5EF4-FFF2-40B4-BE49-F238E27FC236}">
                          <a16:creationId xmlns:a16="http://schemas.microsoft.com/office/drawing/2014/main" id="{F52435DE-7F59-4650-B3AD-8BFADAA03FB7}"/>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3" name="Freeform 1695">
                      <a:extLst>
                        <a:ext uri="{FF2B5EF4-FFF2-40B4-BE49-F238E27FC236}">
                          <a16:creationId xmlns:a16="http://schemas.microsoft.com/office/drawing/2014/main" id="{769D5CEB-B6B7-4ED6-9242-7FB96AE18DEF}"/>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4" name="Freeform 1696">
                      <a:extLst>
                        <a:ext uri="{FF2B5EF4-FFF2-40B4-BE49-F238E27FC236}">
                          <a16:creationId xmlns:a16="http://schemas.microsoft.com/office/drawing/2014/main" id="{09590F7C-D577-428E-B3E0-6FBD3903AE7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Freeform 1697">
                      <a:extLst>
                        <a:ext uri="{FF2B5EF4-FFF2-40B4-BE49-F238E27FC236}">
                          <a16:creationId xmlns:a16="http://schemas.microsoft.com/office/drawing/2014/main" id="{F813AC04-3FCD-447D-97B5-B0D4D064BDCA}"/>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31" name="Group 2630">
                <a:extLst>
                  <a:ext uri="{FF2B5EF4-FFF2-40B4-BE49-F238E27FC236}">
                    <a16:creationId xmlns:a16="http://schemas.microsoft.com/office/drawing/2014/main" id="{9DC0EC37-B69E-4481-A6B3-41E462967965}"/>
                  </a:ext>
                </a:extLst>
              </p:cNvPr>
              <p:cNvGrpSpPr/>
              <p:nvPr/>
            </p:nvGrpSpPr>
            <p:grpSpPr>
              <a:xfrm>
                <a:off x="10254370" y="3053480"/>
                <a:ext cx="1231250" cy="1313698"/>
                <a:chOff x="12023909" y="2412144"/>
                <a:chExt cx="1231250" cy="1313698"/>
              </a:xfrm>
            </p:grpSpPr>
            <p:sp>
              <p:nvSpPr>
                <p:cNvPr id="2632" name="Rectangle: Rounded Corners 2631">
                  <a:extLst>
                    <a:ext uri="{FF2B5EF4-FFF2-40B4-BE49-F238E27FC236}">
                      <a16:creationId xmlns:a16="http://schemas.microsoft.com/office/drawing/2014/main" id="{872BD409-63AF-4B3B-8695-7461B7E59C0D}"/>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33" name="Group 2632">
                  <a:extLst>
                    <a:ext uri="{FF2B5EF4-FFF2-40B4-BE49-F238E27FC236}">
                      <a16:creationId xmlns:a16="http://schemas.microsoft.com/office/drawing/2014/main" id="{7EFB7652-EDD3-417D-B1F6-2193FEB4EC84}"/>
                    </a:ext>
                  </a:extLst>
                </p:cNvPr>
                <p:cNvGrpSpPr/>
                <p:nvPr/>
              </p:nvGrpSpPr>
              <p:grpSpPr>
                <a:xfrm>
                  <a:off x="12023909" y="2526190"/>
                  <a:ext cx="1231250" cy="1189484"/>
                  <a:chOff x="7839761" y="1053755"/>
                  <a:chExt cx="927651" cy="896184"/>
                </a:xfrm>
              </p:grpSpPr>
              <p:sp>
                <p:nvSpPr>
                  <p:cNvPr id="2634" name="TextBox 2633">
                    <a:extLst>
                      <a:ext uri="{FF2B5EF4-FFF2-40B4-BE49-F238E27FC236}">
                        <a16:creationId xmlns:a16="http://schemas.microsoft.com/office/drawing/2014/main" id="{3AD29482-D35E-4A63-AE36-958FCFE1AEEE}"/>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35" name="Group 2634">
                    <a:extLst>
                      <a:ext uri="{FF2B5EF4-FFF2-40B4-BE49-F238E27FC236}">
                        <a16:creationId xmlns:a16="http://schemas.microsoft.com/office/drawing/2014/main" id="{E82F8432-1C34-47DF-9960-95FE00D6A3FC}"/>
                      </a:ext>
                    </a:extLst>
                  </p:cNvPr>
                  <p:cNvGrpSpPr/>
                  <p:nvPr/>
                </p:nvGrpSpPr>
                <p:grpSpPr>
                  <a:xfrm>
                    <a:off x="7839761" y="1053755"/>
                    <a:ext cx="927651" cy="523122"/>
                    <a:chOff x="7839761" y="1053755"/>
                    <a:chExt cx="927651" cy="523122"/>
                  </a:xfrm>
                </p:grpSpPr>
                <p:sp>
                  <p:nvSpPr>
                    <p:cNvPr id="2636" name="Line 66">
                      <a:extLst>
                        <a:ext uri="{FF2B5EF4-FFF2-40B4-BE49-F238E27FC236}">
                          <a16:creationId xmlns:a16="http://schemas.microsoft.com/office/drawing/2014/main" id="{FAB5F1AF-D59E-4339-9231-CE6BB136B4D4}"/>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7" name="Line 67">
                      <a:extLst>
                        <a:ext uri="{FF2B5EF4-FFF2-40B4-BE49-F238E27FC236}">
                          <a16:creationId xmlns:a16="http://schemas.microsoft.com/office/drawing/2014/main" id="{E1D82164-9AA1-4BD1-92D2-4375FD6407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8" name="Line 74">
                      <a:extLst>
                        <a:ext uri="{FF2B5EF4-FFF2-40B4-BE49-F238E27FC236}">
                          <a16:creationId xmlns:a16="http://schemas.microsoft.com/office/drawing/2014/main" id="{98A8F6EB-447E-4E55-8539-F57E2B292A2B}"/>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9" name="Freeform 78">
                      <a:extLst>
                        <a:ext uri="{FF2B5EF4-FFF2-40B4-BE49-F238E27FC236}">
                          <a16:creationId xmlns:a16="http://schemas.microsoft.com/office/drawing/2014/main" id="{37AD2296-B127-4E47-8CFB-81D312959AC9}"/>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Freeform 80">
                      <a:extLst>
                        <a:ext uri="{FF2B5EF4-FFF2-40B4-BE49-F238E27FC236}">
                          <a16:creationId xmlns:a16="http://schemas.microsoft.com/office/drawing/2014/main" id="{BEB3D0B5-8622-4780-8C9E-39FFD4AF3021}"/>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1575">
                      <a:extLst>
                        <a:ext uri="{FF2B5EF4-FFF2-40B4-BE49-F238E27FC236}">
                          <a16:creationId xmlns:a16="http://schemas.microsoft.com/office/drawing/2014/main" id="{738F0657-0BD0-4D03-B6EA-BD2D780F9F9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Freeform 1576">
                      <a:extLst>
                        <a:ext uri="{FF2B5EF4-FFF2-40B4-BE49-F238E27FC236}">
                          <a16:creationId xmlns:a16="http://schemas.microsoft.com/office/drawing/2014/main" id="{F010257B-2F86-4267-BF9A-A5018879EABD}"/>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1577">
                      <a:extLst>
                        <a:ext uri="{FF2B5EF4-FFF2-40B4-BE49-F238E27FC236}">
                          <a16:creationId xmlns:a16="http://schemas.microsoft.com/office/drawing/2014/main" id="{0EDEB22E-3329-4B5A-8FAF-6E31ABF12793}"/>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Freeform 1578">
                      <a:extLst>
                        <a:ext uri="{FF2B5EF4-FFF2-40B4-BE49-F238E27FC236}">
                          <a16:creationId xmlns:a16="http://schemas.microsoft.com/office/drawing/2014/main" id="{7938E217-E3D3-4ABE-9338-5E2199DC4778}"/>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5" name="Freeform 1579">
                      <a:extLst>
                        <a:ext uri="{FF2B5EF4-FFF2-40B4-BE49-F238E27FC236}">
                          <a16:creationId xmlns:a16="http://schemas.microsoft.com/office/drawing/2014/main" id="{B9D83343-09AE-4DA8-A30C-77AF8EE87C9A}"/>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6" name="Freeform 1580">
                      <a:extLst>
                        <a:ext uri="{FF2B5EF4-FFF2-40B4-BE49-F238E27FC236}">
                          <a16:creationId xmlns:a16="http://schemas.microsoft.com/office/drawing/2014/main" id="{019577C1-D65C-4469-A36B-7E23AB68A369}"/>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Freeform 1581">
                      <a:extLst>
                        <a:ext uri="{FF2B5EF4-FFF2-40B4-BE49-F238E27FC236}">
                          <a16:creationId xmlns:a16="http://schemas.microsoft.com/office/drawing/2014/main" id="{ADFE94A6-6EBA-4D1F-A39D-0B0D9F5FD2F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Freeform 1582">
                      <a:extLst>
                        <a:ext uri="{FF2B5EF4-FFF2-40B4-BE49-F238E27FC236}">
                          <a16:creationId xmlns:a16="http://schemas.microsoft.com/office/drawing/2014/main" id="{C7BE996B-21C2-40A9-B8E2-9BFFC1106535}"/>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Freeform 1583">
                      <a:extLst>
                        <a:ext uri="{FF2B5EF4-FFF2-40B4-BE49-F238E27FC236}">
                          <a16:creationId xmlns:a16="http://schemas.microsoft.com/office/drawing/2014/main" id="{3E5AE7C4-CA5C-4F64-AE39-1C30461A6F57}"/>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1584">
                      <a:extLst>
                        <a:ext uri="{FF2B5EF4-FFF2-40B4-BE49-F238E27FC236}">
                          <a16:creationId xmlns:a16="http://schemas.microsoft.com/office/drawing/2014/main" id="{A7F346BF-C9DA-4DD1-A359-87EE5863F945}"/>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1585">
                      <a:extLst>
                        <a:ext uri="{FF2B5EF4-FFF2-40B4-BE49-F238E27FC236}">
                          <a16:creationId xmlns:a16="http://schemas.microsoft.com/office/drawing/2014/main" id="{03AF5E99-0265-414D-B000-1B05B67EA63F}"/>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2" name="Freeform 1586">
                      <a:extLst>
                        <a:ext uri="{FF2B5EF4-FFF2-40B4-BE49-F238E27FC236}">
                          <a16:creationId xmlns:a16="http://schemas.microsoft.com/office/drawing/2014/main" id="{9C12FD66-0104-47B6-BA7B-61AEC8752599}"/>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3" name="Freeform 1587">
                      <a:extLst>
                        <a:ext uri="{FF2B5EF4-FFF2-40B4-BE49-F238E27FC236}">
                          <a16:creationId xmlns:a16="http://schemas.microsoft.com/office/drawing/2014/main" id="{9951E013-7E87-410C-8E24-29FDA7A6C6DA}"/>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4" name="Freeform 1588">
                      <a:extLst>
                        <a:ext uri="{FF2B5EF4-FFF2-40B4-BE49-F238E27FC236}">
                          <a16:creationId xmlns:a16="http://schemas.microsoft.com/office/drawing/2014/main" id="{CB66D67A-CD7C-45A5-93A0-17D2076B34FD}"/>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5" name="Rectangle 1589">
                      <a:extLst>
                        <a:ext uri="{FF2B5EF4-FFF2-40B4-BE49-F238E27FC236}">
                          <a16:creationId xmlns:a16="http://schemas.microsoft.com/office/drawing/2014/main" id="{BDF12F17-0C71-4937-9C30-C4456872E9F0}"/>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6" name="Rectangle 1590">
                      <a:extLst>
                        <a:ext uri="{FF2B5EF4-FFF2-40B4-BE49-F238E27FC236}">
                          <a16:creationId xmlns:a16="http://schemas.microsoft.com/office/drawing/2014/main" id="{8B492B29-7280-436E-9AC1-E80545DB4283}"/>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7" name="Freeform 1591">
                      <a:extLst>
                        <a:ext uri="{FF2B5EF4-FFF2-40B4-BE49-F238E27FC236}">
                          <a16:creationId xmlns:a16="http://schemas.microsoft.com/office/drawing/2014/main" id="{76139F27-78A2-42B0-9FDA-A8A0E3A35891}"/>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8" name="Freeform 1592">
                      <a:extLst>
                        <a:ext uri="{FF2B5EF4-FFF2-40B4-BE49-F238E27FC236}">
                          <a16:creationId xmlns:a16="http://schemas.microsoft.com/office/drawing/2014/main" id="{06F68C76-69CC-4184-B71A-BDFFCBBFFEB9}"/>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9" name="Freeform 1593">
                      <a:extLst>
                        <a:ext uri="{FF2B5EF4-FFF2-40B4-BE49-F238E27FC236}">
                          <a16:creationId xmlns:a16="http://schemas.microsoft.com/office/drawing/2014/main" id="{1D2BA2E5-E975-4297-8C48-495935B695B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0" name="Freeform 1594">
                      <a:extLst>
                        <a:ext uri="{FF2B5EF4-FFF2-40B4-BE49-F238E27FC236}">
                          <a16:creationId xmlns:a16="http://schemas.microsoft.com/office/drawing/2014/main" id="{839046DC-F08A-40B0-9130-29568052811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1" name="Freeform 1595">
                      <a:extLst>
                        <a:ext uri="{FF2B5EF4-FFF2-40B4-BE49-F238E27FC236}">
                          <a16:creationId xmlns:a16="http://schemas.microsoft.com/office/drawing/2014/main" id="{C7295905-C88D-4F88-A9B4-A3A04EEA38FC}"/>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2" name="Freeform 1596">
                      <a:extLst>
                        <a:ext uri="{FF2B5EF4-FFF2-40B4-BE49-F238E27FC236}">
                          <a16:creationId xmlns:a16="http://schemas.microsoft.com/office/drawing/2014/main" id="{372FE04C-F613-4FB1-A157-0EF46379F4A6}"/>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3" name="Freeform 1672">
                      <a:extLst>
                        <a:ext uri="{FF2B5EF4-FFF2-40B4-BE49-F238E27FC236}">
                          <a16:creationId xmlns:a16="http://schemas.microsoft.com/office/drawing/2014/main" id="{4E7B2D6E-1B1A-415E-B46A-017DE4077DAC}"/>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4" name="Freeform 1673">
                      <a:extLst>
                        <a:ext uri="{FF2B5EF4-FFF2-40B4-BE49-F238E27FC236}">
                          <a16:creationId xmlns:a16="http://schemas.microsoft.com/office/drawing/2014/main" id="{2480C457-4F1B-4A58-9719-8BCBF0654AA3}"/>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5" name="Freeform 1674">
                      <a:extLst>
                        <a:ext uri="{FF2B5EF4-FFF2-40B4-BE49-F238E27FC236}">
                          <a16:creationId xmlns:a16="http://schemas.microsoft.com/office/drawing/2014/main" id="{AA635A41-34E7-4935-8E2D-F92F15286436}"/>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6" name="Freeform 1675">
                      <a:extLst>
                        <a:ext uri="{FF2B5EF4-FFF2-40B4-BE49-F238E27FC236}">
                          <a16:creationId xmlns:a16="http://schemas.microsoft.com/office/drawing/2014/main" id="{6E9D52F0-964D-46B3-8F20-C7EF8B06F2B5}"/>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7" name="Freeform 1676">
                      <a:extLst>
                        <a:ext uri="{FF2B5EF4-FFF2-40B4-BE49-F238E27FC236}">
                          <a16:creationId xmlns:a16="http://schemas.microsoft.com/office/drawing/2014/main" id="{403901DA-19CB-4CB6-94A8-C4E9EC3E00C4}"/>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8" name="Freeform 1677">
                      <a:extLst>
                        <a:ext uri="{FF2B5EF4-FFF2-40B4-BE49-F238E27FC236}">
                          <a16:creationId xmlns:a16="http://schemas.microsoft.com/office/drawing/2014/main" id="{A549648E-DFDD-48B9-8545-D45CB2E0604A}"/>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9" name="Freeform 1678">
                      <a:extLst>
                        <a:ext uri="{FF2B5EF4-FFF2-40B4-BE49-F238E27FC236}">
                          <a16:creationId xmlns:a16="http://schemas.microsoft.com/office/drawing/2014/main" id="{6FE35CEC-37B7-4A4A-AEFB-51623D2782D4}"/>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0" name="Freeform 1679">
                      <a:extLst>
                        <a:ext uri="{FF2B5EF4-FFF2-40B4-BE49-F238E27FC236}">
                          <a16:creationId xmlns:a16="http://schemas.microsoft.com/office/drawing/2014/main" id="{180E4AD2-44CC-4BCC-9693-9C0750F52BCE}"/>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1" name="Freeform 1680">
                      <a:extLst>
                        <a:ext uri="{FF2B5EF4-FFF2-40B4-BE49-F238E27FC236}">
                          <a16:creationId xmlns:a16="http://schemas.microsoft.com/office/drawing/2014/main" id="{8F417B20-8A1C-4829-94FE-A47DE3B12C61}"/>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2" name="Freeform 1681">
                      <a:extLst>
                        <a:ext uri="{FF2B5EF4-FFF2-40B4-BE49-F238E27FC236}">
                          <a16:creationId xmlns:a16="http://schemas.microsoft.com/office/drawing/2014/main" id="{6D7DC1E0-4038-43AA-8125-8E0CF806B6AD}"/>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3" name="Freeform 1682">
                      <a:extLst>
                        <a:ext uri="{FF2B5EF4-FFF2-40B4-BE49-F238E27FC236}">
                          <a16:creationId xmlns:a16="http://schemas.microsoft.com/office/drawing/2014/main" id="{27DB94BA-2038-4889-A510-D7FE0E61E558}"/>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1683">
                      <a:extLst>
                        <a:ext uri="{FF2B5EF4-FFF2-40B4-BE49-F238E27FC236}">
                          <a16:creationId xmlns:a16="http://schemas.microsoft.com/office/drawing/2014/main" id="{3D210A7C-EA3E-47F3-AE43-70AB53A7C5D0}"/>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1684">
                      <a:extLst>
                        <a:ext uri="{FF2B5EF4-FFF2-40B4-BE49-F238E27FC236}">
                          <a16:creationId xmlns:a16="http://schemas.microsoft.com/office/drawing/2014/main" id="{CFBCD459-E0D1-404C-B043-B077C0C5982C}"/>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1685">
                      <a:extLst>
                        <a:ext uri="{FF2B5EF4-FFF2-40B4-BE49-F238E27FC236}">
                          <a16:creationId xmlns:a16="http://schemas.microsoft.com/office/drawing/2014/main" id="{CA1BEB67-CFD8-4327-A686-A8BB4B8363E1}"/>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1686">
                      <a:extLst>
                        <a:ext uri="{FF2B5EF4-FFF2-40B4-BE49-F238E27FC236}">
                          <a16:creationId xmlns:a16="http://schemas.microsoft.com/office/drawing/2014/main" id="{AD51BBB0-64A2-4678-A9D2-68515D15945C}"/>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1687">
                      <a:extLst>
                        <a:ext uri="{FF2B5EF4-FFF2-40B4-BE49-F238E27FC236}">
                          <a16:creationId xmlns:a16="http://schemas.microsoft.com/office/drawing/2014/main" id="{82164BEB-906C-49C0-8B3A-379BFB8927C4}"/>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1688">
                      <a:extLst>
                        <a:ext uri="{FF2B5EF4-FFF2-40B4-BE49-F238E27FC236}">
                          <a16:creationId xmlns:a16="http://schemas.microsoft.com/office/drawing/2014/main" id="{38C6A769-DFBC-4AE7-B73E-95E236380C09}"/>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1689">
                      <a:extLst>
                        <a:ext uri="{FF2B5EF4-FFF2-40B4-BE49-F238E27FC236}">
                          <a16:creationId xmlns:a16="http://schemas.microsoft.com/office/drawing/2014/main" id="{6C2B4535-51F1-4721-B868-442D390157FE}"/>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1690">
                      <a:extLst>
                        <a:ext uri="{FF2B5EF4-FFF2-40B4-BE49-F238E27FC236}">
                          <a16:creationId xmlns:a16="http://schemas.microsoft.com/office/drawing/2014/main" id="{2168089E-048B-4A03-9C25-750D9257C0C2}"/>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1691">
                      <a:extLst>
                        <a:ext uri="{FF2B5EF4-FFF2-40B4-BE49-F238E27FC236}">
                          <a16:creationId xmlns:a16="http://schemas.microsoft.com/office/drawing/2014/main" id="{DFA2A51B-8DD5-4A89-910D-CA1931958F9C}"/>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3" name="Freeform 1692">
                      <a:extLst>
                        <a:ext uri="{FF2B5EF4-FFF2-40B4-BE49-F238E27FC236}">
                          <a16:creationId xmlns:a16="http://schemas.microsoft.com/office/drawing/2014/main" id="{A9E5E83B-1642-437F-81A9-45B9216C6E76}"/>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4" name="Freeform 1693">
                      <a:extLst>
                        <a:ext uri="{FF2B5EF4-FFF2-40B4-BE49-F238E27FC236}">
                          <a16:creationId xmlns:a16="http://schemas.microsoft.com/office/drawing/2014/main" id="{4D17AC3A-3637-4B47-8F9F-1AD6086B342A}"/>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Freeform 1694">
                      <a:extLst>
                        <a:ext uri="{FF2B5EF4-FFF2-40B4-BE49-F238E27FC236}">
                          <a16:creationId xmlns:a16="http://schemas.microsoft.com/office/drawing/2014/main" id="{22067ED6-B214-45A8-B029-1E440A68DC0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6" name="Freeform 1695">
                      <a:extLst>
                        <a:ext uri="{FF2B5EF4-FFF2-40B4-BE49-F238E27FC236}">
                          <a16:creationId xmlns:a16="http://schemas.microsoft.com/office/drawing/2014/main" id="{1DD1A4F9-2A30-4003-A5DD-89591482972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7" name="Freeform 1696">
                      <a:extLst>
                        <a:ext uri="{FF2B5EF4-FFF2-40B4-BE49-F238E27FC236}">
                          <a16:creationId xmlns:a16="http://schemas.microsoft.com/office/drawing/2014/main" id="{75EC2E55-1218-45BC-85F3-E24F97CC503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Freeform 1697">
                      <a:extLst>
                        <a:ext uri="{FF2B5EF4-FFF2-40B4-BE49-F238E27FC236}">
                          <a16:creationId xmlns:a16="http://schemas.microsoft.com/office/drawing/2014/main" id="{3AD6C380-4F95-4912-9991-EAB99AD4D35D}"/>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801" name="Rectangle 2800">
              <a:extLst>
                <a:ext uri="{FF2B5EF4-FFF2-40B4-BE49-F238E27FC236}">
                  <a16:creationId xmlns:a16="http://schemas.microsoft.com/office/drawing/2014/main" id="{5CC3A915-C0CF-48D9-BE8E-52BB3F9E154F}"/>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15" name="Group 14">
            <a:extLst>
              <a:ext uri="{FF2B5EF4-FFF2-40B4-BE49-F238E27FC236}">
                <a16:creationId xmlns:a16="http://schemas.microsoft.com/office/drawing/2014/main" id="{A3D36A2B-F5C4-4D01-9709-E1957D7DC38A}"/>
              </a:ext>
            </a:extLst>
          </p:cNvPr>
          <p:cNvGrpSpPr/>
          <p:nvPr/>
        </p:nvGrpSpPr>
        <p:grpSpPr>
          <a:xfrm>
            <a:off x="3481621" y="3615964"/>
            <a:ext cx="4581486" cy="2892141"/>
            <a:chOff x="3480940" y="3616012"/>
            <a:chExt cx="4582679" cy="2892894"/>
          </a:xfrm>
        </p:grpSpPr>
        <p:grpSp>
          <p:nvGrpSpPr>
            <p:cNvPr id="7" name="Group 6">
              <a:extLst>
                <a:ext uri="{FF2B5EF4-FFF2-40B4-BE49-F238E27FC236}">
                  <a16:creationId xmlns:a16="http://schemas.microsoft.com/office/drawing/2014/main" id="{692D072B-49CC-4303-8CF2-3D45E20D9312}"/>
                </a:ext>
              </a:extLst>
            </p:cNvPr>
            <p:cNvGrpSpPr/>
            <p:nvPr/>
          </p:nvGrpSpPr>
          <p:grpSpPr>
            <a:xfrm>
              <a:off x="3480940" y="4590574"/>
              <a:ext cx="2021522" cy="1918332"/>
              <a:chOff x="3480940" y="4590574"/>
              <a:chExt cx="2021522" cy="1918332"/>
            </a:xfrm>
          </p:grpSpPr>
          <p:grpSp>
            <p:nvGrpSpPr>
              <p:cNvPr id="2018" name="Group 2017">
                <a:extLst>
                  <a:ext uri="{FF2B5EF4-FFF2-40B4-BE49-F238E27FC236}">
                    <a16:creationId xmlns:a16="http://schemas.microsoft.com/office/drawing/2014/main" id="{56540839-72CD-4906-AEB0-E18EC5A846B9}"/>
                  </a:ext>
                </a:extLst>
              </p:cNvPr>
              <p:cNvGrpSpPr/>
              <p:nvPr/>
            </p:nvGrpSpPr>
            <p:grpSpPr>
              <a:xfrm>
                <a:off x="3480940" y="4590574"/>
                <a:ext cx="2021522" cy="1918332"/>
                <a:chOff x="3489383" y="4562005"/>
                <a:chExt cx="2026683" cy="1923229"/>
              </a:xfrm>
            </p:grpSpPr>
            <p:sp>
              <p:nvSpPr>
                <p:cNvPr id="2019" name="Rectangle 2018">
                  <a:extLst>
                    <a:ext uri="{FF2B5EF4-FFF2-40B4-BE49-F238E27FC236}">
                      <a16:creationId xmlns:a16="http://schemas.microsoft.com/office/drawing/2014/main" id="{748B31C8-D114-4F7B-AF23-309F82F6A9F1}"/>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020" name="Picture 2019">
                  <a:extLst>
                    <a:ext uri="{FF2B5EF4-FFF2-40B4-BE49-F238E27FC236}">
                      <a16:creationId xmlns:a16="http://schemas.microsoft.com/office/drawing/2014/main" id="{29BBB789-058D-4185-8ABF-BA11CF4AA1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021" name="Rectangle 2020">
                  <a:extLst>
                    <a:ext uri="{FF2B5EF4-FFF2-40B4-BE49-F238E27FC236}">
                      <a16:creationId xmlns:a16="http://schemas.microsoft.com/office/drawing/2014/main" id="{19403D70-F06C-4607-9A22-DBDF11EF45BA}"/>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022" name="Group 2021">
                  <a:extLst>
                    <a:ext uri="{FF2B5EF4-FFF2-40B4-BE49-F238E27FC236}">
                      <a16:creationId xmlns:a16="http://schemas.microsoft.com/office/drawing/2014/main" id="{FDD675A8-B8D0-4448-A656-3949DF642096}"/>
                    </a:ext>
                  </a:extLst>
                </p:cNvPr>
                <p:cNvGrpSpPr/>
                <p:nvPr/>
              </p:nvGrpSpPr>
              <p:grpSpPr>
                <a:xfrm>
                  <a:off x="4439956" y="4676083"/>
                  <a:ext cx="1030675" cy="846880"/>
                  <a:chOff x="10800033" y="2297897"/>
                  <a:chExt cx="1600558" cy="1315140"/>
                </a:xfrm>
              </p:grpSpPr>
              <p:grpSp>
                <p:nvGrpSpPr>
                  <p:cNvPr id="2023" name="Group 2022">
                    <a:extLst>
                      <a:ext uri="{FF2B5EF4-FFF2-40B4-BE49-F238E27FC236}">
                        <a16:creationId xmlns:a16="http://schemas.microsoft.com/office/drawing/2014/main" id="{1D61E89D-80B4-4262-AD4B-4F1EFBD7F33F}"/>
                      </a:ext>
                    </a:extLst>
                  </p:cNvPr>
                  <p:cNvGrpSpPr>
                    <a:grpSpLocks/>
                  </p:cNvGrpSpPr>
                  <p:nvPr/>
                </p:nvGrpSpPr>
                <p:grpSpPr>
                  <a:xfrm>
                    <a:off x="10800033" y="2339037"/>
                    <a:ext cx="613092" cy="613092"/>
                    <a:chOff x="745985" y="4768134"/>
                    <a:chExt cx="368776" cy="368777"/>
                  </a:xfrm>
                </p:grpSpPr>
                <p:grpSp>
                  <p:nvGrpSpPr>
                    <p:cNvPr id="2087" name="Group 64">
                      <a:extLst>
                        <a:ext uri="{FF2B5EF4-FFF2-40B4-BE49-F238E27FC236}">
                          <a16:creationId xmlns:a16="http://schemas.microsoft.com/office/drawing/2014/main" id="{01E48BE4-E577-4DA7-A7DA-D47F81E40EA8}"/>
                        </a:ext>
                      </a:extLst>
                    </p:cNvPr>
                    <p:cNvGrpSpPr>
                      <a:grpSpLocks noChangeAspect="1"/>
                    </p:cNvGrpSpPr>
                    <p:nvPr/>
                  </p:nvGrpSpPr>
                  <p:grpSpPr bwMode="auto">
                    <a:xfrm rot="8100000">
                      <a:off x="745985" y="4768134"/>
                      <a:ext cx="368776" cy="368777"/>
                      <a:chOff x="701" y="2170"/>
                      <a:chExt cx="587" cy="587"/>
                    </a:xfrm>
                  </p:grpSpPr>
                  <p:sp>
                    <p:nvSpPr>
                      <p:cNvPr id="2098" name="Oval 65">
                        <a:extLst>
                          <a:ext uri="{FF2B5EF4-FFF2-40B4-BE49-F238E27FC236}">
                            <a16:creationId xmlns:a16="http://schemas.microsoft.com/office/drawing/2014/main" id="{0A886081-F1D0-4AEB-9041-0464331AAF2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Line 66">
                        <a:extLst>
                          <a:ext uri="{FF2B5EF4-FFF2-40B4-BE49-F238E27FC236}">
                            <a16:creationId xmlns:a16="http://schemas.microsoft.com/office/drawing/2014/main" id="{C2E285F7-F1EF-42B3-A7C4-9FB0D6ED700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0" name="Line 67">
                        <a:extLst>
                          <a:ext uri="{FF2B5EF4-FFF2-40B4-BE49-F238E27FC236}">
                            <a16:creationId xmlns:a16="http://schemas.microsoft.com/office/drawing/2014/main" id="{0E350AB0-6D10-4606-B539-2CA4EC77E00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1" name="Line 69">
                        <a:extLst>
                          <a:ext uri="{FF2B5EF4-FFF2-40B4-BE49-F238E27FC236}">
                            <a16:creationId xmlns:a16="http://schemas.microsoft.com/office/drawing/2014/main" id="{7F69DCC6-831C-4C0A-83DB-10573EFA410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2" name="Line 74">
                        <a:extLst>
                          <a:ext uri="{FF2B5EF4-FFF2-40B4-BE49-F238E27FC236}">
                            <a16:creationId xmlns:a16="http://schemas.microsoft.com/office/drawing/2014/main" id="{A945B4C0-A0A8-4357-BDCC-600F0584749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78">
                        <a:extLst>
                          <a:ext uri="{FF2B5EF4-FFF2-40B4-BE49-F238E27FC236}">
                            <a16:creationId xmlns:a16="http://schemas.microsoft.com/office/drawing/2014/main" id="{83080771-497A-49B6-9DD8-EC246B91EE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80">
                        <a:extLst>
                          <a:ext uri="{FF2B5EF4-FFF2-40B4-BE49-F238E27FC236}">
                            <a16:creationId xmlns:a16="http://schemas.microsoft.com/office/drawing/2014/main" id="{35116DAD-749B-45B8-9C86-0FA72B3638F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88" name="Group 2087">
                      <a:extLst>
                        <a:ext uri="{FF2B5EF4-FFF2-40B4-BE49-F238E27FC236}">
                          <a16:creationId xmlns:a16="http://schemas.microsoft.com/office/drawing/2014/main" id="{37B1DD8D-1211-492D-8E3E-883D25B35A83}"/>
                        </a:ext>
                      </a:extLst>
                    </p:cNvPr>
                    <p:cNvGrpSpPr/>
                    <p:nvPr/>
                  </p:nvGrpSpPr>
                  <p:grpSpPr>
                    <a:xfrm>
                      <a:off x="837312" y="4814434"/>
                      <a:ext cx="136805" cy="278689"/>
                      <a:chOff x="2806700" y="2803319"/>
                      <a:chExt cx="433387" cy="882861"/>
                    </a:xfrm>
                  </p:grpSpPr>
                  <p:grpSp>
                    <p:nvGrpSpPr>
                      <p:cNvPr id="2089" name="Group 2088">
                        <a:extLst>
                          <a:ext uri="{FF2B5EF4-FFF2-40B4-BE49-F238E27FC236}">
                            <a16:creationId xmlns:a16="http://schemas.microsoft.com/office/drawing/2014/main" id="{3A754CC2-FAD8-46DE-A50F-546C90D392FC}"/>
                          </a:ext>
                        </a:extLst>
                      </p:cNvPr>
                      <p:cNvGrpSpPr>
                        <a:grpSpLocks noChangeAspect="1"/>
                      </p:cNvGrpSpPr>
                      <p:nvPr/>
                    </p:nvGrpSpPr>
                    <p:grpSpPr bwMode="auto">
                      <a:xfrm>
                        <a:off x="2806700" y="3043242"/>
                        <a:ext cx="433387" cy="642938"/>
                        <a:chOff x="1768" y="1917"/>
                        <a:chExt cx="273" cy="405"/>
                      </a:xfrm>
                    </p:grpSpPr>
                    <p:sp>
                      <p:nvSpPr>
                        <p:cNvPr id="2091" name="Freeform 52">
                          <a:extLst>
                            <a:ext uri="{FF2B5EF4-FFF2-40B4-BE49-F238E27FC236}">
                              <a16:creationId xmlns:a16="http://schemas.microsoft.com/office/drawing/2014/main" id="{C242132A-76D3-438C-AC96-5DB53EFA2BA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2" name="Line 54">
                          <a:extLst>
                            <a:ext uri="{FF2B5EF4-FFF2-40B4-BE49-F238E27FC236}">
                              <a16:creationId xmlns:a16="http://schemas.microsoft.com/office/drawing/2014/main" id="{D462B0C0-A26C-408D-B7F4-25FC0A46FCF6}"/>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3" name="Line 55">
                          <a:extLst>
                            <a:ext uri="{FF2B5EF4-FFF2-40B4-BE49-F238E27FC236}">
                              <a16:creationId xmlns:a16="http://schemas.microsoft.com/office/drawing/2014/main" id="{36CE7D36-8D4E-4E7D-B44E-37EF507C2CFA}"/>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4" name="Freeform 56">
                          <a:extLst>
                            <a:ext uri="{FF2B5EF4-FFF2-40B4-BE49-F238E27FC236}">
                              <a16:creationId xmlns:a16="http://schemas.microsoft.com/office/drawing/2014/main" id="{08EF9AB4-BEA6-467D-A1D8-F77DE6A94B9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5" name="Line 57">
                          <a:extLst>
                            <a:ext uri="{FF2B5EF4-FFF2-40B4-BE49-F238E27FC236}">
                              <a16:creationId xmlns:a16="http://schemas.microsoft.com/office/drawing/2014/main" id="{CF6AEC22-0767-467A-81AD-C0DFD9A4AA36}"/>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6" name="Freeform 58">
                          <a:extLst>
                            <a:ext uri="{FF2B5EF4-FFF2-40B4-BE49-F238E27FC236}">
                              <a16:creationId xmlns:a16="http://schemas.microsoft.com/office/drawing/2014/main" id="{C2604C23-AD38-4566-BAD3-47B5EA86390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7" name="Rectangle 2096">
                          <a:extLst>
                            <a:ext uri="{FF2B5EF4-FFF2-40B4-BE49-F238E27FC236}">
                              <a16:creationId xmlns:a16="http://schemas.microsoft.com/office/drawing/2014/main" id="{8509A289-0E67-4A94-8BC5-CE91EA04DF7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090" name="Oval 2089">
                        <a:extLst>
                          <a:ext uri="{FF2B5EF4-FFF2-40B4-BE49-F238E27FC236}">
                            <a16:creationId xmlns:a16="http://schemas.microsoft.com/office/drawing/2014/main" id="{F0A3E300-0A0E-4060-8DDB-B6EBA012D9C7}"/>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024" name="Group 2023">
                    <a:extLst>
                      <a:ext uri="{FF2B5EF4-FFF2-40B4-BE49-F238E27FC236}">
                        <a16:creationId xmlns:a16="http://schemas.microsoft.com/office/drawing/2014/main" id="{DE0B9681-3DED-44E4-9627-E0B541A48C40}"/>
                      </a:ext>
                    </a:extLst>
                  </p:cNvPr>
                  <p:cNvGrpSpPr>
                    <a:grpSpLocks/>
                  </p:cNvGrpSpPr>
                  <p:nvPr/>
                </p:nvGrpSpPr>
                <p:grpSpPr>
                  <a:xfrm>
                    <a:off x="11166615" y="2825631"/>
                    <a:ext cx="787402" cy="787406"/>
                    <a:chOff x="1454941" y="4721722"/>
                    <a:chExt cx="473625" cy="473627"/>
                  </a:xfrm>
                </p:grpSpPr>
                <p:grpSp>
                  <p:nvGrpSpPr>
                    <p:cNvPr id="2048" name="Group 64">
                      <a:extLst>
                        <a:ext uri="{FF2B5EF4-FFF2-40B4-BE49-F238E27FC236}">
                          <a16:creationId xmlns:a16="http://schemas.microsoft.com/office/drawing/2014/main" id="{72DB5D0F-8955-442F-AE53-3D14F7805B61}"/>
                        </a:ext>
                      </a:extLst>
                    </p:cNvPr>
                    <p:cNvGrpSpPr>
                      <a:grpSpLocks noChangeAspect="1"/>
                    </p:cNvGrpSpPr>
                    <p:nvPr/>
                  </p:nvGrpSpPr>
                  <p:grpSpPr bwMode="auto">
                    <a:xfrm rot="8100000">
                      <a:off x="1454941" y="4721722"/>
                      <a:ext cx="473625" cy="473627"/>
                      <a:chOff x="701" y="2170"/>
                      <a:chExt cx="587" cy="587"/>
                    </a:xfrm>
                  </p:grpSpPr>
                  <p:sp>
                    <p:nvSpPr>
                      <p:cNvPr id="2080" name="Oval 65">
                        <a:extLst>
                          <a:ext uri="{FF2B5EF4-FFF2-40B4-BE49-F238E27FC236}">
                            <a16:creationId xmlns:a16="http://schemas.microsoft.com/office/drawing/2014/main" id="{ACE6D71E-9A7F-44F5-9810-DDC2B399078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81" name="Line 66">
                        <a:extLst>
                          <a:ext uri="{FF2B5EF4-FFF2-40B4-BE49-F238E27FC236}">
                            <a16:creationId xmlns:a16="http://schemas.microsoft.com/office/drawing/2014/main" id="{764A254C-EFAA-4983-9208-C93B7A14743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2" name="Line 67">
                        <a:extLst>
                          <a:ext uri="{FF2B5EF4-FFF2-40B4-BE49-F238E27FC236}">
                            <a16:creationId xmlns:a16="http://schemas.microsoft.com/office/drawing/2014/main" id="{93EADFD0-1ECF-4DD6-B959-0DE85C07259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3" name="Line 69">
                        <a:extLst>
                          <a:ext uri="{FF2B5EF4-FFF2-40B4-BE49-F238E27FC236}">
                            <a16:creationId xmlns:a16="http://schemas.microsoft.com/office/drawing/2014/main" id="{FC151A07-1A6D-489C-8F94-96192C8AF74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4" name="Line 74">
                        <a:extLst>
                          <a:ext uri="{FF2B5EF4-FFF2-40B4-BE49-F238E27FC236}">
                            <a16:creationId xmlns:a16="http://schemas.microsoft.com/office/drawing/2014/main" id="{56564724-9B6C-41A6-A179-CC0E3D81C6D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5" name="Freeform 78">
                        <a:extLst>
                          <a:ext uri="{FF2B5EF4-FFF2-40B4-BE49-F238E27FC236}">
                            <a16:creationId xmlns:a16="http://schemas.microsoft.com/office/drawing/2014/main" id="{8A75B03E-65C6-414B-83C9-15BB05C9A5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6" name="Freeform 80">
                        <a:extLst>
                          <a:ext uri="{FF2B5EF4-FFF2-40B4-BE49-F238E27FC236}">
                            <a16:creationId xmlns:a16="http://schemas.microsoft.com/office/drawing/2014/main" id="{6036BA97-74E3-4525-95A2-587018FBD06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49" name="Group 2048">
                      <a:extLst>
                        <a:ext uri="{FF2B5EF4-FFF2-40B4-BE49-F238E27FC236}">
                          <a16:creationId xmlns:a16="http://schemas.microsoft.com/office/drawing/2014/main" id="{8D9F6327-0B0B-485A-8EC5-F862A7E69C50}"/>
                        </a:ext>
                      </a:extLst>
                    </p:cNvPr>
                    <p:cNvGrpSpPr/>
                    <p:nvPr/>
                  </p:nvGrpSpPr>
                  <p:grpSpPr>
                    <a:xfrm>
                      <a:off x="1511214" y="4789508"/>
                      <a:ext cx="356509" cy="349884"/>
                      <a:chOff x="468738" y="2241878"/>
                      <a:chExt cx="1655483" cy="1624719"/>
                    </a:xfrm>
                  </p:grpSpPr>
                  <p:sp>
                    <p:nvSpPr>
                      <p:cNvPr id="2050" name="Freeform 5">
                        <a:extLst>
                          <a:ext uri="{FF2B5EF4-FFF2-40B4-BE49-F238E27FC236}">
                            <a16:creationId xmlns:a16="http://schemas.microsoft.com/office/drawing/2014/main" id="{8458A5E1-1B47-42D6-B27E-97B06E861C41}"/>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51" name="Freeform 6">
                        <a:extLst>
                          <a:ext uri="{FF2B5EF4-FFF2-40B4-BE49-F238E27FC236}">
                            <a16:creationId xmlns:a16="http://schemas.microsoft.com/office/drawing/2014/main" id="{5E623E06-E501-49AC-B639-E48CD049790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2" name="Line 7">
                        <a:extLst>
                          <a:ext uri="{FF2B5EF4-FFF2-40B4-BE49-F238E27FC236}">
                            <a16:creationId xmlns:a16="http://schemas.microsoft.com/office/drawing/2014/main" id="{8A8AEB48-8EA2-4AE9-A410-03E59D7B8A9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3" name="Freeform 8">
                        <a:extLst>
                          <a:ext uri="{FF2B5EF4-FFF2-40B4-BE49-F238E27FC236}">
                            <a16:creationId xmlns:a16="http://schemas.microsoft.com/office/drawing/2014/main" id="{DA15DEDE-44A2-46BA-91D5-8160FF5EC2E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4" name="Line 9">
                        <a:extLst>
                          <a:ext uri="{FF2B5EF4-FFF2-40B4-BE49-F238E27FC236}">
                            <a16:creationId xmlns:a16="http://schemas.microsoft.com/office/drawing/2014/main" id="{017EFE93-47AA-43AE-B2CC-D9295B6A9F99}"/>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55" name="Group 2054">
                        <a:extLst>
                          <a:ext uri="{FF2B5EF4-FFF2-40B4-BE49-F238E27FC236}">
                            <a16:creationId xmlns:a16="http://schemas.microsoft.com/office/drawing/2014/main" id="{084D1A28-0222-46DD-8E24-FFB39B1A73D9}"/>
                          </a:ext>
                        </a:extLst>
                      </p:cNvPr>
                      <p:cNvGrpSpPr/>
                      <p:nvPr/>
                    </p:nvGrpSpPr>
                    <p:grpSpPr>
                      <a:xfrm>
                        <a:off x="1207113" y="2241878"/>
                        <a:ext cx="178734" cy="348678"/>
                        <a:chOff x="1207113" y="2241878"/>
                        <a:chExt cx="178734" cy="348678"/>
                      </a:xfrm>
                    </p:grpSpPr>
                    <p:sp>
                      <p:nvSpPr>
                        <p:cNvPr id="2078" name="Freeform 10">
                          <a:extLst>
                            <a:ext uri="{FF2B5EF4-FFF2-40B4-BE49-F238E27FC236}">
                              <a16:creationId xmlns:a16="http://schemas.microsoft.com/office/drawing/2014/main" id="{A6C5B11D-8CDC-4FCE-8BD2-323816C319E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9" name="Line 11">
                          <a:extLst>
                            <a:ext uri="{FF2B5EF4-FFF2-40B4-BE49-F238E27FC236}">
                              <a16:creationId xmlns:a16="http://schemas.microsoft.com/office/drawing/2014/main" id="{C71CB6D2-F664-402E-9A23-8E043C87299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056" name="Freeform 12">
                        <a:extLst>
                          <a:ext uri="{FF2B5EF4-FFF2-40B4-BE49-F238E27FC236}">
                            <a16:creationId xmlns:a16="http://schemas.microsoft.com/office/drawing/2014/main" id="{71AF4565-F1DB-4FAA-ACBD-3BE44EDF480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7" name="Line 13">
                        <a:extLst>
                          <a:ext uri="{FF2B5EF4-FFF2-40B4-BE49-F238E27FC236}">
                            <a16:creationId xmlns:a16="http://schemas.microsoft.com/office/drawing/2014/main" id="{FCB036DD-2C22-45DF-89C6-21107DB7F46B}"/>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8" name="Freeform 14">
                        <a:extLst>
                          <a:ext uri="{FF2B5EF4-FFF2-40B4-BE49-F238E27FC236}">
                            <a16:creationId xmlns:a16="http://schemas.microsoft.com/office/drawing/2014/main" id="{ED66D134-CDCF-48B3-BA53-AABFBE5C14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9" name="Line 15">
                        <a:extLst>
                          <a:ext uri="{FF2B5EF4-FFF2-40B4-BE49-F238E27FC236}">
                            <a16:creationId xmlns:a16="http://schemas.microsoft.com/office/drawing/2014/main" id="{954244E4-308D-4F88-9DCF-7194D2801C8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0" name="Freeform 16">
                        <a:extLst>
                          <a:ext uri="{FF2B5EF4-FFF2-40B4-BE49-F238E27FC236}">
                            <a16:creationId xmlns:a16="http://schemas.microsoft.com/office/drawing/2014/main" id="{3F85E511-5E10-48E6-9EBC-83EB630E9B4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1" name="Line 17">
                        <a:extLst>
                          <a:ext uri="{FF2B5EF4-FFF2-40B4-BE49-F238E27FC236}">
                            <a16:creationId xmlns:a16="http://schemas.microsoft.com/office/drawing/2014/main" id="{6B909ABD-1595-4AD4-BC0B-DEC69383D0BC}"/>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2" name="Freeform 18">
                        <a:extLst>
                          <a:ext uri="{FF2B5EF4-FFF2-40B4-BE49-F238E27FC236}">
                            <a16:creationId xmlns:a16="http://schemas.microsoft.com/office/drawing/2014/main" id="{BDCEB189-E1A3-4F61-BE87-F10D87B2710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3" name="Line 19">
                        <a:extLst>
                          <a:ext uri="{FF2B5EF4-FFF2-40B4-BE49-F238E27FC236}">
                            <a16:creationId xmlns:a16="http://schemas.microsoft.com/office/drawing/2014/main" id="{A5801A50-A158-4B52-9E77-FF89C2D442E6}"/>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4" name="Freeform 35">
                        <a:extLst>
                          <a:ext uri="{FF2B5EF4-FFF2-40B4-BE49-F238E27FC236}">
                            <a16:creationId xmlns:a16="http://schemas.microsoft.com/office/drawing/2014/main" id="{A2A5B366-8854-45C4-8BEC-9E9F76CBAEF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5" name="Freeform 36">
                        <a:extLst>
                          <a:ext uri="{FF2B5EF4-FFF2-40B4-BE49-F238E27FC236}">
                            <a16:creationId xmlns:a16="http://schemas.microsoft.com/office/drawing/2014/main" id="{A9959492-14F1-4A2E-AE94-E9959B0345D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6" name="Freeform 37">
                        <a:extLst>
                          <a:ext uri="{FF2B5EF4-FFF2-40B4-BE49-F238E27FC236}">
                            <a16:creationId xmlns:a16="http://schemas.microsoft.com/office/drawing/2014/main" id="{5ED0F6C4-9257-4A26-82FD-6DA64DCDF93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7" name="Freeform 38">
                        <a:extLst>
                          <a:ext uri="{FF2B5EF4-FFF2-40B4-BE49-F238E27FC236}">
                            <a16:creationId xmlns:a16="http://schemas.microsoft.com/office/drawing/2014/main" id="{E6D4C4DE-85DA-4348-BAF1-FBDF5CB75BA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8" name="Freeform 39">
                        <a:extLst>
                          <a:ext uri="{FF2B5EF4-FFF2-40B4-BE49-F238E27FC236}">
                            <a16:creationId xmlns:a16="http://schemas.microsoft.com/office/drawing/2014/main" id="{A53B7A6D-CB31-4EE8-9E58-AC8FFE6CA5C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9" name="Freeform 40">
                        <a:extLst>
                          <a:ext uri="{FF2B5EF4-FFF2-40B4-BE49-F238E27FC236}">
                            <a16:creationId xmlns:a16="http://schemas.microsoft.com/office/drawing/2014/main" id="{090B3AC6-1F4F-43CF-9E4E-C4AB75FB265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0" name="Freeform 41">
                        <a:extLst>
                          <a:ext uri="{FF2B5EF4-FFF2-40B4-BE49-F238E27FC236}">
                            <a16:creationId xmlns:a16="http://schemas.microsoft.com/office/drawing/2014/main" id="{D01F9AD9-90A1-4084-857D-6A0CE0A59B96}"/>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1" name="Line 42">
                        <a:extLst>
                          <a:ext uri="{FF2B5EF4-FFF2-40B4-BE49-F238E27FC236}">
                            <a16:creationId xmlns:a16="http://schemas.microsoft.com/office/drawing/2014/main" id="{1B200E90-00C5-4D47-8EDC-739CE998E99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2" name="Freeform 43">
                        <a:extLst>
                          <a:ext uri="{FF2B5EF4-FFF2-40B4-BE49-F238E27FC236}">
                            <a16:creationId xmlns:a16="http://schemas.microsoft.com/office/drawing/2014/main" id="{57AC4181-E6DE-496C-8CC6-59006C184E4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3" name="Freeform 44">
                        <a:extLst>
                          <a:ext uri="{FF2B5EF4-FFF2-40B4-BE49-F238E27FC236}">
                            <a16:creationId xmlns:a16="http://schemas.microsoft.com/office/drawing/2014/main" id="{79C99E03-D11E-40AF-96F5-7947612FECB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4" name="Freeform 45">
                        <a:extLst>
                          <a:ext uri="{FF2B5EF4-FFF2-40B4-BE49-F238E27FC236}">
                            <a16:creationId xmlns:a16="http://schemas.microsoft.com/office/drawing/2014/main" id="{5317F08E-B27F-4FEC-BF2A-B6314519682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75" name="Group 2074">
                        <a:extLst>
                          <a:ext uri="{FF2B5EF4-FFF2-40B4-BE49-F238E27FC236}">
                            <a16:creationId xmlns:a16="http://schemas.microsoft.com/office/drawing/2014/main" id="{B2BECC28-D7C9-486B-B602-A81655E18478}"/>
                          </a:ext>
                        </a:extLst>
                      </p:cNvPr>
                      <p:cNvGrpSpPr/>
                      <p:nvPr/>
                    </p:nvGrpSpPr>
                    <p:grpSpPr>
                      <a:xfrm flipV="1">
                        <a:off x="1202047" y="3517919"/>
                        <a:ext cx="178734" cy="348678"/>
                        <a:chOff x="1207113" y="2241878"/>
                        <a:chExt cx="178734" cy="348678"/>
                      </a:xfrm>
                    </p:grpSpPr>
                    <p:sp>
                      <p:nvSpPr>
                        <p:cNvPr id="2076" name="Freeform 10">
                          <a:extLst>
                            <a:ext uri="{FF2B5EF4-FFF2-40B4-BE49-F238E27FC236}">
                              <a16:creationId xmlns:a16="http://schemas.microsoft.com/office/drawing/2014/main" id="{E98405F1-35EE-4CF6-B642-4093736BC42E}"/>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7" name="Line 11">
                          <a:extLst>
                            <a:ext uri="{FF2B5EF4-FFF2-40B4-BE49-F238E27FC236}">
                              <a16:creationId xmlns:a16="http://schemas.microsoft.com/office/drawing/2014/main" id="{368D9ED1-B092-4360-B4B0-D9D564B307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25" name="Group 2024">
                    <a:extLst>
                      <a:ext uri="{FF2B5EF4-FFF2-40B4-BE49-F238E27FC236}">
                        <a16:creationId xmlns:a16="http://schemas.microsoft.com/office/drawing/2014/main" id="{B037B739-0AC6-483D-9CD6-C23CB322CDCF}"/>
                      </a:ext>
                    </a:extLst>
                  </p:cNvPr>
                  <p:cNvGrpSpPr>
                    <a:grpSpLocks/>
                  </p:cNvGrpSpPr>
                  <p:nvPr/>
                </p:nvGrpSpPr>
                <p:grpSpPr>
                  <a:xfrm>
                    <a:off x="11709639" y="2297897"/>
                    <a:ext cx="690952" cy="690956"/>
                    <a:chOff x="2268747" y="4723725"/>
                    <a:chExt cx="415610" cy="415612"/>
                  </a:xfrm>
                </p:grpSpPr>
                <p:grpSp>
                  <p:nvGrpSpPr>
                    <p:cNvPr id="2026" name="Group 64">
                      <a:extLst>
                        <a:ext uri="{FF2B5EF4-FFF2-40B4-BE49-F238E27FC236}">
                          <a16:creationId xmlns:a16="http://schemas.microsoft.com/office/drawing/2014/main" id="{08D7E938-A413-4450-A19B-6A75A5009960}"/>
                        </a:ext>
                      </a:extLst>
                    </p:cNvPr>
                    <p:cNvGrpSpPr>
                      <a:grpSpLocks noChangeAspect="1"/>
                    </p:cNvGrpSpPr>
                    <p:nvPr/>
                  </p:nvGrpSpPr>
                  <p:grpSpPr bwMode="auto">
                    <a:xfrm rot="8100000">
                      <a:off x="2268747" y="4723725"/>
                      <a:ext cx="415610" cy="415612"/>
                      <a:chOff x="701" y="2170"/>
                      <a:chExt cx="587" cy="587"/>
                    </a:xfrm>
                  </p:grpSpPr>
                  <p:sp>
                    <p:nvSpPr>
                      <p:cNvPr id="2041" name="Oval 65">
                        <a:extLst>
                          <a:ext uri="{FF2B5EF4-FFF2-40B4-BE49-F238E27FC236}">
                            <a16:creationId xmlns:a16="http://schemas.microsoft.com/office/drawing/2014/main" id="{C0044DE8-339A-40BF-8511-55ED3339CF1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2" name="Line 66">
                        <a:extLst>
                          <a:ext uri="{FF2B5EF4-FFF2-40B4-BE49-F238E27FC236}">
                            <a16:creationId xmlns:a16="http://schemas.microsoft.com/office/drawing/2014/main" id="{E104734A-91B5-4854-B5E4-46A8B4BE5A5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3" name="Line 67">
                        <a:extLst>
                          <a:ext uri="{FF2B5EF4-FFF2-40B4-BE49-F238E27FC236}">
                            <a16:creationId xmlns:a16="http://schemas.microsoft.com/office/drawing/2014/main" id="{F8A00DAE-6A81-4FD7-8577-2A690D709D8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4" name="Line 69">
                        <a:extLst>
                          <a:ext uri="{FF2B5EF4-FFF2-40B4-BE49-F238E27FC236}">
                            <a16:creationId xmlns:a16="http://schemas.microsoft.com/office/drawing/2014/main" id="{E959F45C-F50B-48A5-ACAD-A8FD159609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5" name="Line 74">
                        <a:extLst>
                          <a:ext uri="{FF2B5EF4-FFF2-40B4-BE49-F238E27FC236}">
                            <a16:creationId xmlns:a16="http://schemas.microsoft.com/office/drawing/2014/main" id="{F7A415D4-892E-415D-B52D-4C31737AE6E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6" name="Freeform 78">
                        <a:extLst>
                          <a:ext uri="{FF2B5EF4-FFF2-40B4-BE49-F238E27FC236}">
                            <a16:creationId xmlns:a16="http://schemas.microsoft.com/office/drawing/2014/main" id="{24F79AE3-20DF-4F7B-84B6-6B1B62693B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7" name="Freeform 80">
                        <a:extLst>
                          <a:ext uri="{FF2B5EF4-FFF2-40B4-BE49-F238E27FC236}">
                            <a16:creationId xmlns:a16="http://schemas.microsoft.com/office/drawing/2014/main" id="{DC56F3FF-10DF-4FFC-9360-29442B3474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27" name="Group 2026">
                      <a:extLst>
                        <a:ext uri="{FF2B5EF4-FFF2-40B4-BE49-F238E27FC236}">
                          <a16:creationId xmlns:a16="http://schemas.microsoft.com/office/drawing/2014/main" id="{0E2DCCB4-C702-40DD-A4A1-69BC491A0C03}"/>
                        </a:ext>
                      </a:extLst>
                    </p:cNvPr>
                    <p:cNvGrpSpPr/>
                    <p:nvPr/>
                  </p:nvGrpSpPr>
                  <p:grpSpPr>
                    <a:xfrm>
                      <a:off x="2318076" y="4830163"/>
                      <a:ext cx="313949" cy="233075"/>
                      <a:chOff x="3707533" y="2731244"/>
                      <a:chExt cx="389644" cy="289271"/>
                    </a:xfrm>
                  </p:grpSpPr>
                  <p:sp>
                    <p:nvSpPr>
                      <p:cNvPr id="2028" name="Freeform 33">
                        <a:extLst>
                          <a:ext uri="{FF2B5EF4-FFF2-40B4-BE49-F238E27FC236}">
                            <a16:creationId xmlns:a16="http://schemas.microsoft.com/office/drawing/2014/main" id="{E8B2C79B-4AF1-4A44-A176-891EBCF127A3}"/>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29" name="Freeform 34">
                        <a:extLst>
                          <a:ext uri="{FF2B5EF4-FFF2-40B4-BE49-F238E27FC236}">
                            <a16:creationId xmlns:a16="http://schemas.microsoft.com/office/drawing/2014/main" id="{2B2340E6-B3CE-41D4-93E8-10F66EC1C005}"/>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0" name="Freeform 37">
                        <a:extLst>
                          <a:ext uri="{FF2B5EF4-FFF2-40B4-BE49-F238E27FC236}">
                            <a16:creationId xmlns:a16="http://schemas.microsoft.com/office/drawing/2014/main" id="{70FD9DBD-3EEE-4081-A7C5-623B318DEB6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1" name="Freeform 38">
                        <a:extLst>
                          <a:ext uri="{FF2B5EF4-FFF2-40B4-BE49-F238E27FC236}">
                            <a16:creationId xmlns:a16="http://schemas.microsoft.com/office/drawing/2014/main" id="{6B638651-29FF-47DA-A9EE-190AE460256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2" name="Freeform 32">
                        <a:extLst>
                          <a:ext uri="{FF2B5EF4-FFF2-40B4-BE49-F238E27FC236}">
                            <a16:creationId xmlns:a16="http://schemas.microsoft.com/office/drawing/2014/main" id="{52509299-95E6-477F-B2CE-5C495EFB222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3" name="Freeform 35">
                        <a:extLst>
                          <a:ext uri="{FF2B5EF4-FFF2-40B4-BE49-F238E27FC236}">
                            <a16:creationId xmlns:a16="http://schemas.microsoft.com/office/drawing/2014/main" id="{9D4A156B-550E-40AC-9F3C-1A59E40AD25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4" name="Freeform 36">
                        <a:extLst>
                          <a:ext uri="{FF2B5EF4-FFF2-40B4-BE49-F238E27FC236}">
                            <a16:creationId xmlns:a16="http://schemas.microsoft.com/office/drawing/2014/main" id="{0784B5FD-53DC-459C-9501-0DF1AD18B886}"/>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5" name="Freeform 25">
                        <a:extLst>
                          <a:ext uri="{FF2B5EF4-FFF2-40B4-BE49-F238E27FC236}">
                            <a16:creationId xmlns:a16="http://schemas.microsoft.com/office/drawing/2014/main" id="{063F9560-0D59-42B4-936E-5534763842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6" name="Freeform 39">
                        <a:extLst>
                          <a:ext uri="{FF2B5EF4-FFF2-40B4-BE49-F238E27FC236}">
                            <a16:creationId xmlns:a16="http://schemas.microsoft.com/office/drawing/2014/main" id="{6B294804-F521-46BA-87D4-E7C21805090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7" name="Freeform 26">
                        <a:extLst>
                          <a:ext uri="{FF2B5EF4-FFF2-40B4-BE49-F238E27FC236}">
                            <a16:creationId xmlns:a16="http://schemas.microsoft.com/office/drawing/2014/main" id="{4716EE93-6A1A-44B5-9DA4-72D5176B1770}"/>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8" name="Rectangle 27">
                        <a:extLst>
                          <a:ext uri="{FF2B5EF4-FFF2-40B4-BE49-F238E27FC236}">
                            <a16:creationId xmlns:a16="http://schemas.microsoft.com/office/drawing/2014/main" id="{4E146FFA-8A46-4665-AF88-43ADE3D3650D}"/>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9" name="Line 29">
                        <a:extLst>
                          <a:ext uri="{FF2B5EF4-FFF2-40B4-BE49-F238E27FC236}">
                            <a16:creationId xmlns:a16="http://schemas.microsoft.com/office/drawing/2014/main" id="{ECD43F80-7F01-4A04-AF12-F87ADD6E93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0" name="Line 31">
                        <a:extLst>
                          <a:ext uri="{FF2B5EF4-FFF2-40B4-BE49-F238E27FC236}">
                            <a16:creationId xmlns:a16="http://schemas.microsoft.com/office/drawing/2014/main" id="{494C1B5D-1A30-411F-B0DF-EFA8E546997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423" name="Group 2422">
                <a:extLst>
                  <a:ext uri="{FF2B5EF4-FFF2-40B4-BE49-F238E27FC236}">
                    <a16:creationId xmlns:a16="http://schemas.microsoft.com/office/drawing/2014/main" id="{0861F88F-F86B-4256-871A-619833B675D8}"/>
                  </a:ext>
                </a:extLst>
              </p:cNvPr>
              <p:cNvGrpSpPr/>
              <p:nvPr/>
            </p:nvGrpSpPr>
            <p:grpSpPr>
              <a:xfrm>
                <a:off x="3584215" y="5655005"/>
                <a:ext cx="1001118" cy="830281"/>
                <a:chOff x="3592922" y="5629153"/>
                <a:chExt cx="1003674" cy="832401"/>
              </a:xfrm>
            </p:grpSpPr>
            <p:pic>
              <p:nvPicPr>
                <p:cNvPr id="2424" name="Picture 1">
                  <a:extLst>
                    <a:ext uri="{FF2B5EF4-FFF2-40B4-BE49-F238E27FC236}">
                      <a16:creationId xmlns:a16="http://schemas.microsoft.com/office/drawing/2014/main" id="{2F855582-806F-4F4C-9E3E-ACC2A6B1559B}"/>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5" name="Rectangle 2424">
                  <a:extLst>
                    <a:ext uri="{FF2B5EF4-FFF2-40B4-BE49-F238E27FC236}">
                      <a16:creationId xmlns:a16="http://schemas.microsoft.com/office/drawing/2014/main" id="{46CEBEB8-20DE-4256-87A0-C6931B3E059E}"/>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802" name="Group 2801">
              <a:extLst>
                <a:ext uri="{FF2B5EF4-FFF2-40B4-BE49-F238E27FC236}">
                  <a16:creationId xmlns:a16="http://schemas.microsoft.com/office/drawing/2014/main" id="{B42686BC-04B1-4420-A0D9-BB8E0B6F4E1B}"/>
                </a:ext>
              </a:extLst>
            </p:cNvPr>
            <p:cNvGrpSpPr/>
            <p:nvPr/>
          </p:nvGrpSpPr>
          <p:grpSpPr>
            <a:xfrm>
              <a:off x="4527697" y="3616012"/>
              <a:ext cx="3535922" cy="312851"/>
              <a:chOff x="4538813" y="3457139"/>
              <a:chExt cx="3544948" cy="313650"/>
            </a:xfrm>
          </p:grpSpPr>
          <p:grpSp>
            <p:nvGrpSpPr>
              <p:cNvPr id="2803" name="Group 2802">
                <a:extLst>
                  <a:ext uri="{FF2B5EF4-FFF2-40B4-BE49-F238E27FC236}">
                    <a16:creationId xmlns:a16="http://schemas.microsoft.com/office/drawing/2014/main" id="{042C71BF-029D-49A1-8571-D8CA13FE0977}"/>
                  </a:ext>
                </a:extLst>
              </p:cNvPr>
              <p:cNvGrpSpPr/>
              <p:nvPr/>
            </p:nvGrpSpPr>
            <p:grpSpPr>
              <a:xfrm>
                <a:off x="4538813" y="3463012"/>
                <a:ext cx="3544948" cy="307777"/>
                <a:chOff x="4538813" y="3463012"/>
                <a:chExt cx="3544948" cy="307777"/>
              </a:xfrm>
            </p:grpSpPr>
            <p:sp>
              <p:nvSpPr>
                <p:cNvPr id="2805" name="Rectangle 2804">
                  <a:extLst>
                    <a:ext uri="{FF2B5EF4-FFF2-40B4-BE49-F238E27FC236}">
                      <a16:creationId xmlns:a16="http://schemas.microsoft.com/office/drawing/2014/main" id="{75C3E363-1F35-489E-BA74-0A779425B25C}"/>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6" name="Rectangle 2805">
                  <a:extLst>
                    <a:ext uri="{FF2B5EF4-FFF2-40B4-BE49-F238E27FC236}">
                      <a16:creationId xmlns:a16="http://schemas.microsoft.com/office/drawing/2014/main" id="{BD535703-7C60-48C0-A6F3-77B1BC346C9F}"/>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7" name="Rectangle 2806">
                  <a:extLst>
                    <a:ext uri="{FF2B5EF4-FFF2-40B4-BE49-F238E27FC236}">
                      <a16:creationId xmlns:a16="http://schemas.microsoft.com/office/drawing/2014/main" id="{47F71A10-A782-443A-8CBD-936E26C964D4}"/>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8" name="Rectangle 2807">
                  <a:extLst>
                    <a:ext uri="{FF2B5EF4-FFF2-40B4-BE49-F238E27FC236}">
                      <a16:creationId xmlns:a16="http://schemas.microsoft.com/office/drawing/2014/main" id="{08AC8244-6710-4675-8737-487150EB8633}"/>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9" name="Rectangle 2808">
                  <a:extLst>
                    <a:ext uri="{FF2B5EF4-FFF2-40B4-BE49-F238E27FC236}">
                      <a16:creationId xmlns:a16="http://schemas.microsoft.com/office/drawing/2014/main" id="{09A7514C-CF6A-4EB5-97F3-2B004132D70A}"/>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0" name="Rectangle 2809">
                  <a:extLst>
                    <a:ext uri="{FF2B5EF4-FFF2-40B4-BE49-F238E27FC236}">
                      <a16:creationId xmlns:a16="http://schemas.microsoft.com/office/drawing/2014/main" id="{D4BE4497-2EE1-4340-9A22-F07D1EEA1094}"/>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1" name="Rectangle 2810">
                  <a:extLst>
                    <a:ext uri="{FF2B5EF4-FFF2-40B4-BE49-F238E27FC236}">
                      <a16:creationId xmlns:a16="http://schemas.microsoft.com/office/drawing/2014/main" id="{AC1A6B11-647E-4E78-9141-5AB1BDC7AC86}"/>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804" name="Rectangle 2803">
                <a:extLst>
                  <a:ext uri="{FF2B5EF4-FFF2-40B4-BE49-F238E27FC236}">
                    <a16:creationId xmlns:a16="http://schemas.microsoft.com/office/drawing/2014/main" id="{84BE1BCD-92F1-4234-892B-3E3E3EB97326}"/>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3" name="Group 2">
            <a:extLst>
              <a:ext uri="{FF2B5EF4-FFF2-40B4-BE49-F238E27FC236}">
                <a16:creationId xmlns:a16="http://schemas.microsoft.com/office/drawing/2014/main" id="{F68ED92F-55F2-4796-B592-F951746241DD}"/>
              </a:ext>
            </a:extLst>
          </p:cNvPr>
          <p:cNvGrpSpPr/>
          <p:nvPr/>
        </p:nvGrpSpPr>
        <p:grpSpPr>
          <a:xfrm>
            <a:off x="1944832" y="1841990"/>
            <a:ext cx="1530261" cy="1365012"/>
            <a:chOff x="1943749" y="1841576"/>
            <a:chExt cx="1530660" cy="1365368"/>
          </a:xfrm>
        </p:grpSpPr>
        <p:grpSp>
          <p:nvGrpSpPr>
            <p:cNvPr id="2" name="Group 1">
              <a:extLst>
                <a:ext uri="{FF2B5EF4-FFF2-40B4-BE49-F238E27FC236}">
                  <a16:creationId xmlns:a16="http://schemas.microsoft.com/office/drawing/2014/main" id="{810E02F5-E91A-4A84-B614-26F7833E4F9E}"/>
                </a:ext>
              </a:extLst>
            </p:cNvPr>
            <p:cNvGrpSpPr/>
            <p:nvPr/>
          </p:nvGrpSpPr>
          <p:grpSpPr>
            <a:xfrm>
              <a:off x="1943749" y="2407608"/>
              <a:ext cx="1530660" cy="799336"/>
              <a:chOff x="1943749" y="2407608"/>
              <a:chExt cx="1530660" cy="799336"/>
            </a:xfrm>
          </p:grpSpPr>
          <p:cxnSp>
            <p:nvCxnSpPr>
              <p:cNvPr id="2812" name="Elbow Connector 558">
                <a:extLst>
                  <a:ext uri="{FF2B5EF4-FFF2-40B4-BE49-F238E27FC236}">
                    <a16:creationId xmlns:a16="http://schemas.microsoft.com/office/drawing/2014/main" id="{1935F575-87DC-442A-9CCD-6F852C78EB34}"/>
                  </a:ext>
                </a:extLst>
              </p:cNvPr>
              <p:cNvCxnSpPr>
                <a:cxnSpLocks/>
                <a:endCxn id="2814"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813" name="Elbow Connector 558">
                <a:extLst>
                  <a:ext uri="{FF2B5EF4-FFF2-40B4-BE49-F238E27FC236}">
                    <a16:creationId xmlns:a16="http://schemas.microsoft.com/office/drawing/2014/main" id="{37DBABF8-A9A5-45DD-953F-1B5BE29639BD}"/>
                  </a:ext>
                </a:extLst>
              </p:cNvPr>
              <p:cNvCxnSpPr>
                <a:cxnSpLocks/>
                <a:stCxn id="2814" idx="3"/>
                <a:endCxn id="2105" idx="1"/>
              </p:cNvCxnSpPr>
              <p:nvPr/>
            </p:nvCxnSpPr>
            <p:spPr>
              <a:xfrm flipV="1">
                <a:off x="2543277" y="2407608"/>
                <a:ext cx="931132" cy="374067"/>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814" name="Picture 2813">
                <a:extLst>
                  <a:ext uri="{FF2B5EF4-FFF2-40B4-BE49-F238E27FC236}">
                    <a16:creationId xmlns:a16="http://schemas.microsoft.com/office/drawing/2014/main" id="{B4B3FA98-B76F-474E-9F2A-47EBAD2A5D2E}"/>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815" name="Picture 2814">
              <a:extLst>
                <a:ext uri="{FF2B5EF4-FFF2-40B4-BE49-F238E27FC236}">
                  <a16:creationId xmlns:a16="http://schemas.microsoft.com/office/drawing/2014/main" id="{4A96C1DF-0971-4663-9F6A-90244601521F}"/>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17" name="Group 16">
            <a:extLst>
              <a:ext uri="{FF2B5EF4-FFF2-40B4-BE49-F238E27FC236}">
                <a16:creationId xmlns:a16="http://schemas.microsoft.com/office/drawing/2014/main" id="{33600B55-E1D3-4227-A53F-AD77EF5DC265}"/>
              </a:ext>
            </a:extLst>
          </p:cNvPr>
          <p:cNvGrpSpPr/>
          <p:nvPr/>
        </p:nvGrpSpPr>
        <p:grpSpPr>
          <a:xfrm>
            <a:off x="2967087" y="1754090"/>
            <a:ext cx="6753931" cy="2719939"/>
            <a:chOff x="2966271" y="1753652"/>
            <a:chExt cx="6755690" cy="2720648"/>
          </a:xfrm>
        </p:grpSpPr>
        <p:grpSp>
          <p:nvGrpSpPr>
            <p:cNvPr id="2492" name="Group 2491">
              <a:extLst>
                <a:ext uri="{FF2B5EF4-FFF2-40B4-BE49-F238E27FC236}">
                  <a16:creationId xmlns:a16="http://schemas.microsoft.com/office/drawing/2014/main" id="{C156E434-0C35-4614-A2F1-117C750B774A}"/>
                </a:ext>
              </a:extLst>
            </p:cNvPr>
            <p:cNvGrpSpPr/>
            <p:nvPr/>
          </p:nvGrpSpPr>
          <p:grpSpPr>
            <a:xfrm>
              <a:off x="2966271" y="3623425"/>
              <a:ext cx="5559816" cy="850875"/>
              <a:chOff x="2941193" y="3591455"/>
              <a:chExt cx="5574010" cy="853047"/>
            </a:xfrm>
          </p:grpSpPr>
          <p:grpSp>
            <p:nvGrpSpPr>
              <p:cNvPr id="2493" name="Group 2492">
                <a:extLst>
                  <a:ext uri="{FF2B5EF4-FFF2-40B4-BE49-F238E27FC236}">
                    <a16:creationId xmlns:a16="http://schemas.microsoft.com/office/drawing/2014/main" id="{8864D1B4-31CE-45B9-B68E-E0D72F5AEC42}"/>
                  </a:ext>
                </a:extLst>
              </p:cNvPr>
              <p:cNvGrpSpPr/>
              <p:nvPr/>
            </p:nvGrpSpPr>
            <p:grpSpPr>
              <a:xfrm>
                <a:off x="2941193" y="3710094"/>
                <a:ext cx="5483474" cy="734408"/>
                <a:chOff x="2941193" y="3710094"/>
                <a:chExt cx="5483474" cy="734408"/>
              </a:xfrm>
            </p:grpSpPr>
            <p:cxnSp>
              <p:nvCxnSpPr>
                <p:cNvPr id="2495" name="Elbow Connector 558">
                  <a:extLst>
                    <a:ext uri="{FF2B5EF4-FFF2-40B4-BE49-F238E27FC236}">
                      <a16:creationId xmlns:a16="http://schemas.microsoft.com/office/drawing/2014/main" id="{7A9F4266-D077-44DF-AE7B-293210D40A2B}"/>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496" name="Rectangle 2495">
                  <a:extLst>
                    <a:ext uri="{FF2B5EF4-FFF2-40B4-BE49-F238E27FC236}">
                      <a16:creationId xmlns:a16="http://schemas.microsoft.com/office/drawing/2014/main" id="{9ED04E6C-C783-43AF-B9D7-462D0CC74E93}"/>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494" name="Rectangle 2493">
                <a:extLst>
                  <a:ext uri="{FF2B5EF4-FFF2-40B4-BE49-F238E27FC236}">
                    <a16:creationId xmlns:a16="http://schemas.microsoft.com/office/drawing/2014/main" id="{6D209AB9-0138-4950-9BFB-7D6BE135A81D}"/>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16" name="Group 15">
              <a:extLst>
                <a:ext uri="{FF2B5EF4-FFF2-40B4-BE49-F238E27FC236}">
                  <a16:creationId xmlns:a16="http://schemas.microsoft.com/office/drawing/2014/main" id="{A333C4F2-11D6-4CD6-A48B-C540504BA326}"/>
                </a:ext>
              </a:extLst>
            </p:cNvPr>
            <p:cNvGrpSpPr/>
            <p:nvPr/>
          </p:nvGrpSpPr>
          <p:grpSpPr>
            <a:xfrm>
              <a:off x="6614264" y="1753652"/>
              <a:ext cx="3107697" cy="1310210"/>
              <a:chOff x="6614264" y="1753652"/>
              <a:chExt cx="3107697" cy="1310210"/>
            </a:xfrm>
          </p:grpSpPr>
          <p:sp>
            <p:nvSpPr>
              <p:cNvPr id="2193" name="Rectangle 2192">
                <a:extLst>
                  <a:ext uri="{FF2B5EF4-FFF2-40B4-BE49-F238E27FC236}">
                    <a16:creationId xmlns:a16="http://schemas.microsoft.com/office/drawing/2014/main" id="{04D16098-D91C-43FE-B655-4F16746A527E}"/>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194" name="Group 2193">
                <a:extLst>
                  <a:ext uri="{FF2B5EF4-FFF2-40B4-BE49-F238E27FC236}">
                    <a16:creationId xmlns:a16="http://schemas.microsoft.com/office/drawing/2014/main" id="{0DEF170E-3C53-4FE6-AD1B-1F5AA6C41BA8}"/>
                  </a:ext>
                </a:extLst>
              </p:cNvPr>
              <p:cNvGrpSpPr/>
              <p:nvPr/>
            </p:nvGrpSpPr>
            <p:grpSpPr>
              <a:xfrm>
                <a:off x="6970489" y="2381238"/>
                <a:ext cx="876005" cy="682624"/>
                <a:chOff x="8153924" y="1224949"/>
                <a:chExt cx="927652" cy="722869"/>
              </a:xfrm>
            </p:grpSpPr>
            <p:sp>
              <p:nvSpPr>
                <p:cNvPr id="2195" name="TextBox 2194">
                  <a:extLst>
                    <a:ext uri="{FF2B5EF4-FFF2-40B4-BE49-F238E27FC236}">
                      <a16:creationId xmlns:a16="http://schemas.microsoft.com/office/drawing/2014/main" id="{824EE8B9-F191-41E4-9E22-E40FF6265E49}"/>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196" name="Group 2195">
                  <a:extLst>
                    <a:ext uri="{FF2B5EF4-FFF2-40B4-BE49-F238E27FC236}">
                      <a16:creationId xmlns:a16="http://schemas.microsoft.com/office/drawing/2014/main" id="{97B3AC04-FD4F-464A-BF56-D40A68297AA4}"/>
                    </a:ext>
                  </a:extLst>
                </p:cNvPr>
                <p:cNvGrpSpPr/>
                <p:nvPr/>
              </p:nvGrpSpPr>
              <p:grpSpPr>
                <a:xfrm>
                  <a:off x="8153924" y="1224949"/>
                  <a:ext cx="927652" cy="402840"/>
                  <a:chOff x="8153924" y="1224949"/>
                  <a:chExt cx="927652" cy="402840"/>
                </a:xfrm>
              </p:grpSpPr>
              <p:sp>
                <p:nvSpPr>
                  <p:cNvPr id="2200" name="Freeform 78">
                    <a:extLst>
                      <a:ext uri="{FF2B5EF4-FFF2-40B4-BE49-F238E27FC236}">
                        <a16:creationId xmlns:a16="http://schemas.microsoft.com/office/drawing/2014/main" id="{BEF58473-7D8F-48A0-991C-D8D87A91540C}"/>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Freeform 80">
                    <a:extLst>
                      <a:ext uri="{FF2B5EF4-FFF2-40B4-BE49-F238E27FC236}">
                        <a16:creationId xmlns:a16="http://schemas.microsoft.com/office/drawing/2014/main" id="{327E6B47-E2EB-49E5-9A55-1DDEE77B94F9}"/>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Freeform 1576">
                    <a:extLst>
                      <a:ext uri="{FF2B5EF4-FFF2-40B4-BE49-F238E27FC236}">
                        <a16:creationId xmlns:a16="http://schemas.microsoft.com/office/drawing/2014/main" id="{D47E6B54-388A-47E6-A88D-82E39A0A150B}"/>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1577">
                    <a:extLst>
                      <a:ext uri="{FF2B5EF4-FFF2-40B4-BE49-F238E27FC236}">
                        <a16:creationId xmlns:a16="http://schemas.microsoft.com/office/drawing/2014/main" id="{CA03811B-4E2A-49E9-B01C-A03B133B9947}"/>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1578">
                    <a:extLst>
                      <a:ext uri="{FF2B5EF4-FFF2-40B4-BE49-F238E27FC236}">
                        <a16:creationId xmlns:a16="http://schemas.microsoft.com/office/drawing/2014/main" id="{7534C028-D396-4227-AE0D-3F8B78D92E79}"/>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1579">
                    <a:extLst>
                      <a:ext uri="{FF2B5EF4-FFF2-40B4-BE49-F238E27FC236}">
                        <a16:creationId xmlns:a16="http://schemas.microsoft.com/office/drawing/2014/main" id="{40686DC3-F18E-482F-99E4-7023BBFC12E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1580">
                    <a:extLst>
                      <a:ext uri="{FF2B5EF4-FFF2-40B4-BE49-F238E27FC236}">
                        <a16:creationId xmlns:a16="http://schemas.microsoft.com/office/drawing/2014/main" id="{931D6EF7-E1B2-4D53-AE4C-E5998F82EC9F}"/>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1581">
                    <a:extLst>
                      <a:ext uri="{FF2B5EF4-FFF2-40B4-BE49-F238E27FC236}">
                        <a16:creationId xmlns:a16="http://schemas.microsoft.com/office/drawing/2014/main" id="{E2B3C2B6-ECD7-4CE5-857E-595729D1D7BA}"/>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1582">
                    <a:extLst>
                      <a:ext uri="{FF2B5EF4-FFF2-40B4-BE49-F238E27FC236}">
                        <a16:creationId xmlns:a16="http://schemas.microsoft.com/office/drawing/2014/main" id="{8A045F3A-6F6F-4986-A97F-24BD7F224E2B}"/>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1583">
                    <a:extLst>
                      <a:ext uri="{FF2B5EF4-FFF2-40B4-BE49-F238E27FC236}">
                        <a16:creationId xmlns:a16="http://schemas.microsoft.com/office/drawing/2014/main" id="{057FD777-6EAB-4469-9C3A-6FF4E9FEEA9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Freeform 1584">
                    <a:extLst>
                      <a:ext uri="{FF2B5EF4-FFF2-40B4-BE49-F238E27FC236}">
                        <a16:creationId xmlns:a16="http://schemas.microsoft.com/office/drawing/2014/main" id="{88CF09A3-214A-4DDE-BCF6-0C5C938EFABE}"/>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1585">
                    <a:extLst>
                      <a:ext uri="{FF2B5EF4-FFF2-40B4-BE49-F238E27FC236}">
                        <a16:creationId xmlns:a16="http://schemas.microsoft.com/office/drawing/2014/main" id="{A9693C23-CAAF-44C8-AA56-29ADD4984252}"/>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1586">
                    <a:extLst>
                      <a:ext uri="{FF2B5EF4-FFF2-40B4-BE49-F238E27FC236}">
                        <a16:creationId xmlns:a16="http://schemas.microsoft.com/office/drawing/2014/main" id="{FDAAD9FE-FEC4-4690-9F45-517DC82D194A}"/>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1587">
                    <a:extLst>
                      <a:ext uri="{FF2B5EF4-FFF2-40B4-BE49-F238E27FC236}">
                        <a16:creationId xmlns:a16="http://schemas.microsoft.com/office/drawing/2014/main" id="{4318389F-9D63-4534-A104-FB617913DAB0}"/>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5" name="Freeform 1588">
                    <a:extLst>
                      <a:ext uri="{FF2B5EF4-FFF2-40B4-BE49-F238E27FC236}">
                        <a16:creationId xmlns:a16="http://schemas.microsoft.com/office/drawing/2014/main" id="{D016AAB5-CB66-4CBD-9774-2524E682D3C2}"/>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6" name="Rectangle 1589">
                    <a:extLst>
                      <a:ext uri="{FF2B5EF4-FFF2-40B4-BE49-F238E27FC236}">
                        <a16:creationId xmlns:a16="http://schemas.microsoft.com/office/drawing/2014/main" id="{17A56E3F-1447-4D06-9A4D-BB6FD2FAA6CE}"/>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Rectangle 1590">
                    <a:extLst>
                      <a:ext uri="{FF2B5EF4-FFF2-40B4-BE49-F238E27FC236}">
                        <a16:creationId xmlns:a16="http://schemas.microsoft.com/office/drawing/2014/main" id="{D9147DB1-38ED-402D-9211-821A252C5E1C}"/>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8" name="Freeform 1591">
                    <a:extLst>
                      <a:ext uri="{FF2B5EF4-FFF2-40B4-BE49-F238E27FC236}">
                        <a16:creationId xmlns:a16="http://schemas.microsoft.com/office/drawing/2014/main" id="{7DB3C441-9633-4B8F-BB72-F116B61E5E01}"/>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Freeform 1592">
                    <a:extLst>
                      <a:ext uri="{FF2B5EF4-FFF2-40B4-BE49-F238E27FC236}">
                        <a16:creationId xmlns:a16="http://schemas.microsoft.com/office/drawing/2014/main" id="{05BC030C-DE2B-44CA-A36B-40B8460CA415}"/>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20" name="Freeform 1593">
                    <a:extLst>
                      <a:ext uri="{FF2B5EF4-FFF2-40B4-BE49-F238E27FC236}">
                        <a16:creationId xmlns:a16="http://schemas.microsoft.com/office/drawing/2014/main" id="{5F8E574F-A395-4515-93A0-85FC183285A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Freeform 1596">
                    <a:extLst>
                      <a:ext uri="{FF2B5EF4-FFF2-40B4-BE49-F238E27FC236}">
                        <a16:creationId xmlns:a16="http://schemas.microsoft.com/office/drawing/2014/main" id="{724BE479-F3CC-4D83-99F2-8C8213FE3F45}"/>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50" name="Group 2249">
                <a:extLst>
                  <a:ext uri="{FF2B5EF4-FFF2-40B4-BE49-F238E27FC236}">
                    <a16:creationId xmlns:a16="http://schemas.microsoft.com/office/drawing/2014/main" id="{D70A11B7-6F64-47DA-8A7A-4040F6B9646E}"/>
                  </a:ext>
                </a:extLst>
              </p:cNvPr>
              <p:cNvGrpSpPr/>
              <p:nvPr/>
            </p:nvGrpSpPr>
            <p:grpSpPr>
              <a:xfrm>
                <a:off x="7508988" y="1995190"/>
                <a:ext cx="2049581" cy="1005869"/>
                <a:chOff x="8356478" y="3790294"/>
                <a:chExt cx="3013725" cy="1479041"/>
              </a:xfrm>
            </p:grpSpPr>
            <p:sp>
              <p:nvSpPr>
                <p:cNvPr id="2251" name="Rectangle 2250">
                  <a:extLst>
                    <a:ext uri="{FF2B5EF4-FFF2-40B4-BE49-F238E27FC236}">
                      <a16:creationId xmlns:a16="http://schemas.microsoft.com/office/drawing/2014/main" id="{3ED95D22-5E94-4761-94DD-A54B165BACF5}"/>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252" name="Rectangle 2251">
                  <a:extLst>
                    <a:ext uri="{FF2B5EF4-FFF2-40B4-BE49-F238E27FC236}">
                      <a16:creationId xmlns:a16="http://schemas.microsoft.com/office/drawing/2014/main" id="{EED4F708-8071-4275-9E31-8505C7FD8A44}"/>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253" name="Straight Arrow Connector 2252">
                  <a:extLst>
                    <a:ext uri="{FF2B5EF4-FFF2-40B4-BE49-F238E27FC236}">
                      <a16:creationId xmlns:a16="http://schemas.microsoft.com/office/drawing/2014/main" id="{2AA744CC-9F4A-455B-9006-7EEAC9DB6BCB}"/>
                    </a:ext>
                  </a:extLst>
                </p:cNvPr>
                <p:cNvCxnSpPr>
                  <a:cxnSpLocks/>
                  <a:stCxn id="2251"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54" name="Group 2253">
                <a:extLst>
                  <a:ext uri="{FF2B5EF4-FFF2-40B4-BE49-F238E27FC236}">
                    <a16:creationId xmlns:a16="http://schemas.microsoft.com/office/drawing/2014/main" id="{963BF23F-F68D-4BE6-8CA5-B08509740B15}"/>
                  </a:ext>
                </a:extLst>
              </p:cNvPr>
              <p:cNvGrpSpPr/>
              <p:nvPr/>
            </p:nvGrpSpPr>
            <p:grpSpPr>
              <a:xfrm>
                <a:off x="8556157" y="1876097"/>
                <a:ext cx="1088511" cy="894403"/>
                <a:chOff x="10800033" y="2297897"/>
                <a:chExt cx="1600558" cy="1315140"/>
              </a:xfrm>
            </p:grpSpPr>
            <p:grpSp>
              <p:nvGrpSpPr>
                <p:cNvPr id="2255" name="Group 2254">
                  <a:extLst>
                    <a:ext uri="{FF2B5EF4-FFF2-40B4-BE49-F238E27FC236}">
                      <a16:creationId xmlns:a16="http://schemas.microsoft.com/office/drawing/2014/main" id="{C8C784BB-19F1-406E-B59C-36FB6E7F259A}"/>
                    </a:ext>
                  </a:extLst>
                </p:cNvPr>
                <p:cNvGrpSpPr>
                  <a:grpSpLocks/>
                </p:cNvGrpSpPr>
                <p:nvPr/>
              </p:nvGrpSpPr>
              <p:grpSpPr>
                <a:xfrm>
                  <a:off x="10800033" y="2339037"/>
                  <a:ext cx="613092" cy="613092"/>
                  <a:chOff x="745985" y="4768134"/>
                  <a:chExt cx="368776" cy="368777"/>
                </a:xfrm>
              </p:grpSpPr>
              <p:grpSp>
                <p:nvGrpSpPr>
                  <p:cNvPr id="2319" name="Group 64">
                    <a:extLst>
                      <a:ext uri="{FF2B5EF4-FFF2-40B4-BE49-F238E27FC236}">
                        <a16:creationId xmlns:a16="http://schemas.microsoft.com/office/drawing/2014/main" id="{28586376-98DE-4204-92A9-3C759DF31E19}"/>
                      </a:ext>
                    </a:extLst>
                  </p:cNvPr>
                  <p:cNvGrpSpPr>
                    <a:grpSpLocks noChangeAspect="1"/>
                  </p:cNvGrpSpPr>
                  <p:nvPr/>
                </p:nvGrpSpPr>
                <p:grpSpPr bwMode="auto">
                  <a:xfrm rot="8100000">
                    <a:off x="745985" y="4768134"/>
                    <a:ext cx="368776" cy="368777"/>
                    <a:chOff x="701" y="2170"/>
                    <a:chExt cx="587" cy="587"/>
                  </a:xfrm>
                </p:grpSpPr>
                <p:sp>
                  <p:nvSpPr>
                    <p:cNvPr id="2330" name="Oval 65">
                      <a:extLst>
                        <a:ext uri="{FF2B5EF4-FFF2-40B4-BE49-F238E27FC236}">
                          <a16:creationId xmlns:a16="http://schemas.microsoft.com/office/drawing/2014/main" id="{286BE6FE-9FBA-4C95-BBE8-74EF00253D7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1" name="Line 66">
                      <a:extLst>
                        <a:ext uri="{FF2B5EF4-FFF2-40B4-BE49-F238E27FC236}">
                          <a16:creationId xmlns:a16="http://schemas.microsoft.com/office/drawing/2014/main" id="{FDA59EFF-5D40-49A4-9ED1-4CFCE8B73F7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Line 67">
                      <a:extLst>
                        <a:ext uri="{FF2B5EF4-FFF2-40B4-BE49-F238E27FC236}">
                          <a16:creationId xmlns:a16="http://schemas.microsoft.com/office/drawing/2014/main" id="{60FB569F-8A3D-4DA4-BB3D-6AC5EB8E64A4}"/>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69">
                      <a:extLst>
                        <a:ext uri="{FF2B5EF4-FFF2-40B4-BE49-F238E27FC236}">
                          <a16:creationId xmlns:a16="http://schemas.microsoft.com/office/drawing/2014/main" id="{85A77D11-EA84-4456-B02C-854AEE672F5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Line 74">
                      <a:extLst>
                        <a:ext uri="{FF2B5EF4-FFF2-40B4-BE49-F238E27FC236}">
                          <a16:creationId xmlns:a16="http://schemas.microsoft.com/office/drawing/2014/main" id="{7DD60C16-9C83-4FFD-9696-C1692E8AE99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78">
                      <a:extLst>
                        <a:ext uri="{FF2B5EF4-FFF2-40B4-BE49-F238E27FC236}">
                          <a16:creationId xmlns:a16="http://schemas.microsoft.com/office/drawing/2014/main" id="{D58AF235-6886-4EE5-8E1E-DD472C984A46}"/>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80">
                      <a:extLst>
                        <a:ext uri="{FF2B5EF4-FFF2-40B4-BE49-F238E27FC236}">
                          <a16:creationId xmlns:a16="http://schemas.microsoft.com/office/drawing/2014/main" id="{62009741-4586-4C75-A8B6-9A7F152F5F4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20" name="Group 2319">
                    <a:extLst>
                      <a:ext uri="{FF2B5EF4-FFF2-40B4-BE49-F238E27FC236}">
                        <a16:creationId xmlns:a16="http://schemas.microsoft.com/office/drawing/2014/main" id="{A72F4352-F5AE-4A8D-A9DB-718879387E83}"/>
                      </a:ext>
                    </a:extLst>
                  </p:cNvPr>
                  <p:cNvGrpSpPr/>
                  <p:nvPr/>
                </p:nvGrpSpPr>
                <p:grpSpPr>
                  <a:xfrm>
                    <a:off x="837312" y="4814434"/>
                    <a:ext cx="136805" cy="278689"/>
                    <a:chOff x="2806700" y="2803319"/>
                    <a:chExt cx="433387" cy="882861"/>
                  </a:xfrm>
                </p:grpSpPr>
                <p:grpSp>
                  <p:nvGrpSpPr>
                    <p:cNvPr id="2321" name="Group 2320">
                      <a:extLst>
                        <a:ext uri="{FF2B5EF4-FFF2-40B4-BE49-F238E27FC236}">
                          <a16:creationId xmlns:a16="http://schemas.microsoft.com/office/drawing/2014/main" id="{8226CFC8-1121-4F85-B51B-ED7288DE0663}"/>
                        </a:ext>
                      </a:extLst>
                    </p:cNvPr>
                    <p:cNvGrpSpPr>
                      <a:grpSpLocks noChangeAspect="1"/>
                    </p:cNvGrpSpPr>
                    <p:nvPr/>
                  </p:nvGrpSpPr>
                  <p:grpSpPr bwMode="auto">
                    <a:xfrm>
                      <a:off x="2806700" y="3043242"/>
                      <a:ext cx="433387" cy="642938"/>
                      <a:chOff x="1768" y="1917"/>
                      <a:chExt cx="273" cy="405"/>
                    </a:xfrm>
                  </p:grpSpPr>
                  <p:sp>
                    <p:nvSpPr>
                      <p:cNvPr id="2323" name="Freeform 52">
                        <a:extLst>
                          <a:ext uri="{FF2B5EF4-FFF2-40B4-BE49-F238E27FC236}">
                            <a16:creationId xmlns:a16="http://schemas.microsoft.com/office/drawing/2014/main" id="{8F916E64-9176-45EF-B6BD-542BB871AA28}"/>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4" name="Line 54">
                        <a:extLst>
                          <a:ext uri="{FF2B5EF4-FFF2-40B4-BE49-F238E27FC236}">
                            <a16:creationId xmlns:a16="http://schemas.microsoft.com/office/drawing/2014/main" id="{F32349BC-E762-4775-A2C4-2FED49E03842}"/>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5" name="Line 55">
                        <a:extLst>
                          <a:ext uri="{FF2B5EF4-FFF2-40B4-BE49-F238E27FC236}">
                            <a16:creationId xmlns:a16="http://schemas.microsoft.com/office/drawing/2014/main" id="{ECDE6D1F-2512-4CE7-8B21-305CCE6898E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6" name="Freeform 56">
                        <a:extLst>
                          <a:ext uri="{FF2B5EF4-FFF2-40B4-BE49-F238E27FC236}">
                            <a16:creationId xmlns:a16="http://schemas.microsoft.com/office/drawing/2014/main" id="{4B93A918-E18A-41AB-B94E-1728F138E0BA}"/>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57">
                        <a:extLst>
                          <a:ext uri="{FF2B5EF4-FFF2-40B4-BE49-F238E27FC236}">
                            <a16:creationId xmlns:a16="http://schemas.microsoft.com/office/drawing/2014/main" id="{C814B30C-1691-49DC-A7D1-74881FA9CC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58">
                        <a:extLst>
                          <a:ext uri="{FF2B5EF4-FFF2-40B4-BE49-F238E27FC236}">
                            <a16:creationId xmlns:a16="http://schemas.microsoft.com/office/drawing/2014/main" id="{0C9E511B-A7E9-4088-882B-8904E92B7C8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Rectangle 2328">
                        <a:extLst>
                          <a:ext uri="{FF2B5EF4-FFF2-40B4-BE49-F238E27FC236}">
                            <a16:creationId xmlns:a16="http://schemas.microsoft.com/office/drawing/2014/main" id="{0D382042-197D-49FF-AB83-A1DA3315DA0F}"/>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22" name="Oval 2321">
                      <a:extLst>
                        <a:ext uri="{FF2B5EF4-FFF2-40B4-BE49-F238E27FC236}">
                          <a16:creationId xmlns:a16="http://schemas.microsoft.com/office/drawing/2014/main" id="{88AD37F8-65CD-4867-AF7F-5DCEBDAC6D2D}"/>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56" name="Group 2255">
                  <a:extLst>
                    <a:ext uri="{FF2B5EF4-FFF2-40B4-BE49-F238E27FC236}">
                      <a16:creationId xmlns:a16="http://schemas.microsoft.com/office/drawing/2014/main" id="{B310D40B-2040-47A0-A781-C7B19F426D3E}"/>
                    </a:ext>
                  </a:extLst>
                </p:cNvPr>
                <p:cNvGrpSpPr>
                  <a:grpSpLocks/>
                </p:cNvGrpSpPr>
                <p:nvPr/>
              </p:nvGrpSpPr>
              <p:grpSpPr>
                <a:xfrm>
                  <a:off x="11166615" y="2825631"/>
                  <a:ext cx="787402" cy="787406"/>
                  <a:chOff x="1454941" y="4721722"/>
                  <a:chExt cx="473625" cy="473627"/>
                </a:xfrm>
              </p:grpSpPr>
              <p:grpSp>
                <p:nvGrpSpPr>
                  <p:cNvPr id="2280" name="Group 64">
                    <a:extLst>
                      <a:ext uri="{FF2B5EF4-FFF2-40B4-BE49-F238E27FC236}">
                        <a16:creationId xmlns:a16="http://schemas.microsoft.com/office/drawing/2014/main" id="{44165CC7-83EE-4033-B931-B535DCA7D595}"/>
                      </a:ext>
                    </a:extLst>
                  </p:cNvPr>
                  <p:cNvGrpSpPr>
                    <a:grpSpLocks noChangeAspect="1"/>
                  </p:cNvGrpSpPr>
                  <p:nvPr/>
                </p:nvGrpSpPr>
                <p:grpSpPr bwMode="auto">
                  <a:xfrm rot="8100000">
                    <a:off x="1454941" y="4721722"/>
                    <a:ext cx="473625" cy="473627"/>
                    <a:chOff x="701" y="2170"/>
                    <a:chExt cx="587" cy="587"/>
                  </a:xfrm>
                </p:grpSpPr>
                <p:sp>
                  <p:nvSpPr>
                    <p:cNvPr id="2312" name="Oval 65">
                      <a:extLst>
                        <a:ext uri="{FF2B5EF4-FFF2-40B4-BE49-F238E27FC236}">
                          <a16:creationId xmlns:a16="http://schemas.microsoft.com/office/drawing/2014/main" id="{AC6CEA27-6C62-43E7-A9BE-CEFEB056B58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3" name="Line 66">
                      <a:extLst>
                        <a:ext uri="{FF2B5EF4-FFF2-40B4-BE49-F238E27FC236}">
                          <a16:creationId xmlns:a16="http://schemas.microsoft.com/office/drawing/2014/main" id="{A7E90AC8-5A63-46C2-952A-0C80F8D6550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7">
                      <a:extLst>
                        <a:ext uri="{FF2B5EF4-FFF2-40B4-BE49-F238E27FC236}">
                          <a16:creationId xmlns:a16="http://schemas.microsoft.com/office/drawing/2014/main" id="{2F3CB1E3-A4C6-4ED6-8D8B-74D9DE25D43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69">
                      <a:extLst>
                        <a:ext uri="{FF2B5EF4-FFF2-40B4-BE49-F238E27FC236}">
                          <a16:creationId xmlns:a16="http://schemas.microsoft.com/office/drawing/2014/main" id="{B6689590-AA68-408D-A328-BEDB4AC98D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Line 74">
                      <a:extLst>
                        <a:ext uri="{FF2B5EF4-FFF2-40B4-BE49-F238E27FC236}">
                          <a16:creationId xmlns:a16="http://schemas.microsoft.com/office/drawing/2014/main" id="{92CFBBEB-06C6-462E-9492-A2CB23D7A0B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78">
                      <a:extLst>
                        <a:ext uri="{FF2B5EF4-FFF2-40B4-BE49-F238E27FC236}">
                          <a16:creationId xmlns:a16="http://schemas.microsoft.com/office/drawing/2014/main" id="{C7CCC532-5538-475F-ADA6-B6D75D71209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8" name="Freeform 80">
                      <a:extLst>
                        <a:ext uri="{FF2B5EF4-FFF2-40B4-BE49-F238E27FC236}">
                          <a16:creationId xmlns:a16="http://schemas.microsoft.com/office/drawing/2014/main" id="{5E1F4A4B-A6AC-4DF5-ACA4-8081C09BC651}"/>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81" name="Group 2280">
                    <a:extLst>
                      <a:ext uri="{FF2B5EF4-FFF2-40B4-BE49-F238E27FC236}">
                        <a16:creationId xmlns:a16="http://schemas.microsoft.com/office/drawing/2014/main" id="{5759AB8D-CB6E-4B7D-B2D7-DCB0BA1A9B5E}"/>
                      </a:ext>
                    </a:extLst>
                  </p:cNvPr>
                  <p:cNvGrpSpPr/>
                  <p:nvPr/>
                </p:nvGrpSpPr>
                <p:grpSpPr>
                  <a:xfrm>
                    <a:off x="1511214" y="4789508"/>
                    <a:ext cx="356509" cy="349884"/>
                    <a:chOff x="468738" y="2241878"/>
                    <a:chExt cx="1655483" cy="1624719"/>
                  </a:xfrm>
                </p:grpSpPr>
                <p:sp>
                  <p:nvSpPr>
                    <p:cNvPr id="2282" name="Freeform 5">
                      <a:extLst>
                        <a:ext uri="{FF2B5EF4-FFF2-40B4-BE49-F238E27FC236}">
                          <a16:creationId xmlns:a16="http://schemas.microsoft.com/office/drawing/2014/main" id="{951560DE-6EE5-49BC-8309-BCBFB2520EDE}"/>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3" name="Freeform 6">
                      <a:extLst>
                        <a:ext uri="{FF2B5EF4-FFF2-40B4-BE49-F238E27FC236}">
                          <a16:creationId xmlns:a16="http://schemas.microsoft.com/office/drawing/2014/main" id="{C8A60117-4A28-42E3-9277-E9B5BEB4C47C}"/>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4" name="Line 7">
                      <a:extLst>
                        <a:ext uri="{FF2B5EF4-FFF2-40B4-BE49-F238E27FC236}">
                          <a16:creationId xmlns:a16="http://schemas.microsoft.com/office/drawing/2014/main" id="{A513A69F-1DAB-474C-9D79-602D69B7938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5" name="Freeform 8">
                      <a:extLst>
                        <a:ext uri="{FF2B5EF4-FFF2-40B4-BE49-F238E27FC236}">
                          <a16:creationId xmlns:a16="http://schemas.microsoft.com/office/drawing/2014/main" id="{2894406B-3D41-4130-BD4C-7FA8ADD3C530}"/>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9">
                      <a:extLst>
                        <a:ext uri="{FF2B5EF4-FFF2-40B4-BE49-F238E27FC236}">
                          <a16:creationId xmlns:a16="http://schemas.microsoft.com/office/drawing/2014/main" id="{4983E88B-02D0-443D-A8E4-109B266442A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87" name="Group 2286">
                      <a:extLst>
                        <a:ext uri="{FF2B5EF4-FFF2-40B4-BE49-F238E27FC236}">
                          <a16:creationId xmlns:a16="http://schemas.microsoft.com/office/drawing/2014/main" id="{54BC51B2-8E56-47FC-85F4-E996BDBFE4CA}"/>
                        </a:ext>
                      </a:extLst>
                    </p:cNvPr>
                    <p:cNvGrpSpPr/>
                    <p:nvPr/>
                  </p:nvGrpSpPr>
                  <p:grpSpPr>
                    <a:xfrm>
                      <a:off x="1207113" y="2241878"/>
                      <a:ext cx="178734" cy="348678"/>
                      <a:chOff x="1207113" y="2241878"/>
                      <a:chExt cx="178734" cy="348678"/>
                    </a:xfrm>
                  </p:grpSpPr>
                  <p:sp>
                    <p:nvSpPr>
                      <p:cNvPr id="2310" name="Freeform 10">
                        <a:extLst>
                          <a:ext uri="{FF2B5EF4-FFF2-40B4-BE49-F238E27FC236}">
                            <a16:creationId xmlns:a16="http://schemas.microsoft.com/office/drawing/2014/main" id="{6C2989C1-8072-4F03-A61E-43B91E9D549F}"/>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1" name="Line 11">
                        <a:extLst>
                          <a:ext uri="{FF2B5EF4-FFF2-40B4-BE49-F238E27FC236}">
                            <a16:creationId xmlns:a16="http://schemas.microsoft.com/office/drawing/2014/main" id="{0301896B-7DBD-415E-ADE2-3A87AE6A8C4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88" name="Freeform 12">
                      <a:extLst>
                        <a:ext uri="{FF2B5EF4-FFF2-40B4-BE49-F238E27FC236}">
                          <a16:creationId xmlns:a16="http://schemas.microsoft.com/office/drawing/2014/main" id="{0EC32524-89B0-4DEB-BD97-B96C42D7F6C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Line 13">
                      <a:extLst>
                        <a:ext uri="{FF2B5EF4-FFF2-40B4-BE49-F238E27FC236}">
                          <a16:creationId xmlns:a16="http://schemas.microsoft.com/office/drawing/2014/main" id="{73F7FBEC-CB36-4691-A985-43E561464932}"/>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14">
                      <a:extLst>
                        <a:ext uri="{FF2B5EF4-FFF2-40B4-BE49-F238E27FC236}">
                          <a16:creationId xmlns:a16="http://schemas.microsoft.com/office/drawing/2014/main" id="{58E0825E-0424-40B4-AB08-AC62A9844FF8}"/>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1" name="Line 15">
                      <a:extLst>
                        <a:ext uri="{FF2B5EF4-FFF2-40B4-BE49-F238E27FC236}">
                          <a16:creationId xmlns:a16="http://schemas.microsoft.com/office/drawing/2014/main" id="{C2C69BCE-F279-4966-8F4A-2DD1ADDA579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2" name="Freeform 16">
                      <a:extLst>
                        <a:ext uri="{FF2B5EF4-FFF2-40B4-BE49-F238E27FC236}">
                          <a16:creationId xmlns:a16="http://schemas.microsoft.com/office/drawing/2014/main" id="{6E789726-F51E-4926-BFEC-F979E358871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3" name="Line 17">
                      <a:extLst>
                        <a:ext uri="{FF2B5EF4-FFF2-40B4-BE49-F238E27FC236}">
                          <a16:creationId xmlns:a16="http://schemas.microsoft.com/office/drawing/2014/main" id="{D47BFB8E-F127-4215-881F-2EAC3FD1A3D6}"/>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4" name="Freeform 18">
                      <a:extLst>
                        <a:ext uri="{FF2B5EF4-FFF2-40B4-BE49-F238E27FC236}">
                          <a16:creationId xmlns:a16="http://schemas.microsoft.com/office/drawing/2014/main" id="{246B6867-150F-4628-905D-EA7A93B1AE1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5" name="Line 19">
                      <a:extLst>
                        <a:ext uri="{FF2B5EF4-FFF2-40B4-BE49-F238E27FC236}">
                          <a16:creationId xmlns:a16="http://schemas.microsoft.com/office/drawing/2014/main" id="{796D3A11-69AD-4D1E-8E23-1B67194C2A8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6" name="Freeform 35">
                      <a:extLst>
                        <a:ext uri="{FF2B5EF4-FFF2-40B4-BE49-F238E27FC236}">
                          <a16:creationId xmlns:a16="http://schemas.microsoft.com/office/drawing/2014/main" id="{57D76E0E-0C9F-486F-9AB6-F21B4CAEF5E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7" name="Freeform 36">
                      <a:extLst>
                        <a:ext uri="{FF2B5EF4-FFF2-40B4-BE49-F238E27FC236}">
                          <a16:creationId xmlns:a16="http://schemas.microsoft.com/office/drawing/2014/main" id="{2FF9A1E2-286D-4FA2-A459-EA349B9B9DAF}"/>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8" name="Freeform 37">
                      <a:extLst>
                        <a:ext uri="{FF2B5EF4-FFF2-40B4-BE49-F238E27FC236}">
                          <a16:creationId xmlns:a16="http://schemas.microsoft.com/office/drawing/2014/main" id="{AD5AC173-D913-4236-AFE8-FB2185560EE2}"/>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8">
                      <a:extLst>
                        <a:ext uri="{FF2B5EF4-FFF2-40B4-BE49-F238E27FC236}">
                          <a16:creationId xmlns:a16="http://schemas.microsoft.com/office/drawing/2014/main" id="{4EF0C878-6C78-4A40-8BF3-09CD74FE827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9">
                      <a:extLst>
                        <a:ext uri="{FF2B5EF4-FFF2-40B4-BE49-F238E27FC236}">
                          <a16:creationId xmlns:a16="http://schemas.microsoft.com/office/drawing/2014/main" id="{425A2A43-590B-4467-BBB2-3D4ADD82E0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40">
                      <a:extLst>
                        <a:ext uri="{FF2B5EF4-FFF2-40B4-BE49-F238E27FC236}">
                          <a16:creationId xmlns:a16="http://schemas.microsoft.com/office/drawing/2014/main" id="{1EADE06F-C13E-460C-8520-800624459926}"/>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41">
                      <a:extLst>
                        <a:ext uri="{FF2B5EF4-FFF2-40B4-BE49-F238E27FC236}">
                          <a16:creationId xmlns:a16="http://schemas.microsoft.com/office/drawing/2014/main" id="{AF4EDC2D-16F1-4F8F-8C09-FA664401471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3" name="Line 42">
                      <a:extLst>
                        <a:ext uri="{FF2B5EF4-FFF2-40B4-BE49-F238E27FC236}">
                          <a16:creationId xmlns:a16="http://schemas.microsoft.com/office/drawing/2014/main" id="{85EA9BCD-6BDF-4635-BD6D-4EF5F18FFB8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43">
                      <a:extLst>
                        <a:ext uri="{FF2B5EF4-FFF2-40B4-BE49-F238E27FC236}">
                          <a16:creationId xmlns:a16="http://schemas.microsoft.com/office/drawing/2014/main" id="{C38D20FD-BD40-485F-B654-3CCFD71FFAC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44">
                      <a:extLst>
                        <a:ext uri="{FF2B5EF4-FFF2-40B4-BE49-F238E27FC236}">
                          <a16:creationId xmlns:a16="http://schemas.microsoft.com/office/drawing/2014/main" id="{3A52AB7B-E857-4C55-BE93-1AD49193949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45">
                      <a:extLst>
                        <a:ext uri="{FF2B5EF4-FFF2-40B4-BE49-F238E27FC236}">
                          <a16:creationId xmlns:a16="http://schemas.microsoft.com/office/drawing/2014/main" id="{34F50FA1-A883-405B-A52C-A75782AFF624}"/>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07" name="Group 2306">
                      <a:extLst>
                        <a:ext uri="{FF2B5EF4-FFF2-40B4-BE49-F238E27FC236}">
                          <a16:creationId xmlns:a16="http://schemas.microsoft.com/office/drawing/2014/main" id="{B1A9EBE2-6A5F-4B6C-96DC-E627DCECAA7D}"/>
                        </a:ext>
                      </a:extLst>
                    </p:cNvPr>
                    <p:cNvGrpSpPr/>
                    <p:nvPr/>
                  </p:nvGrpSpPr>
                  <p:grpSpPr>
                    <a:xfrm flipV="1">
                      <a:off x="1202047" y="3517919"/>
                      <a:ext cx="178734" cy="348678"/>
                      <a:chOff x="1207113" y="2241878"/>
                      <a:chExt cx="178734" cy="348678"/>
                    </a:xfrm>
                  </p:grpSpPr>
                  <p:sp>
                    <p:nvSpPr>
                      <p:cNvPr id="2308" name="Freeform 10">
                        <a:extLst>
                          <a:ext uri="{FF2B5EF4-FFF2-40B4-BE49-F238E27FC236}">
                            <a16:creationId xmlns:a16="http://schemas.microsoft.com/office/drawing/2014/main" id="{F8AF0355-F600-4EF6-925F-1B282A05D59C}"/>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9" name="Line 11">
                        <a:extLst>
                          <a:ext uri="{FF2B5EF4-FFF2-40B4-BE49-F238E27FC236}">
                            <a16:creationId xmlns:a16="http://schemas.microsoft.com/office/drawing/2014/main" id="{1943D528-BC61-435A-BCCF-F220FBB4ABA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57" name="Group 2256">
                  <a:extLst>
                    <a:ext uri="{FF2B5EF4-FFF2-40B4-BE49-F238E27FC236}">
                      <a16:creationId xmlns:a16="http://schemas.microsoft.com/office/drawing/2014/main" id="{8C6B2209-8961-4089-BCEC-4C63B52CC961}"/>
                    </a:ext>
                  </a:extLst>
                </p:cNvPr>
                <p:cNvGrpSpPr>
                  <a:grpSpLocks/>
                </p:cNvGrpSpPr>
                <p:nvPr/>
              </p:nvGrpSpPr>
              <p:grpSpPr>
                <a:xfrm>
                  <a:off x="11709639" y="2297897"/>
                  <a:ext cx="690952" cy="690956"/>
                  <a:chOff x="2268747" y="4723725"/>
                  <a:chExt cx="415610" cy="415612"/>
                </a:xfrm>
              </p:grpSpPr>
              <p:grpSp>
                <p:nvGrpSpPr>
                  <p:cNvPr id="2258" name="Group 64">
                    <a:extLst>
                      <a:ext uri="{FF2B5EF4-FFF2-40B4-BE49-F238E27FC236}">
                        <a16:creationId xmlns:a16="http://schemas.microsoft.com/office/drawing/2014/main" id="{867FAEE0-2D04-4E3C-AE38-C9592A0000FD}"/>
                      </a:ext>
                    </a:extLst>
                  </p:cNvPr>
                  <p:cNvGrpSpPr>
                    <a:grpSpLocks noChangeAspect="1"/>
                  </p:cNvGrpSpPr>
                  <p:nvPr/>
                </p:nvGrpSpPr>
                <p:grpSpPr bwMode="auto">
                  <a:xfrm rot="8100000">
                    <a:off x="2268747" y="4723725"/>
                    <a:ext cx="415610" cy="415612"/>
                    <a:chOff x="701" y="2170"/>
                    <a:chExt cx="587" cy="587"/>
                  </a:xfrm>
                </p:grpSpPr>
                <p:sp>
                  <p:nvSpPr>
                    <p:cNvPr id="2273" name="Oval 65">
                      <a:extLst>
                        <a:ext uri="{FF2B5EF4-FFF2-40B4-BE49-F238E27FC236}">
                          <a16:creationId xmlns:a16="http://schemas.microsoft.com/office/drawing/2014/main" id="{2D30A910-537A-44BD-8D3C-B2531C63D10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Line 66">
                      <a:extLst>
                        <a:ext uri="{FF2B5EF4-FFF2-40B4-BE49-F238E27FC236}">
                          <a16:creationId xmlns:a16="http://schemas.microsoft.com/office/drawing/2014/main" id="{A3FB047A-6916-4966-8E37-F240AD19858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67">
                      <a:extLst>
                        <a:ext uri="{FF2B5EF4-FFF2-40B4-BE49-F238E27FC236}">
                          <a16:creationId xmlns:a16="http://schemas.microsoft.com/office/drawing/2014/main" id="{C545B188-8835-4CBB-8F48-99A3CA90A3D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Line 69">
                      <a:extLst>
                        <a:ext uri="{FF2B5EF4-FFF2-40B4-BE49-F238E27FC236}">
                          <a16:creationId xmlns:a16="http://schemas.microsoft.com/office/drawing/2014/main" id="{52769506-D07D-408B-ACCF-3272D7D8C96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Line 74">
                      <a:extLst>
                        <a:ext uri="{FF2B5EF4-FFF2-40B4-BE49-F238E27FC236}">
                          <a16:creationId xmlns:a16="http://schemas.microsoft.com/office/drawing/2014/main" id="{54E708BD-39A2-4099-B662-7D5020D598C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78">
                      <a:extLst>
                        <a:ext uri="{FF2B5EF4-FFF2-40B4-BE49-F238E27FC236}">
                          <a16:creationId xmlns:a16="http://schemas.microsoft.com/office/drawing/2014/main" id="{2CDE9587-AEC6-4A14-9D23-A609DD1063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9" name="Freeform 80">
                      <a:extLst>
                        <a:ext uri="{FF2B5EF4-FFF2-40B4-BE49-F238E27FC236}">
                          <a16:creationId xmlns:a16="http://schemas.microsoft.com/office/drawing/2014/main" id="{DB301EE2-DFB4-4909-8F90-436561CC40D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9" name="Group 2258">
                    <a:extLst>
                      <a:ext uri="{FF2B5EF4-FFF2-40B4-BE49-F238E27FC236}">
                        <a16:creationId xmlns:a16="http://schemas.microsoft.com/office/drawing/2014/main" id="{242CEC30-89C0-4D6A-A16D-951F24084E42}"/>
                      </a:ext>
                    </a:extLst>
                  </p:cNvPr>
                  <p:cNvGrpSpPr/>
                  <p:nvPr/>
                </p:nvGrpSpPr>
                <p:grpSpPr>
                  <a:xfrm>
                    <a:off x="2318076" y="4830163"/>
                    <a:ext cx="313949" cy="233075"/>
                    <a:chOff x="3707533" y="2731244"/>
                    <a:chExt cx="389644" cy="289271"/>
                  </a:xfrm>
                </p:grpSpPr>
                <p:sp>
                  <p:nvSpPr>
                    <p:cNvPr id="2260" name="Freeform 33">
                      <a:extLst>
                        <a:ext uri="{FF2B5EF4-FFF2-40B4-BE49-F238E27FC236}">
                          <a16:creationId xmlns:a16="http://schemas.microsoft.com/office/drawing/2014/main" id="{59784E4B-68D3-42AF-B089-C1F1BDF9EEE4}"/>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1" name="Freeform 34">
                      <a:extLst>
                        <a:ext uri="{FF2B5EF4-FFF2-40B4-BE49-F238E27FC236}">
                          <a16:creationId xmlns:a16="http://schemas.microsoft.com/office/drawing/2014/main" id="{C2C6D420-A586-49AC-B57F-8DE6886C1E0D}"/>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37">
                      <a:extLst>
                        <a:ext uri="{FF2B5EF4-FFF2-40B4-BE49-F238E27FC236}">
                          <a16:creationId xmlns:a16="http://schemas.microsoft.com/office/drawing/2014/main" id="{A9210B00-A6F1-4F07-98B9-9931A4177B0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3" name="Freeform 38">
                      <a:extLst>
                        <a:ext uri="{FF2B5EF4-FFF2-40B4-BE49-F238E27FC236}">
                          <a16:creationId xmlns:a16="http://schemas.microsoft.com/office/drawing/2014/main" id="{D1E78EBA-035E-4FFC-A183-6A904EF5668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32">
                      <a:extLst>
                        <a:ext uri="{FF2B5EF4-FFF2-40B4-BE49-F238E27FC236}">
                          <a16:creationId xmlns:a16="http://schemas.microsoft.com/office/drawing/2014/main" id="{D60C9B6A-A919-4748-BC27-A46A1F5053E3}"/>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5" name="Freeform 35">
                      <a:extLst>
                        <a:ext uri="{FF2B5EF4-FFF2-40B4-BE49-F238E27FC236}">
                          <a16:creationId xmlns:a16="http://schemas.microsoft.com/office/drawing/2014/main" id="{9059E0AB-2383-4C75-A025-9E690335644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36">
                      <a:extLst>
                        <a:ext uri="{FF2B5EF4-FFF2-40B4-BE49-F238E27FC236}">
                          <a16:creationId xmlns:a16="http://schemas.microsoft.com/office/drawing/2014/main" id="{21366FDE-FD8F-4797-975D-08893A37E31A}"/>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7" name="Freeform 25">
                      <a:extLst>
                        <a:ext uri="{FF2B5EF4-FFF2-40B4-BE49-F238E27FC236}">
                          <a16:creationId xmlns:a16="http://schemas.microsoft.com/office/drawing/2014/main" id="{AECB81F4-CB9D-4D47-93EA-B4E073B580C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9">
                      <a:extLst>
                        <a:ext uri="{FF2B5EF4-FFF2-40B4-BE49-F238E27FC236}">
                          <a16:creationId xmlns:a16="http://schemas.microsoft.com/office/drawing/2014/main" id="{2E2DA5F3-8449-46DD-8F67-78CF4CFF952D}"/>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26">
                      <a:extLst>
                        <a:ext uri="{FF2B5EF4-FFF2-40B4-BE49-F238E27FC236}">
                          <a16:creationId xmlns:a16="http://schemas.microsoft.com/office/drawing/2014/main" id="{564F2F0C-C423-44E0-81F0-264D8E480D2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0" name="Rectangle 27">
                      <a:extLst>
                        <a:ext uri="{FF2B5EF4-FFF2-40B4-BE49-F238E27FC236}">
                          <a16:creationId xmlns:a16="http://schemas.microsoft.com/office/drawing/2014/main" id="{02C9AAC2-93ED-4623-9BDC-F5F9B73C59DE}"/>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1" name="Line 29">
                      <a:extLst>
                        <a:ext uri="{FF2B5EF4-FFF2-40B4-BE49-F238E27FC236}">
                          <a16:creationId xmlns:a16="http://schemas.microsoft.com/office/drawing/2014/main" id="{D2C6A72A-AB29-4D59-AB6D-C832C3D2C68A}"/>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2" name="Line 31">
                      <a:extLst>
                        <a:ext uri="{FF2B5EF4-FFF2-40B4-BE49-F238E27FC236}">
                          <a16:creationId xmlns:a16="http://schemas.microsoft.com/office/drawing/2014/main" id="{DD5CC3D3-3BB4-4134-B783-4C7E859A2518}"/>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16" name="Group 2815">
                <a:extLst>
                  <a:ext uri="{FF2B5EF4-FFF2-40B4-BE49-F238E27FC236}">
                    <a16:creationId xmlns:a16="http://schemas.microsoft.com/office/drawing/2014/main" id="{5B1B28BD-A612-42D7-A8A3-F8F1CE7C3B2F}"/>
                  </a:ext>
                </a:extLst>
              </p:cNvPr>
              <p:cNvGrpSpPr/>
              <p:nvPr/>
            </p:nvGrpSpPr>
            <p:grpSpPr>
              <a:xfrm>
                <a:off x="6802541" y="1842565"/>
                <a:ext cx="314357" cy="580832"/>
                <a:chOff x="6355981" y="199813"/>
                <a:chExt cx="314357" cy="580832"/>
              </a:xfrm>
            </p:grpSpPr>
            <p:pic>
              <p:nvPicPr>
                <p:cNvPr id="2817" name="Picture 2816">
                  <a:extLst>
                    <a:ext uri="{FF2B5EF4-FFF2-40B4-BE49-F238E27FC236}">
                      <a16:creationId xmlns:a16="http://schemas.microsoft.com/office/drawing/2014/main" id="{A106E996-A475-40B1-BD5E-C9C9B7915933}"/>
                    </a:ext>
                  </a:extLst>
                </p:cNvPr>
                <p:cNvPicPr>
                  <a:picLocks noChangeAspect="1"/>
                </p:cNvPicPr>
                <p:nvPr/>
              </p:nvPicPr>
              <p:blipFill>
                <a:blip r:embed="rId7"/>
                <a:stretch>
                  <a:fillRect/>
                </a:stretch>
              </p:blipFill>
              <p:spPr>
                <a:xfrm>
                  <a:off x="6355981" y="199813"/>
                  <a:ext cx="302738" cy="580832"/>
                </a:xfrm>
                <a:prstGeom prst="rect">
                  <a:avLst/>
                </a:prstGeom>
              </p:spPr>
            </p:pic>
            <p:sp>
              <p:nvSpPr>
                <p:cNvPr id="2818" name="Freeform 152">
                  <a:extLst>
                    <a:ext uri="{FF2B5EF4-FFF2-40B4-BE49-F238E27FC236}">
                      <a16:creationId xmlns:a16="http://schemas.microsoft.com/office/drawing/2014/main" id="{CB4974FC-A5CE-4B39-A5CF-6BC57603010B}"/>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819" name="Picture 2818">
            <a:extLst>
              <a:ext uri="{FF2B5EF4-FFF2-40B4-BE49-F238E27FC236}">
                <a16:creationId xmlns:a16="http://schemas.microsoft.com/office/drawing/2014/main" id="{6544E938-61F0-46D9-A75C-4BF3D3484FA3}"/>
              </a:ext>
            </a:extLst>
          </p:cNvPr>
          <p:cNvPicPr>
            <a:picLocks noChangeAspect="1"/>
          </p:cNvPicPr>
          <p:nvPr/>
        </p:nvPicPr>
        <p:blipFill>
          <a:blip r:embed="rId8"/>
          <a:stretch>
            <a:fillRect/>
          </a:stretch>
        </p:blipFill>
        <p:spPr>
          <a:xfrm rot="19800000">
            <a:off x="421100" y="4657564"/>
            <a:ext cx="884802" cy="447298"/>
          </a:xfrm>
          <a:prstGeom prst="rect">
            <a:avLst/>
          </a:prstGeom>
        </p:spPr>
      </p:pic>
      <p:graphicFrame>
        <p:nvGraphicFramePr>
          <p:cNvPr id="2820" name="Table 2819">
            <a:extLst>
              <a:ext uri="{FF2B5EF4-FFF2-40B4-BE49-F238E27FC236}">
                <a16:creationId xmlns:a16="http://schemas.microsoft.com/office/drawing/2014/main" id="{89A8A12C-D536-4549-8896-ACAF02458597}"/>
              </a:ext>
            </a:extLst>
          </p:cNvPr>
          <p:cNvGraphicFramePr>
            <a:graphicFrameLocks noGrp="1"/>
          </p:cNvGraphicFramePr>
          <p:nvPr/>
        </p:nvGraphicFramePr>
        <p:xfrm>
          <a:off x="723088" y="3207003"/>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821" name="Group 2820">
            <a:extLst>
              <a:ext uri="{FF2B5EF4-FFF2-40B4-BE49-F238E27FC236}">
                <a16:creationId xmlns:a16="http://schemas.microsoft.com/office/drawing/2014/main" id="{1A72D80C-EC97-4590-90E5-A0435476FCFE}"/>
              </a:ext>
            </a:extLst>
          </p:cNvPr>
          <p:cNvGrpSpPr/>
          <p:nvPr/>
        </p:nvGrpSpPr>
        <p:grpSpPr>
          <a:xfrm>
            <a:off x="766965" y="3483750"/>
            <a:ext cx="381241" cy="766727"/>
            <a:chOff x="765576" y="3316088"/>
            <a:chExt cx="381340" cy="766927"/>
          </a:xfrm>
        </p:grpSpPr>
        <p:pic>
          <p:nvPicPr>
            <p:cNvPr id="2822" name="Picture 2821">
              <a:extLst>
                <a:ext uri="{FF2B5EF4-FFF2-40B4-BE49-F238E27FC236}">
                  <a16:creationId xmlns:a16="http://schemas.microsoft.com/office/drawing/2014/main" id="{FE11C917-2E55-4F7D-A2A1-2EFAB11CDE0C}"/>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823" name="Picture 2822">
              <a:extLst>
                <a:ext uri="{FF2B5EF4-FFF2-40B4-BE49-F238E27FC236}">
                  <a16:creationId xmlns:a16="http://schemas.microsoft.com/office/drawing/2014/main" id="{17224878-9330-48F3-B403-329D12D003CF}"/>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824" name="Picture 2823">
              <a:extLst>
                <a:ext uri="{FF2B5EF4-FFF2-40B4-BE49-F238E27FC236}">
                  <a16:creationId xmlns:a16="http://schemas.microsoft.com/office/drawing/2014/main" id="{852FF2A2-2767-4AFF-951E-8472461D8D9B}"/>
                </a:ext>
              </a:extLst>
            </p:cNvPr>
            <p:cNvPicPr>
              <a:picLocks noChangeAspect="1"/>
            </p:cNvPicPr>
            <p:nvPr/>
          </p:nvPicPr>
          <p:blipFill>
            <a:blip r:embed="rId9"/>
            <a:stretch>
              <a:fillRect/>
            </a:stretch>
          </p:blipFill>
          <p:spPr>
            <a:xfrm flipH="1">
              <a:off x="846734" y="3707789"/>
              <a:ext cx="300182" cy="375226"/>
            </a:xfrm>
            <a:prstGeom prst="rect">
              <a:avLst/>
            </a:prstGeom>
          </p:spPr>
        </p:pic>
      </p:grpSp>
      <p:grpSp>
        <p:nvGrpSpPr>
          <p:cNvPr id="5" name="Group 4">
            <a:extLst>
              <a:ext uri="{FF2B5EF4-FFF2-40B4-BE49-F238E27FC236}">
                <a16:creationId xmlns:a16="http://schemas.microsoft.com/office/drawing/2014/main" id="{5EEE3459-2DC7-42CE-BC3F-E8DC87CB15E6}"/>
              </a:ext>
            </a:extLst>
          </p:cNvPr>
          <p:cNvGrpSpPr/>
          <p:nvPr/>
        </p:nvGrpSpPr>
        <p:grpSpPr>
          <a:xfrm>
            <a:off x="3475092" y="1754090"/>
            <a:ext cx="3106888" cy="2174645"/>
            <a:chOff x="3474409" y="1753652"/>
            <a:chExt cx="3107697" cy="2175211"/>
          </a:xfrm>
        </p:grpSpPr>
        <p:sp>
          <p:nvSpPr>
            <p:cNvPr id="2191" name="Rectangle 2190">
              <a:extLst>
                <a:ext uri="{FF2B5EF4-FFF2-40B4-BE49-F238E27FC236}">
                  <a16:creationId xmlns:a16="http://schemas.microsoft.com/office/drawing/2014/main" id="{89D1F8BB-2ACD-46A8-BABB-497E2F300D91}"/>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4" name="Group 3">
              <a:extLst>
                <a:ext uri="{FF2B5EF4-FFF2-40B4-BE49-F238E27FC236}">
                  <a16:creationId xmlns:a16="http://schemas.microsoft.com/office/drawing/2014/main" id="{D07FDF92-4F18-4D73-938A-6E4D44CEEA44}"/>
                </a:ext>
              </a:extLst>
            </p:cNvPr>
            <p:cNvGrpSpPr/>
            <p:nvPr/>
          </p:nvGrpSpPr>
          <p:grpSpPr>
            <a:xfrm>
              <a:off x="3474409" y="1753652"/>
              <a:ext cx="3107697" cy="1338890"/>
              <a:chOff x="3474409" y="1753652"/>
              <a:chExt cx="3107697" cy="1338890"/>
            </a:xfrm>
          </p:grpSpPr>
          <p:sp>
            <p:nvSpPr>
              <p:cNvPr id="2105" name="Rectangle 2104">
                <a:extLst>
                  <a:ext uri="{FF2B5EF4-FFF2-40B4-BE49-F238E27FC236}">
                    <a16:creationId xmlns:a16="http://schemas.microsoft.com/office/drawing/2014/main" id="{44E516F3-313F-4914-B318-9AB1CD619BCC}"/>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106" name="Group 2105">
                <a:extLst>
                  <a:ext uri="{FF2B5EF4-FFF2-40B4-BE49-F238E27FC236}">
                    <a16:creationId xmlns:a16="http://schemas.microsoft.com/office/drawing/2014/main" id="{5AF1A57A-6041-40E5-95D8-3110D4631C73}"/>
                  </a:ext>
                </a:extLst>
              </p:cNvPr>
              <p:cNvGrpSpPr/>
              <p:nvPr/>
            </p:nvGrpSpPr>
            <p:grpSpPr>
              <a:xfrm>
                <a:off x="3504077" y="2398698"/>
                <a:ext cx="1559613" cy="693844"/>
                <a:chOff x="3512580" y="2236718"/>
                <a:chExt cx="1563594" cy="695615"/>
              </a:xfrm>
            </p:grpSpPr>
            <p:grpSp>
              <p:nvGrpSpPr>
                <p:cNvPr id="2107" name="Group 2106">
                  <a:extLst>
                    <a:ext uri="{FF2B5EF4-FFF2-40B4-BE49-F238E27FC236}">
                      <a16:creationId xmlns:a16="http://schemas.microsoft.com/office/drawing/2014/main" id="{3FAA8F21-0B40-4BFE-ABF3-D6F66711CD94}"/>
                    </a:ext>
                  </a:extLst>
                </p:cNvPr>
                <p:cNvGrpSpPr>
                  <a:grpSpLocks/>
                </p:cNvGrpSpPr>
                <p:nvPr/>
              </p:nvGrpSpPr>
              <p:grpSpPr>
                <a:xfrm>
                  <a:off x="3512580" y="2240647"/>
                  <a:ext cx="418017" cy="418017"/>
                  <a:chOff x="745985" y="4768134"/>
                  <a:chExt cx="368776" cy="368777"/>
                </a:xfrm>
              </p:grpSpPr>
              <p:grpSp>
                <p:nvGrpSpPr>
                  <p:cNvPr id="2171" name="Group 64">
                    <a:extLst>
                      <a:ext uri="{FF2B5EF4-FFF2-40B4-BE49-F238E27FC236}">
                        <a16:creationId xmlns:a16="http://schemas.microsoft.com/office/drawing/2014/main" id="{38EC354A-5F5B-414D-9BE2-F680719CDB0D}"/>
                      </a:ext>
                    </a:extLst>
                  </p:cNvPr>
                  <p:cNvGrpSpPr>
                    <a:grpSpLocks noChangeAspect="1"/>
                  </p:cNvGrpSpPr>
                  <p:nvPr/>
                </p:nvGrpSpPr>
                <p:grpSpPr bwMode="auto">
                  <a:xfrm rot="8100000">
                    <a:off x="745985" y="4768134"/>
                    <a:ext cx="368776" cy="368777"/>
                    <a:chOff x="701" y="2170"/>
                    <a:chExt cx="587" cy="587"/>
                  </a:xfrm>
                </p:grpSpPr>
                <p:sp>
                  <p:nvSpPr>
                    <p:cNvPr id="2182" name="Oval 65">
                      <a:extLst>
                        <a:ext uri="{FF2B5EF4-FFF2-40B4-BE49-F238E27FC236}">
                          <a16:creationId xmlns:a16="http://schemas.microsoft.com/office/drawing/2014/main" id="{E48D45F4-2D4B-4F31-90D7-988033BE94A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3" name="Line 66">
                      <a:extLst>
                        <a:ext uri="{FF2B5EF4-FFF2-40B4-BE49-F238E27FC236}">
                          <a16:creationId xmlns:a16="http://schemas.microsoft.com/office/drawing/2014/main" id="{17980589-1B20-462C-9FD7-541129E1D23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7">
                      <a:extLst>
                        <a:ext uri="{FF2B5EF4-FFF2-40B4-BE49-F238E27FC236}">
                          <a16:creationId xmlns:a16="http://schemas.microsoft.com/office/drawing/2014/main" id="{08F6E583-99D8-4EFD-917A-22B56D6A3AF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69">
                      <a:extLst>
                        <a:ext uri="{FF2B5EF4-FFF2-40B4-BE49-F238E27FC236}">
                          <a16:creationId xmlns:a16="http://schemas.microsoft.com/office/drawing/2014/main" id="{F84751FB-D875-443B-B9F1-00A506F2C9B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Line 74">
                      <a:extLst>
                        <a:ext uri="{FF2B5EF4-FFF2-40B4-BE49-F238E27FC236}">
                          <a16:creationId xmlns:a16="http://schemas.microsoft.com/office/drawing/2014/main" id="{8980D920-70AF-4C24-A8A5-A29A9D314CB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78">
                      <a:extLst>
                        <a:ext uri="{FF2B5EF4-FFF2-40B4-BE49-F238E27FC236}">
                          <a16:creationId xmlns:a16="http://schemas.microsoft.com/office/drawing/2014/main" id="{7278A439-704A-41CA-80D3-8832931F3B3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8" name="Freeform 80">
                      <a:extLst>
                        <a:ext uri="{FF2B5EF4-FFF2-40B4-BE49-F238E27FC236}">
                          <a16:creationId xmlns:a16="http://schemas.microsoft.com/office/drawing/2014/main" id="{4407C87D-B2E5-428A-B68F-9BEE53F202D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72" name="Group 2171">
                    <a:extLst>
                      <a:ext uri="{FF2B5EF4-FFF2-40B4-BE49-F238E27FC236}">
                        <a16:creationId xmlns:a16="http://schemas.microsoft.com/office/drawing/2014/main" id="{AF84420C-E4A9-4F8C-9324-06623783D1A5}"/>
                      </a:ext>
                    </a:extLst>
                  </p:cNvPr>
                  <p:cNvGrpSpPr/>
                  <p:nvPr/>
                </p:nvGrpSpPr>
                <p:grpSpPr>
                  <a:xfrm>
                    <a:off x="837312" y="4814434"/>
                    <a:ext cx="136805" cy="278689"/>
                    <a:chOff x="2806700" y="2803319"/>
                    <a:chExt cx="433387" cy="882861"/>
                  </a:xfrm>
                </p:grpSpPr>
                <p:grpSp>
                  <p:nvGrpSpPr>
                    <p:cNvPr id="2173" name="Group 2172">
                      <a:extLst>
                        <a:ext uri="{FF2B5EF4-FFF2-40B4-BE49-F238E27FC236}">
                          <a16:creationId xmlns:a16="http://schemas.microsoft.com/office/drawing/2014/main" id="{A5E697F8-92AC-4BD0-9129-C67AF64A3869}"/>
                        </a:ext>
                      </a:extLst>
                    </p:cNvPr>
                    <p:cNvGrpSpPr>
                      <a:grpSpLocks noChangeAspect="1"/>
                    </p:cNvGrpSpPr>
                    <p:nvPr/>
                  </p:nvGrpSpPr>
                  <p:grpSpPr bwMode="auto">
                    <a:xfrm>
                      <a:off x="2806700" y="3043242"/>
                      <a:ext cx="433387" cy="642938"/>
                      <a:chOff x="1768" y="1917"/>
                      <a:chExt cx="273" cy="405"/>
                    </a:xfrm>
                  </p:grpSpPr>
                  <p:sp>
                    <p:nvSpPr>
                      <p:cNvPr id="2175" name="Freeform 52">
                        <a:extLst>
                          <a:ext uri="{FF2B5EF4-FFF2-40B4-BE49-F238E27FC236}">
                            <a16:creationId xmlns:a16="http://schemas.microsoft.com/office/drawing/2014/main" id="{C449D0F1-569C-42BE-B5E1-518BB0764D5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Line 54">
                        <a:extLst>
                          <a:ext uri="{FF2B5EF4-FFF2-40B4-BE49-F238E27FC236}">
                            <a16:creationId xmlns:a16="http://schemas.microsoft.com/office/drawing/2014/main" id="{4D088C09-DDB8-43AA-952A-CA9724EC801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7" name="Line 55">
                        <a:extLst>
                          <a:ext uri="{FF2B5EF4-FFF2-40B4-BE49-F238E27FC236}">
                            <a16:creationId xmlns:a16="http://schemas.microsoft.com/office/drawing/2014/main" id="{A7A5D080-91B1-406C-B744-3E56686F247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8" name="Freeform 56">
                        <a:extLst>
                          <a:ext uri="{FF2B5EF4-FFF2-40B4-BE49-F238E27FC236}">
                            <a16:creationId xmlns:a16="http://schemas.microsoft.com/office/drawing/2014/main" id="{2D15C026-04EE-4121-9FF3-3195568DE13D}"/>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9" name="Line 57">
                        <a:extLst>
                          <a:ext uri="{FF2B5EF4-FFF2-40B4-BE49-F238E27FC236}">
                            <a16:creationId xmlns:a16="http://schemas.microsoft.com/office/drawing/2014/main" id="{225C9A12-C9E9-43F5-B14C-4A90A9ECFC3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Freeform 58">
                        <a:extLst>
                          <a:ext uri="{FF2B5EF4-FFF2-40B4-BE49-F238E27FC236}">
                            <a16:creationId xmlns:a16="http://schemas.microsoft.com/office/drawing/2014/main" id="{4EDD10A5-C468-4686-802A-FAF24DE2F2A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1" name="Rectangle 2180">
                        <a:extLst>
                          <a:ext uri="{FF2B5EF4-FFF2-40B4-BE49-F238E27FC236}">
                            <a16:creationId xmlns:a16="http://schemas.microsoft.com/office/drawing/2014/main" id="{5606A2F7-2BC4-41E7-A55B-553E73182730}"/>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174" name="Oval 2173">
                      <a:extLst>
                        <a:ext uri="{FF2B5EF4-FFF2-40B4-BE49-F238E27FC236}">
                          <a16:creationId xmlns:a16="http://schemas.microsoft.com/office/drawing/2014/main" id="{09ACAF1E-A7C8-4DB3-BBC4-2010ACA3D51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08" name="Group 2107">
                  <a:extLst>
                    <a:ext uri="{FF2B5EF4-FFF2-40B4-BE49-F238E27FC236}">
                      <a16:creationId xmlns:a16="http://schemas.microsoft.com/office/drawing/2014/main" id="{792DAFCB-C935-451B-B203-1C3F9D9170FF}"/>
                    </a:ext>
                  </a:extLst>
                </p:cNvPr>
                <p:cNvGrpSpPr>
                  <a:grpSpLocks/>
                </p:cNvGrpSpPr>
                <p:nvPr/>
              </p:nvGrpSpPr>
              <p:grpSpPr>
                <a:xfrm>
                  <a:off x="3989965" y="2395465"/>
                  <a:ext cx="536865" cy="536868"/>
                  <a:chOff x="1454941" y="4721722"/>
                  <a:chExt cx="473625" cy="473627"/>
                </a:xfrm>
              </p:grpSpPr>
              <p:grpSp>
                <p:nvGrpSpPr>
                  <p:cNvPr id="2132" name="Group 64">
                    <a:extLst>
                      <a:ext uri="{FF2B5EF4-FFF2-40B4-BE49-F238E27FC236}">
                        <a16:creationId xmlns:a16="http://schemas.microsoft.com/office/drawing/2014/main" id="{95FC00C3-E804-45A7-A377-AD11BF922982}"/>
                      </a:ext>
                    </a:extLst>
                  </p:cNvPr>
                  <p:cNvGrpSpPr>
                    <a:grpSpLocks noChangeAspect="1"/>
                  </p:cNvGrpSpPr>
                  <p:nvPr/>
                </p:nvGrpSpPr>
                <p:grpSpPr bwMode="auto">
                  <a:xfrm rot="8100000">
                    <a:off x="1454941" y="4721722"/>
                    <a:ext cx="473625" cy="473627"/>
                    <a:chOff x="701" y="2170"/>
                    <a:chExt cx="587" cy="587"/>
                  </a:xfrm>
                </p:grpSpPr>
                <p:sp>
                  <p:nvSpPr>
                    <p:cNvPr id="2164" name="Oval 65">
                      <a:extLst>
                        <a:ext uri="{FF2B5EF4-FFF2-40B4-BE49-F238E27FC236}">
                          <a16:creationId xmlns:a16="http://schemas.microsoft.com/office/drawing/2014/main" id="{EACF8D5C-608F-48E7-B074-B183F86E0A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5" name="Line 66">
                      <a:extLst>
                        <a:ext uri="{FF2B5EF4-FFF2-40B4-BE49-F238E27FC236}">
                          <a16:creationId xmlns:a16="http://schemas.microsoft.com/office/drawing/2014/main" id="{1F6A04EB-1B9D-4A53-BB4E-BE0BBD531D9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6" name="Line 67">
                      <a:extLst>
                        <a:ext uri="{FF2B5EF4-FFF2-40B4-BE49-F238E27FC236}">
                          <a16:creationId xmlns:a16="http://schemas.microsoft.com/office/drawing/2014/main" id="{7EBB1F3F-FBFC-44BA-B0D6-3EE0FD2D410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7" name="Line 69">
                      <a:extLst>
                        <a:ext uri="{FF2B5EF4-FFF2-40B4-BE49-F238E27FC236}">
                          <a16:creationId xmlns:a16="http://schemas.microsoft.com/office/drawing/2014/main" id="{F20ADE09-C140-4F3C-AE4C-A9786262BDD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8" name="Line 74">
                      <a:extLst>
                        <a:ext uri="{FF2B5EF4-FFF2-40B4-BE49-F238E27FC236}">
                          <a16:creationId xmlns:a16="http://schemas.microsoft.com/office/drawing/2014/main" id="{CE1C09F1-0967-4544-8899-A5768B0B4F2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78">
                      <a:extLst>
                        <a:ext uri="{FF2B5EF4-FFF2-40B4-BE49-F238E27FC236}">
                          <a16:creationId xmlns:a16="http://schemas.microsoft.com/office/drawing/2014/main" id="{56EB5BCF-13D1-4C3D-BE9D-3872A5AE096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80">
                      <a:extLst>
                        <a:ext uri="{FF2B5EF4-FFF2-40B4-BE49-F238E27FC236}">
                          <a16:creationId xmlns:a16="http://schemas.microsoft.com/office/drawing/2014/main" id="{7CCAB085-C2B9-460B-BA69-B4D5776216D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33" name="Group 2132">
                    <a:extLst>
                      <a:ext uri="{FF2B5EF4-FFF2-40B4-BE49-F238E27FC236}">
                        <a16:creationId xmlns:a16="http://schemas.microsoft.com/office/drawing/2014/main" id="{2D4DB5BA-3D87-4D38-81F4-383C4020368B}"/>
                      </a:ext>
                    </a:extLst>
                  </p:cNvPr>
                  <p:cNvGrpSpPr/>
                  <p:nvPr/>
                </p:nvGrpSpPr>
                <p:grpSpPr>
                  <a:xfrm>
                    <a:off x="1511214" y="4789508"/>
                    <a:ext cx="356509" cy="349884"/>
                    <a:chOff x="468738" y="2241878"/>
                    <a:chExt cx="1655483" cy="1624719"/>
                  </a:xfrm>
                </p:grpSpPr>
                <p:sp>
                  <p:nvSpPr>
                    <p:cNvPr id="2134" name="Freeform 5">
                      <a:extLst>
                        <a:ext uri="{FF2B5EF4-FFF2-40B4-BE49-F238E27FC236}">
                          <a16:creationId xmlns:a16="http://schemas.microsoft.com/office/drawing/2014/main" id="{AD3029D4-64CC-47C2-B1C4-D8ED8754387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6">
                      <a:extLst>
                        <a:ext uri="{FF2B5EF4-FFF2-40B4-BE49-F238E27FC236}">
                          <a16:creationId xmlns:a16="http://schemas.microsoft.com/office/drawing/2014/main" id="{B5BFE621-131C-4D52-9439-80C4EC959B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Line 7">
                      <a:extLst>
                        <a:ext uri="{FF2B5EF4-FFF2-40B4-BE49-F238E27FC236}">
                          <a16:creationId xmlns:a16="http://schemas.microsoft.com/office/drawing/2014/main" id="{BB28B918-CD33-43C8-879C-64C3265172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8">
                      <a:extLst>
                        <a:ext uri="{FF2B5EF4-FFF2-40B4-BE49-F238E27FC236}">
                          <a16:creationId xmlns:a16="http://schemas.microsoft.com/office/drawing/2014/main" id="{B2F90028-D1CD-4003-860F-9380A5C2844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8" name="Line 9">
                      <a:extLst>
                        <a:ext uri="{FF2B5EF4-FFF2-40B4-BE49-F238E27FC236}">
                          <a16:creationId xmlns:a16="http://schemas.microsoft.com/office/drawing/2014/main" id="{D7D524DB-5ED9-4BEC-BD8E-345DBDE0EA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39" name="Group 2138">
                      <a:extLst>
                        <a:ext uri="{FF2B5EF4-FFF2-40B4-BE49-F238E27FC236}">
                          <a16:creationId xmlns:a16="http://schemas.microsoft.com/office/drawing/2014/main" id="{22510D73-D663-4E1A-9845-701E923B6979}"/>
                        </a:ext>
                      </a:extLst>
                    </p:cNvPr>
                    <p:cNvGrpSpPr/>
                    <p:nvPr/>
                  </p:nvGrpSpPr>
                  <p:grpSpPr>
                    <a:xfrm>
                      <a:off x="1207113" y="2241878"/>
                      <a:ext cx="178734" cy="348678"/>
                      <a:chOff x="1207113" y="2241878"/>
                      <a:chExt cx="178734" cy="348678"/>
                    </a:xfrm>
                  </p:grpSpPr>
                  <p:sp>
                    <p:nvSpPr>
                      <p:cNvPr id="2162" name="Freeform 10">
                        <a:extLst>
                          <a:ext uri="{FF2B5EF4-FFF2-40B4-BE49-F238E27FC236}">
                            <a16:creationId xmlns:a16="http://schemas.microsoft.com/office/drawing/2014/main" id="{6EFEEAC3-1634-423B-A959-6E7830384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3" name="Line 11">
                        <a:extLst>
                          <a:ext uri="{FF2B5EF4-FFF2-40B4-BE49-F238E27FC236}">
                            <a16:creationId xmlns:a16="http://schemas.microsoft.com/office/drawing/2014/main" id="{8F45FDBF-0115-45E1-9B55-D71F0010094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40" name="Freeform 12">
                      <a:extLst>
                        <a:ext uri="{FF2B5EF4-FFF2-40B4-BE49-F238E27FC236}">
                          <a16:creationId xmlns:a16="http://schemas.microsoft.com/office/drawing/2014/main" id="{3C495552-3098-4661-BDFD-B955DD6BCB1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13">
                      <a:extLst>
                        <a:ext uri="{FF2B5EF4-FFF2-40B4-BE49-F238E27FC236}">
                          <a16:creationId xmlns:a16="http://schemas.microsoft.com/office/drawing/2014/main" id="{ECD214C7-EACD-4229-9560-F610FE81A74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14">
                      <a:extLst>
                        <a:ext uri="{FF2B5EF4-FFF2-40B4-BE49-F238E27FC236}">
                          <a16:creationId xmlns:a16="http://schemas.microsoft.com/office/drawing/2014/main" id="{B4CDA5FF-6B69-415F-ADAB-F765E69E2C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Line 15">
                      <a:extLst>
                        <a:ext uri="{FF2B5EF4-FFF2-40B4-BE49-F238E27FC236}">
                          <a16:creationId xmlns:a16="http://schemas.microsoft.com/office/drawing/2014/main" id="{05E8653C-22F0-4581-A223-FEED3790531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16">
                      <a:extLst>
                        <a:ext uri="{FF2B5EF4-FFF2-40B4-BE49-F238E27FC236}">
                          <a16:creationId xmlns:a16="http://schemas.microsoft.com/office/drawing/2014/main" id="{80E39A21-A447-4749-943A-F7C93F46E12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5" name="Line 17">
                      <a:extLst>
                        <a:ext uri="{FF2B5EF4-FFF2-40B4-BE49-F238E27FC236}">
                          <a16:creationId xmlns:a16="http://schemas.microsoft.com/office/drawing/2014/main" id="{83312F89-1163-44C1-AE9E-FC31ABFC0208}"/>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6" name="Freeform 18">
                      <a:extLst>
                        <a:ext uri="{FF2B5EF4-FFF2-40B4-BE49-F238E27FC236}">
                          <a16:creationId xmlns:a16="http://schemas.microsoft.com/office/drawing/2014/main" id="{2F1608BA-2BDB-4E5F-AB8F-D06BB95AEB6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9">
                      <a:extLst>
                        <a:ext uri="{FF2B5EF4-FFF2-40B4-BE49-F238E27FC236}">
                          <a16:creationId xmlns:a16="http://schemas.microsoft.com/office/drawing/2014/main" id="{1CF28B91-606F-47BB-8755-7C9F19B86E1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8" name="Freeform 35">
                      <a:extLst>
                        <a:ext uri="{FF2B5EF4-FFF2-40B4-BE49-F238E27FC236}">
                          <a16:creationId xmlns:a16="http://schemas.microsoft.com/office/drawing/2014/main" id="{0D9FC22C-6B97-4EA5-A232-FBADFB8B1072}"/>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9" name="Freeform 36">
                      <a:extLst>
                        <a:ext uri="{FF2B5EF4-FFF2-40B4-BE49-F238E27FC236}">
                          <a16:creationId xmlns:a16="http://schemas.microsoft.com/office/drawing/2014/main" id="{2280C96F-7F21-4E0E-8D7B-080AE874B62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0" name="Freeform 37">
                      <a:extLst>
                        <a:ext uri="{FF2B5EF4-FFF2-40B4-BE49-F238E27FC236}">
                          <a16:creationId xmlns:a16="http://schemas.microsoft.com/office/drawing/2014/main" id="{208BDDF9-9F22-4BE0-B5C5-C73D78961BE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1" name="Freeform 38">
                      <a:extLst>
                        <a:ext uri="{FF2B5EF4-FFF2-40B4-BE49-F238E27FC236}">
                          <a16:creationId xmlns:a16="http://schemas.microsoft.com/office/drawing/2014/main" id="{8F240DD0-ACA1-4935-8CAD-EBB363D9A10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2" name="Freeform 39">
                      <a:extLst>
                        <a:ext uri="{FF2B5EF4-FFF2-40B4-BE49-F238E27FC236}">
                          <a16:creationId xmlns:a16="http://schemas.microsoft.com/office/drawing/2014/main" id="{431E5ABE-687E-4F2C-A695-BA8B469E494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3" name="Freeform 40">
                      <a:extLst>
                        <a:ext uri="{FF2B5EF4-FFF2-40B4-BE49-F238E27FC236}">
                          <a16:creationId xmlns:a16="http://schemas.microsoft.com/office/drawing/2014/main" id="{C770EBE2-7126-4073-9654-A1DCC6FD2EE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4" name="Freeform 41">
                      <a:extLst>
                        <a:ext uri="{FF2B5EF4-FFF2-40B4-BE49-F238E27FC236}">
                          <a16:creationId xmlns:a16="http://schemas.microsoft.com/office/drawing/2014/main" id="{ECE5DD8B-DAF3-41D3-B6B2-8B48854F1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Line 42">
                      <a:extLst>
                        <a:ext uri="{FF2B5EF4-FFF2-40B4-BE49-F238E27FC236}">
                          <a16:creationId xmlns:a16="http://schemas.microsoft.com/office/drawing/2014/main" id="{D85E7B62-8E0C-40C5-B75A-8D5B4D07F08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43">
                      <a:extLst>
                        <a:ext uri="{FF2B5EF4-FFF2-40B4-BE49-F238E27FC236}">
                          <a16:creationId xmlns:a16="http://schemas.microsoft.com/office/drawing/2014/main" id="{F750F8AA-167B-49D8-8200-E25925C7C5A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7" name="Freeform 44">
                      <a:extLst>
                        <a:ext uri="{FF2B5EF4-FFF2-40B4-BE49-F238E27FC236}">
                          <a16:creationId xmlns:a16="http://schemas.microsoft.com/office/drawing/2014/main" id="{26A05AF0-E552-4E8A-8650-8F2D50EB62BE}"/>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8" name="Freeform 45">
                      <a:extLst>
                        <a:ext uri="{FF2B5EF4-FFF2-40B4-BE49-F238E27FC236}">
                          <a16:creationId xmlns:a16="http://schemas.microsoft.com/office/drawing/2014/main" id="{90A305AF-DC97-4D53-A390-B839E25094CC}"/>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59" name="Group 2158">
                      <a:extLst>
                        <a:ext uri="{FF2B5EF4-FFF2-40B4-BE49-F238E27FC236}">
                          <a16:creationId xmlns:a16="http://schemas.microsoft.com/office/drawing/2014/main" id="{16EBB8D7-590F-405B-AC14-9407C90A88BE}"/>
                        </a:ext>
                      </a:extLst>
                    </p:cNvPr>
                    <p:cNvGrpSpPr/>
                    <p:nvPr/>
                  </p:nvGrpSpPr>
                  <p:grpSpPr>
                    <a:xfrm flipV="1">
                      <a:off x="1202047" y="3517919"/>
                      <a:ext cx="178734" cy="348678"/>
                      <a:chOff x="1207113" y="2241878"/>
                      <a:chExt cx="178734" cy="348678"/>
                    </a:xfrm>
                  </p:grpSpPr>
                  <p:sp>
                    <p:nvSpPr>
                      <p:cNvPr id="2160" name="Freeform 10">
                        <a:extLst>
                          <a:ext uri="{FF2B5EF4-FFF2-40B4-BE49-F238E27FC236}">
                            <a16:creationId xmlns:a16="http://schemas.microsoft.com/office/drawing/2014/main" id="{0260155B-1A8C-4AC0-B5E4-EA605B4CCA8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1" name="Line 11">
                        <a:extLst>
                          <a:ext uri="{FF2B5EF4-FFF2-40B4-BE49-F238E27FC236}">
                            <a16:creationId xmlns:a16="http://schemas.microsoft.com/office/drawing/2014/main" id="{FD8CD03B-2BD9-44F1-9372-51F29A34087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09" name="Group 2108">
                  <a:extLst>
                    <a:ext uri="{FF2B5EF4-FFF2-40B4-BE49-F238E27FC236}">
                      <a16:creationId xmlns:a16="http://schemas.microsoft.com/office/drawing/2014/main" id="{F743C01D-A412-4502-B453-0E322E740488}"/>
                    </a:ext>
                  </a:extLst>
                </p:cNvPr>
                <p:cNvGrpSpPr>
                  <a:grpSpLocks/>
                </p:cNvGrpSpPr>
                <p:nvPr/>
              </p:nvGrpSpPr>
              <p:grpSpPr>
                <a:xfrm>
                  <a:off x="4605070" y="2236718"/>
                  <a:ext cx="471104" cy="471107"/>
                  <a:chOff x="2268747" y="4723725"/>
                  <a:chExt cx="415610" cy="415612"/>
                </a:xfrm>
              </p:grpSpPr>
              <p:grpSp>
                <p:nvGrpSpPr>
                  <p:cNvPr id="2110" name="Group 64">
                    <a:extLst>
                      <a:ext uri="{FF2B5EF4-FFF2-40B4-BE49-F238E27FC236}">
                        <a16:creationId xmlns:a16="http://schemas.microsoft.com/office/drawing/2014/main" id="{3ED6BA51-88C4-475D-8CAE-3A4E1CE80C92}"/>
                      </a:ext>
                    </a:extLst>
                  </p:cNvPr>
                  <p:cNvGrpSpPr>
                    <a:grpSpLocks noChangeAspect="1"/>
                  </p:cNvGrpSpPr>
                  <p:nvPr/>
                </p:nvGrpSpPr>
                <p:grpSpPr bwMode="auto">
                  <a:xfrm rot="8100000">
                    <a:off x="2268747" y="4723725"/>
                    <a:ext cx="415610" cy="415612"/>
                    <a:chOff x="701" y="2170"/>
                    <a:chExt cx="587" cy="587"/>
                  </a:xfrm>
                </p:grpSpPr>
                <p:sp>
                  <p:nvSpPr>
                    <p:cNvPr id="2125" name="Oval 65">
                      <a:extLst>
                        <a:ext uri="{FF2B5EF4-FFF2-40B4-BE49-F238E27FC236}">
                          <a16:creationId xmlns:a16="http://schemas.microsoft.com/office/drawing/2014/main" id="{3F488B35-08AC-4424-88EE-CFC42A9905E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6" name="Line 66">
                      <a:extLst>
                        <a:ext uri="{FF2B5EF4-FFF2-40B4-BE49-F238E27FC236}">
                          <a16:creationId xmlns:a16="http://schemas.microsoft.com/office/drawing/2014/main" id="{E6EEE647-50EC-466A-9CED-4EBA5BAAF6A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67">
                      <a:extLst>
                        <a:ext uri="{FF2B5EF4-FFF2-40B4-BE49-F238E27FC236}">
                          <a16:creationId xmlns:a16="http://schemas.microsoft.com/office/drawing/2014/main" id="{D279D004-E98F-487A-BBC8-DF988B5B044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Line 69">
                      <a:extLst>
                        <a:ext uri="{FF2B5EF4-FFF2-40B4-BE49-F238E27FC236}">
                          <a16:creationId xmlns:a16="http://schemas.microsoft.com/office/drawing/2014/main" id="{0F201E97-2DE5-4039-8A87-56466A0473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74">
                      <a:extLst>
                        <a:ext uri="{FF2B5EF4-FFF2-40B4-BE49-F238E27FC236}">
                          <a16:creationId xmlns:a16="http://schemas.microsoft.com/office/drawing/2014/main" id="{35691D03-9390-4324-8F43-D5A21341F7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78">
                      <a:extLst>
                        <a:ext uri="{FF2B5EF4-FFF2-40B4-BE49-F238E27FC236}">
                          <a16:creationId xmlns:a16="http://schemas.microsoft.com/office/drawing/2014/main" id="{B1E74084-BDAB-40C6-9B50-F0C5FCC255D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Freeform 80">
                      <a:extLst>
                        <a:ext uri="{FF2B5EF4-FFF2-40B4-BE49-F238E27FC236}">
                          <a16:creationId xmlns:a16="http://schemas.microsoft.com/office/drawing/2014/main" id="{B05E470F-89A9-431A-9AD0-683F759B5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1" name="Group 2110">
                    <a:extLst>
                      <a:ext uri="{FF2B5EF4-FFF2-40B4-BE49-F238E27FC236}">
                        <a16:creationId xmlns:a16="http://schemas.microsoft.com/office/drawing/2014/main" id="{9CBA07D6-2EC5-4BE0-8326-6F02B874729E}"/>
                      </a:ext>
                    </a:extLst>
                  </p:cNvPr>
                  <p:cNvGrpSpPr/>
                  <p:nvPr/>
                </p:nvGrpSpPr>
                <p:grpSpPr>
                  <a:xfrm>
                    <a:off x="2318076" y="4830163"/>
                    <a:ext cx="313949" cy="233075"/>
                    <a:chOff x="3707533" y="2731244"/>
                    <a:chExt cx="389644" cy="289271"/>
                  </a:xfrm>
                </p:grpSpPr>
                <p:sp>
                  <p:nvSpPr>
                    <p:cNvPr id="2112" name="Freeform 33">
                      <a:extLst>
                        <a:ext uri="{FF2B5EF4-FFF2-40B4-BE49-F238E27FC236}">
                          <a16:creationId xmlns:a16="http://schemas.microsoft.com/office/drawing/2014/main" id="{C428139F-5A6B-4BA0-A0B1-5076AAFF743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3" name="Freeform 34">
                      <a:extLst>
                        <a:ext uri="{FF2B5EF4-FFF2-40B4-BE49-F238E27FC236}">
                          <a16:creationId xmlns:a16="http://schemas.microsoft.com/office/drawing/2014/main" id="{9F0DD76B-86BA-436E-98AA-27F8CA5AB0EF}"/>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4" name="Freeform 37">
                      <a:extLst>
                        <a:ext uri="{FF2B5EF4-FFF2-40B4-BE49-F238E27FC236}">
                          <a16:creationId xmlns:a16="http://schemas.microsoft.com/office/drawing/2014/main" id="{328E1ECE-0B47-40FF-ADC8-52A869AD539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5" name="Freeform 38">
                      <a:extLst>
                        <a:ext uri="{FF2B5EF4-FFF2-40B4-BE49-F238E27FC236}">
                          <a16:creationId xmlns:a16="http://schemas.microsoft.com/office/drawing/2014/main" id="{FBC1A354-40E6-4BA7-A7FC-12DFA0ED8DF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32">
                      <a:extLst>
                        <a:ext uri="{FF2B5EF4-FFF2-40B4-BE49-F238E27FC236}">
                          <a16:creationId xmlns:a16="http://schemas.microsoft.com/office/drawing/2014/main" id="{44A20234-6690-46A4-AF7F-55903773AB65}"/>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35">
                      <a:extLst>
                        <a:ext uri="{FF2B5EF4-FFF2-40B4-BE49-F238E27FC236}">
                          <a16:creationId xmlns:a16="http://schemas.microsoft.com/office/drawing/2014/main" id="{E8FFE7C3-81CC-46D2-A00F-E52399A2758E}"/>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8" name="Freeform 36">
                      <a:extLst>
                        <a:ext uri="{FF2B5EF4-FFF2-40B4-BE49-F238E27FC236}">
                          <a16:creationId xmlns:a16="http://schemas.microsoft.com/office/drawing/2014/main" id="{80451F71-A3E1-4C02-A56E-4B6B9C65B39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9" name="Freeform 25">
                      <a:extLst>
                        <a:ext uri="{FF2B5EF4-FFF2-40B4-BE49-F238E27FC236}">
                          <a16:creationId xmlns:a16="http://schemas.microsoft.com/office/drawing/2014/main" id="{79CCFFCF-160C-44C1-98F6-600F7AEF940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0" name="Freeform 39">
                      <a:extLst>
                        <a:ext uri="{FF2B5EF4-FFF2-40B4-BE49-F238E27FC236}">
                          <a16:creationId xmlns:a16="http://schemas.microsoft.com/office/drawing/2014/main" id="{96C9F0EB-878A-4903-9840-A01FC702A21C}"/>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26">
                      <a:extLst>
                        <a:ext uri="{FF2B5EF4-FFF2-40B4-BE49-F238E27FC236}">
                          <a16:creationId xmlns:a16="http://schemas.microsoft.com/office/drawing/2014/main" id="{96D32403-D861-4D9C-BCAB-F0E3CBF48F8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2" name="Rectangle 27">
                      <a:extLst>
                        <a:ext uri="{FF2B5EF4-FFF2-40B4-BE49-F238E27FC236}">
                          <a16:creationId xmlns:a16="http://schemas.microsoft.com/office/drawing/2014/main" id="{C3B97169-9DC7-44F5-8846-86615CCD4FEB}"/>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3" name="Line 29">
                      <a:extLst>
                        <a:ext uri="{FF2B5EF4-FFF2-40B4-BE49-F238E27FC236}">
                          <a16:creationId xmlns:a16="http://schemas.microsoft.com/office/drawing/2014/main" id="{064DEB77-4693-426F-9A52-6172A03002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31">
                      <a:extLst>
                        <a:ext uri="{FF2B5EF4-FFF2-40B4-BE49-F238E27FC236}">
                          <a16:creationId xmlns:a16="http://schemas.microsoft.com/office/drawing/2014/main" id="{B5D17F89-315F-44FC-A2F6-8C02B4CAB390}"/>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6" name="Group 2825">
                <a:extLst>
                  <a:ext uri="{FF2B5EF4-FFF2-40B4-BE49-F238E27FC236}">
                    <a16:creationId xmlns:a16="http://schemas.microsoft.com/office/drawing/2014/main" id="{10B0253C-5C94-429F-BBF1-611BB03ABB88}"/>
                  </a:ext>
                </a:extLst>
              </p:cNvPr>
              <p:cNvGrpSpPr/>
              <p:nvPr/>
            </p:nvGrpSpPr>
            <p:grpSpPr>
              <a:xfrm>
                <a:off x="5261891" y="1974470"/>
                <a:ext cx="1115908" cy="967814"/>
                <a:chOff x="7338624" y="178556"/>
                <a:chExt cx="1115908" cy="967814"/>
              </a:xfrm>
            </p:grpSpPr>
            <p:grpSp>
              <p:nvGrpSpPr>
                <p:cNvPr id="2827" name="Group 2826">
                  <a:extLst>
                    <a:ext uri="{FF2B5EF4-FFF2-40B4-BE49-F238E27FC236}">
                      <a16:creationId xmlns:a16="http://schemas.microsoft.com/office/drawing/2014/main" id="{E28F05B0-9772-44E3-B5B8-58C6DAC79255}"/>
                    </a:ext>
                  </a:extLst>
                </p:cNvPr>
                <p:cNvGrpSpPr/>
                <p:nvPr/>
              </p:nvGrpSpPr>
              <p:grpSpPr>
                <a:xfrm flipH="1">
                  <a:off x="7603032" y="178556"/>
                  <a:ext cx="524442" cy="697246"/>
                  <a:chOff x="8607957" y="605299"/>
                  <a:chExt cx="2806962" cy="3731864"/>
                </a:xfrm>
              </p:grpSpPr>
              <p:sp>
                <p:nvSpPr>
                  <p:cNvPr id="2829" name="iBar:31/138">
                    <a:extLst>
                      <a:ext uri="{FF2B5EF4-FFF2-40B4-BE49-F238E27FC236}">
                        <a16:creationId xmlns:a16="http://schemas.microsoft.com/office/drawing/2014/main" id="{76083AC9-51FA-4E2F-83DF-C02B81FEC2E0}"/>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0" name="Rectangle 2829">
                    <a:extLst>
                      <a:ext uri="{FF2B5EF4-FFF2-40B4-BE49-F238E27FC236}">
                        <a16:creationId xmlns:a16="http://schemas.microsoft.com/office/drawing/2014/main" id="{E6C84DCD-DA8A-456D-AF0E-EF979749E31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31" name="Group 2830">
                    <a:extLst>
                      <a:ext uri="{FF2B5EF4-FFF2-40B4-BE49-F238E27FC236}">
                        <a16:creationId xmlns:a16="http://schemas.microsoft.com/office/drawing/2014/main" id="{1AB2D2B6-42E6-45AE-A96E-238D173DB770}"/>
                      </a:ext>
                    </a:extLst>
                  </p:cNvPr>
                  <p:cNvGrpSpPr/>
                  <p:nvPr/>
                </p:nvGrpSpPr>
                <p:grpSpPr>
                  <a:xfrm>
                    <a:off x="8776645" y="2392984"/>
                    <a:ext cx="2463737" cy="1844316"/>
                    <a:chOff x="8566719" y="2617154"/>
                    <a:chExt cx="2463737" cy="1844316"/>
                  </a:xfrm>
                </p:grpSpPr>
                <p:sp>
                  <p:nvSpPr>
                    <p:cNvPr id="2845" name="Rectangle 2844">
                      <a:extLst>
                        <a:ext uri="{FF2B5EF4-FFF2-40B4-BE49-F238E27FC236}">
                          <a16:creationId xmlns:a16="http://schemas.microsoft.com/office/drawing/2014/main" id="{96505904-8AB3-48C5-B8E0-5633CA83587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6" name="Group 2845">
                      <a:extLst>
                        <a:ext uri="{FF2B5EF4-FFF2-40B4-BE49-F238E27FC236}">
                          <a16:creationId xmlns:a16="http://schemas.microsoft.com/office/drawing/2014/main" id="{0757CA4A-A2A4-4482-8ED7-6ABA1D868BBE}"/>
                        </a:ext>
                      </a:extLst>
                    </p:cNvPr>
                    <p:cNvGrpSpPr/>
                    <p:nvPr/>
                  </p:nvGrpSpPr>
                  <p:grpSpPr>
                    <a:xfrm>
                      <a:off x="8720849" y="2791577"/>
                      <a:ext cx="2190282" cy="1669893"/>
                      <a:chOff x="5195358" y="4591383"/>
                      <a:chExt cx="1906459" cy="1380076"/>
                    </a:xfrm>
                  </p:grpSpPr>
                  <p:grpSp>
                    <p:nvGrpSpPr>
                      <p:cNvPr id="2847" name="Group 2846">
                        <a:extLst>
                          <a:ext uri="{FF2B5EF4-FFF2-40B4-BE49-F238E27FC236}">
                            <a16:creationId xmlns:a16="http://schemas.microsoft.com/office/drawing/2014/main" id="{BF629DC0-DE9F-4F1C-AFA9-FD31D01C65DD}"/>
                          </a:ext>
                        </a:extLst>
                      </p:cNvPr>
                      <p:cNvGrpSpPr/>
                      <p:nvPr/>
                    </p:nvGrpSpPr>
                    <p:grpSpPr>
                      <a:xfrm>
                        <a:off x="5195358" y="4591383"/>
                        <a:ext cx="1020183" cy="1224086"/>
                        <a:chOff x="10650533" y="3663550"/>
                        <a:chExt cx="575867" cy="836067"/>
                      </a:xfrm>
                    </p:grpSpPr>
                    <p:grpSp>
                      <p:nvGrpSpPr>
                        <p:cNvPr id="2849" name="Group 2848">
                          <a:extLst>
                            <a:ext uri="{FF2B5EF4-FFF2-40B4-BE49-F238E27FC236}">
                              <a16:creationId xmlns:a16="http://schemas.microsoft.com/office/drawing/2014/main" id="{BB98506A-FA0C-4492-9504-F1365ACE114B}"/>
                            </a:ext>
                          </a:extLst>
                        </p:cNvPr>
                        <p:cNvGrpSpPr/>
                        <p:nvPr/>
                      </p:nvGrpSpPr>
                      <p:grpSpPr>
                        <a:xfrm>
                          <a:off x="10650533" y="3663550"/>
                          <a:ext cx="575867" cy="728623"/>
                          <a:chOff x="5717961" y="2827338"/>
                          <a:chExt cx="282576" cy="387350"/>
                        </a:xfrm>
                      </p:grpSpPr>
                      <p:sp>
                        <p:nvSpPr>
                          <p:cNvPr id="2851" name="Freeform 1754">
                            <a:extLst>
                              <a:ext uri="{FF2B5EF4-FFF2-40B4-BE49-F238E27FC236}">
                                <a16:creationId xmlns:a16="http://schemas.microsoft.com/office/drawing/2014/main" id="{29A43FEB-3397-4D64-8742-218DE128F717}"/>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2" name="Freeform 1755">
                            <a:extLst>
                              <a:ext uri="{FF2B5EF4-FFF2-40B4-BE49-F238E27FC236}">
                                <a16:creationId xmlns:a16="http://schemas.microsoft.com/office/drawing/2014/main" id="{4CA2087B-D49F-46EC-AE28-3B14506FD4B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53" name="Freeform 1756">
                            <a:extLst>
                              <a:ext uri="{FF2B5EF4-FFF2-40B4-BE49-F238E27FC236}">
                                <a16:creationId xmlns:a16="http://schemas.microsoft.com/office/drawing/2014/main" id="{C8403C95-BCEE-465E-ADAC-A020457D09BE}"/>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4" name="Freeform 1757">
                            <a:extLst>
                              <a:ext uri="{FF2B5EF4-FFF2-40B4-BE49-F238E27FC236}">
                                <a16:creationId xmlns:a16="http://schemas.microsoft.com/office/drawing/2014/main" id="{2561EC10-7056-4F74-8284-A8C753A830C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5" name="Freeform 1758">
                            <a:extLst>
                              <a:ext uri="{FF2B5EF4-FFF2-40B4-BE49-F238E27FC236}">
                                <a16:creationId xmlns:a16="http://schemas.microsoft.com/office/drawing/2014/main" id="{931576A2-EA44-463F-A03A-911B6FC5D780}"/>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50" name="TextBox 2849">
                          <a:extLst>
                            <a:ext uri="{FF2B5EF4-FFF2-40B4-BE49-F238E27FC236}">
                              <a16:creationId xmlns:a16="http://schemas.microsoft.com/office/drawing/2014/main" id="{3D98CFE1-0FD4-4645-87E5-09E842BBE60A}"/>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48" name="TextBox 2847">
                        <a:extLst>
                          <a:ext uri="{FF2B5EF4-FFF2-40B4-BE49-F238E27FC236}">
                            <a16:creationId xmlns:a16="http://schemas.microsoft.com/office/drawing/2014/main" id="{89484070-167C-403C-8732-0E81C207859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32" name="Group 2831">
                    <a:extLst>
                      <a:ext uri="{FF2B5EF4-FFF2-40B4-BE49-F238E27FC236}">
                        <a16:creationId xmlns:a16="http://schemas.microsoft.com/office/drawing/2014/main" id="{8B11732F-9CC2-42EE-AB66-BE2E5101BD37}"/>
                      </a:ext>
                    </a:extLst>
                  </p:cNvPr>
                  <p:cNvGrpSpPr/>
                  <p:nvPr/>
                </p:nvGrpSpPr>
                <p:grpSpPr>
                  <a:xfrm>
                    <a:off x="9538998" y="605299"/>
                    <a:ext cx="944881" cy="858986"/>
                    <a:chOff x="3369813" y="4950013"/>
                    <a:chExt cx="440826" cy="400751"/>
                  </a:xfrm>
                </p:grpSpPr>
                <p:sp>
                  <p:nvSpPr>
                    <p:cNvPr id="2841" name="Oval 2840">
                      <a:extLst>
                        <a:ext uri="{FF2B5EF4-FFF2-40B4-BE49-F238E27FC236}">
                          <a16:creationId xmlns:a16="http://schemas.microsoft.com/office/drawing/2014/main" id="{AA81403E-440E-46C0-8AAD-EAF0C5501D0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2" name="Group 226">
                      <a:extLst>
                        <a:ext uri="{FF2B5EF4-FFF2-40B4-BE49-F238E27FC236}">
                          <a16:creationId xmlns:a16="http://schemas.microsoft.com/office/drawing/2014/main" id="{565B5CAF-270F-478D-B29E-678341F504CA}"/>
                        </a:ext>
                      </a:extLst>
                    </p:cNvPr>
                    <p:cNvGrpSpPr>
                      <a:grpSpLocks noChangeAspect="1"/>
                    </p:cNvGrpSpPr>
                    <p:nvPr/>
                  </p:nvGrpSpPr>
                  <p:grpSpPr bwMode="auto">
                    <a:xfrm>
                      <a:off x="3437467" y="4997630"/>
                      <a:ext cx="305517" cy="305517"/>
                      <a:chOff x="5048" y="783"/>
                      <a:chExt cx="340" cy="340"/>
                    </a:xfrm>
                    <a:solidFill>
                      <a:schemeClr val="bg1"/>
                    </a:solidFill>
                  </p:grpSpPr>
                  <p:sp>
                    <p:nvSpPr>
                      <p:cNvPr id="2843" name="Freeform 227">
                        <a:extLst>
                          <a:ext uri="{FF2B5EF4-FFF2-40B4-BE49-F238E27FC236}">
                            <a16:creationId xmlns:a16="http://schemas.microsoft.com/office/drawing/2014/main" id="{366C18A2-9552-40A8-9B31-D9E6E6F42751}"/>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44" name="Freeform 228">
                        <a:extLst>
                          <a:ext uri="{FF2B5EF4-FFF2-40B4-BE49-F238E27FC236}">
                            <a16:creationId xmlns:a16="http://schemas.microsoft.com/office/drawing/2014/main" id="{21FD642E-B72D-4CA8-9986-89D6870F3588}"/>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33" name="Straight Connector 2832">
                    <a:extLst>
                      <a:ext uri="{FF2B5EF4-FFF2-40B4-BE49-F238E27FC236}">
                        <a16:creationId xmlns:a16="http://schemas.microsoft.com/office/drawing/2014/main" id="{383E3174-9BB6-4919-9467-9F8C351AA09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4" name="Straight Connector 2833">
                    <a:extLst>
                      <a:ext uri="{FF2B5EF4-FFF2-40B4-BE49-F238E27FC236}">
                        <a16:creationId xmlns:a16="http://schemas.microsoft.com/office/drawing/2014/main" id="{F9B7EB99-914D-41FC-AF5A-F90C88EDD6CC}"/>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5" name="Straight Connector 2834">
                    <a:extLst>
                      <a:ext uri="{FF2B5EF4-FFF2-40B4-BE49-F238E27FC236}">
                        <a16:creationId xmlns:a16="http://schemas.microsoft.com/office/drawing/2014/main" id="{BC2B2B6B-849E-4DD8-8550-64D70B59D3B9}"/>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6" name="Straight Connector 2835">
                    <a:extLst>
                      <a:ext uri="{FF2B5EF4-FFF2-40B4-BE49-F238E27FC236}">
                        <a16:creationId xmlns:a16="http://schemas.microsoft.com/office/drawing/2014/main" id="{A48ADA09-496D-45B9-96E9-D85E34A3C95D}"/>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7" name="Straight Connector 2836">
                    <a:extLst>
                      <a:ext uri="{FF2B5EF4-FFF2-40B4-BE49-F238E27FC236}">
                        <a16:creationId xmlns:a16="http://schemas.microsoft.com/office/drawing/2014/main" id="{DC4DBB82-431A-4CE8-8A16-3D69C3A21B9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8" name="Straight Connector 2837">
                    <a:extLst>
                      <a:ext uri="{FF2B5EF4-FFF2-40B4-BE49-F238E27FC236}">
                        <a16:creationId xmlns:a16="http://schemas.microsoft.com/office/drawing/2014/main" id="{A16B99CE-E9EE-4DAB-8AE5-A5F1DC8559CC}"/>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9" name="Straight Connector 2838">
                    <a:extLst>
                      <a:ext uri="{FF2B5EF4-FFF2-40B4-BE49-F238E27FC236}">
                        <a16:creationId xmlns:a16="http://schemas.microsoft.com/office/drawing/2014/main" id="{DCCDAB6B-C5CD-4CBF-8E38-210CB00383F7}"/>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0" name="Straight Connector 2839">
                    <a:extLst>
                      <a:ext uri="{FF2B5EF4-FFF2-40B4-BE49-F238E27FC236}">
                        <a16:creationId xmlns:a16="http://schemas.microsoft.com/office/drawing/2014/main" id="{A296BF29-EB62-4597-8850-8C45C724A659}"/>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28" name="Rectangle 2827">
                  <a:extLst>
                    <a:ext uri="{FF2B5EF4-FFF2-40B4-BE49-F238E27FC236}">
                      <a16:creationId xmlns:a16="http://schemas.microsoft.com/office/drawing/2014/main" id="{F06BBE9B-80D6-4DEE-92CB-5CB4F1CBF1C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856" name="Group 2855">
                <a:extLst>
                  <a:ext uri="{FF2B5EF4-FFF2-40B4-BE49-F238E27FC236}">
                    <a16:creationId xmlns:a16="http://schemas.microsoft.com/office/drawing/2014/main" id="{39FBE55D-3B31-4558-AA6D-C82DF7F5AB12}"/>
                  </a:ext>
                </a:extLst>
              </p:cNvPr>
              <p:cNvGrpSpPr/>
              <p:nvPr/>
            </p:nvGrpSpPr>
            <p:grpSpPr>
              <a:xfrm>
                <a:off x="6189282" y="2207036"/>
                <a:ext cx="309777" cy="570271"/>
                <a:chOff x="6298183" y="258138"/>
                <a:chExt cx="309777" cy="570271"/>
              </a:xfrm>
            </p:grpSpPr>
            <p:pic>
              <p:nvPicPr>
                <p:cNvPr id="2857" name="Picture 2856">
                  <a:extLst>
                    <a:ext uri="{FF2B5EF4-FFF2-40B4-BE49-F238E27FC236}">
                      <a16:creationId xmlns:a16="http://schemas.microsoft.com/office/drawing/2014/main" id="{4BBE49CE-786F-4672-A5CA-941B8AF71A9F}"/>
                    </a:ext>
                  </a:extLst>
                </p:cNvPr>
                <p:cNvPicPr>
                  <a:picLocks noChangeAspect="1"/>
                </p:cNvPicPr>
                <p:nvPr/>
              </p:nvPicPr>
              <p:blipFill>
                <a:blip r:embed="rId6"/>
                <a:stretch>
                  <a:fillRect/>
                </a:stretch>
              </p:blipFill>
              <p:spPr>
                <a:xfrm>
                  <a:off x="6298183" y="258138"/>
                  <a:ext cx="309777" cy="570271"/>
                </a:xfrm>
                <a:prstGeom prst="rect">
                  <a:avLst/>
                </a:prstGeom>
              </p:spPr>
            </p:pic>
            <p:sp>
              <p:nvSpPr>
                <p:cNvPr id="2858" name="Freeform 152">
                  <a:extLst>
                    <a:ext uri="{FF2B5EF4-FFF2-40B4-BE49-F238E27FC236}">
                      <a16:creationId xmlns:a16="http://schemas.microsoft.com/office/drawing/2014/main" id="{E3CD1546-4807-4BEC-AEFD-4BC1E9269A7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grpSp>
        <p:nvGrpSpPr>
          <p:cNvPr id="2860" name="Group 2859">
            <a:extLst>
              <a:ext uri="{FF2B5EF4-FFF2-40B4-BE49-F238E27FC236}">
                <a16:creationId xmlns:a16="http://schemas.microsoft.com/office/drawing/2014/main" id="{8469F45A-26BD-4B2C-B9E7-6A5F332A7359}"/>
              </a:ext>
            </a:extLst>
          </p:cNvPr>
          <p:cNvGrpSpPr/>
          <p:nvPr/>
        </p:nvGrpSpPr>
        <p:grpSpPr>
          <a:xfrm>
            <a:off x="412748" y="1219432"/>
            <a:ext cx="11430427" cy="561479"/>
            <a:chOff x="347472" y="1051180"/>
            <a:chExt cx="11667743" cy="561625"/>
          </a:xfrm>
        </p:grpSpPr>
        <p:grpSp>
          <p:nvGrpSpPr>
            <p:cNvPr id="2861" name="Group 2860">
              <a:extLst>
                <a:ext uri="{FF2B5EF4-FFF2-40B4-BE49-F238E27FC236}">
                  <a16:creationId xmlns:a16="http://schemas.microsoft.com/office/drawing/2014/main" id="{4C8E5E70-E4D0-4028-8B01-CF3D9E25E7CD}"/>
                </a:ext>
              </a:extLst>
            </p:cNvPr>
            <p:cNvGrpSpPr/>
            <p:nvPr/>
          </p:nvGrpSpPr>
          <p:grpSpPr>
            <a:xfrm>
              <a:off x="347472" y="1051180"/>
              <a:ext cx="11667743" cy="561625"/>
              <a:chOff x="347472" y="1051180"/>
              <a:chExt cx="11667743" cy="561625"/>
            </a:xfrm>
          </p:grpSpPr>
          <p:grpSp>
            <p:nvGrpSpPr>
              <p:cNvPr id="2863" name="Group 2862">
                <a:extLst>
                  <a:ext uri="{FF2B5EF4-FFF2-40B4-BE49-F238E27FC236}">
                    <a16:creationId xmlns:a16="http://schemas.microsoft.com/office/drawing/2014/main" id="{19B053B6-D501-46E8-8324-28B2181F54E8}"/>
                  </a:ext>
                </a:extLst>
              </p:cNvPr>
              <p:cNvGrpSpPr/>
              <p:nvPr/>
            </p:nvGrpSpPr>
            <p:grpSpPr>
              <a:xfrm>
                <a:off x="347472" y="1154250"/>
                <a:ext cx="11667743" cy="458555"/>
                <a:chOff x="390609" y="1132914"/>
                <a:chExt cx="11511569" cy="458555"/>
              </a:xfrm>
            </p:grpSpPr>
            <p:sp>
              <p:nvSpPr>
                <p:cNvPr id="2865" name="Rectangle: Rounded Corners 2864">
                  <a:extLst>
                    <a:ext uri="{FF2B5EF4-FFF2-40B4-BE49-F238E27FC236}">
                      <a16:creationId xmlns:a16="http://schemas.microsoft.com/office/drawing/2014/main" id="{C0ECC67F-0257-4ADE-8214-7AF66289F9D4}"/>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66" name="Rectangle 2865">
                  <a:extLst>
                    <a:ext uri="{FF2B5EF4-FFF2-40B4-BE49-F238E27FC236}">
                      <a16:creationId xmlns:a16="http://schemas.microsoft.com/office/drawing/2014/main" id="{31A4B2A4-CB38-47F9-918B-83E5241FED48}"/>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867" name="Rectangle 2866">
                  <a:extLst>
                    <a:ext uri="{FF2B5EF4-FFF2-40B4-BE49-F238E27FC236}">
                      <a16:creationId xmlns:a16="http://schemas.microsoft.com/office/drawing/2014/main" id="{D4656027-3B78-4CB3-A1A2-D6BB2C320FF7}"/>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868" name="Rectangle 2867">
                  <a:extLst>
                    <a:ext uri="{FF2B5EF4-FFF2-40B4-BE49-F238E27FC236}">
                      <a16:creationId xmlns:a16="http://schemas.microsoft.com/office/drawing/2014/main" id="{C98E7147-5C83-4907-A983-19382A05947B}"/>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869" name="Isosceles Triangle 2868">
                  <a:extLst>
                    <a:ext uri="{FF2B5EF4-FFF2-40B4-BE49-F238E27FC236}">
                      <a16:creationId xmlns:a16="http://schemas.microsoft.com/office/drawing/2014/main" id="{377B7AEF-DD5C-407A-BC96-22FE913B1FDF}"/>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70" name="Isosceles Triangle 2869">
                  <a:extLst>
                    <a:ext uri="{FF2B5EF4-FFF2-40B4-BE49-F238E27FC236}">
                      <a16:creationId xmlns:a16="http://schemas.microsoft.com/office/drawing/2014/main" id="{9E20B44C-313C-46AE-B0F0-4AB18A509ADA}"/>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4" name="Isosceles Triangle 2863">
                <a:extLst>
                  <a:ext uri="{FF2B5EF4-FFF2-40B4-BE49-F238E27FC236}">
                    <a16:creationId xmlns:a16="http://schemas.microsoft.com/office/drawing/2014/main" id="{A841C7DD-F4A1-4DCA-8EFD-70E365D590F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2" name="Isosceles Triangle 2861">
              <a:extLst>
                <a:ext uri="{FF2B5EF4-FFF2-40B4-BE49-F238E27FC236}">
                  <a16:creationId xmlns:a16="http://schemas.microsoft.com/office/drawing/2014/main" id="{6C5E3EB9-EC10-4A5A-BE32-40C4AD1E2BB9}"/>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25" name="Rectangle 2824">
            <a:extLst>
              <a:ext uri="{FF2B5EF4-FFF2-40B4-BE49-F238E27FC236}">
                <a16:creationId xmlns:a16="http://schemas.microsoft.com/office/drawing/2014/main" id="{5224E924-2468-41ED-95B1-F5004958C1BE}"/>
              </a:ext>
            </a:extLst>
          </p:cNvPr>
          <p:cNvSpPr>
            <a:spLocks/>
          </p:cNvSpPr>
          <p:nvPr/>
        </p:nvSpPr>
        <p:spPr bwMode="gray">
          <a:xfrm>
            <a:off x="392096" y="1689529"/>
            <a:ext cx="2869470" cy="4861963"/>
          </a:xfrm>
          <a:prstGeom prst="rect">
            <a:avLst/>
          </a:prstGeom>
          <a:solidFill>
            <a:schemeClr val="bg1">
              <a:alpha val="80000"/>
            </a:schemeClr>
          </a:solid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sp>
        <p:nvSpPr>
          <p:cNvPr id="2859" name="Rectangle 2858">
            <a:extLst>
              <a:ext uri="{FF2B5EF4-FFF2-40B4-BE49-F238E27FC236}">
                <a16:creationId xmlns:a16="http://schemas.microsoft.com/office/drawing/2014/main" id="{68B15680-A55E-47F6-8D5C-D956EDAD387E}"/>
              </a:ext>
            </a:extLst>
          </p:cNvPr>
          <p:cNvSpPr>
            <a:spLocks/>
          </p:cNvSpPr>
          <p:nvPr/>
        </p:nvSpPr>
        <p:spPr bwMode="gray">
          <a:xfrm>
            <a:off x="3378079" y="1689529"/>
            <a:ext cx="6421217" cy="4861963"/>
          </a:xfrm>
          <a:prstGeom prst="rect">
            <a:avLst/>
          </a:prstGeom>
          <a:solidFill>
            <a:schemeClr val="bg1">
              <a:alpha val="80000"/>
            </a:schemeClr>
          </a:solid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spTree>
    <p:custDataLst>
      <p:tags r:id="rId1"/>
    </p:custDataLst>
    <p:extLst>
      <p:ext uri="{BB962C8B-B14F-4D97-AF65-F5344CB8AC3E}">
        <p14:creationId xmlns:p14="http://schemas.microsoft.com/office/powerpoint/2010/main" val="35316125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Discovery: Define Minimum Viable Product (MVP)</a:t>
            </a:r>
          </a:p>
        </p:txBody>
      </p:sp>
      <p:graphicFrame>
        <p:nvGraphicFramePr>
          <p:cNvPr id="2189" name="Table 2188">
            <a:extLst>
              <a:ext uri="{FF2B5EF4-FFF2-40B4-BE49-F238E27FC236}">
                <a16:creationId xmlns:a16="http://schemas.microsoft.com/office/drawing/2014/main" id="{F0E03C91-B69E-47A5-BFB5-55222D8F4D7C}"/>
              </a:ext>
            </a:extLst>
          </p:cNvPr>
          <p:cNvGraphicFramePr>
            <a:graphicFrameLocks noGrp="1"/>
          </p:cNvGraphicFramePr>
          <p:nvPr/>
        </p:nvGraphicFramePr>
        <p:xfrm>
          <a:off x="4180215" y="3297078"/>
          <a:ext cx="4222840" cy="918193"/>
        </p:xfrm>
        <a:graphic>
          <a:graphicData uri="http://schemas.openxmlformats.org/drawingml/2006/table">
            <a:tbl>
              <a:tblPr firstRow="1" bandRow="1">
                <a:tableStyleId>{5C22544A-7EE6-4342-B048-85BDC9FD1C3A}</a:tableStyleId>
              </a:tblPr>
              <a:tblGrid>
                <a:gridCol w="422284">
                  <a:extLst>
                    <a:ext uri="{9D8B030D-6E8A-4147-A177-3AD203B41FA5}">
                      <a16:colId xmlns:a16="http://schemas.microsoft.com/office/drawing/2014/main" val="20000"/>
                    </a:ext>
                  </a:extLst>
                </a:gridCol>
                <a:gridCol w="422284">
                  <a:extLst>
                    <a:ext uri="{9D8B030D-6E8A-4147-A177-3AD203B41FA5}">
                      <a16:colId xmlns:a16="http://schemas.microsoft.com/office/drawing/2014/main" val="20001"/>
                    </a:ext>
                  </a:extLst>
                </a:gridCol>
                <a:gridCol w="422284">
                  <a:extLst>
                    <a:ext uri="{9D8B030D-6E8A-4147-A177-3AD203B41FA5}">
                      <a16:colId xmlns:a16="http://schemas.microsoft.com/office/drawing/2014/main" val="20002"/>
                    </a:ext>
                  </a:extLst>
                </a:gridCol>
                <a:gridCol w="422284">
                  <a:extLst>
                    <a:ext uri="{9D8B030D-6E8A-4147-A177-3AD203B41FA5}">
                      <a16:colId xmlns:a16="http://schemas.microsoft.com/office/drawing/2014/main" val="20003"/>
                    </a:ext>
                  </a:extLst>
                </a:gridCol>
                <a:gridCol w="422284">
                  <a:extLst>
                    <a:ext uri="{9D8B030D-6E8A-4147-A177-3AD203B41FA5}">
                      <a16:colId xmlns:a16="http://schemas.microsoft.com/office/drawing/2014/main" val="20004"/>
                    </a:ext>
                  </a:extLst>
                </a:gridCol>
                <a:gridCol w="422284">
                  <a:extLst>
                    <a:ext uri="{9D8B030D-6E8A-4147-A177-3AD203B41FA5}">
                      <a16:colId xmlns:a16="http://schemas.microsoft.com/office/drawing/2014/main" val="20005"/>
                    </a:ext>
                  </a:extLst>
                </a:gridCol>
                <a:gridCol w="422284">
                  <a:extLst>
                    <a:ext uri="{9D8B030D-6E8A-4147-A177-3AD203B41FA5}">
                      <a16:colId xmlns:a16="http://schemas.microsoft.com/office/drawing/2014/main" val="20006"/>
                    </a:ext>
                  </a:extLst>
                </a:gridCol>
                <a:gridCol w="422284">
                  <a:extLst>
                    <a:ext uri="{9D8B030D-6E8A-4147-A177-3AD203B41FA5}">
                      <a16:colId xmlns:a16="http://schemas.microsoft.com/office/drawing/2014/main" val="20007"/>
                    </a:ext>
                  </a:extLst>
                </a:gridCol>
                <a:gridCol w="422284">
                  <a:extLst>
                    <a:ext uri="{9D8B030D-6E8A-4147-A177-3AD203B41FA5}">
                      <a16:colId xmlns:a16="http://schemas.microsoft.com/office/drawing/2014/main" val="20008"/>
                    </a:ext>
                  </a:extLst>
                </a:gridCol>
                <a:gridCol w="422284">
                  <a:extLst>
                    <a:ext uri="{9D8B030D-6E8A-4147-A177-3AD203B41FA5}">
                      <a16:colId xmlns:a16="http://schemas.microsoft.com/office/drawing/2014/main" val="20009"/>
                    </a:ext>
                  </a:extLst>
                </a:gridCol>
              </a:tblGrid>
              <a:tr h="306064">
                <a:tc>
                  <a:txBody>
                    <a:bodyPr/>
                    <a:lstStyle/>
                    <a:p>
                      <a:pPr algn="ctr"/>
                      <a:r>
                        <a:rPr lang="en-US" sz="800" dirty="0"/>
                        <a:t>1</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2</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3</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4</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5</a:t>
                      </a:r>
                    </a:p>
                    <a:p>
                      <a:pPr algn="ctr"/>
                      <a:r>
                        <a:rPr lang="en-US" sz="800" dirty="0"/>
                        <a:t>Tue</a:t>
                      </a:r>
                    </a:p>
                  </a:txBody>
                  <a:tcPr marL="39490" marR="39490" marT="19746" marB="19746" anchor="ctr">
                    <a:solidFill>
                      <a:schemeClr val="accent4">
                        <a:lumMod val="75000"/>
                      </a:schemeClr>
                    </a:solidFill>
                  </a:tcPr>
                </a:tc>
                <a:tc>
                  <a:txBody>
                    <a:bodyPr/>
                    <a:lstStyle/>
                    <a:p>
                      <a:pPr algn="ctr"/>
                      <a:r>
                        <a:rPr lang="en-US" sz="800" dirty="0"/>
                        <a:t>6</a:t>
                      </a:r>
                    </a:p>
                    <a:p>
                      <a:pPr algn="ctr"/>
                      <a:r>
                        <a:rPr lang="en-US" sz="800" dirty="0"/>
                        <a:t>Wed</a:t>
                      </a:r>
                    </a:p>
                  </a:txBody>
                  <a:tcPr marL="39490" marR="39490" marT="19746" marB="19746" anchor="ctr">
                    <a:solidFill>
                      <a:schemeClr val="accent4">
                        <a:lumMod val="75000"/>
                      </a:schemeClr>
                    </a:solidFill>
                  </a:tcPr>
                </a:tc>
                <a:tc>
                  <a:txBody>
                    <a:bodyPr/>
                    <a:lstStyle/>
                    <a:p>
                      <a:pPr algn="ctr"/>
                      <a:r>
                        <a:rPr lang="en-US" sz="800" dirty="0"/>
                        <a:t>7</a:t>
                      </a:r>
                    </a:p>
                    <a:p>
                      <a:pPr algn="ctr"/>
                      <a:r>
                        <a:rPr lang="en-US" sz="800" dirty="0"/>
                        <a:t>Thu</a:t>
                      </a:r>
                    </a:p>
                  </a:txBody>
                  <a:tcPr marL="39490" marR="39490" marT="19746" marB="19746" anchor="ctr">
                    <a:solidFill>
                      <a:schemeClr val="accent4">
                        <a:lumMod val="75000"/>
                      </a:schemeClr>
                    </a:solidFill>
                  </a:tcPr>
                </a:tc>
                <a:tc>
                  <a:txBody>
                    <a:bodyPr/>
                    <a:lstStyle/>
                    <a:p>
                      <a:pPr algn="ctr"/>
                      <a:r>
                        <a:rPr lang="en-US" sz="800" dirty="0"/>
                        <a:t>8</a:t>
                      </a:r>
                    </a:p>
                    <a:p>
                      <a:pPr algn="ctr"/>
                      <a:r>
                        <a:rPr lang="en-US" sz="800" dirty="0"/>
                        <a:t>Fri</a:t>
                      </a:r>
                    </a:p>
                  </a:txBody>
                  <a:tcPr marL="39490" marR="39490" marT="19746" marB="19746" anchor="ctr">
                    <a:solidFill>
                      <a:schemeClr val="accent4">
                        <a:lumMod val="75000"/>
                      </a:schemeClr>
                    </a:solidFill>
                  </a:tcPr>
                </a:tc>
                <a:tc>
                  <a:txBody>
                    <a:bodyPr/>
                    <a:lstStyle/>
                    <a:p>
                      <a:pPr algn="ctr"/>
                      <a:r>
                        <a:rPr lang="en-US" sz="800" dirty="0"/>
                        <a:t>9</a:t>
                      </a:r>
                    </a:p>
                    <a:p>
                      <a:pPr algn="ctr"/>
                      <a:r>
                        <a:rPr lang="en-US" sz="800" dirty="0"/>
                        <a:t>Mon</a:t>
                      </a:r>
                    </a:p>
                  </a:txBody>
                  <a:tcPr marL="39490" marR="39490" marT="19746" marB="19746" anchor="ctr">
                    <a:solidFill>
                      <a:schemeClr val="accent4">
                        <a:lumMod val="75000"/>
                      </a:schemeClr>
                    </a:solidFill>
                  </a:tcPr>
                </a:tc>
                <a:tc>
                  <a:txBody>
                    <a:bodyPr/>
                    <a:lstStyle/>
                    <a:p>
                      <a:pPr algn="ctr"/>
                      <a:r>
                        <a:rPr lang="en-US" sz="800" dirty="0"/>
                        <a:t>10</a:t>
                      </a:r>
                    </a:p>
                    <a:p>
                      <a:pPr algn="ctr"/>
                      <a:r>
                        <a:rPr lang="en-US" sz="800" dirty="0"/>
                        <a:t>Tue</a:t>
                      </a:r>
                    </a:p>
                  </a:txBody>
                  <a:tcPr marL="39490" marR="39490" marT="19746" marB="19746" anchor="ctr">
                    <a:solidFill>
                      <a:schemeClr val="accent4">
                        <a:lumMod val="75000"/>
                      </a:schemeClr>
                    </a:solidFill>
                  </a:tcPr>
                </a:tc>
                <a:extLst>
                  <a:ext uri="{0D108BD9-81ED-4DB2-BD59-A6C34878D82A}">
                    <a16:rowId xmlns:a16="http://schemas.microsoft.com/office/drawing/2014/main" val="10000"/>
                  </a:ext>
                </a:extLst>
              </a:tr>
              <a:tr h="346204">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1"/>
                  </a:ext>
                </a:extLst>
              </a:tr>
              <a:tr h="265925">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tc>
                  <a:txBody>
                    <a:bodyPr/>
                    <a:lstStyle/>
                    <a:p>
                      <a:pPr algn="ctr"/>
                      <a:endParaRPr lang="en-US" sz="700" dirty="0">
                        <a:solidFill>
                          <a:schemeClr val="bg1"/>
                        </a:solidFill>
                      </a:endParaRPr>
                    </a:p>
                  </a:txBody>
                  <a:tcPr marL="19746" marR="19746" marT="19746" marB="19746" anchor="ctr">
                    <a:solidFill>
                      <a:schemeClr val="accent4">
                        <a:lumMod val="75000"/>
                      </a:schemeClr>
                    </a:solidFill>
                  </a:tcPr>
                </a:tc>
                <a:extLst>
                  <a:ext uri="{0D108BD9-81ED-4DB2-BD59-A6C34878D82A}">
                    <a16:rowId xmlns:a16="http://schemas.microsoft.com/office/drawing/2014/main" val="10002"/>
                  </a:ext>
                </a:extLst>
              </a:tr>
            </a:tbl>
          </a:graphicData>
        </a:graphic>
      </p:graphicFrame>
      <p:sp>
        <p:nvSpPr>
          <p:cNvPr id="2190" name="Rectangle 2189">
            <a:extLst>
              <a:ext uri="{FF2B5EF4-FFF2-40B4-BE49-F238E27FC236}">
                <a16:creationId xmlns:a16="http://schemas.microsoft.com/office/drawing/2014/main" id="{5B242AB0-D087-45B9-991C-D144B01E7F0A}"/>
              </a:ext>
            </a:extLst>
          </p:cNvPr>
          <p:cNvSpPr>
            <a:spLocks/>
          </p:cNvSpPr>
          <p:nvPr/>
        </p:nvSpPr>
        <p:spPr bwMode="gray">
          <a:xfrm>
            <a:off x="9920415" y="1689529"/>
            <a:ext cx="1922758" cy="4861963"/>
          </a:xfrm>
          <a:prstGeom prst="rect">
            <a:avLst/>
          </a:prstGeom>
          <a:noFill/>
          <a:ln w="38100" algn="ctr">
            <a:solidFill>
              <a:schemeClr val="accent4"/>
            </a:solidFill>
            <a:miter lim="800000"/>
            <a:headEnd/>
            <a:tailEnd/>
          </a:ln>
          <a:effectLst/>
        </p:spPr>
        <p:txBody>
          <a:bodyPr wrap="square" lIns="124341" tIns="37778" rIns="124341" bIns="37778" rtlCol="0" anchor="t"/>
          <a:lstStyle/>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srgbClr val="86BC25"/>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a:p>
            <a:pPr defTabSz="828903">
              <a:defRPr/>
            </a:pPr>
            <a:endParaRPr lang="en-US" sz="898" dirty="0">
              <a:solidFill>
                <a:prstClr val="black"/>
              </a:solidFill>
              <a:latin typeface="Verdana"/>
            </a:endParaRPr>
          </a:p>
        </p:txBody>
      </p:sp>
      <p:graphicFrame>
        <p:nvGraphicFramePr>
          <p:cNvPr id="2192" name="Table 2191">
            <a:extLst>
              <a:ext uri="{FF2B5EF4-FFF2-40B4-BE49-F238E27FC236}">
                <a16:creationId xmlns:a16="http://schemas.microsoft.com/office/drawing/2014/main" id="{2AC1EC88-3AC8-4154-AB0C-7952CEFF5CBB}"/>
              </a:ext>
            </a:extLst>
          </p:cNvPr>
          <p:cNvGraphicFramePr>
            <a:graphicFrameLocks noGrp="1"/>
          </p:cNvGraphicFramePr>
          <p:nvPr/>
        </p:nvGraphicFramePr>
        <p:xfrm>
          <a:off x="470204" y="4578245"/>
          <a:ext cx="2725929" cy="1795860"/>
        </p:xfrm>
        <a:graphic>
          <a:graphicData uri="http://schemas.openxmlformats.org/drawingml/2006/table">
            <a:tbl>
              <a:tblPr firstRow="1" bandRow="1">
                <a:tableStyleId>{5C22544A-7EE6-4342-B048-85BDC9FD1C3A}</a:tableStyleId>
              </a:tblPr>
              <a:tblGrid>
                <a:gridCol w="664945">
                  <a:extLst>
                    <a:ext uri="{9D8B030D-6E8A-4147-A177-3AD203B41FA5}">
                      <a16:colId xmlns:a16="http://schemas.microsoft.com/office/drawing/2014/main" val="20000"/>
                    </a:ext>
                  </a:extLst>
                </a:gridCol>
                <a:gridCol w="515246">
                  <a:extLst>
                    <a:ext uri="{9D8B030D-6E8A-4147-A177-3AD203B41FA5}">
                      <a16:colId xmlns:a16="http://schemas.microsoft.com/office/drawing/2014/main" val="20001"/>
                    </a:ext>
                  </a:extLst>
                </a:gridCol>
                <a:gridCol w="515246">
                  <a:extLst>
                    <a:ext uri="{9D8B030D-6E8A-4147-A177-3AD203B41FA5}">
                      <a16:colId xmlns:a16="http://schemas.microsoft.com/office/drawing/2014/main" val="20002"/>
                    </a:ext>
                  </a:extLst>
                </a:gridCol>
                <a:gridCol w="515246">
                  <a:extLst>
                    <a:ext uri="{9D8B030D-6E8A-4147-A177-3AD203B41FA5}">
                      <a16:colId xmlns:a16="http://schemas.microsoft.com/office/drawing/2014/main" val="20003"/>
                    </a:ext>
                  </a:extLst>
                </a:gridCol>
                <a:gridCol w="515246">
                  <a:extLst>
                    <a:ext uri="{9D8B030D-6E8A-4147-A177-3AD203B41FA5}">
                      <a16:colId xmlns:a16="http://schemas.microsoft.com/office/drawing/2014/main" val="20004"/>
                    </a:ext>
                  </a:extLst>
                </a:gridCol>
              </a:tblGrid>
              <a:tr h="131266">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solidFill>
                          <a:latin typeface="+mn-lt"/>
                          <a:ea typeface="+mn-ea"/>
                          <a:cs typeface="+mn-cs"/>
                        </a:rPr>
                        <a:t>Roadmap</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hMerge="1">
                  <a:txBody>
                    <a:bodyPr/>
                    <a:lstStyle/>
                    <a:p>
                      <a:pPr algn="ctr"/>
                      <a:endParaRPr lang="en-US">
                        <a:solidFill>
                          <a:srgbClr val="31536F"/>
                        </a:solidFill>
                      </a:endParaRPr>
                    </a:p>
                  </a:txBody>
                  <a:tcPr>
                    <a:solidFill>
                      <a:srgbClr val="D3ECF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6030">
                <a:tc>
                  <a:txBody>
                    <a:bodyPr/>
                    <a:lstStyle/>
                    <a:p>
                      <a:pPr marL="0" algn="ctr" defTabSz="914400" rtl="0" eaLnBrk="1" latinLnBrk="0" hangingPunct="1"/>
                      <a:endParaRPr lang="en-US" sz="300" b="1" u="sng" kern="1200" dirty="0">
                        <a:solidFill>
                          <a:schemeClr val="bg1"/>
                        </a:solidFill>
                        <a:latin typeface="+mn-lt"/>
                        <a:ea typeface="+mn-ea"/>
                        <a:cs typeface="+mn-cs"/>
                      </a:endParaRP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1</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2</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3</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a:r>
                        <a:rPr lang="en-US" sz="600" b="1" kern="1200" dirty="0">
                          <a:solidFill>
                            <a:schemeClr val="tx1"/>
                          </a:solidFill>
                          <a:latin typeface="+mn-lt"/>
                          <a:ea typeface="+mn-ea"/>
                          <a:cs typeface="+mn-cs"/>
                        </a:rPr>
                        <a:t>Sprint 4</a:t>
                      </a:r>
                    </a:p>
                  </a:txBody>
                  <a:tcPr marL="24612" marR="24612" marT="12307" marB="12307"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16034">
                <a:tc>
                  <a:txBody>
                    <a:bodyPr/>
                    <a:lstStyle/>
                    <a:p>
                      <a:pPr marL="0" indent="0" algn="l" defTabSz="914400" rtl="0" eaLnBrk="1" latinLnBrk="0" hangingPunct="1">
                        <a:buFont typeface="Arial" pitchFamily="34" charset="0"/>
                        <a:buNone/>
                      </a:pPr>
                      <a:endParaRPr lang="en-US" sz="5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bg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lang="en-US" sz="600" b="1" kern="1200" dirty="0">
                          <a:solidFill>
                            <a:schemeClr val="tx1"/>
                          </a:solidFill>
                          <a:latin typeface="+mn-lt"/>
                          <a:ea typeface="+mn-ea"/>
                          <a:cs typeface="+mn-cs"/>
                        </a:rPr>
                        <a:t>Rel1</a:t>
                      </a: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endParaRPr lang="en-US" sz="600" b="1" kern="1200" dirty="0">
                        <a:solidFill>
                          <a:schemeClr val="tx1"/>
                        </a:solidFill>
                        <a:latin typeface="+mn-lt"/>
                        <a:ea typeface="+mn-ea"/>
                        <a:cs typeface="+mn-cs"/>
                      </a:endParaRPr>
                    </a:p>
                  </a:txBody>
                  <a:tcPr marL="0" marR="0"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indent="0" algn="ctr" defTabSz="914400" rtl="0" eaLnBrk="1" latinLnBrk="0" hangingPunct="1">
                        <a:buFont typeface="Arial" pitchFamily="34" charset="0"/>
                        <a:buNone/>
                      </a:pPr>
                      <a:r>
                        <a:rPr kumimoji="0" lang="en-US" sz="600" b="1" i="0" u="none" strike="noStrike" kern="1200" cap="none" spc="0" normalizeH="0" baseline="0" noProof="0" dirty="0">
                          <a:ln>
                            <a:noFill/>
                          </a:ln>
                          <a:solidFill>
                            <a:schemeClr val="tx1"/>
                          </a:solidFill>
                          <a:effectLst/>
                          <a:uLnTx/>
                          <a:uFillTx/>
                          <a:latin typeface="+mn-lt"/>
                          <a:ea typeface="+mn-ea"/>
                          <a:cs typeface="+mn-cs"/>
                        </a:rPr>
                        <a:t>Rel2</a:t>
                      </a:r>
                      <a:endParaRPr lang="en-US" sz="600" b="1" kern="1200" dirty="0">
                        <a:solidFill>
                          <a:schemeClr val="tx1"/>
                        </a:solidFill>
                        <a:latin typeface="+mn-lt"/>
                        <a:ea typeface="+mn-ea"/>
                        <a:cs typeface="+mn-cs"/>
                      </a:endParaRPr>
                    </a:p>
                  </a:txBody>
                  <a:tcPr marL="0" marR="0"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2292">
                <a:tc>
                  <a:txBody>
                    <a:bodyPr/>
                    <a:lstStyle/>
                    <a:p>
                      <a:pPr marL="0" algn="l" defTabSz="914400" rtl="0" eaLnBrk="1" latinLnBrk="0" hangingPunct="1"/>
                      <a:r>
                        <a:rPr lang="en-US" sz="700" b="1" kern="1200" dirty="0">
                          <a:solidFill>
                            <a:schemeClr val="tx1"/>
                          </a:solidFill>
                          <a:latin typeface="+mn-lt"/>
                          <a:ea typeface="+mn-ea"/>
                          <a:cs typeface="+mn-cs"/>
                        </a:rPr>
                        <a:t>Project </a:t>
                      </a:r>
                      <a:r>
                        <a:rPr lang="en-US" sz="700" b="1" kern="1200" baseline="0" dirty="0">
                          <a:solidFill>
                            <a:schemeClr val="tx1"/>
                          </a:solidFill>
                          <a:latin typeface="+mn-lt"/>
                          <a:ea typeface="+mn-ea"/>
                          <a:cs typeface="+mn-cs"/>
                        </a:rPr>
                        <a:t>Foundation</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ventory report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CS updates</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rPr>
                        <a:t>Infrastruc-</a:t>
                      </a:r>
                      <a:br>
                        <a:rPr lang="en-US" sz="500" b="0" dirty="0">
                          <a:solidFill>
                            <a:schemeClr val="tx1"/>
                          </a:solidFill>
                        </a:rPr>
                      </a:br>
                      <a:r>
                        <a:rPr lang="en-US" sz="500" b="0" dirty="0">
                          <a:solidFill>
                            <a:schemeClr val="tx1"/>
                          </a:solidFill>
                        </a:rPr>
                        <a:t>ture upgrade</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a:buFont typeface="Arial" panose="020B0604020202020204" pitchFamily="34" charset="0"/>
                        <a:buChar char="•"/>
                      </a:pPr>
                      <a:r>
                        <a:rPr lang="en-US" sz="500" b="0" dirty="0">
                          <a:solidFill>
                            <a:schemeClr val="tx1"/>
                          </a:solidFill>
                          <a:latin typeface="+mn-lt"/>
                        </a:rPr>
                        <a:t>5/10 Pref-Center</a:t>
                      </a:r>
                    </a:p>
                  </a:txBody>
                  <a:tcPr marL="24612" marR="24612" marT="12309" marB="12309">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5042">
                <a:tc>
                  <a:txBody>
                    <a:bodyPr/>
                    <a:lstStyle/>
                    <a:p>
                      <a:pPr marL="0" algn="l" defTabSz="914400" rtl="0" eaLnBrk="1" latinLnBrk="0" hangingPunct="1"/>
                      <a:r>
                        <a:rPr lang="en-US" sz="700" b="1" kern="1200" dirty="0">
                          <a:solidFill>
                            <a:schemeClr val="tx1"/>
                          </a:solidFill>
                          <a:latin typeface="+mn-lt"/>
                          <a:ea typeface="+mn-ea"/>
                          <a:cs typeface="+mn-cs"/>
                        </a:rPr>
                        <a:t>Project</a:t>
                      </a:r>
                    </a:p>
                    <a:p>
                      <a:pPr marL="0" algn="l" defTabSz="914400" rtl="0" eaLnBrk="1" latinLnBrk="0" hangingPunct="1"/>
                      <a:r>
                        <a:rPr lang="en-US" sz="700" b="1" kern="1200" baseline="0" dirty="0">
                          <a:solidFill>
                            <a:schemeClr val="tx1"/>
                          </a:solidFill>
                          <a:latin typeface="+mn-lt"/>
                          <a:ea typeface="+mn-ea"/>
                          <a:cs typeface="+mn-cs"/>
                        </a:rPr>
                        <a:t>Features</a:t>
                      </a:r>
                      <a:endParaRPr lang="en-US" sz="700" b="1" kern="1200" dirty="0">
                        <a:solidFill>
                          <a:schemeClr val="tx1"/>
                        </a:solidFill>
                        <a:latin typeface="+mn-lt"/>
                        <a:ea typeface="+mn-ea"/>
                        <a:cs typeface="+mn-cs"/>
                      </a:endParaRP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Nav &amp; Search Enhance-</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ment</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indent="-58738" algn="l" defTabSz="829152" eaLnBrk="0" hangingPunct="0">
                        <a:lnSpc>
                          <a:spcPct val="80000"/>
                        </a:lnSpc>
                        <a:buFont typeface="Arial" panose="020B0604020202020204" pitchFamily="34" charset="0"/>
                        <a:buChar char="•"/>
                        <a:defRPr/>
                      </a:pPr>
                      <a:r>
                        <a:rPr lang="en-US" sz="500" dirty="0">
                          <a:solidFill>
                            <a:srgbClr val="000000"/>
                          </a:solidFill>
                          <a:latin typeface="+mn-lt"/>
                          <a:cs typeface="Verdana" panose="020B0604030504040204" pitchFamily="34" charset="0"/>
                        </a:rPr>
                        <a:t>4/12 Product X PDP</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12 Video Testimon-</a:t>
                      </a:r>
                      <a:br>
                        <a:rPr lang="en-US" sz="500" dirty="0">
                          <a:solidFill>
                            <a:srgbClr val="000000"/>
                          </a:solidFill>
                          <a:latin typeface="+mn-lt"/>
                          <a:cs typeface="Verdana" panose="020B0604030504040204" pitchFamily="34" charset="0"/>
                        </a:rPr>
                      </a:br>
                      <a:r>
                        <a:rPr lang="en-US" sz="500" dirty="0">
                          <a:solidFill>
                            <a:srgbClr val="000000"/>
                          </a:solidFill>
                          <a:latin typeface="+mn-lt"/>
                          <a:cs typeface="Verdana" panose="020B0604030504040204" pitchFamily="34" charset="0"/>
                        </a:rPr>
                        <a:t>ial</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ookbook US</a:t>
                      </a:r>
                    </a:p>
                    <a:p>
                      <a:pPr marL="171450" indent="-171450" algn="l" fontAlgn="b">
                        <a:buFont typeface="Arial" panose="020B0604020202020204" pitchFamily="34" charset="0"/>
                        <a:buChar char="•"/>
                      </a:pPr>
                      <a:endParaRPr lang="en-US" sz="500" b="1" i="0" u="none" strike="noStrike" dirty="0">
                        <a:solidFill>
                          <a:schemeClr val="bg1"/>
                        </a:solidFill>
                        <a:effectLst/>
                        <a:latin typeface="Verdana" panose="020B0604030504040204" pitchFamily="34" charset="0"/>
                      </a:endParaRPr>
                    </a:p>
                  </a:txBody>
                  <a:tcPr marL="24612" marR="24612" marT="0" marB="0">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9334">
                <a:tc>
                  <a:txBody>
                    <a:bodyPr/>
                    <a:lstStyle/>
                    <a:p>
                      <a:pPr marL="0" algn="l" defTabSz="914400" rtl="0" eaLnBrk="1" latinLnBrk="0" hangingPunct="1"/>
                      <a:r>
                        <a:rPr lang="en-US" sz="700" b="1" kern="1200" dirty="0">
                          <a:solidFill>
                            <a:schemeClr val="tx1"/>
                          </a:solidFill>
                          <a:latin typeface="+mn-lt"/>
                          <a:ea typeface="+mn-ea"/>
                          <a:cs typeface="+mn-cs"/>
                        </a:rPr>
                        <a:t>Customer Experience</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Landing Pg</a:t>
                      </a:r>
                    </a:p>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Product X Category Pg</a:t>
                      </a: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Invoice Updates</a:t>
                      </a:r>
                    </a:p>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4/30 VTO Redesign</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05514">
                <a:tc>
                  <a:txBody>
                    <a:bodyPr/>
                    <a:lstStyle/>
                    <a:p>
                      <a:pPr marL="0" algn="l" defTabSz="914400" rtl="0" eaLnBrk="1" latinLnBrk="0" hangingPunct="1"/>
                      <a:r>
                        <a:rPr lang="en-US" sz="700" b="1" kern="1200" dirty="0">
                          <a:solidFill>
                            <a:schemeClr val="tx1"/>
                          </a:solidFill>
                          <a:latin typeface="+mn-lt"/>
                          <a:ea typeface="+mn-ea"/>
                          <a:cs typeface="+mn-cs"/>
                        </a:rPr>
                        <a:t>Production</a:t>
                      </a:r>
                    </a:p>
                    <a:p>
                      <a:pPr marL="0" algn="l" defTabSz="914400" rtl="0" eaLnBrk="1" latinLnBrk="0" hangingPunct="1"/>
                      <a:r>
                        <a:rPr lang="en-US" sz="700" b="1" kern="1200" dirty="0">
                          <a:solidFill>
                            <a:schemeClr val="tx1"/>
                          </a:solidFill>
                          <a:latin typeface="+mn-lt"/>
                          <a:ea typeface="+mn-ea"/>
                          <a:cs typeface="+mn-cs"/>
                        </a:rPr>
                        <a:t>Support</a:t>
                      </a:r>
                    </a:p>
                  </a:txBody>
                  <a:tcPr marL="24612" marR="24612" marT="12309" marB="1230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ustomer Service, Backorder</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58738" marR="0" lvl="0" indent="-58738" algn="l" defTabSz="12161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500" dirty="0">
                          <a:solidFill>
                            <a:srgbClr val="000000"/>
                          </a:solidFill>
                          <a:latin typeface="+mn-lt"/>
                          <a:cs typeface="Verdana" panose="020B0604030504040204" pitchFamily="34" charset="0"/>
                        </a:rPr>
                        <a:t>Checkout, Backorder, Inventory Shorts, Free Ship</a:t>
                      </a: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endParaRPr lang="en-US" sz="500" b="1" dirty="0">
                        <a:solidFill>
                          <a:schemeClr val="bg1"/>
                        </a:solidFill>
                      </a:endParaRPr>
                    </a:p>
                  </a:txBody>
                  <a:tcPr marL="24612" marR="24612" marT="12307" marB="12307">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grpSp>
        <p:nvGrpSpPr>
          <p:cNvPr id="2426" name="Group 2425">
            <a:extLst>
              <a:ext uri="{FF2B5EF4-FFF2-40B4-BE49-F238E27FC236}">
                <a16:creationId xmlns:a16="http://schemas.microsoft.com/office/drawing/2014/main" id="{2F4C1848-C988-45F9-9A19-5A120656476B}"/>
              </a:ext>
            </a:extLst>
          </p:cNvPr>
          <p:cNvGrpSpPr/>
          <p:nvPr/>
        </p:nvGrpSpPr>
        <p:grpSpPr>
          <a:xfrm>
            <a:off x="7903676" y="3444205"/>
            <a:ext cx="1851680" cy="1646153"/>
            <a:chOff x="7893402" y="3412713"/>
            <a:chExt cx="1856890" cy="1650785"/>
          </a:xfrm>
        </p:grpSpPr>
        <p:sp>
          <p:nvSpPr>
            <p:cNvPr id="2427" name="Rectangle 2426">
              <a:extLst>
                <a:ext uri="{FF2B5EF4-FFF2-40B4-BE49-F238E27FC236}">
                  <a16:creationId xmlns:a16="http://schemas.microsoft.com/office/drawing/2014/main" id="{D9F7DB93-4E3A-445A-84F6-267EFDFB5C92}"/>
                </a:ext>
              </a:extLst>
            </p:cNvPr>
            <p:cNvSpPr/>
            <p:nvPr/>
          </p:nvSpPr>
          <p:spPr>
            <a:xfrm>
              <a:off x="7893402" y="3905138"/>
              <a:ext cx="600825" cy="307777"/>
            </a:xfrm>
            <a:prstGeom prst="rect">
              <a:avLst/>
            </a:prstGeom>
          </p:spPr>
          <p:txBody>
            <a:bodyPr wrap="square">
              <a:spAutoFit/>
            </a:bodyPr>
            <a:lstStyle/>
            <a:p>
              <a:pPr algn="ctr"/>
              <a:r>
                <a:rPr lang="en-US" sz="698" dirty="0">
                  <a:solidFill>
                    <a:schemeClr val="bg1"/>
                  </a:solidFill>
                </a:rPr>
                <a:t>Sprint Retro</a:t>
              </a:r>
            </a:p>
          </p:txBody>
        </p:sp>
        <p:sp>
          <p:nvSpPr>
            <p:cNvPr id="2428" name="Rectangle 2427">
              <a:extLst>
                <a:ext uri="{FF2B5EF4-FFF2-40B4-BE49-F238E27FC236}">
                  <a16:creationId xmlns:a16="http://schemas.microsoft.com/office/drawing/2014/main" id="{5A4FD49F-7F1D-4CC7-879F-A7ABB52F356B}"/>
                </a:ext>
              </a:extLst>
            </p:cNvPr>
            <p:cNvSpPr>
              <a:spLocks/>
            </p:cNvSpPr>
            <p:nvPr/>
          </p:nvSpPr>
          <p:spPr bwMode="gray">
            <a:xfrm>
              <a:off x="8653374" y="3412713"/>
              <a:ext cx="1096918" cy="1634879"/>
            </a:xfrm>
            <a:prstGeom prst="rect">
              <a:avLst/>
            </a:prstGeom>
            <a:solidFill>
              <a:srgbClr val="DDEFE8"/>
            </a:solidFill>
            <a:ln w="19050" algn="ctr">
              <a:noFill/>
              <a:miter lim="800000"/>
              <a:headEnd/>
              <a:tailEnd/>
            </a:ln>
          </p:spPr>
          <p:txBody>
            <a:bodyPr wrap="square" lIns="31086" tIns="31086" rIns="31086" bIns="0" rtlCol="0" anchor="t"/>
            <a:lstStyle/>
            <a:p>
              <a:pPr algn="ctr" defTabSz="828903">
                <a:lnSpc>
                  <a:spcPct val="95000"/>
                </a:lnSpc>
                <a:spcAft>
                  <a:spcPts val="408"/>
                </a:spcAft>
                <a:defRPr/>
              </a:pPr>
              <a:r>
                <a:rPr lang="en-US" sz="816" b="1" dirty="0">
                  <a:solidFill>
                    <a:sysClr val="windowText" lastClr="000000"/>
                  </a:solidFill>
                  <a:latin typeface="Verdana"/>
                </a:rPr>
                <a:t>Sprint Retrospectiv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ike?</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earn?</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ong for?</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rPr>
                <a:t>What did you lack?</a:t>
              </a:r>
              <a:endParaRPr lang="en-US" sz="748" dirty="0">
                <a:solidFill>
                  <a:sysClr val="windowText" lastClr="000000"/>
                </a:solidFill>
                <a:latin typeface="Verdana"/>
              </a:endParaRPr>
            </a:p>
          </p:txBody>
        </p:sp>
        <p:grpSp>
          <p:nvGrpSpPr>
            <p:cNvPr id="2429" name="Group 2428">
              <a:extLst>
                <a:ext uri="{FF2B5EF4-FFF2-40B4-BE49-F238E27FC236}">
                  <a16:creationId xmlns:a16="http://schemas.microsoft.com/office/drawing/2014/main" id="{E550472D-B9B8-4771-92F4-8C23F6AF67DF}"/>
                </a:ext>
              </a:extLst>
            </p:cNvPr>
            <p:cNvGrpSpPr>
              <a:grpSpLocks/>
            </p:cNvGrpSpPr>
            <p:nvPr/>
          </p:nvGrpSpPr>
          <p:grpSpPr>
            <a:xfrm>
              <a:off x="8732469" y="4576554"/>
              <a:ext cx="486942" cy="486944"/>
              <a:chOff x="9882273" y="6953856"/>
              <a:chExt cx="473625" cy="473627"/>
            </a:xfrm>
          </p:grpSpPr>
          <p:grpSp>
            <p:nvGrpSpPr>
              <p:cNvPr id="2453" name="Group 64">
                <a:extLst>
                  <a:ext uri="{FF2B5EF4-FFF2-40B4-BE49-F238E27FC236}">
                    <a16:creationId xmlns:a16="http://schemas.microsoft.com/office/drawing/2014/main" id="{5A9F3FCF-076A-4178-91D1-F68A9EE43502}"/>
                  </a:ext>
                </a:extLst>
              </p:cNvPr>
              <p:cNvGrpSpPr>
                <a:grpSpLocks noChangeAspect="1"/>
              </p:cNvGrpSpPr>
              <p:nvPr/>
            </p:nvGrpSpPr>
            <p:grpSpPr bwMode="auto">
              <a:xfrm rot="8100000">
                <a:off x="9882273" y="6953856"/>
                <a:ext cx="473625" cy="473627"/>
                <a:chOff x="701" y="2170"/>
                <a:chExt cx="587" cy="587"/>
              </a:xfrm>
            </p:grpSpPr>
            <p:sp>
              <p:nvSpPr>
                <p:cNvPr id="2485" name="Oval 65">
                  <a:extLst>
                    <a:ext uri="{FF2B5EF4-FFF2-40B4-BE49-F238E27FC236}">
                      <a16:creationId xmlns:a16="http://schemas.microsoft.com/office/drawing/2014/main" id="{C06DCFE0-CD33-46A3-89C2-7B34BD64FF8A}"/>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86" name="Line 66">
                  <a:extLst>
                    <a:ext uri="{FF2B5EF4-FFF2-40B4-BE49-F238E27FC236}">
                      <a16:creationId xmlns:a16="http://schemas.microsoft.com/office/drawing/2014/main" id="{E38981EB-CCBD-4C80-8E94-4444018615C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7" name="Line 67">
                  <a:extLst>
                    <a:ext uri="{FF2B5EF4-FFF2-40B4-BE49-F238E27FC236}">
                      <a16:creationId xmlns:a16="http://schemas.microsoft.com/office/drawing/2014/main" id="{C186E825-A38E-4E39-9B40-6D5B1F81404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8" name="Line 69">
                  <a:extLst>
                    <a:ext uri="{FF2B5EF4-FFF2-40B4-BE49-F238E27FC236}">
                      <a16:creationId xmlns:a16="http://schemas.microsoft.com/office/drawing/2014/main" id="{14D5BAF0-9E9C-489A-92B1-1DE9CD9CA6B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9" name="Line 74">
                  <a:extLst>
                    <a:ext uri="{FF2B5EF4-FFF2-40B4-BE49-F238E27FC236}">
                      <a16:creationId xmlns:a16="http://schemas.microsoft.com/office/drawing/2014/main" id="{1DC512FF-4C45-449B-BD3B-FB57DC2DA17B}"/>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0" name="Freeform 78">
                  <a:extLst>
                    <a:ext uri="{FF2B5EF4-FFF2-40B4-BE49-F238E27FC236}">
                      <a16:creationId xmlns:a16="http://schemas.microsoft.com/office/drawing/2014/main" id="{11F014B2-A79B-4EE6-8822-F8FFB8A3145F}"/>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91" name="Freeform 80">
                  <a:extLst>
                    <a:ext uri="{FF2B5EF4-FFF2-40B4-BE49-F238E27FC236}">
                      <a16:creationId xmlns:a16="http://schemas.microsoft.com/office/drawing/2014/main" id="{176D9644-E2D3-47F1-A3BD-EFE688164282}"/>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54" name="Group 2453">
                <a:extLst>
                  <a:ext uri="{FF2B5EF4-FFF2-40B4-BE49-F238E27FC236}">
                    <a16:creationId xmlns:a16="http://schemas.microsoft.com/office/drawing/2014/main" id="{A36C6C24-1B12-4B73-B1D3-DA437E6DB632}"/>
                  </a:ext>
                </a:extLst>
              </p:cNvPr>
              <p:cNvGrpSpPr/>
              <p:nvPr/>
            </p:nvGrpSpPr>
            <p:grpSpPr>
              <a:xfrm>
                <a:off x="9938546" y="7021642"/>
                <a:ext cx="356509" cy="349884"/>
                <a:chOff x="468738" y="2241878"/>
                <a:chExt cx="1655483" cy="1624719"/>
              </a:xfrm>
            </p:grpSpPr>
            <p:sp>
              <p:nvSpPr>
                <p:cNvPr id="2455" name="Freeform 5">
                  <a:extLst>
                    <a:ext uri="{FF2B5EF4-FFF2-40B4-BE49-F238E27FC236}">
                      <a16:creationId xmlns:a16="http://schemas.microsoft.com/office/drawing/2014/main" id="{81516C26-7CC0-4865-98F2-05E519A79E28}"/>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56" name="Freeform 6">
                  <a:extLst>
                    <a:ext uri="{FF2B5EF4-FFF2-40B4-BE49-F238E27FC236}">
                      <a16:creationId xmlns:a16="http://schemas.microsoft.com/office/drawing/2014/main" id="{EE1ECE39-B1C7-4972-AFDA-9B1C7AE92CAF}"/>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7" name="Line 7">
                  <a:extLst>
                    <a:ext uri="{FF2B5EF4-FFF2-40B4-BE49-F238E27FC236}">
                      <a16:creationId xmlns:a16="http://schemas.microsoft.com/office/drawing/2014/main" id="{69BEF833-005A-448B-A4A9-24B2B3F1948D}"/>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8" name="Freeform 8">
                  <a:extLst>
                    <a:ext uri="{FF2B5EF4-FFF2-40B4-BE49-F238E27FC236}">
                      <a16:creationId xmlns:a16="http://schemas.microsoft.com/office/drawing/2014/main" id="{4CA596B5-A245-4062-A62B-36A320793F1D}"/>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9" name="Line 9">
                  <a:extLst>
                    <a:ext uri="{FF2B5EF4-FFF2-40B4-BE49-F238E27FC236}">
                      <a16:creationId xmlns:a16="http://schemas.microsoft.com/office/drawing/2014/main" id="{12F30B3B-3621-49D6-B689-39D1687694B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460" name="Group 2459">
                  <a:extLst>
                    <a:ext uri="{FF2B5EF4-FFF2-40B4-BE49-F238E27FC236}">
                      <a16:creationId xmlns:a16="http://schemas.microsoft.com/office/drawing/2014/main" id="{47E72258-8CD2-4EDB-A4D3-4378433914C3}"/>
                    </a:ext>
                  </a:extLst>
                </p:cNvPr>
                <p:cNvGrpSpPr/>
                <p:nvPr/>
              </p:nvGrpSpPr>
              <p:grpSpPr>
                <a:xfrm>
                  <a:off x="1207113" y="2241878"/>
                  <a:ext cx="178734" cy="348678"/>
                  <a:chOff x="1207113" y="2241878"/>
                  <a:chExt cx="178734" cy="348678"/>
                </a:xfrm>
              </p:grpSpPr>
              <p:sp>
                <p:nvSpPr>
                  <p:cNvPr id="2483" name="Freeform 10">
                    <a:extLst>
                      <a:ext uri="{FF2B5EF4-FFF2-40B4-BE49-F238E27FC236}">
                        <a16:creationId xmlns:a16="http://schemas.microsoft.com/office/drawing/2014/main" id="{0C47D3E7-79FB-4169-AE5B-0D9C483BA7E2}"/>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4" name="Line 11">
                    <a:extLst>
                      <a:ext uri="{FF2B5EF4-FFF2-40B4-BE49-F238E27FC236}">
                        <a16:creationId xmlns:a16="http://schemas.microsoft.com/office/drawing/2014/main" id="{670F208F-5573-499B-AFB3-91B6275BEE3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461" name="Freeform 12">
                  <a:extLst>
                    <a:ext uri="{FF2B5EF4-FFF2-40B4-BE49-F238E27FC236}">
                      <a16:creationId xmlns:a16="http://schemas.microsoft.com/office/drawing/2014/main" id="{A86151A1-61DE-43C2-951B-92C53D5C336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2" name="Line 13">
                  <a:extLst>
                    <a:ext uri="{FF2B5EF4-FFF2-40B4-BE49-F238E27FC236}">
                      <a16:creationId xmlns:a16="http://schemas.microsoft.com/office/drawing/2014/main" id="{6673D6AB-E26B-405F-A42F-2A1A51E2797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3" name="Freeform 14">
                  <a:extLst>
                    <a:ext uri="{FF2B5EF4-FFF2-40B4-BE49-F238E27FC236}">
                      <a16:creationId xmlns:a16="http://schemas.microsoft.com/office/drawing/2014/main" id="{B1450993-D7A3-4940-9FF8-C4D4522FDEC1}"/>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4" name="Line 15">
                  <a:extLst>
                    <a:ext uri="{FF2B5EF4-FFF2-40B4-BE49-F238E27FC236}">
                      <a16:creationId xmlns:a16="http://schemas.microsoft.com/office/drawing/2014/main" id="{8804D058-A88A-4253-9F88-02814469569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5" name="Freeform 16">
                  <a:extLst>
                    <a:ext uri="{FF2B5EF4-FFF2-40B4-BE49-F238E27FC236}">
                      <a16:creationId xmlns:a16="http://schemas.microsoft.com/office/drawing/2014/main" id="{E79C8EA9-FB58-48CF-B309-653D723A975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6" name="Line 17">
                  <a:extLst>
                    <a:ext uri="{FF2B5EF4-FFF2-40B4-BE49-F238E27FC236}">
                      <a16:creationId xmlns:a16="http://schemas.microsoft.com/office/drawing/2014/main" id="{2E751352-0CED-402A-983C-643AA669C582}"/>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7" name="Freeform 18">
                  <a:extLst>
                    <a:ext uri="{FF2B5EF4-FFF2-40B4-BE49-F238E27FC236}">
                      <a16:creationId xmlns:a16="http://schemas.microsoft.com/office/drawing/2014/main" id="{BE6BE07E-AD0A-4D9D-AB39-55236A5F97F1}"/>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8" name="Line 19">
                  <a:extLst>
                    <a:ext uri="{FF2B5EF4-FFF2-40B4-BE49-F238E27FC236}">
                      <a16:creationId xmlns:a16="http://schemas.microsoft.com/office/drawing/2014/main" id="{60456495-5CCC-4911-B95C-E462C266330B}"/>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69" name="Freeform 35">
                  <a:extLst>
                    <a:ext uri="{FF2B5EF4-FFF2-40B4-BE49-F238E27FC236}">
                      <a16:creationId xmlns:a16="http://schemas.microsoft.com/office/drawing/2014/main" id="{1CADC041-943B-40B2-B55B-0437641409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0" name="Freeform 36">
                  <a:extLst>
                    <a:ext uri="{FF2B5EF4-FFF2-40B4-BE49-F238E27FC236}">
                      <a16:creationId xmlns:a16="http://schemas.microsoft.com/office/drawing/2014/main" id="{4B6A0B8D-17F7-4756-A6EF-FE5DC608CF4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1" name="Freeform 37">
                  <a:extLst>
                    <a:ext uri="{FF2B5EF4-FFF2-40B4-BE49-F238E27FC236}">
                      <a16:creationId xmlns:a16="http://schemas.microsoft.com/office/drawing/2014/main" id="{50720E32-9884-47CE-866D-8AAE8D1C2A2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2" name="Freeform 38">
                  <a:extLst>
                    <a:ext uri="{FF2B5EF4-FFF2-40B4-BE49-F238E27FC236}">
                      <a16:creationId xmlns:a16="http://schemas.microsoft.com/office/drawing/2014/main" id="{362F3DD2-60D2-402A-B035-A720A7D359B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3" name="Freeform 39">
                  <a:extLst>
                    <a:ext uri="{FF2B5EF4-FFF2-40B4-BE49-F238E27FC236}">
                      <a16:creationId xmlns:a16="http://schemas.microsoft.com/office/drawing/2014/main" id="{C23041C7-275B-41D8-A4A1-068955263D77}"/>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4" name="Freeform 40">
                  <a:extLst>
                    <a:ext uri="{FF2B5EF4-FFF2-40B4-BE49-F238E27FC236}">
                      <a16:creationId xmlns:a16="http://schemas.microsoft.com/office/drawing/2014/main" id="{B6C4A717-EA59-4FB6-BDE5-D06AE891B2DF}"/>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5" name="Freeform 41">
                  <a:extLst>
                    <a:ext uri="{FF2B5EF4-FFF2-40B4-BE49-F238E27FC236}">
                      <a16:creationId xmlns:a16="http://schemas.microsoft.com/office/drawing/2014/main" id="{97FAACF2-4CB6-4043-BF5E-E182F7F483EB}"/>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6" name="Line 42">
                  <a:extLst>
                    <a:ext uri="{FF2B5EF4-FFF2-40B4-BE49-F238E27FC236}">
                      <a16:creationId xmlns:a16="http://schemas.microsoft.com/office/drawing/2014/main" id="{DB8A49ED-314B-40BB-84B6-0D3E1E29134E}"/>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7" name="Freeform 43">
                  <a:extLst>
                    <a:ext uri="{FF2B5EF4-FFF2-40B4-BE49-F238E27FC236}">
                      <a16:creationId xmlns:a16="http://schemas.microsoft.com/office/drawing/2014/main" id="{B603E387-9F0D-4EFE-8C6B-3652B87F880F}"/>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78" name="Freeform 44">
                  <a:extLst>
                    <a:ext uri="{FF2B5EF4-FFF2-40B4-BE49-F238E27FC236}">
                      <a16:creationId xmlns:a16="http://schemas.microsoft.com/office/drawing/2014/main" id="{34A2BAC5-CCD7-4F5E-8E6F-CC2F1CAE997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79" name="Freeform 45">
                  <a:extLst>
                    <a:ext uri="{FF2B5EF4-FFF2-40B4-BE49-F238E27FC236}">
                      <a16:creationId xmlns:a16="http://schemas.microsoft.com/office/drawing/2014/main" id="{3FD94874-42D9-4265-8762-1AD68273C555}"/>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480" name="Group 2479">
                  <a:extLst>
                    <a:ext uri="{FF2B5EF4-FFF2-40B4-BE49-F238E27FC236}">
                      <a16:creationId xmlns:a16="http://schemas.microsoft.com/office/drawing/2014/main" id="{2034E04A-B735-4A02-8D5B-E3C9EA6E29AE}"/>
                    </a:ext>
                  </a:extLst>
                </p:cNvPr>
                <p:cNvGrpSpPr/>
                <p:nvPr/>
              </p:nvGrpSpPr>
              <p:grpSpPr>
                <a:xfrm flipV="1">
                  <a:off x="1202047" y="3517919"/>
                  <a:ext cx="178734" cy="348678"/>
                  <a:chOff x="1207113" y="2241878"/>
                  <a:chExt cx="178734" cy="348678"/>
                </a:xfrm>
              </p:grpSpPr>
              <p:sp>
                <p:nvSpPr>
                  <p:cNvPr id="2481" name="Freeform 10">
                    <a:extLst>
                      <a:ext uri="{FF2B5EF4-FFF2-40B4-BE49-F238E27FC236}">
                        <a16:creationId xmlns:a16="http://schemas.microsoft.com/office/drawing/2014/main" id="{FBDB3A36-C844-4BDA-963C-79EA7B4ED2CA}"/>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82" name="Line 11">
                    <a:extLst>
                      <a:ext uri="{FF2B5EF4-FFF2-40B4-BE49-F238E27FC236}">
                        <a16:creationId xmlns:a16="http://schemas.microsoft.com/office/drawing/2014/main" id="{DF8CECD6-1E34-4AF6-B617-12E9FA8F9DF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430" name="Group 2429">
              <a:extLst>
                <a:ext uri="{FF2B5EF4-FFF2-40B4-BE49-F238E27FC236}">
                  <a16:creationId xmlns:a16="http://schemas.microsoft.com/office/drawing/2014/main" id="{311AA17F-9D68-4446-AAFF-6662572D33E6}"/>
                </a:ext>
              </a:extLst>
            </p:cNvPr>
            <p:cNvGrpSpPr>
              <a:grpSpLocks/>
            </p:cNvGrpSpPr>
            <p:nvPr/>
          </p:nvGrpSpPr>
          <p:grpSpPr>
            <a:xfrm>
              <a:off x="9270466" y="4594229"/>
              <a:ext cx="427295" cy="427297"/>
              <a:chOff x="10412894" y="6962721"/>
              <a:chExt cx="415610" cy="415612"/>
            </a:xfrm>
          </p:grpSpPr>
          <p:grpSp>
            <p:nvGrpSpPr>
              <p:cNvPr id="2431" name="Group 64">
                <a:extLst>
                  <a:ext uri="{FF2B5EF4-FFF2-40B4-BE49-F238E27FC236}">
                    <a16:creationId xmlns:a16="http://schemas.microsoft.com/office/drawing/2014/main" id="{0585745F-8B89-418D-ABF6-725A793FA0E4}"/>
                  </a:ext>
                </a:extLst>
              </p:cNvPr>
              <p:cNvGrpSpPr>
                <a:grpSpLocks noChangeAspect="1"/>
              </p:cNvGrpSpPr>
              <p:nvPr/>
            </p:nvGrpSpPr>
            <p:grpSpPr bwMode="auto">
              <a:xfrm rot="8100000">
                <a:off x="10412894" y="6962721"/>
                <a:ext cx="415610" cy="415612"/>
                <a:chOff x="701" y="2170"/>
                <a:chExt cx="587" cy="587"/>
              </a:xfrm>
            </p:grpSpPr>
            <p:sp>
              <p:nvSpPr>
                <p:cNvPr id="2446" name="Oval 65">
                  <a:extLst>
                    <a:ext uri="{FF2B5EF4-FFF2-40B4-BE49-F238E27FC236}">
                      <a16:creationId xmlns:a16="http://schemas.microsoft.com/office/drawing/2014/main" id="{19B83C1E-219C-4B3C-B71A-59335E29C2BE}"/>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7" name="Line 66">
                  <a:extLst>
                    <a:ext uri="{FF2B5EF4-FFF2-40B4-BE49-F238E27FC236}">
                      <a16:creationId xmlns:a16="http://schemas.microsoft.com/office/drawing/2014/main" id="{64CA6489-A276-4ED8-AA94-72D2C0F7868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8" name="Line 67">
                  <a:extLst>
                    <a:ext uri="{FF2B5EF4-FFF2-40B4-BE49-F238E27FC236}">
                      <a16:creationId xmlns:a16="http://schemas.microsoft.com/office/drawing/2014/main" id="{85350875-FACD-4FC9-BA3C-D95C80EAF555}"/>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9" name="Line 69">
                  <a:extLst>
                    <a:ext uri="{FF2B5EF4-FFF2-40B4-BE49-F238E27FC236}">
                      <a16:creationId xmlns:a16="http://schemas.microsoft.com/office/drawing/2014/main" id="{C8F7BDCA-3A94-48F0-B7F9-14A930A3162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0" name="Line 74">
                  <a:extLst>
                    <a:ext uri="{FF2B5EF4-FFF2-40B4-BE49-F238E27FC236}">
                      <a16:creationId xmlns:a16="http://schemas.microsoft.com/office/drawing/2014/main" id="{1F58BD8D-6337-4B89-9129-BBAD78998B0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1" name="Freeform 78">
                  <a:extLst>
                    <a:ext uri="{FF2B5EF4-FFF2-40B4-BE49-F238E27FC236}">
                      <a16:creationId xmlns:a16="http://schemas.microsoft.com/office/drawing/2014/main" id="{4BCFDDBE-5789-4746-9A72-7EDE017E542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52" name="Freeform 80">
                  <a:extLst>
                    <a:ext uri="{FF2B5EF4-FFF2-40B4-BE49-F238E27FC236}">
                      <a16:creationId xmlns:a16="http://schemas.microsoft.com/office/drawing/2014/main" id="{AD97CBBD-6549-44BB-9F9D-027D10B7DA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32" name="Group 2431">
                <a:extLst>
                  <a:ext uri="{FF2B5EF4-FFF2-40B4-BE49-F238E27FC236}">
                    <a16:creationId xmlns:a16="http://schemas.microsoft.com/office/drawing/2014/main" id="{7EF2BD52-6578-4359-A7D9-4AC44EC3D103}"/>
                  </a:ext>
                </a:extLst>
              </p:cNvPr>
              <p:cNvGrpSpPr/>
              <p:nvPr/>
            </p:nvGrpSpPr>
            <p:grpSpPr>
              <a:xfrm>
                <a:off x="10462223" y="7069159"/>
                <a:ext cx="313949" cy="233075"/>
                <a:chOff x="3707533" y="2731244"/>
                <a:chExt cx="389644" cy="289271"/>
              </a:xfrm>
            </p:grpSpPr>
            <p:sp>
              <p:nvSpPr>
                <p:cNvPr id="2433" name="Freeform 33">
                  <a:extLst>
                    <a:ext uri="{FF2B5EF4-FFF2-40B4-BE49-F238E27FC236}">
                      <a16:creationId xmlns:a16="http://schemas.microsoft.com/office/drawing/2014/main" id="{D1D4276D-451B-4FE1-9E0F-A5B8F7439124}"/>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4" name="Freeform 34">
                  <a:extLst>
                    <a:ext uri="{FF2B5EF4-FFF2-40B4-BE49-F238E27FC236}">
                      <a16:creationId xmlns:a16="http://schemas.microsoft.com/office/drawing/2014/main" id="{50D4FCBD-D976-4EA2-BA1B-DB3EF5235A83}"/>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5" name="Freeform 37">
                  <a:extLst>
                    <a:ext uri="{FF2B5EF4-FFF2-40B4-BE49-F238E27FC236}">
                      <a16:creationId xmlns:a16="http://schemas.microsoft.com/office/drawing/2014/main" id="{2B2EB6E4-37C9-41EA-84A7-8B166E2D064F}"/>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6" name="Freeform 38">
                  <a:extLst>
                    <a:ext uri="{FF2B5EF4-FFF2-40B4-BE49-F238E27FC236}">
                      <a16:creationId xmlns:a16="http://schemas.microsoft.com/office/drawing/2014/main" id="{BFCCACAB-FE16-48E8-838D-6DCDA830CC09}"/>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7" name="Freeform 32">
                  <a:extLst>
                    <a:ext uri="{FF2B5EF4-FFF2-40B4-BE49-F238E27FC236}">
                      <a16:creationId xmlns:a16="http://schemas.microsoft.com/office/drawing/2014/main" id="{ED8F3D9C-0215-41CC-A90E-73B73C68EB9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8" name="Freeform 35">
                  <a:extLst>
                    <a:ext uri="{FF2B5EF4-FFF2-40B4-BE49-F238E27FC236}">
                      <a16:creationId xmlns:a16="http://schemas.microsoft.com/office/drawing/2014/main" id="{37E9A7A7-5B56-430D-834C-10E6DF2F379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39" name="Freeform 36">
                  <a:extLst>
                    <a:ext uri="{FF2B5EF4-FFF2-40B4-BE49-F238E27FC236}">
                      <a16:creationId xmlns:a16="http://schemas.microsoft.com/office/drawing/2014/main" id="{FF15E7F0-F770-4E15-8E33-A02E938758B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0" name="Freeform 25">
                  <a:extLst>
                    <a:ext uri="{FF2B5EF4-FFF2-40B4-BE49-F238E27FC236}">
                      <a16:creationId xmlns:a16="http://schemas.microsoft.com/office/drawing/2014/main" id="{27F35ECA-7C27-4B01-9FC3-14067978EFBA}"/>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1" name="Freeform 39">
                  <a:extLst>
                    <a:ext uri="{FF2B5EF4-FFF2-40B4-BE49-F238E27FC236}">
                      <a16:creationId xmlns:a16="http://schemas.microsoft.com/office/drawing/2014/main" id="{0D7AA89B-64C7-4FE2-9C24-3EDEA31C2CC1}"/>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2" name="Freeform 26">
                  <a:extLst>
                    <a:ext uri="{FF2B5EF4-FFF2-40B4-BE49-F238E27FC236}">
                      <a16:creationId xmlns:a16="http://schemas.microsoft.com/office/drawing/2014/main" id="{CC0AACFB-71F3-47B0-ADF2-0611DA8D6637}"/>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3" name="Rectangle 27">
                  <a:extLst>
                    <a:ext uri="{FF2B5EF4-FFF2-40B4-BE49-F238E27FC236}">
                      <a16:creationId xmlns:a16="http://schemas.microsoft.com/office/drawing/2014/main" id="{88FDFBFF-ACE6-470A-B16F-0AEB7BCCEAF8}"/>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44" name="Line 29">
                  <a:extLst>
                    <a:ext uri="{FF2B5EF4-FFF2-40B4-BE49-F238E27FC236}">
                      <a16:creationId xmlns:a16="http://schemas.microsoft.com/office/drawing/2014/main" id="{4F0085F7-28FC-4EE7-A48B-589D7EF6E6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45" name="Line 31">
                  <a:extLst>
                    <a:ext uri="{FF2B5EF4-FFF2-40B4-BE49-F238E27FC236}">
                      <a16:creationId xmlns:a16="http://schemas.microsoft.com/office/drawing/2014/main" id="{97D0E542-07D1-492A-B517-2D28E090A289}"/>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 name="Group 20">
            <a:extLst>
              <a:ext uri="{FF2B5EF4-FFF2-40B4-BE49-F238E27FC236}">
                <a16:creationId xmlns:a16="http://schemas.microsoft.com/office/drawing/2014/main" id="{E0FFFACC-468F-4412-AE49-ACAE9C7DF27C}"/>
              </a:ext>
            </a:extLst>
          </p:cNvPr>
          <p:cNvGrpSpPr/>
          <p:nvPr/>
        </p:nvGrpSpPr>
        <p:grpSpPr>
          <a:xfrm>
            <a:off x="5338229" y="3985905"/>
            <a:ext cx="4367346" cy="2539218"/>
            <a:chOff x="5338031" y="3986050"/>
            <a:chExt cx="4368484" cy="2539879"/>
          </a:xfrm>
        </p:grpSpPr>
        <p:grpSp>
          <p:nvGrpSpPr>
            <p:cNvPr id="2337" name="Group 2336">
              <a:extLst>
                <a:ext uri="{FF2B5EF4-FFF2-40B4-BE49-F238E27FC236}">
                  <a16:creationId xmlns:a16="http://schemas.microsoft.com/office/drawing/2014/main" id="{DDA94247-6C21-47BD-8890-27617C827EBD}"/>
                </a:ext>
              </a:extLst>
            </p:cNvPr>
            <p:cNvGrpSpPr/>
            <p:nvPr/>
          </p:nvGrpSpPr>
          <p:grpSpPr>
            <a:xfrm>
              <a:off x="6626435" y="3986050"/>
              <a:ext cx="3080080" cy="2539879"/>
              <a:chOff x="6642908" y="3955938"/>
              <a:chExt cx="3087943" cy="2546363"/>
            </a:xfrm>
          </p:grpSpPr>
          <p:sp>
            <p:nvSpPr>
              <p:cNvPr id="2338" name="Rectangle 2337">
                <a:extLst>
                  <a:ext uri="{FF2B5EF4-FFF2-40B4-BE49-F238E27FC236}">
                    <a16:creationId xmlns:a16="http://schemas.microsoft.com/office/drawing/2014/main" id="{A7B93953-84E2-40F4-93F9-ABD28544EE36}"/>
                  </a:ext>
                </a:extLst>
              </p:cNvPr>
              <p:cNvSpPr>
                <a:spLocks/>
              </p:cNvSpPr>
              <p:nvPr/>
            </p:nvSpPr>
            <p:spPr bwMode="gray">
              <a:xfrm>
                <a:off x="7704168" y="5126647"/>
                <a:ext cx="2026683" cy="1358587"/>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95000"/>
                  </a:lnSpc>
                  <a:spcAft>
                    <a:spcPts val="408"/>
                  </a:spcAft>
                  <a:defRPr/>
                </a:pPr>
                <a:r>
                  <a:rPr lang="en-US" sz="816" b="1" dirty="0">
                    <a:solidFill>
                      <a:sysClr val="windowText" lastClr="000000"/>
                    </a:solidFill>
                    <a:latin typeface="Verdana"/>
                  </a:rPr>
                  <a:t>Product Backlog Refinement</a:t>
                </a:r>
                <a:endParaRPr lang="en-US" sz="204" b="1" dirty="0">
                  <a:solidFill>
                    <a:sysClr val="windowText" lastClr="000000"/>
                  </a:solidFill>
                  <a:latin typeface="Verdana"/>
                </a:endParaRP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Introduce new User Stories; refine existing User Stories </a:t>
                </a:r>
              </a:p>
              <a:p>
                <a:pPr marL="124339" indent="-124339" defTabSz="828903">
                  <a:lnSpc>
                    <a:spcPct val="90000"/>
                  </a:lnSpc>
                  <a:spcAft>
                    <a:spcPts val="408"/>
                  </a:spcAft>
                  <a:buFont typeface="Wingdings 2" pitchFamily="18" charset="2"/>
                  <a:buAutoNum type="arabicPeriod"/>
                  <a:defRPr/>
                </a:pPr>
                <a:r>
                  <a:rPr lang="en-US" sz="748" dirty="0">
                    <a:solidFill>
                      <a:sysClr val="windowText" lastClr="000000"/>
                    </a:solidFill>
                    <a:latin typeface="Verdana"/>
                  </a:rPr>
                  <a:t>Estimate in Story Points </a:t>
                </a:r>
              </a:p>
            </p:txBody>
          </p:sp>
          <p:grpSp>
            <p:nvGrpSpPr>
              <p:cNvPr id="2339" name="Group 2338">
                <a:extLst>
                  <a:ext uri="{FF2B5EF4-FFF2-40B4-BE49-F238E27FC236}">
                    <a16:creationId xmlns:a16="http://schemas.microsoft.com/office/drawing/2014/main" id="{8EBD560F-D7D0-41D2-91A0-A393A0E9F35B}"/>
                  </a:ext>
                </a:extLst>
              </p:cNvPr>
              <p:cNvGrpSpPr/>
              <p:nvPr/>
            </p:nvGrpSpPr>
            <p:grpSpPr>
              <a:xfrm>
                <a:off x="8222643" y="5655421"/>
                <a:ext cx="1030675" cy="846880"/>
                <a:chOff x="10800033" y="2297897"/>
                <a:chExt cx="1600558" cy="1315140"/>
              </a:xfrm>
            </p:grpSpPr>
            <p:grpSp>
              <p:nvGrpSpPr>
                <p:cNvPr id="2341" name="Group 2340">
                  <a:extLst>
                    <a:ext uri="{FF2B5EF4-FFF2-40B4-BE49-F238E27FC236}">
                      <a16:creationId xmlns:a16="http://schemas.microsoft.com/office/drawing/2014/main" id="{AC94F9E1-FBAF-41DB-BEF3-9C11C4CFF810}"/>
                    </a:ext>
                  </a:extLst>
                </p:cNvPr>
                <p:cNvGrpSpPr>
                  <a:grpSpLocks/>
                </p:cNvGrpSpPr>
                <p:nvPr/>
              </p:nvGrpSpPr>
              <p:grpSpPr>
                <a:xfrm>
                  <a:off x="10800033" y="2339037"/>
                  <a:ext cx="613092" cy="613092"/>
                  <a:chOff x="745985" y="4768134"/>
                  <a:chExt cx="368776" cy="368777"/>
                </a:xfrm>
              </p:grpSpPr>
              <p:grpSp>
                <p:nvGrpSpPr>
                  <p:cNvPr id="2405" name="Group 64">
                    <a:extLst>
                      <a:ext uri="{FF2B5EF4-FFF2-40B4-BE49-F238E27FC236}">
                        <a16:creationId xmlns:a16="http://schemas.microsoft.com/office/drawing/2014/main" id="{2D467CFE-327F-4C11-8F98-67E4589F53EB}"/>
                      </a:ext>
                    </a:extLst>
                  </p:cNvPr>
                  <p:cNvGrpSpPr>
                    <a:grpSpLocks noChangeAspect="1"/>
                  </p:cNvGrpSpPr>
                  <p:nvPr/>
                </p:nvGrpSpPr>
                <p:grpSpPr bwMode="auto">
                  <a:xfrm rot="8100000">
                    <a:off x="745985" y="4768134"/>
                    <a:ext cx="368776" cy="368777"/>
                    <a:chOff x="701" y="2170"/>
                    <a:chExt cx="587" cy="587"/>
                  </a:xfrm>
                </p:grpSpPr>
                <p:sp>
                  <p:nvSpPr>
                    <p:cNvPr id="2416" name="Oval 65">
                      <a:extLst>
                        <a:ext uri="{FF2B5EF4-FFF2-40B4-BE49-F238E27FC236}">
                          <a16:creationId xmlns:a16="http://schemas.microsoft.com/office/drawing/2014/main" id="{ED0F215B-BA8F-408F-BF8C-FA3F6EFA154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7" name="Line 66">
                      <a:extLst>
                        <a:ext uri="{FF2B5EF4-FFF2-40B4-BE49-F238E27FC236}">
                          <a16:creationId xmlns:a16="http://schemas.microsoft.com/office/drawing/2014/main" id="{1F8CD18C-E8E8-459C-AD51-26757D533173}"/>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8" name="Line 67">
                      <a:extLst>
                        <a:ext uri="{FF2B5EF4-FFF2-40B4-BE49-F238E27FC236}">
                          <a16:creationId xmlns:a16="http://schemas.microsoft.com/office/drawing/2014/main" id="{DD463698-E1B2-4255-847B-A436D2B5AC19}"/>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9" name="Line 69">
                      <a:extLst>
                        <a:ext uri="{FF2B5EF4-FFF2-40B4-BE49-F238E27FC236}">
                          <a16:creationId xmlns:a16="http://schemas.microsoft.com/office/drawing/2014/main" id="{B0314370-C385-4F54-B179-55D915F8ABD8}"/>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0" name="Line 74">
                      <a:extLst>
                        <a:ext uri="{FF2B5EF4-FFF2-40B4-BE49-F238E27FC236}">
                          <a16:creationId xmlns:a16="http://schemas.microsoft.com/office/drawing/2014/main" id="{CE969C45-AC61-45CD-BF5A-1B7472E30E2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1" name="Freeform 78">
                      <a:extLst>
                        <a:ext uri="{FF2B5EF4-FFF2-40B4-BE49-F238E27FC236}">
                          <a16:creationId xmlns:a16="http://schemas.microsoft.com/office/drawing/2014/main" id="{7DDFE362-3C90-499D-AFEE-8DF46024377D}"/>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22" name="Freeform 80">
                      <a:extLst>
                        <a:ext uri="{FF2B5EF4-FFF2-40B4-BE49-F238E27FC236}">
                          <a16:creationId xmlns:a16="http://schemas.microsoft.com/office/drawing/2014/main" id="{43213219-1909-4E43-AF35-9ABE9D9A903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406" name="Group 2405">
                    <a:extLst>
                      <a:ext uri="{FF2B5EF4-FFF2-40B4-BE49-F238E27FC236}">
                        <a16:creationId xmlns:a16="http://schemas.microsoft.com/office/drawing/2014/main" id="{A18EEDD0-E7A1-42F6-B034-2DD7587C985A}"/>
                      </a:ext>
                    </a:extLst>
                  </p:cNvPr>
                  <p:cNvGrpSpPr/>
                  <p:nvPr/>
                </p:nvGrpSpPr>
                <p:grpSpPr>
                  <a:xfrm>
                    <a:off x="837312" y="4814434"/>
                    <a:ext cx="136805" cy="278689"/>
                    <a:chOff x="2806700" y="2803319"/>
                    <a:chExt cx="433387" cy="882861"/>
                  </a:xfrm>
                </p:grpSpPr>
                <p:grpSp>
                  <p:nvGrpSpPr>
                    <p:cNvPr id="2407" name="Group 2406">
                      <a:extLst>
                        <a:ext uri="{FF2B5EF4-FFF2-40B4-BE49-F238E27FC236}">
                          <a16:creationId xmlns:a16="http://schemas.microsoft.com/office/drawing/2014/main" id="{2A89FE14-587D-4D2E-BA45-6DE7BA51FF28}"/>
                        </a:ext>
                      </a:extLst>
                    </p:cNvPr>
                    <p:cNvGrpSpPr>
                      <a:grpSpLocks noChangeAspect="1"/>
                    </p:cNvGrpSpPr>
                    <p:nvPr/>
                  </p:nvGrpSpPr>
                  <p:grpSpPr bwMode="auto">
                    <a:xfrm>
                      <a:off x="2806700" y="3043242"/>
                      <a:ext cx="433387" cy="642938"/>
                      <a:chOff x="1768" y="1917"/>
                      <a:chExt cx="273" cy="405"/>
                    </a:xfrm>
                  </p:grpSpPr>
                  <p:sp>
                    <p:nvSpPr>
                      <p:cNvPr id="2409" name="Freeform 52">
                        <a:extLst>
                          <a:ext uri="{FF2B5EF4-FFF2-40B4-BE49-F238E27FC236}">
                            <a16:creationId xmlns:a16="http://schemas.microsoft.com/office/drawing/2014/main" id="{95CD2D06-24F8-4449-9951-6BD7EBAE1AAB}"/>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410" name="Line 54">
                        <a:extLst>
                          <a:ext uri="{FF2B5EF4-FFF2-40B4-BE49-F238E27FC236}">
                            <a16:creationId xmlns:a16="http://schemas.microsoft.com/office/drawing/2014/main" id="{1A539A6E-3242-484B-8613-6F2BA665639C}"/>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1" name="Line 55">
                        <a:extLst>
                          <a:ext uri="{FF2B5EF4-FFF2-40B4-BE49-F238E27FC236}">
                            <a16:creationId xmlns:a16="http://schemas.microsoft.com/office/drawing/2014/main" id="{CDABBCFE-228A-48EF-AD10-4DFBD675AF5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2" name="Freeform 56">
                        <a:extLst>
                          <a:ext uri="{FF2B5EF4-FFF2-40B4-BE49-F238E27FC236}">
                            <a16:creationId xmlns:a16="http://schemas.microsoft.com/office/drawing/2014/main" id="{444D8612-3446-4481-891A-621EE811D71C}"/>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3" name="Line 57">
                        <a:extLst>
                          <a:ext uri="{FF2B5EF4-FFF2-40B4-BE49-F238E27FC236}">
                            <a16:creationId xmlns:a16="http://schemas.microsoft.com/office/drawing/2014/main" id="{68EC78A2-36FF-47FA-9EFC-0F52E307B26F}"/>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4" name="Freeform 58">
                        <a:extLst>
                          <a:ext uri="{FF2B5EF4-FFF2-40B4-BE49-F238E27FC236}">
                            <a16:creationId xmlns:a16="http://schemas.microsoft.com/office/drawing/2014/main" id="{AFE44C6B-E778-4641-AA4D-415A808CB891}"/>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15" name="Rectangle 2414">
                        <a:extLst>
                          <a:ext uri="{FF2B5EF4-FFF2-40B4-BE49-F238E27FC236}">
                            <a16:creationId xmlns:a16="http://schemas.microsoft.com/office/drawing/2014/main" id="{20614383-BF9F-49D7-9A9C-282CFE73CEE7}"/>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408" name="Oval 2407">
                      <a:extLst>
                        <a:ext uri="{FF2B5EF4-FFF2-40B4-BE49-F238E27FC236}">
                          <a16:creationId xmlns:a16="http://schemas.microsoft.com/office/drawing/2014/main" id="{7DD6504C-6A76-4898-A418-811D7A7F346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342" name="Group 2341">
                  <a:extLst>
                    <a:ext uri="{FF2B5EF4-FFF2-40B4-BE49-F238E27FC236}">
                      <a16:creationId xmlns:a16="http://schemas.microsoft.com/office/drawing/2014/main" id="{7862826A-9D36-468A-AB87-67D1C10C33F3}"/>
                    </a:ext>
                  </a:extLst>
                </p:cNvPr>
                <p:cNvGrpSpPr>
                  <a:grpSpLocks/>
                </p:cNvGrpSpPr>
                <p:nvPr/>
              </p:nvGrpSpPr>
              <p:grpSpPr>
                <a:xfrm>
                  <a:off x="11166615" y="2825631"/>
                  <a:ext cx="787402" cy="787406"/>
                  <a:chOff x="1454941" y="4721722"/>
                  <a:chExt cx="473625" cy="473627"/>
                </a:xfrm>
              </p:grpSpPr>
              <p:grpSp>
                <p:nvGrpSpPr>
                  <p:cNvPr id="2366" name="Group 64">
                    <a:extLst>
                      <a:ext uri="{FF2B5EF4-FFF2-40B4-BE49-F238E27FC236}">
                        <a16:creationId xmlns:a16="http://schemas.microsoft.com/office/drawing/2014/main" id="{6D8D3179-A03D-4140-A35D-9ED871DEE497}"/>
                      </a:ext>
                    </a:extLst>
                  </p:cNvPr>
                  <p:cNvGrpSpPr>
                    <a:grpSpLocks noChangeAspect="1"/>
                  </p:cNvGrpSpPr>
                  <p:nvPr/>
                </p:nvGrpSpPr>
                <p:grpSpPr bwMode="auto">
                  <a:xfrm rot="8100000">
                    <a:off x="1454941" y="4721722"/>
                    <a:ext cx="473625" cy="473627"/>
                    <a:chOff x="701" y="2170"/>
                    <a:chExt cx="587" cy="587"/>
                  </a:xfrm>
                </p:grpSpPr>
                <p:sp>
                  <p:nvSpPr>
                    <p:cNvPr id="2398" name="Oval 65">
                      <a:extLst>
                        <a:ext uri="{FF2B5EF4-FFF2-40B4-BE49-F238E27FC236}">
                          <a16:creationId xmlns:a16="http://schemas.microsoft.com/office/drawing/2014/main" id="{A9C2940D-ADE4-4B5C-9D2F-CE7D925DDBE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9" name="Line 66">
                      <a:extLst>
                        <a:ext uri="{FF2B5EF4-FFF2-40B4-BE49-F238E27FC236}">
                          <a16:creationId xmlns:a16="http://schemas.microsoft.com/office/drawing/2014/main" id="{1083C9EE-F127-4DE3-918F-A3CA43958F01}"/>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0" name="Line 67">
                      <a:extLst>
                        <a:ext uri="{FF2B5EF4-FFF2-40B4-BE49-F238E27FC236}">
                          <a16:creationId xmlns:a16="http://schemas.microsoft.com/office/drawing/2014/main" id="{9E15F4CB-1172-4731-91B9-D33A02D874EB}"/>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1" name="Line 69">
                      <a:extLst>
                        <a:ext uri="{FF2B5EF4-FFF2-40B4-BE49-F238E27FC236}">
                          <a16:creationId xmlns:a16="http://schemas.microsoft.com/office/drawing/2014/main" id="{9B8C72DA-58C4-42C5-B9CB-ADA3C34E94F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2" name="Line 74">
                      <a:extLst>
                        <a:ext uri="{FF2B5EF4-FFF2-40B4-BE49-F238E27FC236}">
                          <a16:creationId xmlns:a16="http://schemas.microsoft.com/office/drawing/2014/main" id="{6A1C3B98-9F28-4D4C-A627-B93893FC94C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3" name="Freeform 78">
                      <a:extLst>
                        <a:ext uri="{FF2B5EF4-FFF2-40B4-BE49-F238E27FC236}">
                          <a16:creationId xmlns:a16="http://schemas.microsoft.com/office/drawing/2014/main" id="{20E1F880-8D77-47DC-90B2-33E26040C38E}"/>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404" name="Freeform 80">
                      <a:extLst>
                        <a:ext uri="{FF2B5EF4-FFF2-40B4-BE49-F238E27FC236}">
                          <a16:creationId xmlns:a16="http://schemas.microsoft.com/office/drawing/2014/main" id="{61247636-7F48-4A31-95CC-1F25BEB816F6}"/>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67" name="Group 2366">
                    <a:extLst>
                      <a:ext uri="{FF2B5EF4-FFF2-40B4-BE49-F238E27FC236}">
                        <a16:creationId xmlns:a16="http://schemas.microsoft.com/office/drawing/2014/main" id="{7CA603DC-2CB3-4457-BC06-9D9C66995682}"/>
                      </a:ext>
                    </a:extLst>
                  </p:cNvPr>
                  <p:cNvGrpSpPr/>
                  <p:nvPr/>
                </p:nvGrpSpPr>
                <p:grpSpPr>
                  <a:xfrm>
                    <a:off x="1511214" y="4789508"/>
                    <a:ext cx="356509" cy="349884"/>
                    <a:chOff x="468738" y="2241878"/>
                    <a:chExt cx="1655483" cy="1624719"/>
                  </a:xfrm>
                </p:grpSpPr>
                <p:sp>
                  <p:nvSpPr>
                    <p:cNvPr id="2368" name="Freeform 5">
                      <a:extLst>
                        <a:ext uri="{FF2B5EF4-FFF2-40B4-BE49-F238E27FC236}">
                          <a16:creationId xmlns:a16="http://schemas.microsoft.com/office/drawing/2014/main" id="{ADC07B4E-EB60-437D-B88B-7D6F7BAB9233}"/>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9" name="Freeform 6">
                      <a:extLst>
                        <a:ext uri="{FF2B5EF4-FFF2-40B4-BE49-F238E27FC236}">
                          <a16:creationId xmlns:a16="http://schemas.microsoft.com/office/drawing/2014/main" id="{4DB7CFF2-1361-40F5-87D8-09A6625F8B72}"/>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0" name="Line 7">
                      <a:extLst>
                        <a:ext uri="{FF2B5EF4-FFF2-40B4-BE49-F238E27FC236}">
                          <a16:creationId xmlns:a16="http://schemas.microsoft.com/office/drawing/2014/main" id="{953A429A-1E35-4CEE-BA64-D9FC04FA086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1" name="Freeform 8">
                      <a:extLst>
                        <a:ext uri="{FF2B5EF4-FFF2-40B4-BE49-F238E27FC236}">
                          <a16:creationId xmlns:a16="http://schemas.microsoft.com/office/drawing/2014/main" id="{C4FE8D59-A063-4D15-B49E-79B6D722D5F7}"/>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2" name="Line 9">
                      <a:extLst>
                        <a:ext uri="{FF2B5EF4-FFF2-40B4-BE49-F238E27FC236}">
                          <a16:creationId xmlns:a16="http://schemas.microsoft.com/office/drawing/2014/main" id="{9142A3A8-5AEE-4E91-8FCF-C44DB5FDD00B}"/>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73" name="Group 2372">
                      <a:extLst>
                        <a:ext uri="{FF2B5EF4-FFF2-40B4-BE49-F238E27FC236}">
                          <a16:creationId xmlns:a16="http://schemas.microsoft.com/office/drawing/2014/main" id="{D0D9E88A-7125-463C-99F6-69E652DF1D6C}"/>
                        </a:ext>
                      </a:extLst>
                    </p:cNvPr>
                    <p:cNvGrpSpPr/>
                    <p:nvPr/>
                  </p:nvGrpSpPr>
                  <p:grpSpPr>
                    <a:xfrm>
                      <a:off x="1207113" y="2241878"/>
                      <a:ext cx="178734" cy="348678"/>
                      <a:chOff x="1207113" y="2241878"/>
                      <a:chExt cx="178734" cy="348678"/>
                    </a:xfrm>
                  </p:grpSpPr>
                  <p:sp>
                    <p:nvSpPr>
                      <p:cNvPr id="2396" name="Freeform 10">
                        <a:extLst>
                          <a:ext uri="{FF2B5EF4-FFF2-40B4-BE49-F238E27FC236}">
                            <a16:creationId xmlns:a16="http://schemas.microsoft.com/office/drawing/2014/main" id="{2A346116-E741-4C3B-B914-47EC427CBE48}"/>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7" name="Line 11">
                        <a:extLst>
                          <a:ext uri="{FF2B5EF4-FFF2-40B4-BE49-F238E27FC236}">
                            <a16:creationId xmlns:a16="http://schemas.microsoft.com/office/drawing/2014/main" id="{89626DE7-3267-48D4-9E34-062FB83C8135}"/>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374" name="Freeform 12">
                      <a:extLst>
                        <a:ext uri="{FF2B5EF4-FFF2-40B4-BE49-F238E27FC236}">
                          <a16:creationId xmlns:a16="http://schemas.microsoft.com/office/drawing/2014/main" id="{CBFF604C-CEE7-486B-9F59-ABD512FE14A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5" name="Line 13">
                      <a:extLst>
                        <a:ext uri="{FF2B5EF4-FFF2-40B4-BE49-F238E27FC236}">
                          <a16:creationId xmlns:a16="http://schemas.microsoft.com/office/drawing/2014/main" id="{011D96E9-7F00-4481-9DDF-B78A8C268821}"/>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6" name="Freeform 14">
                      <a:extLst>
                        <a:ext uri="{FF2B5EF4-FFF2-40B4-BE49-F238E27FC236}">
                          <a16:creationId xmlns:a16="http://schemas.microsoft.com/office/drawing/2014/main" id="{57984474-AE19-49E3-94BE-8BFA97336C0D}"/>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7" name="Line 15">
                      <a:extLst>
                        <a:ext uri="{FF2B5EF4-FFF2-40B4-BE49-F238E27FC236}">
                          <a16:creationId xmlns:a16="http://schemas.microsoft.com/office/drawing/2014/main" id="{594098A5-7450-4664-BEB0-FC2CEF910AA1}"/>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8" name="Freeform 16">
                      <a:extLst>
                        <a:ext uri="{FF2B5EF4-FFF2-40B4-BE49-F238E27FC236}">
                          <a16:creationId xmlns:a16="http://schemas.microsoft.com/office/drawing/2014/main" id="{CE415B0A-B475-47FB-90FA-56BCE302B1D9}"/>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79" name="Line 17">
                      <a:extLst>
                        <a:ext uri="{FF2B5EF4-FFF2-40B4-BE49-F238E27FC236}">
                          <a16:creationId xmlns:a16="http://schemas.microsoft.com/office/drawing/2014/main" id="{BC94CB20-B81C-43DF-B564-C5DF3CF4A340}"/>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0" name="Freeform 18">
                      <a:extLst>
                        <a:ext uri="{FF2B5EF4-FFF2-40B4-BE49-F238E27FC236}">
                          <a16:creationId xmlns:a16="http://schemas.microsoft.com/office/drawing/2014/main" id="{895FC050-8001-4852-A7AF-7F87A6378499}"/>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1" name="Line 19">
                      <a:extLst>
                        <a:ext uri="{FF2B5EF4-FFF2-40B4-BE49-F238E27FC236}">
                          <a16:creationId xmlns:a16="http://schemas.microsoft.com/office/drawing/2014/main" id="{233316F3-03F8-4F7D-8722-2FD8EDA0EAE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2" name="Freeform 35">
                      <a:extLst>
                        <a:ext uri="{FF2B5EF4-FFF2-40B4-BE49-F238E27FC236}">
                          <a16:creationId xmlns:a16="http://schemas.microsoft.com/office/drawing/2014/main" id="{4B42AF4F-2D22-448F-930F-162DB142B27D}"/>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3" name="Freeform 36">
                      <a:extLst>
                        <a:ext uri="{FF2B5EF4-FFF2-40B4-BE49-F238E27FC236}">
                          <a16:creationId xmlns:a16="http://schemas.microsoft.com/office/drawing/2014/main" id="{8DC55D13-4AB8-4C8B-B2E1-2F97079CB3C8}"/>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4" name="Freeform 37">
                      <a:extLst>
                        <a:ext uri="{FF2B5EF4-FFF2-40B4-BE49-F238E27FC236}">
                          <a16:creationId xmlns:a16="http://schemas.microsoft.com/office/drawing/2014/main" id="{6926E905-EFDD-46F5-A590-0959E3EB46F9}"/>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5" name="Freeform 38">
                      <a:extLst>
                        <a:ext uri="{FF2B5EF4-FFF2-40B4-BE49-F238E27FC236}">
                          <a16:creationId xmlns:a16="http://schemas.microsoft.com/office/drawing/2014/main" id="{466BD8AB-1D34-408E-8594-79176E97B07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6" name="Freeform 39">
                      <a:extLst>
                        <a:ext uri="{FF2B5EF4-FFF2-40B4-BE49-F238E27FC236}">
                          <a16:creationId xmlns:a16="http://schemas.microsoft.com/office/drawing/2014/main" id="{463F6AB8-DE9E-47E4-89F2-3E4897B7F15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7" name="Freeform 40">
                      <a:extLst>
                        <a:ext uri="{FF2B5EF4-FFF2-40B4-BE49-F238E27FC236}">
                          <a16:creationId xmlns:a16="http://schemas.microsoft.com/office/drawing/2014/main" id="{4C784F7D-23CF-492E-A85D-7A42CC055BDB}"/>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88" name="Freeform 41">
                      <a:extLst>
                        <a:ext uri="{FF2B5EF4-FFF2-40B4-BE49-F238E27FC236}">
                          <a16:creationId xmlns:a16="http://schemas.microsoft.com/office/drawing/2014/main" id="{18619CC1-E2C8-4597-8D19-17C051AC5832}"/>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89" name="Line 42">
                      <a:extLst>
                        <a:ext uri="{FF2B5EF4-FFF2-40B4-BE49-F238E27FC236}">
                          <a16:creationId xmlns:a16="http://schemas.microsoft.com/office/drawing/2014/main" id="{077688DD-4959-492D-A38B-F7F4DA2D7063}"/>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0" name="Freeform 43">
                      <a:extLst>
                        <a:ext uri="{FF2B5EF4-FFF2-40B4-BE49-F238E27FC236}">
                          <a16:creationId xmlns:a16="http://schemas.microsoft.com/office/drawing/2014/main" id="{63964BEB-5C80-422C-9B02-903C695A74F9}"/>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1" name="Freeform 44">
                      <a:extLst>
                        <a:ext uri="{FF2B5EF4-FFF2-40B4-BE49-F238E27FC236}">
                          <a16:creationId xmlns:a16="http://schemas.microsoft.com/office/drawing/2014/main" id="{8781F828-477B-454E-BFB9-0F0612F363B7}"/>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92" name="Freeform 45">
                      <a:extLst>
                        <a:ext uri="{FF2B5EF4-FFF2-40B4-BE49-F238E27FC236}">
                          <a16:creationId xmlns:a16="http://schemas.microsoft.com/office/drawing/2014/main" id="{491C9A09-CF23-4BDC-B52E-C10D665FD5DB}"/>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93" name="Group 2392">
                      <a:extLst>
                        <a:ext uri="{FF2B5EF4-FFF2-40B4-BE49-F238E27FC236}">
                          <a16:creationId xmlns:a16="http://schemas.microsoft.com/office/drawing/2014/main" id="{898AB74D-865B-4AC1-A2E1-6A721810FC08}"/>
                        </a:ext>
                      </a:extLst>
                    </p:cNvPr>
                    <p:cNvGrpSpPr/>
                    <p:nvPr/>
                  </p:nvGrpSpPr>
                  <p:grpSpPr>
                    <a:xfrm flipV="1">
                      <a:off x="1202047" y="3517919"/>
                      <a:ext cx="178734" cy="348678"/>
                      <a:chOff x="1207113" y="2241878"/>
                      <a:chExt cx="178734" cy="348678"/>
                    </a:xfrm>
                  </p:grpSpPr>
                  <p:sp>
                    <p:nvSpPr>
                      <p:cNvPr id="2394" name="Freeform 10">
                        <a:extLst>
                          <a:ext uri="{FF2B5EF4-FFF2-40B4-BE49-F238E27FC236}">
                            <a16:creationId xmlns:a16="http://schemas.microsoft.com/office/drawing/2014/main" id="{32BFCF5B-2A90-4D1E-BC5D-ED90BA60A8E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95" name="Line 11">
                        <a:extLst>
                          <a:ext uri="{FF2B5EF4-FFF2-40B4-BE49-F238E27FC236}">
                            <a16:creationId xmlns:a16="http://schemas.microsoft.com/office/drawing/2014/main" id="{940EEEED-205D-45E2-8045-4D4CB193EFCF}"/>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343" name="Group 2342">
                  <a:extLst>
                    <a:ext uri="{FF2B5EF4-FFF2-40B4-BE49-F238E27FC236}">
                      <a16:creationId xmlns:a16="http://schemas.microsoft.com/office/drawing/2014/main" id="{F2787B05-646C-4D65-9A7A-36A88A926A83}"/>
                    </a:ext>
                  </a:extLst>
                </p:cNvPr>
                <p:cNvGrpSpPr>
                  <a:grpSpLocks/>
                </p:cNvGrpSpPr>
                <p:nvPr/>
              </p:nvGrpSpPr>
              <p:grpSpPr>
                <a:xfrm>
                  <a:off x="11709639" y="2297897"/>
                  <a:ext cx="690952" cy="690956"/>
                  <a:chOff x="2268747" y="4723725"/>
                  <a:chExt cx="415610" cy="415612"/>
                </a:xfrm>
              </p:grpSpPr>
              <p:grpSp>
                <p:nvGrpSpPr>
                  <p:cNvPr id="2344" name="Group 64">
                    <a:extLst>
                      <a:ext uri="{FF2B5EF4-FFF2-40B4-BE49-F238E27FC236}">
                        <a16:creationId xmlns:a16="http://schemas.microsoft.com/office/drawing/2014/main" id="{06346E34-701B-4AD6-964D-7A9F9B49A695}"/>
                      </a:ext>
                    </a:extLst>
                  </p:cNvPr>
                  <p:cNvGrpSpPr>
                    <a:grpSpLocks noChangeAspect="1"/>
                  </p:cNvGrpSpPr>
                  <p:nvPr/>
                </p:nvGrpSpPr>
                <p:grpSpPr bwMode="auto">
                  <a:xfrm rot="8100000">
                    <a:off x="2268747" y="4723725"/>
                    <a:ext cx="415610" cy="415612"/>
                    <a:chOff x="701" y="2170"/>
                    <a:chExt cx="587" cy="587"/>
                  </a:xfrm>
                </p:grpSpPr>
                <p:sp>
                  <p:nvSpPr>
                    <p:cNvPr id="2359" name="Oval 65">
                      <a:extLst>
                        <a:ext uri="{FF2B5EF4-FFF2-40B4-BE49-F238E27FC236}">
                          <a16:creationId xmlns:a16="http://schemas.microsoft.com/office/drawing/2014/main" id="{8EB33C98-7919-40A6-BA81-0DB10021E60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60" name="Line 66">
                      <a:extLst>
                        <a:ext uri="{FF2B5EF4-FFF2-40B4-BE49-F238E27FC236}">
                          <a16:creationId xmlns:a16="http://schemas.microsoft.com/office/drawing/2014/main" id="{8B436F5E-7B09-4197-A9BF-AA3EEB50A01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1" name="Line 67">
                      <a:extLst>
                        <a:ext uri="{FF2B5EF4-FFF2-40B4-BE49-F238E27FC236}">
                          <a16:creationId xmlns:a16="http://schemas.microsoft.com/office/drawing/2014/main" id="{B8415E10-9FE4-423F-A0F8-1E3F1B261D6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2" name="Line 69">
                      <a:extLst>
                        <a:ext uri="{FF2B5EF4-FFF2-40B4-BE49-F238E27FC236}">
                          <a16:creationId xmlns:a16="http://schemas.microsoft.com/office/drawing/2014/main" id="{DE306D38-3265-45BF-8970-3D7CCF01C57A}"/>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3" name="Line 74">
                      <a:extLst>
                        <a:ext uri="{FF2B5EF4-FFF2-40B4-BE49-F238E27FC236}">
                          <a16:creationId xmlns:a16="http://schemas.microsoft.com/office/drawing/2014/main" id="{88B5FD0F-2773-4164-8157-34B9773714E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4" name="Freeform 78">
                      <a:extLst>
                        <a:ext uri="{FF2B5EF4-FFF2-40B4-BE49-F238E27FC236}">
                          <a16:creationId xmlns:a16="http://schemas.microsoft.com/office/drawing/2014/main" id="{B247FC20-0A3F-45C6-9310-F0A34F056B1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65" name="Freeform 80">
                      <a:extLst>
                        <a:ext uri="{FF2B5EF4-FFF2-40B4-BE49-F238E27FC236}">
                          <a16:creationId xmlns:a16="http://schemas.microsoft.com/office/drawing/2014/main" id="{1842726F-5069-4D24-AAC7-751E3A3B4E8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45" name="Group 2344">
                    <a:extLst>
                      <a:ext uri="{FF2B5EF4-FFF2-40B4-BE49-F238E27FC236}">
                        <a16:creationId xmlns:a16="http://schemas.microsoft.com/office/drawing/2014/main" id="{20B13210-E291-4DD2-AE8D-C0095A6E585F}"/>
                      </a:ext>
                    </a:extLst>
                  </p:cNvPr>
                  <p:cNvGrpSpPr/>
                  <p:nvPr/>
                </p:nvGrpSpPr>
                <p:grpSpPr>
                  <a:xfrm>
                    <a:off x="2318076" y="4830163"/>
                    <a:ext cx="313949" cy="233075"/>
                    <a:chOff x="3707533" y="2731244"/>
                    <a:chExt cx="389644" cy="289271"/>
                  </a:xfrm>
                </p:grpSpPr>
                <p:sp>
                  <p:nvSpPr>
                    <p:cNvPr id="2346" name="Freeform 33">
                      <a:extLst>
                        <a:ext uri="{FF2B5EF4-FFF2-40B4-BE49-F238E27FC236}">
                          <a16:creationId xmlns:a16="http://schemas.microsoft.com/office/drawing/2014/main" id="{3D2F6D8B-4EF2-4583-94C4-F7B0C276277C}"/>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7" name="Freeform 34">
                      <a:extLst>
                        <a:ext uri="{FF2B5EF4-FFF2-40B4-BE49-F238E27FC236}">
                          <a16:creationId xmlns:a16="http://schemas.microsoft.com/office/drawing/2014/main" id="{66562D15-4F81-4EC2-94BD-B73F3671CBC9}"/>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8" name="Freeform 37">
                      <a:extLst>
                        <a:ext uri="{FF2B5EF4-FFF2-40B4-BE49-F238E27FC236}">
                          <a16:creationId xmlns:a16="http://schemas.microsoft.com/office/drawing/2014/main" id="{5E1EF50E-8816-410A-B0E5-FE1A6E2996B7}"/>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49" name="Freeform 38">
                      <a:extLst>
                        <a:ext uri="{FF2B5EF4-FFF2-40B4-BE49-F238E27FC236}">
                          <a16:creationId xmlns:a16="http://schemas.microsoft.com/office/drawing/2014/main" id="{FAA8FFD6-4CAD-4586-B4B6-700EE72F8056}"/>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0" name="Freeform 32">
                      <a:extLst>
                        <a:ext uri="{FF2B5EF4-FFF2-40B4-BE49-F238E27FC236}">
                          <a16:creationId xmlns:a16="http://schemas.microsoft.com/office/drawing/2014/main" id="{168CC538-A4CE-43C1-96E6-15B7BEEF59CA}"/>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1" name="Freeform 35">
                      <a:extLst>
                        <a:ext uri="{FF2B5EF4-FFF2-40B4-BE49-F238E27FC236}">
                          <a16:creationId xmlns:a16="http://schemas.microsoft.com/office/drawing/2014/main" id="{061EBEBB-DE89-4A39-9F78-9C28C6C763FF}"/>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2" name="Freeform 36">
                      <a:extLst>
                        <a:ext uri="{FF2B5EF4-FFF2-40B4-BE49-F238E27FC236}">
                          <a16:creationId xmlns:a16="http://schemas.microsoft.com/office/drawing/2014/main" id="{DE766E5A-D0AA-4A96-989C-4929378FA152}"/>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3" name="Freeform 25">
                      <a:extLst>
                        <a:ext uri="{FF2B5EF4-FFF2-40B4-BE49-F238E27FC236}">
                          <a16:creationId xmlns:a16="http://schemas.microsoft.com/office/drawing/2014/main" id="{F9F012C2-0C37-494E-833D-97D5C4B492B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4" name="Freeform 39">
                      <a:extLst>
                        <a:ext uri="{FF2B5EF4-FFF2-40B4-BE49-F238E27FC236}">
                          <a16:creationId xmlns:a16="http://schemas.microsoft.com/office/drawing/2014/main" id="{48F7AFF8-F6F7-4916-A70E-D5FDC70A6B2B}"/>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5" name="Freeform 26">
                      <a:extLst>
                        <a:ext uri="{FF2B5EF4-FFF2-40B4-BE49-F238E27FC236}">
                          <a16:creationId xmlns:a16="http://schemas.microsoft.com/office/drawing/2014/main" id="{53E3DA99-94AD-46F8-954D-8C76941515D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6" name="Rectangle 27">
                      <a:extLst>
                        <a:ext uri="{FF2B5EF4-FFF2-40B4-BE49-F238E27FC236}">
                          <a16:creationId xmlns:a16="http://schemas.microsoft.com/office/drawing/2014/main" id="{8CC9A94E-14AB-4B5F-8C21-11B171CD12F0}"/>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57" name="Line 29">
                      <a:extLst>
                        <a:ext uri="{FF2B5EF4-FFF2-40B4-BE49-F238E27FC236}">
                          <a16:creationId xmlns:a16="http://schemas.microsoft.com/office/drawing/2014/main" id="{EE064643-6E4D-4CA1-A72B-E8FE744C65B0}"/>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58" name="Line 31">
                      <a:extLst>
                        <a:ext uri="{FF2B5EF4-FFF2-40B4-BE49-F238E27FC236}">
                          <a16:creationId xmlns:a16="http://schemas.microsoft.com/office/drawing/2014/main" id="{8457FEE4-3039-499F-80C6-B2026E6F2B17}"/>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sp>
            <p:nvSpPr>
              <p:cNvPr id="2340" name="Rectangle 2339">
                <a:extLst>
                  <a:ext uri="{FF2B5EF4-FFF2-40B4-BE49-F238E27FC236}">
                    <a16:creationId xmlns:a16="http://schemas.microsoft.com/office/drawing/2014/main" id="{6CE99C9D-6327-4B9A-9064-CCAD4C95F15C}"/>
                  </a:ext>
                </a:extLst>
              </p:cNvPr>
              <p:cNvSpPr/>
              <p:nvPr/>
            </p:nvSpPr>
            <p:spPr>
              <a:xfrm>
                <a:off x="6642908" y="3955938"/>
                <a:ext cx="600825" cy="200055"/>
              </a:xfrm>
              <a:prstGeom prst="rect">
                <a:avLst/>
              </a:prstGeom>
            </p:spPr>
            <p:txBody>
              <a:bodyPr wrap="square">
                <a:spAutoFit/>
              </a:bodyPr>
              <a:lstStyle/>
              <a:p>
                <a:pPr algn="ctr" defTabSz="911818">
                  <a:defRPr/>
                </a:pPr>
                <a:r>
                  <a:rPr lang="en-US" sz="698" dirty="0">
                    <a:solidFill>
                      <a:schemeClr val="bg1"/>
                    </a:solidFill>
                  </a:rPr>
                  <a:t>PBR</a:t>
                </a:r>
              </a:p>
            </p:txBody>
          </p:sp>
        </p:grpSp>
        <p:sp>
          <p:nvSpPr>
            <p:cNvPr id="2497" name="Rectangle 2496">
              <a:extLst>
                <a:ext uri="{FF2B5EF4-FFF2-40B4-BE49-F238E27FC236}">
                  <a16:creationId xmlns:a16="http://schemas.microsoft.com/office/drawing/2014/main" id="{5321E8A4-5150-488B-82C4-764ADF9097B1}"/>
                </a:ext>
              </a:extLst>
            </p:cNvPr>
            <p:cNvSpPr/>
            <p:nvPr/>
          </p:nvSpPr>
          <p:spPr>
            <a:xfrm>
              <a:off x="5338031" y="3986050"/>
              <a:ext cx="599295" cy="199546"/>
            </a:xfrm>
            <a:prstGeom prst="rect">
              <a:avLst/>
            </a:prstGeom>
          </p:spPr>
          <p:txBody>
            <a:bodyPr wrap="square">
              <a:spAutoFit/>
            </a:bodyPr>
            <a:lstStyle/>
            <a:p>
              <a:pPr algn="ctr" defTabSz="911818">
                <a:defRPr/>
              </a:pPr>
              <a:r>
                <a:rPr lang="en-US" sz="698" dirty="0">
                  <a:solidFill>
                    <a:schemeClr val="bg1"/>
                  </a:solidFill>
                </a:rPr>
                <a:t>PBR</a:t>
              </a:r>
            </a:p>
          </p:txBody>
        </p:sp>
      </p:grpSp>
      <p:grpSp>
        <p:nvGrpSpPr>
          <p:cNvPr id="2498" name="Group 2497">
            <a:extLst>
              <a:ext uri="{FF2B5EF4-FFF2-40B4-BE49-F238E27FC236}">
                <a16:creationId xmlns:a16="http://schemas.microsoft.com/office/drawing/2014/main" id="{A22AA78F-EC81-4790-A968-4880B75551F0}"/>
              </a:ext>
            </a:extLst>
          </p:cNvPr>
          <p:cNvGrpSpPr/>
          <p:nvPr/>
        </p:nvGrpSpPr>
        <p:grpSpPr>
          <a:xfrm>
            <a:off x="5583102" y="3985906"/>
            <a:ext cx="2022711" cy="2582790"/>
            <a:chOff x="5596776" y="3955938"/>
            <a:chExt cx="2028403" cy="2590058"/>
          </a:xfrm>
        </p:grpSpPr>
        <p:sp>
          <p:nvSpPr>
            <p:cNvPr id="2499" name="Rectangle 2498">
              <a:extLst>
                <a:ext uri="{FF2B5EF4-FFF2-40B4-BE49-F238E27FC236}">
                  <a16:creationId xmlns:a16="http://schemas.microsoft.com/office/drawing/2014/main" id="{747F3B1D-4231-4467-A673-6484A60D9E94}"/>
                </a:ext>
              </a:extLst>
            </p:cNvPr>
            <p:cNvSpPr/>
            <p:nvPr/>
          </p:nvSpPr>
          <p:spPr>
            <a:xfrm>
              <a:off x="6214246" y="3955938"/>
              <a:ext cx="600825" cy="200055"/>
            </a:xfrm>
            <a:prstGeom prst="rect">
              <a:avLst/>
            </a:prstGeom>
          </p:spPr>
          <p:txBody>
            <a:bodyPr wrap="square">
              <a:spAutoFit/>
            </a:bodyPr>
            <a:lstStyle/>
            <a:p>
              <a:pPr algn="ctr" defTabSz="911818">
                <a:defRPr/>
              </a:pPr>
              <a:r>
                <a:rPr lang="en-US" sz="698" dirty="0">
                  <a:solidFill>
                    <a:schemeClr val="bg1"/>
                  </a:solidFill>
                </a:rPr>
                <a:t>SoS</a:t>
              </a:r>
            </a:p>
          </p:txBody>
        </p:sp>
        <p:grpSp>
          <p:nvGrpSpPr>
            <p:cNvPr id="2500" name="Group 2499">
              <a:extLst>
                <a:ext uri="{FF2B5EF4-FFF2-40B4-BE49-F238E27FC236}">
                  <a16:creationId xmlns:a16="http://schemas.microsoft.com/office/drawing/2014/main" id="{4834553C-37FE-4DD4-B011-F068374A0F7D}"/>
                </a:ext>
              </a:extLst>
            </p:cNvPr>
            <p:cNvGrpSpPr/>
            <p:nvPr/>
          </p:nvGrpSpPr>
          <p:grpSpPr>
            <a:xfrm>
              <a:off x="5596776" y="4804677"/>
              <a:ext cx="2028403" cy="1741319"/>
              <a:chOff x="5596776" y="4804677"/>
              <a:chExt cx="2028403" cy="1741319"/>
            </a:xfrm>
          </p:grpSpPr>
          <p:sp>
            <p:nvSpPr>
              <p:cNvPr id="2501" name="Rectangle 2500">
                <a:extLst>
                  <a:ext uri="{FF2B5EF4-FFF2-40B4-BE49-F238E27FC236}">
                    <a16:creationId xmlns:a16="http://schemas.microsoft.com/office/drawing/2014/main" id="{EDD45DF1-3CD0-4861-94DA-60880A14B3C6}"/>
                  </a:ext>
                </a:extLst>
              </p:cNvPr>
              <p:cNvSpPr>
                <a:spLocks/>
              </p:cNvSpPr>
              <p:nvPr/>
            </p:nvSpPr>
            <p:spPr bwMode="gray">
              <a:xfrm>
                <a:off x="5596776" y="4804677"/>
                <a:ext cx="2026683" cy="1682852"/>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Scrum of Scrums</a:t>
                </a:r>
                <a:endParaRPr lang="en-US" sz="816" b="1" dirty="0">
                  <a:solidFill>
                    <a:prstClr val="black"/>
                  </a:solidFill>
                  <a:latin typeface="Verdana"/>
                </a:endParaRPr>
              </a:p>
            </p:txBody>
          </p:sp>
          <p:sp>
            <p:nvSpPr>
              <p:cNvPr id="2502" name="Rectangle 2501">
                <a:extLst>
                  <a:ext uri="{FF2B5EF4-FFF2-40B4-BE49-F238E27FC236}">
                    <a16:creationId xmlns:a16="http://schemas.microsoft.com/office/drawing/2014/main" id="{AFC0305D-06B3-4DFB-ACAE-82A4CFE82F6F}"/>
                  </a:ext>
                </a:extLst>
              </p:cNvPr>
              <p:cNvSpPr/>
              <p:nvPr/>
            </p:nvSpPr>
            <p:spPr>
              <a:xfrm>
                <a:off x="5607971" y="4984030"/>
                <a:ext cx="1492284" cy="1561966"/>
              </a:xfrm>
              <a:prstGeom prst="rect">
                <a:avLst/>
              </a:prstGeom>
            </p:spPr>
            <p:txBody>
              <a:bodyPr wrap="square">
                <a:spAutoFit/>
              </a:bodyPr>
              <a:lstStyle/>
              <a:p>
                <a:pPr marL="124339" indent="-124339" defTabSz="828903">
                  <a:lnSpc>
                    <a:spcPct val="95000"/>
                  </a:lnSpc>
                  <a:spcAft>
                    <a:spcPts val="408"/>
                  </a:spcAft>
                  <a:buFont typeface="+mj-lt"/>
                  <a:buAutoNum type="arabicPeriod"/>
                  <a:defRPr/>
                </a:pPr>
                <a:r>
                  <a:rPr lang="en-US" sz="748" dirty="0">
                    <a:solidFill>
                      <a:sysClr val="windowText" lastClr="000000"/>
                    </a:solidFill>
                    <a:latin typeface="Verdana"/>
                  </a:rPr>
                  <a:t>Status of dependencies </a:t>
                </a:r>
                <a:br>
                  <a:rPr lang="en-US" sz="748" dirty="0">
                    <a:solidFill>
                      <a:sysClr val="windowText" lastClr="000000"/>
                    </a:solidFill>
                    <a:latin typeface="Verdana"/>
                  </a:rPr>
                </a:br>
                <a:r>
                  <a:rPr lang="en-US" sz="748" dirty="0">
                    <a:solidFill>
                      <a:sysClr val="windowText" lastClr="000000"/>
                    </a:solidFill>
                    <a:latin typeface="Verdana"/>
                  </a:rPr>
                  <a:t>or integrations?</a:t>
                </a:r>
              </a:p>
              <a:p>
                <a:pPr marL="124339" indent="-124339" defTabSz="828903">
                  <a:lnSpc>
                    <a:spcPct val="95000"/>
                  </a:lnSpc>
                  <a:spcAft>
                    <a:spcPts val="408"/>
                  </a:spcAft>
                  <a:buFont typeface="+mj-lt"/>
                  <a:buAutoNum type="arabicPeriod" startAt="2"/>
                  <a:defRPr/>
                </a:pPr>
                <a:r>
                  <a:rPr lang="en-US" sz="748" dirty="0">
                    <a:solidFill>
                      <a:sysClr val="windowText" lastClr="000000"/>
                    </a:solidFill>
                    <a:latin typeface="Verdana"/>
                  </a:rPr>
                  <a:t>Impediments impacting </a:t>
                </a:r>
                <a:br>
                  <a:rPr lang="en-US" sz="748" dirty="0">
                    <a:solidFill>
                      <a:sysClr val="windowText" lastClr="000000"/>
                    </a:solidFill>
                    <a:latin typeface="Verdana"/>
                  </a:rPr>
                </a:br>
                <a:r>
                  <a:rPr lang="en-US" sz="748" dirty="0">
                    <a:solidFill>
                      <a:sysClr val="windowText" lastClr="000000"/>
                    </a:solidFill>
                    <a:latin typeface="Verdana"/>
                  </a:rPr>
                  <a:t>multiple teams?</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Is anything slowing </a:t>
                </a:r>
                <a:br>
                  <a:rPr lang="en-US" sz="748" dirty="0">
                    <a:solidFill>
                      <a:sysClr val="windowText" lastClr="000000"/>
                    </a:solidFill>
                    <a:latin typeface="Verdana"/>
                  </a:rPr>
                </a:br>
                <a:r>
                  <a:rPr lang="en-US" sz="748" dirty="0">
                    <a:solidFill>
                      <a:sysClr val="windowText" lastClr="000000"/>
                    </a:solidFill>
                    <a:latin typeface="Verdana"/>
                  </a:rPr>
                  <a:t>your team down or </a:t>
                </a:r>
                <a:br>
                  <a:rPr lang="en-US" sz="748" dirty="0">
                    <a:solidFill>
                      <a:sysClr val="windowText" lastClr="000000"/>
                    </a:solidFill>
                    <a:latin typeface="Verdana"/>
                  </a:rPr>
                </a:br>
                <a:r>
                  <a:rPr lang="en-US" sz="748" dirty="0">
                    <a:solidFill>
                      <a:sysClr val="windowText" lastClr="000000"/>
                    </a:solidFill>
                    <a:latin typeface="Verdana"/>
                  </a:rPr>
                  <a:t>getting in their way? </a:t>
                </a:r>
              </a:p>
              <a:p>
                <a:pPr marL="124339" indent="-124339" defTabSz="828903">
                  <a:lnSpc>
                    <a:spcPct val="95000"/>
                  </a:lnSpc>
                  <a:spcAft>
                    <a:spcPts val="408"/>
                  </a:spcAft>
                  <a:buFont typeface="+mj-lt"/>
                  <a:buAutoNum type="arabicPeriod" startAt="3"/>
                  <a:defRPr/>
                </a:pPr>
                <a:r>
                  <a:rPr lang="en-US" sz="748" dirty="0">
                    <a:solidFill>
                      <a:sysClr val="windowText" lastClr="000000"/>
                    </a:solidFill>
                    <a:latin typeface="Verdana"/>
                  </a:rPr>
                  <a:t>Are there process reminders/</a:t>
                </a:r>
                <a:br>
                  <a:rPr lang="en-US" sz="748" dirty="0">
                    <a:solidFill>
                      <a:sysClr val="windowText" lastClr="000000"/>
                    </a:solidFill>
                    <a:latin typeface="Verdana"/>
                  </a:rPr>
                </a:br>
                <a:r>
                  <a:rPr lang="en-US" sz="748" dirty="0">
                    <a:solidFill>
                      <a:sysClr val="windowText" lastClr="000000"/>
                    </a:solidFill>
                    <a:latin typeface="Verdana"/>
                  </a:rPr>
                  <a:t>changes to ensure hygiene or </a:t>
                </a:r>
                <a:br>
                  <a:rPr lang="en-US" sz="748" dirty="0">
                    <a:solidFill>
                      <a:sysClr val="windowText" lastClr="000000"/>
                    </a:solidFill>
                    <a:latin typeface="Verdana"/>
                  </a:rPr>
                </a:br>
                <a:r>
                  <a:rPr lang="en-US" sz="748" dirty="0">
                    <a:solidFill>
                      <a:sysClr val="windowText" lastClr="000000"/>
                    </a:solidFill>
                    <a:latin typeface="Verdana"/>
                  </a:rPr>
                  <a:t>make improvements?</a:t>
                </a:r>
              </a:p>
            </p:txBody>
          </p:sp>
          <p:pic>
            <p:nvPicPr>
              <p:cNvPr id="2503" name="Picture 2502">
                <a:extLst>
                  <a:ext uri="{FF2B5EF4-FFF2-40B4-BE49-F238E27FC236}">
                    <a16:creationId xmlns:a16="http://schemas.microsoft.com/office/drawing/2014/main" id="{A933AF52-26A1-422B-8C8C-C6BC39FEA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2505" y="5025188"/>
                <a:ext cx="662674" cy="812714"/>
              </a:xfrm>
              <a:prstGeom prst="rect">
                <a:avLst/>
              </a:prstGeom>
            </p:spPr>
          </p:pic>
          <p:grpSp>
            <p:nvGrpSpPr>
              <p:cNvPr id="2504" name="Group 2503">
                <a:extLst>
                  <a:ext uri="{FF2B5EF4-FFF2-40B4-BE49-F238E27FC236}">
                    <a16:creationId xmlns:a16="http://schemas.microsoft.com/office/drawing/2014/main" id="{FE2D0EDD-D308-4EBF-8BB6-0809850D2B1A}"/>
                  </a:ext>
                </a:extLst>
              </p:cNvPr>
              <p:cNvGrpSpPr>
                <a:grpSpLocks/>
              </p:cNvGrpSpPr>
              <p:nvPr/>
            </p:nvGrpSpPr>
            <p:grpSpPr>
              <a:xfrm>
                <a:off x="6916019" y="5876745"/>
                <a:ext cx="476834" cy="476835"/>
                <a:chOff x="7895435" y="7917966"/>
                <a:chExt cx="473625" cy="473627"/>
              </a:xfrm>
            </p:grpSpPr>
            <p:grpSp>
              <p:nvGrpSpPr>
                <p:cNvPr id="2505" name="Group 64">
                  <a:extLst>
                    <a:ext uri="{FF2B5EF4-FFF2-40B4-BE49-F238E27FC236}">
                      <a16:creationId xmlns:a16="http://schemas.microsoft.com/office/drawing/2014/main" id="{31D78AB9-CECB-4598-B9D6-FBE4C3F66FDB}"/>
                    </a:ext>
                  </a:extLst>
                </p:cNvPr>
                <p:cNvGrpSpPr>
                  <a:grpSpLocks noChangeAspect="1"/>
                </p:cNvGrpSpPr>
                <p:nvPr/>
              </p:nvGrpSpPr>
              <p:grpSpPr bwMode="auto">
                <a:xfrm rot="8100000">
                  <a:off x="7895435" y="7917966"/>
                  <a:ext cx="473625" cy="473627"/>
                  <a:chOff x="701" y="2170"/>
                  <a:chExt cx="587" cy="587"/>
                </a:xfrm>
              </p:grpSpPr>
              <p:sp>
                <p:nvSpPr>
                  <p:cNvPr id="2537" name="Oval 65">
                    <a:extLst>
                      <a:ext uri="{FF2B5EF4-FFF2-40B4-BE49-F238E27FC236}">
                        <a16:creationId xmlns:a16="http://schemas.microsoft.com/office/drawing/2014/main" id="{46CD0B3D-FC8D-40C8-A592-C97C7402BCAD}"/>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8" name="Line 66">
                    <a:extLst>
                      <a:ext uri="{FF2B5EF4-FFF2-40B4-BE49-F238E27FC236}">
                        <a16:creationId xmlns:a16="http://schemas.microsoft.com/office/drawing/2014/main" id="{293808B9-88D3-4773-80AA-F37D257B15B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9" name="Line 67">
                    <a:extLst>
                      <a:ext uri="{FF2B5EF4-FFF2-40B4-BE49-F238E27FC236}">
                        <a16:creationId xmlns:a16="http://schemas.microsoft.com/office/drawing/2014/main" id="{50ABD547-5FD6-4567-B008-7210CDE073F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0" name="Line 69">
                    <a:extLst>
                      <a:ext uri="{FF2B5EF4-FFF2-40B4-BE49-F238E27FC236}">
                        <a16:creationId xmlns:a16="http://schemas.microsoft.com/office/drawing/2014/main" id="{5B9FD4E6-5AB1-4416-A345-814920CA797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1" name="Line 74">
                    <a:extLst>
                      <a:ext uri="{FF2B5EF4-FFF2-40B4-BE49-F238E27FC236}">
                        <a16:creationId xmlns:a16="http://schemas.microsoft.com/office/drawing/2014/main" id="{91FE552D-39A3-4EAD-B688-0B4842DBFDF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2" name="Freeform 78">
                    <a:extLst>
                      <a:ext uri="{FF2B5EF4-FFF2-40B4-BE49-F238E27FC236}">
                        <a16:creationId xmlns:a16="http://schemas.microsoft.com/office/drawing/2014/main" id="{E5F96C76-0E0C-4AE3-BB59-196115BED910}"/>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43" name="Freeform 80">
                    <a:extLst>
                      <a:ext uri="{FF2B5EF4-FFF2-40B4-BE49-F238E27FC236}">
                        <a16:creationId xmlns:a16="http://schemas.microsoft.com/office/drawing/2014/main" id="{811CFDE9-8578-4084-9896-EE967494D5A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06" name="Group 2505">
                  <a:extLst>
                    <a:ext uri="{FF2B5EF4-FFF2-40B4-BE49-F238E27FC236}">
                      <a16:creationId xmlns:a16="http://schemas.microsoft.com/office/drawing/2014/main" id="{D393629C-BC7D-4B72-9D8F-FF7461506E86}"/>
                    </a:ext>
                  </a:extLst>
                </p:cNvPr>
                <p:cNvGrpSpPr/>
                <p:nvPr/>
              </p:nvGrpSpPr>
              <p:grpSpPr>
                <a:xfrm>
                  <a:off x="7951708" y="7985752"/>
                  <a:ext cx="356509" cy="349884"/>
                  <a:chOff x="468738" y="2241878"/>
                  <a:chExt cx="1655483" cy="1624719"/>
                </a:xfrm>
              </p:grpSpPr>
              <p:sp>
                <p:nvSpPr>
                  <p:cNvPr id="2507" name="Freeform 5">
                    <a:extLst>
                      <a:ext uri="{FF2B5EF4-FFF2-40B4-BE49-F238E27FC236}">
                        <a16:creationId xmlns:a16="http://schemas.microsoft.com/office/drawing/2014/main" id="{B6CB8661-51F1-4427-9630-C6FF092E6200}"/>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08" name="Freeform 6">
                    <a:extLst>
                      <a:ext uri="{FF2B5EF4-FFF2-40B4-BE49-F238E27FC236}">
                        <a16:creationId xmlns:a16="http://schemas.microsoft.com/office/drawing/2014/main" id="{4ED5D328-033E-4613-B0F5-9AC2158F6FA9}"/>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09" name="Line 7">
                    <a:extLst>
                      <a:ext uri="{FF2B5EF4-FFF2-40B4-BE49-F238E27FC236}">
                        <a16:creationId xmlns:a16="http://schemas.microsoft.com/office/drawing/2014/main" id="{DBEA3398-AF4F-4885-B6CC-26351AF7282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0" name="Freeform 8">
                    <a:extLst>
                      <a:ext uri="{FF2B5EF4-FFF2-40B4-BE49-F238E27FC236}">
                        <a16:creationId xmlns:a16="http://schemas.microsoft.com/office/drawing/2014/main" id="{C9BA89EA-25F1-4AF6-A8C9-E885829E4154}"/>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1" name="Line 9">
                    <a:extLst>
                      <a:ext uri="{FF2B5EF4-FFF2-40B4-BE49-F238E27FC236}">
                        <a16:creationId xmlns:a16="http://schemas.microsoft.com/office/drawing/2014/main" id="{B4924420-51F8-4E90-A5BC-2B568D0F640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12" name="Group 2511">
                    <a:extLst>
                      <a:ext uri="{FF2B5EF4-FFF2-40B4-BE49-F238E27FC236}">
                        <a16:creationId xmlns:a16="http://schemas.microsoft.com/office/drawing/2014/main" id="{2B1FF5C1-655C-4D84-8357-FBEFF88CD753}"/>
                      </a:ext>
                    </a:extLst>
                  </p:cNvPr>
                  <p:cNvGrpSpPr/>
                  <p:nvPr/>
                </p:nvGrpSpPr>
                <p:grpSpPr>
                  <a:xfrm>
                    <a:off x="1207113" y="2241878"/>
                    <a:ext cx="178734" cy="348678"/>
                    <a:chOff x="1207113" y="2241878"/>
                    <a:chExt cx="178734" cy="348678"/>
                  </a:xfrm>
                </p:grpSpPr>
                <p:sp>
                  <p:nvSpPr>
                    <p:cNvPr id="2535" name="Freeform 10">
                      <a:extLst>
                        <a:ext uri="{FF2B5EF4-FFF2-40B4-BE49-F238E27FC236}">
                          <a16:creationId xmlns:a16="http://schemas.microsoft.com/office/drawing/2014/main" id="{13288FA8-69DE-4B8F-938F-EAFBC8D8689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6" name="Line 11">
                      <a:extLst>
                        <a:ext uri="{FF2B5EF4-FFF2-40B4-BE49-F238E27FC236}">
                          <a16:creationId xmlns:a16="http://schemas.microsoft.com/office/drawing/2014/main" id="{05635318-9DD3-47B6-AF53-F2E88F8E7D49}"/>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13" name="Freeform 12">
                    <a:extLst>
                      <a:ext uri="{FF2B5EF4-FFF2-40B4-BE49-F238E27FC236}">
                        <a16:creationId xmlns:a16="http://schemas.microsoft.com/office/drawing/2014/main" id="{75421306-8DF7-42AD-950B-FA9036E7693B}"/>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4" name="Line 13">
                    <a:extLst>
                      <a:ext uri="{FF2B5EF4-FFF2-40B4-BE49-F238E27FC236}">
                        <a16:creationId xmlns:a16="http://schemas.microsoft.com/office/drawing/2014/main" id="{CF179717-3DEA-4B09-AC03-712A5CB8A00A}"/>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5" name="Freeform 14">
                    <a:extLst>
                      <a:ext uri="{FF2B5EF4-FFF2-40B4-BE49-F238E27FC236}">
                        <a16:creationId xmlns:a16="http://schemas.microsoft.com/office/drawing/2014/main" id="{3377E841-63A0-48A3-B027-19508466199E}"/>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6" name="Line 15">
                    <a:extLst>
                      <a:ext uri="{FF2B5EF4-FFF2-40B4-BE49-F238E27FC236}">
                        <a16:creationId xmlns:a16="http://schemas.microsoft.com/office/drawing/2014/main" id="{EA066626-FE54-4A5B-B3D9-E39814C33F74}"/>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7" name="Freeform 16">
                    <a:extLst>
                      <a:ext uri="{FF2B5EF4-FFF2-40B4-BE49-F238E27FC236}">
                        <a16:creationId xmlns:a16="http://schemas.microsoft.com/office/drawing/2014/main" id="{366A3F47-A9AF-42FF-B639-14B6CE96B163}"/>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8" name="Line 17">
                    <a:extLst>
                      <a:ext uri="{FF2B5EF4-FFF2-40B4-BE49-F238E27FC236}">
                        <a16:creationId xmlns:a16="http://schemas.microsoft.com/office/drawing/2014/main" id="{084A0566-0D88-40B9-8942-404A11A5775D}"/>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19" name="Freeform 18">
                    <a:extLst>
                      <a:ext uri="{FF2B5EF4-FFF2-40B4-BE49-F238E27FC236}">
                        <a16:creationId xmlns:a16="http://schemas.microsoft.com/office/drawing/2014/main" id="{FFAD812C-E870-46B0-B2C9-8CF5C0FA946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0" name="Line 19">
                    <a:extLst>
                      <a:ext uri="{FF2B5EF4-FFF2-40B4-BE49-F238E27FC236}">
                        <a16:creationId xmlns:a16="http://schemas.microsoft.com/office/drawing/2014/main" id="{DA262064-351F-44CF-9B13-A177FF0E84DE}"/>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1" name="Freeform 35">
                    <a:extLst>
                      <a:ext uri="{FF2B5EF4-FFF2-40B4-BE49-F238E27FC236}">
                        <a16:creationId xmlns:a16="http://schemas.microsoft.com/office/drawing/2014/main" id="{28C2291A-182E-473D-B28F-613B49F49F6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2" name="Freeform 36">
                    <a:extLst>
                      <a:ext uri="{FF2B5EF4-FFF2-40B4-BE49-F238E27FC236}">
                        <a16:creationId xmlns:a16="http://schemas.microsoft.com/office/drawing/2014/main" id="{AE5F9676-2C2C-4086-A074-4395A8F1316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3" name="Freeform 37">
                    <a:extLst>
                      <a:ext uri="{FF2B5EF4-FFF2-40B4-BE49-F238E27FC236}">
                        <a16:creationId xmlns:a16="http://schemas.microsoft.com/office/drawing/2014/main" id="{ECCBBBB8-BCA3-4313-A865-509D9DA9DDFD}"/>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4" name="Freeform 38">
                    <a:extLst>
                      <a:ext uri="{FF2B5EF4-FFF2-40B4-BE49-F238E27FC236}">
                        <a16:creationId xmlns:a16="http://schemas.microsoft.com/office/drawing/2014/main" id="{717182B7-9ED3-488D-B869-09159943C40A}"/>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5" name="Freeform 39">
                    <a:extLst>
                      <a:ext uri="{FF2B5EF4-FFF2-40B4-BE49-F238E27FC236}">
                        <a16:creationId xmlns:a16="http://schemas.microsoft.com/office/drawing/2014/main" id="{FB56E7B4-5069-4EB9-8242-B7F2C922E894}"/>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6" name="Freeform 40">
                    <a:extLst>
                      <a:ext uri="{FF2B5EF4-FFF2-40B4-BE49-F238E27FC236}">
                        <a16:creationId xmlns:a16="http://schemas.microsoft.com/office/drawing/2014/main" id="{89F2894D-26FA-4B43-A0E7-A222091799E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27" name="Freeform 41">
                    <a:extLst>
                      <a:ext uri="{FF2B5EF4-FFF2-40B4-BE49-F238E27FC236}">
                        <a16:creationId xmlns:a16="http://schemas.microsoft.com/office/drawing/2014/main" id="{088EBEFD-D722-4C11-9B83-8AFB21AE7838}"/>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8" name="Line 42">
                    <a:extLst>
                      <a:ext uri="{FF2B5EF4-FFF2-40B4-BE49-F238E27FC236}">
                        <a16:creationId xmlns:a16="http://schemas.microsoft.com/office/drawing/2014/main" id="{1C001CC8-7999-446D-B698-FEB6F9C469ED}"/>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29" name="Freeform 43">
                    <a:extLst>
                      <a:ext uri="{FF2B5EF4-FFF2-40B4-BE49-F238E27FC236}">
                        <a16:creationId xmlns:a16="http://schemas.microsoft.com/office/drawing/2014/main" id="{308239DF-11B1-4567-AEA1-4968356A70E3}"/>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0" name="Freeform 44">
                    <a:extLst>
                      <a:ext uri="{FF2B5EF4-FFF2-40B4-BE49-F238E27FC236}">
                        <a16:creationId xmlns:a16="http://schemas.microsoft.com/office/drawing/2014/main" id="{E43DD64A-034B-4995-9BA0-CD09EA99263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31" name="Freeform 45">
                    <a:extLst>
                      <a:ext uri="{FF2B5EF4-FFF2-40B4-BE49-F238E27FC236}">
                        <a16:creationId xmlns:a16="http://schemas.microsoft.com/office/drawing/2014/main" id="{71FABE57-4F57-40F4-9656-C826889EF9C9}"/>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32" name="Group 2531">
                    <a:extLst>
                      <a:ext uri="{FF2B5EF4-FFF2-40B4-BE49-F238E27FC236}">
                        <a16:creationId xmlns:a16="http://schemas.microsoft.com/office/drawing/2014/main" id="{3C83AEA8-0A02-4B1D-98DB-F79693425584}"/>
                      </a:ext>
                    </a:extLst>
                  </p:cNvPr>
                  <p:cNvGrpSpPr/>
                  <p:nvPr/>
                </p:nvGrpSpPr>
                <p:grpSpPr>
                  <a:xfrm flipV="1">
                    <a:off x="1202047" y="3517919"/>
                    <a:ext cx="178734" cy="348678"/>
                    <a:chOff x="1207113" y="2241878"/>
                    <a:chExt cx="178734" cy="348678"/>
                  </a:xfrm>
                </p:grpSpPr>
                <p:sp>
                  <p:nvSpPr>
                    <p:cNvPr id="2533" name="Freeform 10">
                      <a:extLst>
                        <a:ext uri="{FF2B5EF4-FFF2-40B4-BE49-F238E27FC236}">
                          <a16:creationId xmlns:a16="http://schemas.microsoft.com/office/drawing/2014/main" id="{4CC281CB-067A-4636-91B4-74D36C97DF79}"/>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34" name="Line 11">
                      <a:extLst>
                        <a:ext uri="{FF2B5EF4-FFF2-40B4-BE49-F238E27FC236}">
                          <a16:creationId xmlns:a16="http://schemas.microsoft.com/office/drawing/2014/main" id="{F728501F-9AD2-40C4-9BEB-EAE71FEAE25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grpSp>
        <p:nvGrpSpPr>
          <p:cNvPr id="2544" name="Group 2543">
            <a:extLst>
              <a:ext uri="{FF2B5EF4-FFF2-40B4-BE49-F238E27FC236}">
                <a16:creationId xmlns:a16="http://schemas.microsoft.com/office/drawing/2014/main" id="{7CF70DB9-3C21-4F6A-A0D2-87A2EAFF679D}"/>
              </a:ext>
            </a:extLst>
          </p:cNvPr>
          <p:cNvGrpSpPr/>
          <p:nvPr/>
        </p:nvGrpSpPr>
        <p:grpSpPr>
          <a:xfrm>
            <a:off x="496680" y="1864299"/>
            <a:ext cx="1451488" cy="649270"/>
            <a:chOff x="1688915" y="1573673"/>
            <a:chExt cx="1455572" cy="651097"/>
          </a:xfrm>
        </p:grpSpPr>
        <p:sp>
          <p:nvSpPr>
            <p:cNvPr id="2545" name="Right Arrow 551">
              <a:extLst>
                <a:ext uri="{FF2B5EF4-FFF2-40B4-BE49-F238E27FC236}">
                  <a16:creationId xmlns:a16="http://schemas.microsoft.com/office/drawing/2014/main" id="{60716A56-708D-4D57-A035-5566C369D652}"/>
                </a:ext>
              </a:extLst>
            </p:cNvPr>
            <p:cNvSpPr>
              <a:spLocks/>
            </p:cNvSpPr>
            <p:nvPr/>
          </p:nvSpPr>
          <p:spPr bwMode="gray">
            <a:xfrm>
              <a:off x="1696558" y="1573673"/>
              <a:ext cx="1447093" cy="208022"/>
            </a:xfrm>
            <a:prstGeom prst="rightArrow">
              <a:avLst>
                <a:gd name="adj1" fmla="val 100000"/>
                <a:gd name="adj2" fmla="val 40358"/>
              </a:avLst>
            </a:prstGeom>
            <a:solidFill>
              <a:srgbClr val="A0DCFF"/>
            </a:solidFill>
            <a:ln w="19050" algn="ctr">
              <a:noFill/>
              <a:miter lim="800000"/>
              <a:headEnd/>
              <a:tailEnd/>
            </a:ln>
          </p:spPr>
          <p:txBody>
            <a:bodyPr wrap="square" lIns="0" tIns="0" rIns="0" bIns="0" rtlCol="0" anchor="ctr"/>
            <a:lstStyle/>
            <a:p>
              <a:pPr algn="ctr" defTabSz="828903">
                <a:lnSpc>
                  <a:spcPct val="106000"/>
                </a:lnSpc>
                <a:defRPr/>
              </a:pPr>
              <a:r>
                <a:rPr lang="en-US" sz="680" dirty="0">
                  <a:solidFill>
                    <a:prstClr val="black"/>
                  </a:solidFill>
                  <a:latin typeface="Verdana"/>
                </a:rPr>
                <a:t>+ Stakeholder</a:t>
              </a:r>
            </a:p>
          </p:txBody>
        </p:sp>
        <p:grpSp>
          <p:nvGrpSpPr>
            <p:cNvPr id="2546" name="Group 2545">
              <a:extLst>
                <a:ext uri="{FF2B5EF4-FFF2-40B4-BE49-F238E27FC236}">
                  <a16:creationId xmlns:a16="http://schemas.microsoft.com/office/drawing/2014/main" id="{2A86400A-22B2-422F-88B6-A6CFA4435DE2}"/>
                </a:ext>
              </a:extLst>
            </p:cNvPr>
            <p:cNvGrpSpPr>
              <a:grpSpLocks/>
            </p:cNvGrpSpPr>
            <p:nvPr/>
          </p:nvGrpSpPr>
          <p:grpSpPr>
            <a:xfrm>
              <a:off x="1688915" y="1795002"/>
              <a:ext cx="418017" cy="418017"/>
              <a:chOff x="745985" y="4768134"/>
              <a:chExt cx="368776" cy="368777"/>
            </a:xfrm>
          </p:grpSpPr>
          <p:grpSp>
            <p:nvGrpSpPr>
              <p:cNvPr id="2610" name="Group 64">
                <a:extLst>
                  <a:ext uri="{FF2B5EF4-FFF2-40B4-BE49-F238E27FC236}">
                    <a16:creationId xmlns:a16="http://schemas.microsoft.com/office/drawing/2014/main" id="{37876098-F815-4A75-A3F5-8342895CBBEF}"/>
                  </a:ext>
                </a:extLst>
              </p:cNvPr>
              <p:cNvGrpSpPr>
                <a:grpSpLocks noChangeAspect="1"/>
              </p:cNvGrpSpPr>
              <p:nvPr/>
            </p:nvGrpSpPr>
            <p:grpSpPr bwMode="auto">
              <a:xfrm rot="8100000">
                <a:off x="745985" y="4768134"/>
                <a:ext cx="368776" cy="368777"/>
                <a:chOff x="701" y="2170"/>
                <a:chExt cx="587" cy="587"/>
              </a:xfrm>
            </p:grpSpPr>
            <p:sp>
              <p:nvSpPr>
                <p:cNvPr id="2621" name="Oval 65">
                  <a:extLst>
                    <a:ext uri="{FF2B5EF4-FFF2-40B4-BE49-F238E27FC236}">
                      <a16:creationId xmlns:a16="http://schemas.microsoft.com/office/drawing/2014/main" id="{2DF0D91C-2D49-46A4-8E67-9D5B89E66B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22" name="Line 66">
                  <a:extLst>
                    <a:ext uri="{FF2B5EF4-FFF2-40B4-BE49-F238E27FC236}">
                      <a16:creationId xmlns:a16="http://schemas.microsoft.com/office/drawing/2014/main" id="{54F40249-A4E6-4758-A6D0-B2E796EF826D}"/>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3" name="Line 67">
                  <a:extLst>
                    <a:ext uri="{FF2B5EF4-FFF2-40B4-BE49-F238E27FC236}">
                      <a16:creationId xmlns:a16="http://schemas.microsoft.com/office/drawing/2014/main" id="{07CC7B68-631A-483D-B0A0-D20552A4A07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4" name="Line 69">
                  <a:extLst>
                    <a:ext uri="{FF2B5EF4-FFF2-40B4-BE49-F238E27FC236}">
                      <a16:creationId xmlns:a16="http://schemas.microsoft.com/office/drawing/2014/main" id="{737AEDA1-E4DE-4651-93A7-CDF6E1C2D92E}"/>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5" name="Line 74">
                  <a:extLst>
                    <a:ext uri="{FF2B5EF4-FFF2-40B4-BE49-F238E27FC236}">
                      <a16:creationId xmlns:a16="http://schemas.microsoft.com/office/drawing/2014/main" id="{E9A3B492-7197-464A-B9EB-B58BA9647645}"/>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6" name="Freeform 78">
                  <a:extLst>
                    <a:ext uri="{FF2B5EF4-FFF2-40B4-BE49-F238E27FC236}">
                      <a16:creationId xmlns:a16="http://schemas.microsoft.com/office/drawing/2014/main" id="{2578CF9C-E829-48FA-AA33-AEA16D6FFD0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7" name="Freeform 80">
                  <a:extLst>
                    <a:ext uri="{FF2B5EF4-FFF2-40B4-BE49-F238E27FC236}">
                      <a16:creationId xmlns:a16="http://schemas.microsoft.com/office/drawing/2014/main" id="{E9C922BB-A626-4ADB-B528-1CE3E09729DC}"/>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611" name="Group 2610">
                <a:extLst>
                  <a:ext uri="{FF2B5EF4-FFF2-40B4-BE49-F238E27FC236}">
                    <a16:creationId xmlns:a16="http://schemas.microsoft.com/office/drawing/2014/main" id="{B05CA430-DBB2-4069-83F5-B0564A8088E4}"/>
                  </a:ext>
                </a:extLst>
              </p:cNvPr>
              <p:cNvGrpSpPr/>
              <p:nvPr/>
            </p:nvGrpSpPr>
            <p:grpSpPr>
              <a:xfrm>
                <a:off x="837312" y="4814434"/>
                <a:ext cx="136805" cy="278689"/>
                <a:chOff x="2806700" y="2803319"/>
                <a:chExt cx="433387" cy="882861"/>
              </a:xfrm>
            </p:grpSpPr>
            <p:grpSp>
              <p:nvGrpSpPr>
                <p:cNvPr id="2612" name="Group 2611">
                  <a:extLst>
                    <a:ext uri="{FF2B5EF4-FFF2-40B4-BE49-F238E27FC236}">
                      <a16:creationId xmlns:a16="http://schemas.microsoft.com/office/drawing/2014/main" id="{0EDC82F8-83D1-4536-A959-C2D2FD5273E9}"/>
                    </a:ext>
                  </a:extLst>
                </p:cNvPr>
                <p:cNvGrpSpPr>
                  <a:grpSpLocks noChangeAspect="1"/>
                </p:cNvGrpSpPr>
                <p:nvPr/>
              </p:nvGrpSpPr>
              <p:grpSpPr bwMode="auto">
                <a:xfrm>
                  <a:off x="2806700" y="3043242"/>
                  <a:ext cx="433387" cy="642938"/>
                  <a:chOff x="1768" y="1917"/>
                  <a:chExt cx="273" cy="405"/>
                </a:xfrm>
              </p:grpSpPr>
              <p:sp>
                <p:nvSpPr>
                  <p:cNvPr id="2614" name="Freeform 52">
                    <a:extLst>
                      <a:ext uri="{FF2B5EF4-FFF2-40B4-BE49-F238E27FC236}">
                        <a16:creationId xmlns:a16="http://schemas.microsoft.com/office/drawing/2014/main" id="{0BCE2018-B6C9-4D30-9121-A67C4EE2AB35}"/>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15" name="Line 54">
                    <a:extLst>
                      <a:ext uri="{FF2B5EF4-FFF2-40B4-BE49-F238E27FC236}">
                        <a16:creationId xmlns:a16="http://schemas.microsoft.com/office/drawing/2014/main" id="{EC581916-8210-4552-9CD2-6819AC9BAA7B}"/>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6" name="Line 55">
                    <a:extLst>
                      <a:ext uri="{FF2B5EF4-FFF2-40B4-BE49-F238E27FC236}">
                        <a16:creationId xmlns:a16="http://schemas.microsoft.com/office/drawing/2014/main" id="{258D4DF1-6C6F-424D-9ED5-1E6427BB5C6D}"/>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7" name="Freeform 56">
                    <a:extLst>
                      <a:ext uri="{FF2B5EF4-FFF2-40B4-BE49-F238E27FC236}">
                        <a16:creationId xmlns:a16="http://schemas.microsoft.com/office/drawing/2014/main" id="{EFC4BA31-C988-4E9F-BCA1-A5BE4DA774B7}"/>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8" name="Line 57">
                    <a:extLst>
                      <a:ext uri="{FF2B5EF4-FFF2-40B4-BE49-F238E27FC236}">
                        <a16:creationId xmlns:a16="http://schemas.microsoft.com/office/drawing/2014/main" id="{60554008-CF73-4CB7-B029-7BB6BC69B4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19" name="Freeform 58">
                    <a:extLst>
                      <a:ext uri="{FF2B5EF4-FFF2-40B4-BE49-F238E27FC236}">
                        <a16:creationId xmlns:a16="http://schemas.microsoft.com/office/drawing/2014/main" id="{8663360D-1E34-41B4-9F2E-AD0DC682F5EB}"/>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20" name="Rectangle 2619">
                    <a:extLst>
                      <a:ext uri="{FF2B5EF4-FFF2-40B4-BE49-F238E27FC236}">
                        <a16:creationId xmlns:a16="http://schemas.microsoft.com/office/drawing/2014/main" id="{5B65E2D2-857D-40B6-8F41-EA1235FAE848}"/>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613" name="Oval 2612">
                  <a:extLst>
                    <a:ext uri="{FF2B5EF4-FFF2-40B4-BE49-F238E27FC236}">
                      <a16:creationId xmlns:a16="http://schemas.microsoft.com/office/drawing/2014/main" id="{B63520A8-B7C0-44DB-955E-5A06BF0CF4B6}"/>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547" name="Group 2546">
              <a:extLst>
                <a:ext uri="{FF2B5EF4-FFF2-40B4-BE49-F238E27FC236}">
                  <a16:creationId xmlns:a16="http://schemas.microsoft.com/office/drawing/2014/main" id="{70E3FDAB-8078-4444-B685-4B8E2BB15BF0}"/>
                </a:ext>
              </a:extLst>
            </p:cNvPr>
            <p:cNvGrpSpPr>
              <a:grpSpLocks/>
            </p:cNvGrpSpPr>
            <p:nvPr/>
          </p:nvGrpSpPr>
          <p:grpSpPr>
            <a:xfrm>
              <a:off x="2196256" y="1795002"/>
              <a:ext cx="429139" cy="429142"/>
              <a:chOff x="1454941" y="4721722"/>
              <a:chExt cx="473625" cy="473627"/>
            </a:xfrm>
          </p:grpSpPr>
          <p:grpSp>
            <p:nvGrpSpPr>
              <p:cNvPr id="2571" name="Group 64">
                <a:extLst>
                  <a:ext uri="{FF2B5EF4-FFF2-40B4-BE49-F238E27FC236}">
                    <a16:creationId xmlns:a16="http://schemas.microsoft.com/office/drawing/2014/main" id="{B39C39E7-EA9F-4EBC-9AAB-F9883F63F91C}"/>
                  </a:ext>
                </a:extLst>
              </p:cNvPr>
              <p:cNvGrpSpPr>
                <a:grpSpLocks noChangeAspect="1"/>
              </p:cNvGrpSpPr>
              <p:nvPr/>
            </p:nvGrpSpPr>
            <p:grpSpPr bwMode="auto">
              <a:xfrm rot="8100000">
                <a:off x="1454941" y="4721722"/>
                <a:ext cx="473625" cy="473627"/>
                <a:chOff x="701" y="2170"/>
                <a:chExt cx="587" cy="587"/>
              </a:xfrm>
            </p:grpSpPr>
            <p:sp>
              <p:nvSpPr>
                <p:cNvPr id="2603" name="Oval 65">
                  <a:extLst>
                    <a:ext uri="{FF2B5EF4-FFF2-40B4-BE49-F238E27FC236}">
                      <a16:creationId xmlns:a16="http://schemas.microsoft.com/office/drawing/2014/main" id="{1741B508-5571-4D54-A0EB-547A9E77B78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04" name="Line 66">
                  <a:extLst>
                    <a:ext uri="{FF2B5EF4-FFF2-40B4-BE49-F238E27FC236}">
                      <a16:creationId xmlns:a16="http://schemas.microsoft.com/office/drawing/2014/main" id="{70676CEF-249F-420C-85A3-B991722F7A3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5" name="Line 67">
                  <a:extLst>
                    <a:ext uri="{FF2B5EF4-FFF2-40B4-BE49-F238E27FC236}">
                      <a16:creationId xmlns:a16="http://schemas.microsoft.com/office/drawing/2014/main" id="{1EF5F94B-E9B8-4900-A031-222A5CC2040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6" name="Line 69">
                  <a:extLst>
                    <a:ext uri="{FF2B5EF4-FFF2-40B4-BE49-F238E27FC236}">
                      <a16:creationId xmlns:a16="http://schemas.microsoft.com/office/drawing/2014/main" id="{2BB013A3-42B7-4018-89D4-5C83D78682F6}"/>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7" name="Line 74">
                  <a:extLst>
                    <a:ext uri="{FF2B5EF4-FFF2-40B4-BE49-F238E27FC236}">
                      <a16:creationId xmlns:a16="http://schemas.microsoft.com/office/drawing/2014/main" id="{00686483-DECD-45BF-9A77-564856213CC8}"/>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8" name="Freeform 78">
                  <a:extLst>
                    <a:ext uri="{FF2B5EF4-FFF2-40B4-BE49-F238E27FC236}">
                      <a16:creationId xmlns:a16="http://schemas.microsoft.com/office/drawing/2014/main" id="{84F7DED2-E0F1-4DE4-A520-B0C26D9E750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9" name="Freeform 80">
                  <a:extLst>
                    <a:ext uri="{FF2B5EF4-FFF2-40B4-BE49-F238E27FC236}">
                      <a16:creationId xmlns:a16="http://schemas.microsoft.com/office/drawing/2014/main" id="{039693EE-14A9-4591-B409-53500D914F60}"/>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72" name="Group 2571">
                <a:extLst>
                  <a:ext uri="{FF2B5EF4-FFF2-40B4-BE49-F238E27FC236}">
                    <a16:creationId xmlns:a16="http://schemas.microsoft.com/office/drawing/2014/main" id="{89DDA1AB-DB1A-4F2A-A1F6-F55E86107FD2}"/>
                  </a:ext>
                </a:extLst>
              </p:cNvPr>
              <p:cNvGrpSpPr/>
              <p:nvPr/>
            </p:nvGrpSpPr>
            <p:grpSpPr>
              <a:xfrm>
                <a:off x="1511214" y="4789508"/>
                <a:ext cx="356509" cy="349884"/>
                <a:chOff x="468738" y="2241878"/>
                <a:chExt cx="1655483" cy="1624719"/>
              </a:xfrm>
            </p:grpSpPr>
            <p:sp>
              <p:nvSpPr>
                <p:cNvPr id="2573" name="Freeform 5">
                  <a:extLst>
                    <a:ext uri="{FF2B5EF4-FFF2-40B4-BE49-F238E27FC236}">
                      <a16:creationId xmlns:a16="http://schemas.microsoft.com/office/drawing/2014/main" id="{172B99D1-5F8D-43B0-A8CF-683A3625D04B}"/>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74" name="Freeform 6">
                  <a:extLst>
                    <a:ext uri="{FF2B5EF4-FFF2-40B4-BE49-F238E27FC236}">
                      <a16:creationId xmlns:a16="http://schemas.microsoft.com/office/drawing/2014/main" id="{F3FDED16-95F9-45A6-A5C2-AF3C7FBE84F6}"/>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5" name="Line 7">
                  <a:extLst>
                    <a:ext uri="{FF2B5EF4-FFF2-40B4-BE49-F238E27FC236}">
                      <a16:creationId xmlns:a16="http://schemas.microsoft.com/office/drawing/2014/main" id="{AAD0AA96-C242-4B23-8EFA-298E3BEDAAA3}"/>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6" name="Freeform 8">
                  <a:extLst>
                    <a:ext uri="{FF2B5EF4-FFF2-40B4-BE49-F238E27FC236}">
                      <a16:creationId xmlns:a16="http://schemas.microsoft.com/office/drawing/2014/main" id="{65ACEBDE-EC2B-4A9C-8F9A-3E59E956386C}"/>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7" name="Line 9">
                  <a:extLst>
                    <a:ext uri="{FF2B5EF4-FFF2-40B4-BE49-F238E27FC236}">
                      <a16:creationId xmlns:a16="http://schemas.microsoft.com/office/drawing/2014/main" id="{FA37A858-97DB-4449-ACE8-3885E0019D97}"/>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78" name="Group 2577">
                  <a:extLst>
                    <a:ext uri="{FF2B5EF4-FFF2-40B4-BE49-F238E27FC236}">
                      <a16:creationId xmlns:a16="http://schemas.microsoft.com/office/drawing/2014/main" id="{79C5D445-41D4-40B0-AF1A-755E76DDC7B4}"/>
                    </a:ext>
                  </a:extLst>
                </p:cNvPr>
                <p:cNvGrpSpPr/>
                <p:nvPr/>
              </p:nvGrpSpPr>
              <p:grpSpPr>
                <a:xfrm>
                  <a:off x="1207113" y="2241878"/>
                  <a:ext cx="178734" cy="348678"/>
                  <a:chOff x="1207113" y="2241878"/>
                  <a:chExt cx="178734" cy="348678"/>
                </a:xfrm>
              </p:grpSpPr>
              <p:sp>
                <p:nvSpPr>
                  <p:cNvPr id="2601" name="Freeform 10">
                    <a:extLst>
                      <a:ext uri="{FF2B5EF4-FFF2-40B4-BE49-F238E27FC236}">
                        <a16:creationId xmlns:a16="http://schemas.microsoft.com/office/drawing/2014/main" id="{54AC54D8-9353-4873-A0D6-DA52C8207185}"/>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2" name="Line 11">
                    <a:extLst>
                      <a:ext uri="{FF2B5EF4-FFF2-40B4-BE49-F238E27FC236}">
                        <a16:creationId xmlns:a16="http://schemas.microsoft.com/office/drawing/2014/main" id="{67538569-E1FB-43CB-8C4E-E50AB927A62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579" name="Freeform 12">
                  <a:extLst>
                    <a:ext uri="{FF2B5EF4-FFF2-40B4-BE49-F238E27FC236}">
                      <a16:creationId xmlns:a16="http://schemas.microsoft.com/office/drawing/2014/main" id="{23AB89EB-3C17-472E-A344-FA38E6EB6840}"/>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0" name="Line 13">
                  <a:extLst>
                    <a:ext uri="{FF2B5EF4-FFF2-40B4-BE49-F238E27FC236}">
                      <a16:creationId xmlns:a16="http://schemas.microsoft.com/office/drawing/2014/main" id="{43C11C09-0BC9-4BFF-875F-ABE448A152D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1" name="Freeform 14">
                  <a:extLst>
                    <a:ext uri="{FF2B5EF4-FFF2-40B4-BE49-F238E27FC236}">
                      <a16:creationId xmlns:a16="http://schemas.microsoft.com/office/drawing/2014/main" id="{F0F5FDC1-C77E-42C1-837C-FAF73023CF47}"/>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2" name="Line 15">
                  <a:extLst>
                    <a:ext uri="{FF2B5EF4-FFF2-40B4-BE49-F238E27FC236}">
                      <a16:creationId xmlns:a16="http://schemas.microsoft.com/office/drawing/2014/main" id="{D14B5AA4-719D-4159-8916-F2A1A34A91B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3" name="Freeform 16">
                  <a:extLst>
                    <a:ext uri="{FF2B5EF4-FFF2-40B4-BE49-F238E27FC236}">
                      <a16:creationId xmlns:a16="http://schemas.microsoft.com/office/drawing/2014/main" id="{F8FBC1AC-6574-47C3-8438-C023623B2608}"/>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4" name="Line 17">
                  <a:extLst>
                    <a:ext uri="{FF2B5EF4-FFF2-40B4-BE49-F238E27FC236}">
                      <a16:creationId xmlns:a16="http://schemas.microsoft.com/office/drawing/2014/main" id="{08056CE5-759B-45BA-AD64-E8F92BBD2AE4}"/>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5" name="Freeform 18">
                  <a:extLst>
                    <a:ext uri="{FF2B5EF4-FFF2-40B4-BE49-F238E27FC236}">
                      <a16:creationId xmlns:a16="http://schemas.microsoft.com/office/drawing/2014/main" id="{6A51513C-BEE0-4282-A5DF-6205F1EA0668}"/>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6" name="Line 19">
                  <a:extLst>
                    <a:ext uri="{FF2B5EF4-FFF2-40B4-BE49-F238E27FC236}">
                      <a16:creationId xmlns:a16="http://schemas.microsoft.com/office/drawing/2014/main" id="{AEAAE65E-5999-432E-9C21-5E4FB83DDEBA}"/>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7" name="Freeform 35">
                  <a:extLst>
                    <a:ext uri="{FF2B5EF4-FFF2-40B4-BE49-F238E27FC236}">
                      <a16:creationId xmlns:a16="http://schemas.microsoft.com/office/drawing/2014/main" id="{905B05FD-7A7F-48F9-A413-495E4E3EF3B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88" name="Freeform 36">
                  <a:extLst>
                    <a:ext uri="{FF2B5EF4-FFF2-40B4-BE49-F238E27FC236}">
                      <a16:creationId xmlns:a16="http://schemas.microsoft.com/office/drawing/2014/main" id="{2921A0B4-2BEA-4CE2-8F22-3E172B32B81A}"/>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89" name="Freeform 37">
                  <a:extLst>
                    <a:ext uri="{FF2B5EF4-FFF2-40B4-BE49-F238E27FC236}">
                      <a16:creationId xmlns:a16="http://schemas.microsoft.com/office/drawing/2014/main" id="{74FD599A-C4E5-4385-B21D-C11D5169B587}"/>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0" name="Freeform 38">
                  <a:extLst>
                    <a:ext uri="{FF2B5EF4-FFF2-40B4-BE49-F238E27FC236}">
                      <a16:creationId xmlns:a16="http://schemas.microsoft.com/office/drawing/2014/main" id="{8F85F175-9B1B-40F9-946C-DE9DDA6E8A4F}"/>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1" name="Freeform 39">
                  <a:extLst>
                    <a:ext uri="{FF2B5EF4-FFF2-40B4-BE49-F238E27FC236}">
                      <a16:creationId xmlns:a16="http://schemas.microsoft.com/office/drawing/2014/main" id="{53790508-4459-4A51-8C21-80B6C72D01A0}"/>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2" name="Freeform 40">
                  <a:extLst>
                    <a:ext uri="{FF2B5EF4-FFF2-40B4-BE49-F238E27FC236}">
                      <a16:creationId xmlns:a16="http://schemas.microsoft.com/office/drawing/2014/main" id="{E9E238AF-9ECF-452F-B6DB-E6DF88A9C969}"/>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3" name="Freeform 41">
                  <a:extLst>
                    <a:ext uri="{FF2B5EF4-FFF2-40B4-BE49-F238E27FC236}">
                      <a16:creationId xmlns:a16="http://schemas.microsoft.com/office/drawing/2014/main" id="{D11F8F04-D95B-4398-934F-456924E5644F}"/>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4" name="Line 42">
                  <a:extLst>
                    <a:ext uri="{FF2B5EF4-FFF2-40B4-BE49-F238E27FC236}">
                      <a16:creationId xmlns:a16="http://schemas.microsoft.com/office/drawing/2014/main" id="{7CA960FB-560C-4E5A-8FE9-85E545A1B2C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5" name="Freeform 43">
                  <a:extLst>
                    <a:ext uri="{FF2B5EF4-FFF2-40B4-BE49-F238E27FC236}">
                      <a16:creationId xmlns:a16="http://schemas.microsoft.com/office/drawing/2014/main" id="{8352DF51-BA50-42A8-AAA7-896B47106C3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96" name="Freeform 44">
                  <a:extLst>
                    <a:ext uri="{FF2B5EF4-FFF2-40B4-BE49-F238E27FC236}">
                      <a16:creationId xmlns:a16="http://schemas.microsoft.com/office/drawing/2014/main" id="{BDD7E630-68FF-4E07-BB6A-C1149D795D9D}"/>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97" name="Freeform 45">
                  <a:extLst>
                    <a:ext uri="{FF2B5EF4-FFF2-40B4-BE49-F238E27FC236}">
                      <a16:creationId xmlns:a16="http://schemas.microsoft.com/office/drawing/2014/main" id="{861BDD01-35EE-466A-B33F-9A1961BB3060}"/>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598" name="Group 2597">
                  <a:extLst>
                    <a:ext uri="{FF2B5EF4-FFF2-40B4-BE49-F238E27FC236}">
                      <a16:creationId xmlns:a16="http://schemas.microsoft.com/office/drawing/2014/main" id="{7B1758D7-BE5F-464F-BC14-3A269D9754BC}"/>
                    </a:ext>
                  </a:extLst>
                </p:cNvPr>
                <p:cNvGrpSpPr/>
                <p:nvPr/>
              </p:nvGrpSpPr>
              <p:grpSpPr>
                <a:xfrm flipV="1">
                  <a:off x="1202047" y="3517919"/>
                  <a:ext cx="178734" cy="348678"/>
                  <a:chOff x="1207113" y="2241878"/>
                  <a:chExt cx="178734" cy="348678"/>
                </a:xfrm>
              </p:grpSpPr>
              <p:sp>
                <p:nvSpPr>
                  <p:cNvPr id="2599" name="Freeform 10">
                    <a:extLst>
                      <a:ext uri="{FF2B5EF4-FFF2-40B4-BE49-F238E27FC236}">
                        <a16:creationId xmlns:a16="http://schemas.microsoft.com/office/drawing/2014/main" id="{019506FC-658D-4D9A-A18D-8059D37E15F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00" name="Line 11">
                    <a:extLst>
                      <a:ext uri="{FF2B5EF4-FFF2-40B4-BE49-F238E27FC236}">
                        <a16:creationId xmlns:a16="http://schemas.microsoft.com/office/drawing/2014/main" id="{99B84B6D-9AFF-4FEA-9FDC-B8BF3387F947}"/>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548" name="Group 2547">
              <a:extLst>
                <a:ext uri="{FF2B5EF4-FFF2-40B4-BE49-F238E27FC236}">
                  <a16:creationId xmlns:a16="http://schemas.microsoft.com/office/drawing/2014/main" id="{5EA11509-A1A4-44A6-A1A4-17F4B555AAC6}"/>
                </a:ext>
              </a:extLst>
            </p:cNvPr>
            <p:cNvGrpSpPr>
              <a:grpSpLocks/>
            </p:cNvGrpSpPr>
            <p:nvPr/>
          </p:nvGrpSpPr>
          <p:grpSpPr>
            <a:xfrm>
              <a:off x="2714719" y="1795002"/>
              <a:ext cx="429768" cy="429768"/>
              <a:chOff x="2268747" y="4723725"/>
              <a:chExt cx="415610" cy="415612"/>
            </a:xfrm>
          </p:grpSpPr>
          <p:grpSp>
            <p:nvGrpSpPr>
              <p:cNvPr id="2549" name="Group 64">
                <a:extLst>
                  <a:ext uri="{FF2B5EF4-FFF2-40B4-BE49-F238E27FC236}">
                    <a16:creationId xmlns:a16="http://schemas.microsoft.com/office/drawing/2014/main" id="{9994E78A-F8C7-4ECE-944A-E097AE751DB8}"/>
                  </a:ext>
                </a:extLst>
              </p:cNvPr>
              <p:cNvGrpSpPr>
                <a:grpSpLocks noChangeAspect="1"/>
              </p:cNvGrpSpPr>
              <p:nvPr/>
            </p:nvGrpSpPr>
            <p:grpSpPr bwMode="auto">
              <a:xfrm rot="8100000">
                <a:off x="2268747" y="4723725"/>
                <a:ext cx="415610" cy="415612"/>
                <a:chOff x="701" y="2170"/>
                <a:chExt cx="587" cy="587"/>
              </a:xfrm>
            </p:grpSpPr>
            <p:sp>
              <p:nvSpPr>
                <p:cNvPr id="2564" name="Oval 65">
                  <a:extLst>
                    <a:ext uri="{FF2B5EF4-FFF2-40B4-BE49-F238E27FC236}">
                      <a16:creationId xmlns:a16="http://schemas.microsoft.com/office/drawing/2014/main" id="{B0440BC5-094D-472D-B738-365BFF23A97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5" name="Line 66">
                  <a:extLst>
                    <a:ext uri="{FF2B5EF4-FFF2-40B4-BE49-F238E27FC236}">
                      <a16:creationId xmlns:a16="http://schemas.microsoft.com/office/drawing/2014/main" id="{2A47616E-CFA9-48B9-9249-5868F9E3FC1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6" name="Line 67">
                  <a:extLst>
                    <a:ext uri="{FF2B5EF4-FFF2-40B4-BE49-F238E27FC236}">
                      <a16:creationId xmlns:a16="http://schemas.microsoft.com/office/drawing/2014/main" id="{F77ABEAB-5DBD-4EAF-8B07-2263A00DC3F3}"/>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7" name="Line 69">
                  <a:extLst>
                    <a:ext uri="{FF2B5EF4-FFF2-40B4-BE49-F238E27FC236}">
                      <a16:creationId xmlns:a16="http://schemas.microsoft.com/office/drawing/2014/main" id="{DE510E65-BE79-46F0-B8B4-232037F6B76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8" name="Line 74">
                  <a:extLst>
                    <a:ext uri="{FF2B5EF4-FFF2-40B4-BE49-F238E27FC236}">
                      <a16:creationId xmlns:a16="http://schemas.microsoft.com/office/drawing/2014/main" id="{CD3FFEA8-D4AB-4078-A060-33DF4A788FE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9" name="Freeform 78">
                  <a:extLst>
                    <a:ext uri="{FF2B5EF4-FFF2-40B4-BE49-F238E27FC236}">
                      <a16:creationId xmlns:a16="http://schemas.microsoft.com/office/drawing/2014/main" id="{2EDC1EE5-42BD-4CDA-813D-5E6FB6792E2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70" name="Freeform 80">
                  <a:extLst>
                    <a:ext uri="{FF2B5EF4-FFF2-40B4-BE49-F238E27FC236}">
                      <a16:creationId xmlns:a16="http://schemas.microsoft.com/office/drawing/2014/main" id="{A5B3BECE-23D7-41D4-8D21-E529128AD14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550" name="Group 2549">
                <a:extLst>
                  <a:ext uri="{FF2B5EF4-FFF2-40B4-BE49-F238E27FC236}">
                    <a16:creationId xmlns:a16="http://schemas.microsoft.com/office/drawing/2014/main" id="{CDDC6E90-998A-4279-AA1D-88E0676C2A65}"/>
                  </a:ext>
                </a:extLst>
              </p:cNvPr>
              <p:cNvGrpSpPr/>
              <p:nvPr/>
            </p:nvGrpSpPr>
            <p:grpSpPr>
              <a:xfrm>
                <a:off x="2318076" y="4830163"/>
                <a:ext cx="313949" cy="233075"/>
                <a:chOff x="3707533" y="2731244"/>
                <a:chExt cx="389644" cy="289271"/>
              </a:xfrm>
            </p:grpSpPr>
            <p:sp>
              <p:nvSpPr>
                <p:cNvPr id="2551" name="Freeform 33">
                  <a:extLst>
                    <a:ext uri="{FF2B5EF4-FFF2-40B4-BE49-F238E27FC236}">
                      <a16:creationId xmlns:a16="http://schemas.microsoft.com/office/drawing/2014/main" id="{3E33581A-5603-47FA-8C77-22600BCDE6E8}"/>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2" name="Freeform 34">
                  <a:extLst>
                    <a:ext uri="{FF2B5EF4-FFF2-40B4-BE49-F238E27FC236}">
                      <a16:creationId xmlns:a16="http://schemas.microsoft.com/office/drawing/2014/main" id="{ACDF47B3-1CA7-4271-867B-F114B2976917}"/>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3" name="Freeform 37">
                  <a:extLst>
                    <a:ext uri="{FF2B5EF4-FFF2-40B4-BE49-F238E27FC236}">
                      <a16:creationId xmlns:a16="http://schemas.microsoft.com/office/drawing/2014/main" id="{B543CB0C-D03B-4720-A607-0FCD07E9D4B3}"/>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4" name="Freeform 38">
                  <a:extLst>
                    <a:ext uri="{FF2B5EF4-FFF2-40B4-BE49-F238E27FC236}">
                      <a16:creationId xmlns:a16="http://schemas.microsoft.com/office/drawing/2014/main" id="{372AC087-985F-4869-B0F9-042502D250D4}"/>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5" name="Freeform 32">
                  <a:extLst>
                    <a:ext uri="{FF2B5EF4-FFF2-40B4-BE49-F238E27FC236}">
                      <a16:creationId xmlns:a16="http://schemas.microsoft.com/office/drawing/2014/main" id="{38C5052C-A37E-470F-B686-3D80031B8B8C}"/>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6" name="Freeform 35">
                  <a:extLst>
                    <a:ext uri="{FF2B5EF4-FFF2-40B4-BE49-F238E27FC236}">
                      <a16:creationId xmlns:a16="http://schemas.microsoft.com/office/drawing/2014/main" id="{B2446279-1BCD-4191-8B55-C5D69A343EE8}"/>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7" name="Freeform 36">
                  <a:extLst>
                    <a:ext uri="{FF2B5EF4-FFF2-40B4-BE49-F238E27FC236}">
                      <a16:creationId xmlns:a16="http://schemas.microsoft.com/office/drawing/2014/main" id="{C85BCDF6-D6D7-4002-A4B7-F17FFEAB5D38}"/>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8" name="Freeform 25">
                  <a:extLst>
                    <a:ext uri="{FF2B5EF4-FFF2-40B4-BE49-F238E27FC236}">
                      <a16:creationId xmlns:a16="http://schemas.microsoft.com/office/drawing/2014/main" id="{C36CC8CF-82FF-428E-BC50-3225F0505AF4}"/>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59" name="Freeform 39">
                  <a:extLst>
                    <a:ext uri="{FF2B5EF4-FFF2-40B4-BE49-F238E27FC236}">
                      <a16:creationId xmlns:a16="http://schemas.microsoft.com/office/drawing/2014/main" id="{B9E1B1BD-9826-44F1-8BFA-FD3EE138DEAF}"/>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0" name="Freeform 26">
                  <a:extLst>
                    <a:ext uri="{FF2B5EF4-FFF2-40B4-BE49-F238E27FC236}">
                      <a16:creationId xmlns:a16="http://schemas.microsoft.com/office/drawing/2014/main" id="{E70AECCB-A7E1-4AF4-AD81-97B4AD7E5A38}"/>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1" name="Rectangle 27">
                  <a:extLst>
                    <a:ext uri="{FF2B5EF4-FFF2-40B4-BE49-F238E27FC236}">
                      <a16:creationId xmlns:a16="http://schemas.microsoft.com/office/drawing/2014/main" id="{AE5DB8C7-52CD-4F4D-AD7D-713470DD0519}"/>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562" name="Line 29">
                  <a:extLst>
                    <a:ext uri="{FF2B5EF4-FFF2-40B4-BE49-F238E27FC236}">
                      <a16:creationId xmlns:a16="http://schemas.microsoft.com/office/drawing/2014/main" id="{C1EDC3FA-8CEB-4FB2-816D-A14C07043183}"/>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563" name="Line 31">
                  <a:extLst>
                    <a:ext uri="{FF2B5EF4-FFF2-40B4-BE49-F238E27FC236}">
                      <a16:creationId xmlns:a16="http://schemas.microsoft.com/office/drawing/2014/main" id="{2438B17F-954A-450B-8F24-DD7E7E7D6E04}"/>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 name="Group 21">
            <a:extLst>
              <a:ext uri="{FF2B5EF4-FFF2-40B4-BE49-F238E27FC236}">
                <a16:creationId xmlns:a16="http://schemas.microsoft.com/office/drawing/2014/main" id="{6E4C0B98-8312-4240-91AD-56D15DC8F0EB}"/>
              </a:ext>
            </a:extLst>
          </p:cNvPr>
          <p:cNvGrpSpPr/>
          <p:nvPr/>
        </p:nvGrpSpPr>
        <p:grpSpPr>
          <a:xfrm>
            <a:off x="10071532" y="2269806"/>
            <a:ext cx="1723479" cy="3110477"/>
            <a:chOff x="10072567" y="2269503"/>
            <a:chExt cx="1723928" cy="3111287"/>
          </a:xfrm>
        </p:grpSpPr>
        <p:grpSp>
          <p:nvGrpSpPr>
            <p:cNvPr id="2628" name="Group 2627">
              <a:extLst>
                <a:ext uri="{FF2B5EF4-FFF2-40B4-BE49-F238E27FC236}">
                  <a16:creationId xmlns:a16="http://schemas.microsoft.com/office/drawing/2014/main" id="{5CB17104-CCCA-4F2F-BCBE-97E71FB6F56C}"/>
                </a:ext>
              </a:extLst>
            </p:cNvPr>
            <p:cNvGrpSpPr/>
            <p:nvPr/>
          </p:nvGrpSpPr>
          <p:grpSpPr>
            <a:xfrm>
              <a:off x="10075218" y="2269503"/>
              <a:ext cx="1586257" cy="2254230"/>
              <a:chOff x="9895314" y="2107193"/>
              <a:chExt cx="1590306" cy="2259985"/>
            </a:xfrm>
          </p:grpSpPr>
          <p:grpSp>
            <p:nvGrpSpPr>
              <p:cNvPr id="2629" name="Group 2628">
                <a:extLst>
                  <a:ext uri="{FF2B5EF4-FFF2-40B4-BE49-F238E27FC236}">
                    <a16:creationId xmlns:a16="http://schemas.microsoft.com/office/drawing/2014/main" id="{75F7C261-4B8F-45FE-824C-8DB0963CCF23}"/>
                  </a:ext>
                </a:extLst>
              </p:cNvPr>
              <p:cNvGrpSpPr/>
              <p:nvPr/>
            </p:nvGrpSpPr>
            <p:grpSpPr>
              <a:xfrm>
                <a:off x="9895314" y="2107193"/>
                <a:ext cx="1231250" cy="1189486"/>
                <a:chOff x="7839761" y="1053755"/>
                <a:chExt cx="927651" cy="896185"/>
              </a:xfrm>
            </p:grpSpPr>
            <p:sp>
              <p:nvSpPr>
                <p:cNvPr id="2746" name="TextBox 2745">
                  <a:extLst>
                    <a:ext uri="{FF2B5EF4-FFF2-40B4-BE49-F238E27FC236}">
                      <a16:creationId xmlns:a16="http://schemas.microsoft.com/office/drawing/2014/main" id="{A89C0F18-FA20-4891-8E84-A8A00C5A9499}"/>
                    </a:ext>
                  </a:extLst>
                </p:cNvPr>
                <p:cNvSpPr txBox="1"/>
                <p:nvPr/>
              </p:nvSpPr>
              <p:spPr>
                <a:xfrm>
                  <a:off x="8115472" y="1728408"/>
                  <a:ext cx="393517" cy="221532"/>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747" name="Group 2746">
                  <a:extLst>
                    <a:ext uri="{FF2B5EF4-FFF2-40B4-BE49-F238E27FC236}">
                      <a16:creationId xmlns:a16="http://schemas.microsoft.com/office/drawing/2014/main" id="{41A641A2-BA06-4CF0-B09C-EF17BDDDA17C}"/>
                    </a:ext>
                  </a:extLst>
                </p:cNvPr>
                <p:cNvGrpSpPr/>
                <p:nvPr/>
              </p:nvGrpSpPr>
              <p:grpSpPr>
                <a:xfrm>
                  <a:off x="7839761" y="1053755"/>
                  <a:ext cx="927651" cy="523122"/>
                  <a:chOff x="7839761" y="1053755"/>
                  <a:chExt cx="927651" cy="523122"/>
                </a:xfrm>
              </p:grpSpPr>
              <p:sp>
                <p:nvSpPr>
                  <p:cNvPr id="2748" name="Line 66">
                    <a:extLst>
                      <a:ext uri="{FF2B5EF4-FFF2-40B4-BE49-F238E27FC236}">
                        <a16:creationId xmlns:a16="http://schemas.microsoft.com/office/drawing/2014/main" id="{EF576319-484F-4E1A-83E5-E731B3A05C8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49" name="Line 67">
                    <a:extLst>
                      <a:ext uri="{FF2B5EF4-FFF2-40B4-BE49-F238E27FC236}">
                        <a16:creationId xmlns:a16="http://schemas.microsoft.com/office/drawing/2014/main" id="{4C11F583-E796-42B1-B36E-F135E3677C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0" name="Line 74">
                    <a:extLst>
                      <a:ext uri="{FF2B5EF4-FFF2-40B4-BE49-F238E27FC236}">
                        <a16:creationId xmlns:a16="http://schemas.microsoft.com/office/drawing/2014/main" id="{A3D791A1-8161-4216-9837-9D5C6939A3A7}"/>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1" name="Freeform 78">
                    <a:extLst>
                      <a:ext uri="{FF2B5EF4-FFF2-40B4-BE49-F238E27FC236}">
                        <a16:creationId xmlns:a16="http://schemas.microsoft.com/office/drawing/2014/main" id="{71B5307A-0003-42E4-A2BB-6E78B51CF045}"/>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2" name="Freeform 80">
                    <a:extLst>
                      <a:ext uri="{FF2B5EF4-FFF2-40B4-BE49-F238E27FC236}">
                        <a16:creationId xmlns:a16="http://schemas.microsoft.com/office/drawing/2014/main" id="{12E186D9-86A8-4315-B5A9-558C950A79EF}"/>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3" name="Freeform 1575">
                    <a:extLst>
                      <a:ext uri="{FF2B5EF4-FFF2-40B4-BE49-F238E27FC236}">
                        <a16:creationId xmlns:a16="http://schemas.microsoft.com/office/drawing/2014/main" id="{C8E9D922-B157-4514-9971-B03785F0ACC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4" name="Freeform 1576">
                    <a:extLst>
                      <a:ext uri="{FF2B5EF4-FFF2-40B4-BE49-F238E27FC236}">
                        <a16:creationId xmlns:a16="http://schemas.microsoft.com/office/drawing/2014/main" id="{C3C1296B-EC9F-49B6-ACCF-2210563B18AA}"/>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5" name="Freeform 1577">
                    <a:extLst>
                      <a:ext uri="{FF2B5EF4-FFF2-40B4-BE49-F238E27FC236}">
                        <a16:creationId xmlns:a16="http://schemas.microsoft.com/office/drawing/2014/main" id="{9363EDAB-65B6-45DE-9953-CC2140D357BB}"/>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6" name="Freeform 1578">
                    <a:extLst>
                      <a:ext uri="{FF2B5EF4-FFF2-40B4-BE49-F238E27FC236}">
                        <a16:creationId xmlns:a16="http://schemas.microsoft.com/office/drawing/2014/main" id="{4B747CE4-EE46-4782-A953-6C0BE6CE175A}"/>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7" name="Freeform 1579">
                    <a:extLst>
                      <a:ext uri="{FF2B5EF4-FFF2-40B4-BE49-F238E27FC236}">
                        <a16:creationId xmlns:a16="http://schemas.microsoft.com/office/drawing/2014/main" id="{C5BBF474-3AE4-4A00-91FE-30C4D12C3F0E}"/>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58" name="Freeform 1580">
                    <a:extLst>
                      <a:ext uri="{FF2B5EF4-FFF2-40B4-BE49-F238E27FC236}">
                        <a16:creationId xmlns:a16="http://schemas.microsoft.com/office/drawing/2014/main" id="{AC37283D-B98B-427A-B0E6-8E1697E106F6}"/>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59" name="Freeform 1581">
                    <a:extLst>
                      <a:ext uri="{FF2B5EF4-FFF2-40B4-BE49-F238E27FC236}">
                        <a16:creationId xmlns:a16="http://schemas.microsoft.com/office/drawing/2014/main" id="{2712851D-4408-49D2-B71D-BC8549552CE6}"/>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0" name="Freeform 1582">
                    <a:extLst>
                      <a:ext uri="{FF2B5EF4-FFF2-40B4-BE49-F238E27FC236}">
                        <a16:creationId xmlns:a16="http://schemas.microsoft.com/office/drawing/2014/main" id="{BA067DA5-B09F-4290-BC07-39E7ACAE2522}"/>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1" name="Freeform 1583">
                    <a:extLst>
                      <a:ext uri="{FF2B5EF4-FFF2-40B4-BE49-F238E27FC236}">
                        <a16:creationId xmlns:a16="http://schemas.microsoft.com/office/drawing/2014/main" id="{8600E721-4879-4205-BA8C-6FF01585C4B6}"/>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62" name="Freeform 1584">
                    <a:extLst>
                      <a:ext uri="{FF2B5EF4-FFF2-40B4-BE49-F238E27FC236}">
                        <a16:creationId xmlns:a16="http://schemas.microsoft.com/office/drawing/2014/main" id="{6C52C4E5-C141-43AA-A779-84596D472BE1}"/>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3" name="Freeform 1585">
                    <a:extLst>
                      <a:ext uri="{FF2B5EF4-FFF2-40B4-BE49-F238E27FC236}">
                        <a16:creationId xmlns:a16="http://schemas.microsoft.com/office/drawing/2014/main" id="{DACFF4D9-98B0-4EC9-8EF9-8A4BEF530A08}"/>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4" name="Freeform 1586">
                    <a:extLst>
                      <a:ext uri="{FF2B5EF4-FFF2-40B4-BE49-F238E27FC236}">
                        <a16:creationId xmlns:a16="http://schemas.microsoft.com/office/drawing/2014/main" id="{5CE3602F-29E5-4849-AC85-A181EF04DF4A}"/>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5" name="Freeform 1587">
                    <a:extLst>
                      <a:ext uri="{FF2B5EF4-FFF2-40B4-BE49-F238E27FC236}">
                        <a16:creationId xmlns:a16="http://schemas.microsoft.com/office/drawing/2014/main" id="{AD26EE88-98D6-4D97-BFBE-718411247476}"/>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6" name="Freeform 1588">
                    <a:extLst>
                      <a:ext uri="{FF2B5EF4-FFF2-40B4-BE49-F238E27FC236}">
                        <a16:creationId xmlns:a16="http://schemas.microsoft.com/office/drawing/2014/main" id="{4B71DBF9-CCCE-4B50-9211-994E7BB25A66}"/>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67" name="Rectangle 1589">
                    <a:extLst>
                      <a:ext uri="{FF2B5EF4-FFF2-40B4-BE49-F238E27FC236}">
                        <a16:creationId xmlns:a16="http://schemas.microsoft.com/office/drawing/2014/main" id="{E19A6D98-F107-4271-8471-B1B5EEB975F8}"/>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8" name="Rectangle 1590">
                    <a:extLst>
                      <a:ext uri="{FF2B5EF4-FFF2-40B4-BE49-F238E27FC236}">
                        <a16:creationId xmlns:a16="http://schemas.microsoft.com/office/drawing/2014/main" id="{7122575D-1BF0-4900-9BDA-5CCB8705DEC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69" name="Freeform 1591">
                    <a:extLst>
                      <a:ext uri="{FF2B5EF4-FFF2-40B4-BE49-F238E27FC236}">
                        <a16:creationId xmlns:a16="http://schemas.microsoft.com/office/drawing/2014/main" id="{FB79298F-73E1-4FD1-B18F-ECF09E695349}"/>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0" name="Freeform 1592">
                    <a:extLst>
                      <a:ext uri="{FF2B5EF4-FFF2-40B4-BE49-F238E27FC236}">
                        <a16:creationId xmlns:a16="http://schemas.microsoft.com/office/drawing/2014/main" id="{FF735AAF-A3E5-47C6-B26B-4C4C16042FD7}"/>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1" name="Freeform 1593">
                    <a:extLst>
                      <a:ext uri="{FF2B5EF4-FFF2-40B4-BE49-F238E27FC236}">
                        <a16:creationId xmlns:a16="http://schemas.microsoft.com/office/drawing/2014/main" id="{B39FBEE9-F252-4A22-8264-2A1D60F5A03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2" name="Freeform 1594">
                    <a:extLst>
                      <a:ext uri="{FF2B5EF4-FFF2-40B4-BE49-F238E27FC236}">
                        <a16:creationId xmlns:a16="http://schemas.microsoft.com/office/drawing/2014/main" id="{A29FD2F8-9C95-4F0B-B897-4B5A4B10D567}"/>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3" name="Freeform 1595">
                    <a:extLst>
                      <a:ext uri="{FF2B5EF4-FFF2-40B4-BE49-F238E27FC236}">
                        <a16:creationId xmlns:a16="http://schemas.microsoft.com/office/drawing/2014/main" id="{8F7A0336-F79D-42EE-8B74-35B637B42972}"/>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4" name="Freeform 1596">
                    <a:extLst>
                      <a:ext uri="{FF2B5EF4-FFF2-40B4-BE49-F238E27FC236}">
                        <a16:creationId xmlns:a16="http://schemas.microsoft.com/office/drawing/2014/main" id="{E704E2E2-425C-405C-B59B-B09A9DAC05E3}"/>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5" name="Freeform 1672">
                    <a:extLst>
                      <a:ext uri="{FF2B5EF4-FFF2-40B4-BE49-F238E27FC236}">
                        <a16:creationId xmlns:a16="http://schemas.microsoft.com/office/drawing/2014/main" id="{58BEAE7A-63F2-4A3E-A465-6CAE93E908D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6" name="Freeform 1673">
                    <a:extLst>
                      <a:ext uri="{FF2B5EF4-FFF2-40B4-BE49-F238E27FC236}">
                        <a16:creationId xmlns:a16="http://schemas.microsoft.com/office/drawing/2014/main" id="{BF103C68-5C78-437C-B8F9-00C278917209}"/>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7" name="Freeform 1674">
                    <a:extLst>
                      <a:ext uri="{FF2B5EF4-FFF2-40B4-BE49-F238E27FC236}">
                        <a16:creationId xmlns:a16="http://schemas.microsoft.com/office/drawing/2014/main" id="{101D078E-1E0B-4970-9DE6-08C78AC150F9}"/>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8" name="Freeform 1675">
                    <a:extLst>
                      <a:ext uri="{FF2B5EF4-FFF2-40B4-BE49-F238E27FC236}">
                        <a16:creationId xmlns:a16="http://schemas.microsoft.com/office/drawing/2014/main" id="{D1AF199D-33F3-4BC3-A642-B2EA8C8D0BCC}"/>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79" name="Freeform 1676">
                    <a:extLst>
                      <a:ext uri="{FF2B5EF4-FFF2-40B4-BE49-F238E27FC236}">
                        <a16:creationId xmlns:a16="http://schemas.microsoft.com/office/drawing/2014/main" id="{3CC628BB-8473-481C-9A04-3B24474C37F0}"/>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0" name="Freeform 1677">
                    <a:extLst>
                      <a:ext uri="{FF2B5EF4-FFF2-40B4-BE49-F238E27FC236}">
                        <a16:creationId xmlns:a16="http://schemas.microsoft.com/office/drawing/2014/main" id="{8A7374C2-2413-4C93-B716-E567E539CAB7}"/>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1" name="Freeform 1678">
                    <a:extLst>
                      <a:ext uri="{FF2B5EF4-FFF2-40B4-BE49-F238E27FC236}">
                        <a16:creationId xmlns:a16="http://schemas.microsoft.com/office/drawing/2014/main" id="{8529CFF3-4A2F-4293-A8C3-12FD1EE8C27E}"/>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2" name="Freeform 1679">
                    <a:extLst>
                      <a:ext uri="{FF2B5EF4-FFF2-40B4-BE49-F238E27FC236}">
                        <a16:creationId xmlns:a16="http://schemas.microsoft.com/office/drawing/2014/main" id="{F1D1EC2E-B9B6-4DE5-AE78-4AAF84AD21F5}"/>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3" name="Freeform 1680">
                    <a:extLst>
                      <a:ext uri="{FF2B5EF4-FFF2-40B4-BE49-F238E27FC236}">
                        <a16:creationId xmlns:a16="http://schemas.microsoft.com/office/drawing/2014/main" id="{87D879A7-2CA4-43AF-A70E-B0F6582C7648}"/>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4" name="Freeform 1681">
                    <a:extLst>
                      <a:ext uri="{FF2B5EF4-FFF2-40B4-BE49-F238E27FC236}">
                        <a16:creationId xmlns:a16="http://schemas.microsoft.com/office/drawing/2014/main" id="{9C2394F2-1F2D-4793-BBE1-59163EF9C2B8}"/>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5" name="Freeform 1682">
                    <a:extLst>
                      <a:ext uri="{FF2B5EF4-FFF2-40B4-BE49-F238E27FC236}">
                        <a16:creationId xmlns:a16="http://schemas.microsoft.com/office/drawing/2014/main" id="{56C73A33-D3CA-4FE3-B422-3B52E4830496}"/>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6" name="Freeform 1683">
                    <a:extLst>
                      <a:ext uri="{FF2B5EF4-FFF2-40B4-BE49-F238E27FC236}">
                        <a16:creationId xmlns:a16="http://schemas.microsoft.com/office/drawing/2014/main" id="{E1FE82CE-C9EF-4092-8A68-1AAF8E855F84}"/>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7" name="Freeform 1684">
                    <a:extLst>
                      <a:ext uri="{FF2B5EF4-FFF2-40B4-BE49-F238E27FC236}">
                        <a16:creationId xmlns:a16="http://schemas.microsoft.com/office/drawing/2014/main" id="{0F03233A-E0A2-4D93-8E4E-D5E4E5F5D838}"/>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8" name="Freeform 1685">
                    <a:extLst>
                      <a:ext uri="{FF2B5EF4-FFF2-40B4-BE49-F238E27FC236}">
                        <a16:creationId xmlns:a16="http://schemas.microsoft.com/office/drawing/2014/main" id="{E0895045-18EC-4FB1-AAF6-795CAE8A8712}"/>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89" name="Freeform 1686">
                    <a:extLst>
                      <a:ext uri="{FF2B5EF4-FFF2-40B4-BE49-F238E27FC236}">
                        <a16:creationId xmlns:a16="http://schemas.microsoft.com/office/drawing/2014/main" id="{076A71FE-C096-464F-811B-4B53BFCF0D9E}"/>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0" name="Freeform 1687">
                    <a:extLst>
                      <a:ext uri="{FF2B5EF4-FFF2-40B4-BE49-F238E27FC236}">
                        <a16:creationId xmlns:a16="http://schemas.microsoft.com/office/drawing/2014/main" id="{5D0860EE-8598-4911-BB8A-8FCCF93123F9}"/>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1" name="Freeform 1688">
                    <a:extLst>
                      <a:ext uri="{FF2B5EF4-FFF2-40B4-BE49-F238E27FC236}">
                        <a16:creationId xmlns:a16="http://schemas.microsoft.com/office/drawing/2014/main" id="{87035EA2-95A4-4FE3-AAA4-3EE997309AC6}"/>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2" name="Freeform 1689">
                    <a:extLst>
                      <a:ext uri="{FF2B5EF4-FFF2-40B4-BE49-F238E27FC236}">
                        <a16:creationId xmlns:a16="http://schemas.microsoft.com/office/drawing/2014/main" id="{03B0CAB4-E6D2-4AD1-82FA-C4C6530AA120}"/>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3" name="Freeform 1690">
                    <a:extLst>
                      <a:ext uri="{FF2B5EF4-FFF2-40B4-BE49-F238E27FC236}">
                        <a16:creationId xmlns:a16="http://schemas.microsoft.com/office/drawing/2014/main" id="{A87F4AFD-7BFE-49CC-B161-040D7981115C}"/>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4" name="Freeform 1691">
                    <a:extLst>
                      <a:ext uri="{FF2B5EF4-FFF2-40B4-BE49-F238E27FC236}">
                        <a16:creationId xmlns:a16="http://schemas.microsoft.com/office/drawing/2014/main" id="{A550F790-F21F-454D-BB0C-C78B801D0FF3}"/>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5" name="Freeform 1692">
                    <a:extLst>
                      <a:ext uri="{FF2B5EF4-FFF2-40B4-BE49-F238E27FC236}">
                        <a16:creationId xmlns:a16="http://schemas.microsoft.com/office/drawing/2014/main" id="{3DA499CB-99FF-466E-B9C3-1C07C4DA9999}"/>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6" name="Freeform 1693">
                    <a:extLst>
                      <a:ext uri="{FF2B5EF4-FFF2-40B4-BE49-F238E27FC236}">
                        <a16:creationId xmlns:a16="http://schemas.microsoft.com/office/drawing/2014/main" id="{B0673750-09B7-4844-BCD6-D8B77703CBCC}"/>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7" name="Freeform 1694">
                    <a:extLst>
                      <a:ext uri="{FF2B5EF4-FFF2-40B4-BE49-F238E27FC236}">
                        <a16:creationId xmlns:a16="http://schemas.microsoft.com/office/drawing/2014/main" id="{3A5E945C-07AA-4DC8-9235-A4E604F5D6F3}"/>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8" name="Freeform 1695">
                    <a:extLst>
                      <a:ext uri="{FF2B5EF4-FFF2-40B4-BE49-F238E27FC236}">
                        <a16:creationId xmlns:a16="http://schemas.microsoft.com/office/drawing/2014/main" id="{F9203E1B-DDEA-4683-92CF-8791003D3C51}"/>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99" name="Freeform 1696">
                    <a:extLst>
                      <a:ext uri="{FF2B5EF4-FFF2-40B4-BE49-F238E27FC236}">
                        <a16:creationId xmlns:a16="http://schemas.microsoft.com/office/drawing/2014/main" id="{9FF08ADD-648E-4896-9B4F-86A830ACA1A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800" name="Freeform 1697">
                    <a:extLst>
                      <a:ext uri="{FF2B5EF4-FFF2-40B4-BE49-F238E27FC236}">
                        <a16:creationId xmlns:a16="http://schemas.microsoft.com/office/drawing/2014/main" id="{F4256F3D-1F56-47B8-AB85-9A61C6E953CF}"/>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630" name="Group 2629">
                <a:extLst>
                  <a:ext uri="{FF2B5EF4-FFF2-40B4-BE49-F238E27FC236}">
                    <a16:creationId xmlns:a16="http://schemas.microsoft.com/office/drawing/2014/main" id="{D1BCEA53-D951-4F05-8FB7-4C9D8228522E}"/>
                  </a:ext>
                </a:extLst>
              </p:cNvPr>
              <p:cNvGrpSpPr/>
              <p:nvPr/>
            </p:nvGrpSpPr>
            <p:grpSpPr>
              <a:xfrm>
                <a:off x="10074842" y="2518176"/>
                <a:ext cx="1231250" cy="1313698"/>
                <a:chOff x="12023909" y="2412144"/>
                <a:chExt cx="1231250" cy="1313698"/>
              </a:xfrm>
            </p:grpSpPr>
            <p:sp>
              <p:nvSpPr>
                <p:cNvPr id="2689" name="Rectangle: Rounded Corners 2688">
                  <a:extLst>
                    <a:ext uri="{FF2B5EF4-FFF2-40B4-BE49-F238E27FC236}">
                      <a16:creationId xmlns:a16="http://schemas.microsoft.com/office/drawing/2014/main" id="{91A53174-C73B-4A41-A639-68B5892DC955}"/>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90" name="Group 2689">
                  <a:extLst>
                    <a:ext uri="{FF2B5EF4-FFF2-40B4-BE49-F238E27FC236}">
                      <a16:creationId xmlns:a16="http://schemas.microsoft.com/office/drawing/2014/main" id="{59FDA0AC-DAD5-4EAB-9FA8-C8C9E032B070}"/>
                    </a:ext>
                  </a:extLst>
                </p:cNvPr>
                <p:cNvGrpSpPr/>
                <p:nvPr/>
              </p:nvGrpSpPr>
              <p:grpSpPr>
                <a:xfrm>
                  <a:off x="12023909" y="2526190"/>
                  <a:ext cx="1231250" cy="1189484"/>
                  <a:chOff x="7839761" y="1053755"/>
                  <a:chExt cx="927651" cy="896184"/>
                </a:xfrm>
              </p:grpSpPr>
              <p:sp>
                <p:nvSpPr>
                  <p:cNvPr id="2691" name="TextBox 2690">
                    <a:extLst>
                      <a:ext uri="{FF2B5EF4-FFF2-40B4-BE49-F238E27FC236}">
                        <a16:creationId xmlns:a16="http://schemas.microsoft.com/office/drawing/2014/main" id="{951F8931-F331-4D77-92A1-4D698A2F44A9}"/>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92" name="Group 2691">
                    <a:extLst>
                      <a:ext uri="{FF2B5EF4-FFF2-40B4-BE49-F238E27FC236}">
                        <a16:creationId xmlns:a16="http://schemas.microsoft.com/office/drawing/2014/main" id="{D2EF0292-F278-4306-8E39-9E45FF9C395F}"/>
                      </a:ext>
                    </a:extLst>
                  </p:cNvPr>
                  <p:cNvGrpSpPr/>
                  <p:nvPr/>
                </p:nvGrpSpPr>
                <p:grpSpPr>
                  <a:xfrm>
                    <a:off x="7839761" y="1053755"/>
                    <a:ext cx="927651" cy="523122"/>
                    <a:chOff x="7839761" y="1053755"/>
                    <a:chExt cx="927651" cy="523122"/>
                  </a:xfrm>
                </p:grpSpPr>
                <p:sp>
                  <p:nvSpPr>
                    <p:cNvPr id="2693" name="Line 66">
                      <a:extLst>
                        <a:ext uri="{FF2B5EF4-FFF2-40B4-BE49-F238E27FC236}">
                          <a16:creationId xmlns:a16="http://schemas.microsoft.com/office/drawing/2014/main" id="{D1724EA5-C098-405F-B785-A50FF3E283C0}"/>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4" name="Line 67">
                      <a:extLst>
                        <a:ext uri="{FF2B5EF4-FFF2-40B4-BE49-F238E27FC236}">
                          <a16:creationId xmlns:a16="http://schemas.microsoft.com/office/drawing/2014/main" id="{2E4BAB87-A458-4ADA-8E65-BD063B95D12B}"/>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5" name="Line 74">
                      <a:extLst>
                        <a:ext uri="{FF2B5EF4-FFF2-40B4-BE49-F238E27FC236}">
                          <a16:creationId xmlns:a16="http://schemas.microsoft.com/office/drawing/2014/main" id="{E831C2F1-FE8A-491F-912D-5519707E7C62}"/>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6" name="Freeform 78">
                      <a:extLst>
                        <a:ext uri="{FF2B5EF4-FFF2-40B4-BE49-F238E27FC236}">
                          <a16:creationId xmlns:a16="http://schemas.microsoft.com/office/drawing/2014/main" id="{F462DEB7-EC2F-4AF6-BBDF-732A07AD7EFE}"/>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7" name="Freeform 80">
                      <a:extLst>
                        <a:ext uri="{FF2B5EF4-FFF2-40B4-BE49-F238E27FC236}">
                          <a16:creationId xmlns:a16="http://schemas.microsoft.com/office/drawing/2014/main" id="{C5616C0F-90D5-43A2-89DE-9531D6399EC2}"/>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98" name="Freeform 1575">
                      <a:extLst>
                        <a:ext uri="{FF2B5EF4-FFF2-40B4-BE49-F238E27FC236}">
                          <a16:creationId xmlns:a16="http://schemas.microsoft.com/office/drawing/2014/main" id="{EC1D94CD-F268-409B-817D-B3E9ADBB7485}"/>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99" name="Freeform 1576">
                      <a:extLst>
                        <a:ext uri="{FF2B5EF4-FFF2-40B4-BE49-F238E27FC236}">
                          <a16:creationId xmlns:a16="http://schemas.microsoft.com/office/drawing/2014/main" id="{BCE8E171-ACD3-4BD1-A640-E8DD0D1C102B}"/>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0" name="Freeform 1577">
                      <a:extLst>
                        <a:ext uri="{FF2B5EF4-FFF2-40B4-BE49-F238E27FC236}">
                          <a16:creationId xmlns:a16="http://schemas.microsoft.com/office/drawing/2014/main" id="{9C320188-957D-491D-95A5-ED14741EA2E7}"/>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1" name="Freeform 1578">
                      <a:extLst>
                        <a:ext uri="{FF2B5EF4-FFF2-40B4-BE49-F238E27FC236}">
                          <a16:creationId xmlns:a16="http://schemas.microsoft.com/office/drawing/2014/main" id="{22C479F3-80B7-46D3-A222-FDFB5FE1CE71}"/>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2" name="Freeform 1579">
                      <a:extLst>
                        <a:ext uri="{FF2B5EF4-FFF2-40B4-BE49-F238E27FC236}">
                          <a16:creationId xmlns:a16="http://schemas.microsoft.com/office/drawing/2014/main" id="{0C8E3682-ABAB-4DE4-8355-7FC9789A3823}"/>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3" name="Freeform 1580">
                      <a:extLst>
                        <a:ext uri="{FF2B5EF4-FFF2-40B4-BE49-F238E27FC236}">
                          <a16:creationId xmlns:a16="http://schemas.microsoft.com/office/drawing/2014/main" id="{AA16A155-6C7E-4264-8FAD-610A15F64D6B}"/>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4" name="Freeform 1581">
                      <a:extLst>
                        <a:ext uri="{FF2B5EF4-FFF2-40B4-BE49-F238E27FC236}">
                          <a16:creationId xmlns:a16="http://schemas.microsoft.com/office/drawing/2014/main" id="{FE5E1229-9FDD-483D-AD60-960FB0F825CA}"/>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5" name="Freeform 1582">
                      <a:extLst>
                        <a:ext uri="{FF2B5EF4-FFF2-40B4-BE49-F238E27FC236}">
                          <a16:creationId xmlns:a16="http://schemas.microsoft.com/office/drawing/2014/main" id="{9CE62FEB-6A4F-4FF1-8073-B9DAAC73C340}"/>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06" name="Freeform 1583">
                      <a:extLst>
                        <a:ext uri="{FF2B5EF4-FFF2-40B4-BE49-F238E27FC236}">
                          <a16:creationId xmlns:a16="http://schemas.microsoft.com/office/drawing/2014/main" id="{BBD5B248-B8BC-4B5D-BD47-414597690FF2}"/>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707" name="Freeform 1584">
                      <a:extLst>
                        <a:ext uri="{FF2B5EF4-FFF2-40B4-BE49-F238E27FC236}">
                          <a16:creationId xmlns:a16="http://schemas.microsoft.com/office/drawing/2014/main" id="{FD17B1F5-285E-415E-8560-0E05239B32FA}"/>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8" name="Freeform 1585">
                      <a:extLst>
                        <a:ext uri="{FF2B5EF4-FFF2-40B4-BE49-F238E27FC236}">
                          <a16:creationId xmlns:a16="http://schemas.microsoft.com/office/drawing/2014/main" id="{3EAFE9E0-D08C-41B2-86BD-8F32994102B7}"/>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09" name="Freeform 1586">
                      <a:extLst>
                        <a:ext uri="{FF2B5EF4-FFF2-40B4-BE49-F238E27FC236}">
                          <a16:creationId xmlns:a16="http://schemas.microsoft.com/office/drawing/2014/main" id="{5C65412E-9468-4106-9F48-7986D3F5F436}"/>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0" name="Freeform 1587">
                      <a:extLst>
                        <a:ext uri="{FF2B5EF4-FFF2-40B4-BE49-F238E27FC236}">
                          <a16:creationId xmlns:a16="http://schemas.microsoft.com/office/drawing/2014/main" id="{DE20BEC4-0D49-4293-81E2-EF5DAFE71D5E}"/>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1" name="Freeform 1588">
                      <a:extLst>
                        <a:ext uri="{FF2B5EF4-FFF2-40B4-BE49-F238E27FC236}">
                          <a16:creationId xmlns:a16="http://schemas.microsoft.com/office/drawing/2014/main" id="{28C1646F-B8FB-4CE9-AB8B-CBBE74C4BBAC}"/>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712" name="Rectangle 1589">
                      <a:extLst>
                        <a:ext uri="{FF2B5EF4-FFF2-40B4-BE49-F238E27FC236}">
                          <a16:creationId xmlns:a16="http://schemas.microsoft.com/office/drawing/2014/main" id="{CEDA4D48-ADBF-440A-8BF8-D42CDB1A2637}"/>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3" name="Rectangle 1590">
                      <a:extLst>
                        <a:ext uri="{FF2B5EF4-FFF2-40B4-BE49-F238E27FC236}">
                          <a16:creationId xmlns:a16="http://schemas.microsoft.com/office/drawing/2014/main" id="{C8C4E0AE-7A5E-468F-9CA8-6A6CD03E6721}"/>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4" name="Freeform 1591">
                      <a:extLst>
                        <a:ext uri="{FF2B5EF4-FFF2-40B4-BE49-F238E27FC236}">
                          <a16:creationId xmlns:a16="http://schemas.microsoft.com/office/drawing/2014/main" id="{8BDFE8BA-7AFC-4C63-9271-063CFC257A9C}"/>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5" name="Freeform 1592">
                      <a:extLst>
                        <a:ext uri="{FF2B5EF4-FFF2-40B4-BE49-F238E27FC236}">
                          <a16:creationId xmlns:a16="http://schemas.microsoft.com/office/drawing/2014/main" id="{0FD1EE23-4C1E-47A2-9790-BDA2A1D5EDCB}"/>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6" name="Freeform 1593">
                      <a:extLst>
                        <a:ext uri="{FF2B5EF4-FFF2-40B4-BE49-F238E27FC236}">
                          <a16:creationId xmlns:a16="http://schemas.microsoft.com/office/drawing/2014/main" id="{DB2B39AB-BCC9-4A15-9D95-704AFDB8A40F}"/>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7" name="Freeform 1594">
                      <a:extLst>
                        <a:ext uri="{FF2B5EF4-FFF2-40B4-BE49-F238E27FC236}">
                          <a16:creationId xmlns:a16="http://schemas.microsoft.com/office/drawing/2014/main" id="{B05ED7C0-526A-4E3D-981D-0BE77988113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8" name="Freeform 1595">
                      <a:extLst>
                        <a:ext uri="{FF2B5EF4-FFF2-40B4-BE49-F238E27FC236}">
                          <a16:creationId xmlns:a16="http://schemas.microsoft.com/office/drawing/2014/main" id="{00ED5C3D-3E08-4299-AE7B-F9E6D1C150D6}"/>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19" name="Freeform 1596">
                      <a:extLst>
                        <a:ext uri="{FF2B5EF4-FFF2-40B4-BE49-F238E27FC236}">
                          <a16:creationId xmlns:a16="http://schemas.microsoft.com/office/drawing/2014/main" id="{CA35C96E-07DF-4F04-AF18-B3B6732185CF}"/>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0" name="Freeform 1672">
                      <a:extLst>
                        <a:ext uri="{FF2B5EF4-FFF2-40B4-BE49-F238E27FC236}">
                          <a16:creationId xmlns:a16="http://schemas.microsoft.com/office/drawing/2014/main" id="{DC177AC4-10E0-4F84-905E-C94B565B604E}"/>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1" name="Freeform 1673">
                      <a:extLst>
                        <a:ext uri="{FF2B5EF4-FFF2-40B4-BE49-F238E27FC236}">
                          <a16:creationId xmlns:a16="http://schemas.microsoft.com/office/drawing/2014/main" id="{11BFE0DA-7415-41AE-95B4-F4895BD91ABF}"/>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2" name="Freeform 1674">
                      <a:extLst>
                        <a:ext uri="{FF2B5EF4-FFF2-40B4-BE49-F238E27FC236}">
                          <a16:creationId xmlns:a16="http://schemas.microsoft.com/office/drawing/2014/main" id="{506ECD3B-A929-4E98-8457-A36A8609D63C}"/>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3" name="Freeform 1675">
                      <a:extLst>
                        <a:ext uri="{FF2B5EF4-FFF2-40B4-BE49-F238E27FC236}">
                          <a16:creationId xmlns:a16="http://schemas.microsoft.com/office/drawing/2014/main" id="{14B5096B-D826-425D-A2A2-2523BBCF6B5D}"/>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4" name="Freeform 1676">
                      <a:extLst>
                        <a:ext uri="{FF2B5EF4-FFF2-40B4-BE49-F238E27FC236}">
                          <a16:creationId xmlns:a16="http://schemas.microsoft.com/office/drawing/2014/main" id="{737F7F6E-2D63-4E6C-81D7-91AFFDDD556A}"/>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5" name="Freeform 1677">
                      <a:extLst>
                        <a:ext uri="{FF2B5EF4-FFF2-40B4-BE49-F238E27FC236}">
                          <a16:creationId xmlns:a16="http://schemas.microsoft.com/office/drawing/2014/main" id="{8E64054A-2936-4A57-839F-7FA708078D60}"/>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6" name="Freeform 1678">
                      <a:extLst>
                        <a:ext uri="{FF2B5EF4-FFF2-40B4-BE49-F238E27FC236}">
                          <a16:creationId xmlns:a16="http://schemas.microsoft.com/office/drawing/2014/main" id="{C29FD5A6-29A3-4401-A8BF-39DC8B8B6655}"/>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7" name="Freeform 1679">
                      <a:extLst>
                        <a:ext uri="{FF2B5EF4-FFF2-40B4-BE49-F238E27FC236}">
                          <a16:creationId xmlns:a16="http://schemas.microsoft.com/office/drawing/2014/main" id="{14AD96D0-BC0A-4E33-960F-29938829B668}"/>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8" name="Freeform 1680">
                      <a:extLst>
                        <a:ext uri="{FF2B5EF4-FFF2-40B4-BE49-F238E27FC236}">
                          <a16:creationId xmlns:a16="http://schemas.microsoft.com/office/drawing/2014/main" id="{0D92EF58-DE3A-4CCA-97D0-DC4A871C0AF4}"/>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29" name="Freeform 1681">
                      <a:extLst>
                        <a:ext uri="{FF2B5EF4-FFF2-40B4-BE49-F238E27FC236}">
                          <a16:creationId xmlns:a16="http://schemas.microsoft.com/office/drawing/2014/main" id="{46830979-AF97-4F96-AB0B-347AA1CAA3FF}"/>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0" name="Freeform 1682">
                      <a:extLst>
                        <a:ext uri="{FF2B5EF4-FFF2-40B4-BE49-F238E27FC236}">
                          <a16:creationId xmlns:a16="http://schemas.microsoft.com/office/drawing/2014/main" id="{39CA5108-DB0E-4809-BEAE-DD3DC99EE4AF}"/>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1" name="Freeform 1683">
                      <a:extLst>
                        <a:ext uri="{FF2B5EF4-FFF2-40B4-BE49-F238E27FC236}">
                          <a16:creationId xmlns:a16="http://schemas.microsoft.com/office/drawing/2014/main" id="{737C8CB1-174C-4C3A-9686-8D9736AEE847}"/>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2" name="Freeform 1684">
                      <a:extLst>
                        <a:ext uri="{FF2B5EF4-FFF2-40B4-BE49-F238E27FC236}">
                          <a16:creationId xmlns:a16="http://schemas.microsoft.com/office/drawing/2014/main" id="{F344A9A7-FED2-4359-8651-4407D9421D50}"/>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3" name="Freeform 1685">
                      <a:extLst>
                        <a:ext uri="{FF2B5EF4-FFF2-40B4-BE49-F238E27FC236}">
                          <a16:creationId xmlns:a16="http://schemas.microsoft.com/office/drawing/2014/main" id="{93F29FDC-67C7-4633-8C80-AB75AFBC8A19}"/>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4" name="Freeform 1686">
                      <a:extLst>
                        <a:ext uri="{FF2B5EF4-FFF2-40B4-BE49-F238E27FC236}">
                          <a16:creationId xmlns:a16="http://schemas.microsoft.com/office/drawing/2014/main" id="{9D3A2E45-B7CC-41C6-B50D-FF964AC72DE6}"/>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5" name="Freeform 1687">
                      <a:extLst>
                        <a:ext uri="{FF2B5EF4-FFF2-40B4-BE49-F238E27FC236}">
                          <a16:creationId xmlns:a16="http://schemas.microsoft.com/office/drawing/2014/main" id="{26372EFF-07B2-4A49-8C56-E7E82317E750}"/>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6" name="Freeform 1688">
                      <a:extLst>
                        <a:ext uri="{FF2B5EF4-FFF2-40B4-BE49-F238E27FC236}">
                          <a16:creationId xmlns:a16="http://schemas.microsoft.com/office/drawing/2014/main" id="{C26448E3-729C-450A-954C-134CCBB27130}"/>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7" name="Freeform 1689">
                      <a:extLst>
                        <a:ext uri="{FF2B5EF4-FFF2-40B4-BE49-F238E27FC236}">
                          <a16:creationId xmlns:a16="http://schemas.microsoft.com/office/drawing/2014/main" id="{3BD3E1FE-AEA1-4328-A84F-A4C371E93E53}"/>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8" name="Freeform 1690">
                      <a:extLst>
                        <a:ext uri="{FF2B5EF4-FFF2-40B4-BE49-F238E27FC236}">
                          <a16:creationId xmlns:a16="http://schemas.microsoft.com/office/drawing/2014/main" id="{B9305820-4255-4D54-AA5C-875C771A9508}"/>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39" name="Freeform 1691">
                      <a:extLst>
                        <a:ext uri="{FF2B5EF4-FFF2-40B4-BE49-F238E27FC236}">
                          <a16:creationId xmlns:a16="http://schemas.microsoft.com/office/drawing/2014/main" id="{B4D941B1-12C7-4728-8E98-021D086752D5}"/>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0" name="Freeform 1692">
                      <a:extLst>
                        <a:ext uri="{FF2B5EF4-FFF2-40B4-BE49-F238E27FC236}">
                          <a16:creationId xmlns:a16="http://schemas.microsoft.com/office/drawing/2014/main" id="{D4E3DAA5-AD36-490F-BC2F-CCDCBD04F1C1}"/>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1" name="Freeform 1693">
                      <a:extLst>
                        <a:ext uri="{FF2B5EF4-FFF2-40B4-BE49-F238E27FC236}">
                          <a16:creationId xmlns:a16="http://schemas.microsoft.com/office/drawing/2014/main" id="{B25E74AB-2B33-4B89-8D2F-2CF2A3CA5FF1}"/>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2" name="Freeform 1694">
                      <a:extLst>
                        <a:ext uri="{FF2B5EF4-FFF2-40B4-BE49-F238E27FC236}">
                          <a16:creationId xmlns:a16="http://schemas.microsoft.com/office/drawing/2014/main" id="{F52435DE-7F59-4650-B3AD-8BFADAA03FB7}"/>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3" name="Freeform 1695">
                      <a:extLst>
                        <a:ext uri="{FF2B5EF4-FFF2-40B4-BE49-F238E27FC236}">
                          <a16:creationId xmlns:a16="http://schemas.microsoft.com/office/drawing/2014/main" id="{769D5CEB-B6B7-4ED6-9242-7FB96AE18DEF}"/>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4" name="Freeform 1696">
                      <a:extLst>
                        <a:ext uri="{FF2B5EF4-FFF2-40B4-BE49-F238E27FC236}">
                          <a16:creationId xmlns:a16="http://schemas.microsoft.com/office/drawing/2014/main" id="{09590F7C-D577-428E-B3E0-6FBD3903AE7C}"/>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745" name="Freeform 1697">
                      <a:extLst>
                        <a:ext uri="{FF2B5EF4-FFF2-40B4-BE49-F238E27FC236}">
                          <a16:creationId xmlns:a16="http://schemas.microsoft.com/office/drawing/2014/main" id="{F813AC04-3FCD-447D-97B5-B0D4D064BDCA}"/>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631" name="Group 2630">
                <a:extLst>
                  <a:ext uri="{FF2B5EF4-FFF2-40B4-BE49-F238E27FC236}">
                    <a16:creationId xmlns:a16="http://schemas.microsoft.com/office/drawing/2014/main" id="{9DC0EC37-B69E-4481-A6B3-41E462967965}"/>
                  </a:ext>
                </a:extLst>
              </p:cNvPr>
              <p:cNvGrpSpPr/>
              <p:nvPr/>
            </p:nvGrpSpPr>
            <p:grpSpPr>
              <a:xfrm>
                <a:off x="10254370" y="3053480"/>
                <a:ext cx="1231250" cy="1313698"/>
                <a:chOff x="12023909" y="2412144"/>
                <a:chExt cx="1231250" cy="1313698"/>
              </a:xfrm>
            </p:grpSpPr>
            <p:sp>
              <p:nvSpPr>
                <p:cNvPr id="2632" name="Rectangle: Rounded Corners 2631">
                  <a:extLst>
                    <a:ext uri="{FF2B5EF4-FFF2-40B4-BE49-F238E27FC236}">
                      <a16:creationId xmlns:a16="http://schemas.microsoft.com/office/drawing/2014/main" id="{872BD409-63AF-4B3B-8695-7461B7E59C0D}"/>
                    </a:ext>
                  </a:extLst>
                </p:cNvPr>
                <p:cNvSpPr/>
                <p:nvPr/>
              </p:nvSpPr>
              <p:spPr bwMode="gray">
                <a:xfrm>
                  <a:off x="12114761" y="2412144"/>
                  <a:ext cx="1049547" cy="1313698"/>
                </a:xfrm>
                <a:prstGeom prst="roundRect">
                  <a:avLst>
                    <a:gd name="adj" fmla="val 50000"/>
                  </a:avLst>
                </a:prstGeom>
                <a:solidFill>
                  <a:schemeClr val="bg1">
                    <a:alpha val="85000"/>
                  </a:schemeClr>
                </a:solidFill>
                <a:ln w="19050" algn="ctr">
                  <a:noFill/>
                  <a:miter lim="800000"/>
                  <a:headEnd/>
                  <a:tailEnd/>
                </a:ln>
              </p:spPr>
              <p:txBody>
                <a:bodyPr wrap="square" lIns="88651" tIns="88651" rIns="88651" bIns="88651" rtlCol="0" anchor="ctr"/>
                <a:lstStyle/>
                <a:p>
                  <a:pPr algn="ctr">
                    <a:lnSpc>
                      <a:spcPct val="106000"/>
                    </a:lnSpc>
                    <a:buFont typeface="Wingdings 2" pitchFamily="18" charset="2"/>
                    <a:buNone/>
                  </a:pPr>
                  <a:endParaRPr lang="en-US" sz="1596" b="1" dirty="0">
                    <a:solidFill>
                      <a:schemeClr val="bg1"/>
                    </a:solidFill>
                  </a:endParaRPr>
                </a:p>
              </p:txBody>
            </p:sp>
            <p:grpSp>
              <p:nvGrpSpPr>
                <p:cNvPr id="2633" name="Group 2632">
                  <a:extLst>
                    <a:ext uri="{FF2B5EF4-FFF2-40B4-BE49-F238E27FC236}">
                      <a16:creationId xmlns:a16="http://schemas.microsoft.com/office/drawing/2014/main" id="{7EFB7652-EDD3-417D-B1F6-2193FEB4EC84}"/>
                    </a:ext>
                  </a:extLst>
                </p:cNvPr>
                <p:cNvGrpSpPr/>
                <p:nvPr/>
              </p:nvGrpSpPr>
              <p:grpSpPr>
                <a:xfrm>
                  <a:off x="12023909" y="2526190"/>
                  <a:ext cx="1231250" cy="1189484"/>
                  <a:chOff x="7839761" y="1053755"/>
                  <a:chExt cx="927651" cy="896184"/>
                </a:xfrm>
              </p:grpSpPr>
              <p:sp>
                <p:nvSpPr>
                  <p:cNvPr id="2634" name="TextBox 2633">
                    <a:extLst>
                      <a:ext uri="{FF2B5EF4-FFF2-40B4-BE49-F238E27FC236}">
                        <a16:creationId xmlns:a16="http://schemas.microsoft.com/office/drawing/2014/main" id="{3AD29482-D35E-4A63-AE36-958FCFE1AEEE}"/>
                      </a:ext>
                    </a:extLst>
                  </p:cNvPr>
                  <p:cNvSpPr txBox="1"/>
                  <p:nvPr/>
                </p:nvSpPr>
                <p:spPr>
                  <a:xfrm>
                    <a:off x="8115472" y="1728408"/>
                    <a:ext cx="393517" cy="221531"/>
                  </a:xfrm>
                  <a:prstGeom prst="rect">
                    <a:avLst/>
                  </a:prstGeom>
                  <a:noFill/>
                </p:spPr>
                <p:txBody>
                  <a:bodyPr wrap="none" lIns="0" tIns="0" rIns="0" bIns="0" rtlCol="0">
                    <a:spAutoFit/>
                  </a:bodyPr>
                  <a:lstStyle/>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953"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635" name="Group 2634">
                    <a:extLst>
                      <a:ext uri="{FF2B5EF4-FFF2-40B4-BE49-F238E27FC236}">
                        <a16:creationId xmlns:a16="http://schemas.microsoft.com/office/drawing/2014/main" id="{E82F8432-1C34-47DF-9960-95FE00D6A3FC}"/>
                      </a:ext>
                    </a:extLst>
                  </p:cNvPr>
                  <p:cNvGrpSpPr/>
                  <p:nvPr/>
                </p:nvGrpSpPr>
                <p:grpSpPr>
                  <a:xfrm>
                    <a:off x="7839761" y="1053755"/>
                    <a:ext cx="927651" cy="523122"/>
                    <a:chOff x="7839761" y="1053755"/>
                    <a:chExt cx="927651" cy="523122"/>
                  </a:xfrm>
                </p:grpSpPr>
                <p:sp>
                  <p:nvSpPr>
                    <p:cNvPr id="2636" name="Line 66">
                      <a:extLst>
                        <a:ext uri="{FF2B5EF4-FFF2-40B4-BE49-F238E27FC236}">
                          <a16:creationId xmlns:a16="http://schemas.microsoft.com/office/drawing/2014/main" id="{FAB5F1AF-D59E-4339-9231-CE6BB136B4D4}"/>
                        </a:ext>
                      </a:extLst>
                    </p:cNvPr>
                    <p:cNvSpPr>
                      <a:spLocks noChangeShapeType="1"/>
                    </p:cNvSpPr>
                    <p:nvPr/>
                  </p:nvSpPr>
                  <p:spPr bwMode="auto">
                    <a:xfrm rot="8100000">
                      <a:off x="8292884" y="1053755"/>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7" name="Line 67">
                      <a:extLst>
                        <a:ext uri="{FF2B5EF4-FFF2-40B4-BE49-F238E27FC236}">
                          <a16:creationId xmlns:a16="http://schemas.microsoft.com/office/drawing/2014/main" id="{E1D82164-9AA1-4BD1-92D2-4375FD6407F6}"/>
                        </a:ext>
                      </a:extLst>
                    </p:cNvPr>
                    <p:cNvSpPr>
                      <a:spLocks noChangeShapeType="1"/>
                    </p:cNvSpPr>
                    <p:nvPr/>
                  </p:nvSpPr>
                  <p:spPr bwMode="auto">
                    <a:xfrm rot="8100000">
                      <a:off x="8002204" y="136480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8" name="Line 74">
                      <a:extLst>
                        <a:ext uri="{FF2B5EF4-FFF2-40B4-BE49-F238E27FC236}">
                          <a16:creationId xmlns:a16="http://schemas.microsoft.com/office/drawing/2014/main" id="{98A8F6EB-447E-4E55-8539-F57E2B292A2B}"/>
                        </a:ext>
                      </a:extLst>
                    </p:cNvPr>
                    <p:cNvSpPr>
                      <a:spLocks noChangeShapeType="1"/>
                    </p:cNvSpPr>
                    <p:nvPr/>
                  </p:nvSpPr>
                  <p:spPr bwMode="auto">
                    <a:xfrm rot="8100000">
                      <a:off x="7985541" y="1381464"/>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39" name="Freeform 78">
                      <a:extLst>
                        <a:ext uri="{FF2B5EF4-FFF2-40B4-BE49-F238E27FC236}">
                          <a16:creationId xmlns:a16="http://schemas.microsoft.com/office/drawing/2014/main" id="{37AD2296-B127-4E47-8CFB-81D312959AC9}"/>
                        </a:ext>
                      </a:extLst>
                    </p:cNvPr>
                    <p:cNvSpPr>
                      <a:spLocks/>
                    </p:cNvSpPr>
                    <p:nvPr/>
                  </p:nvSpPr>
                  <p:spPr bwMode="auto">
                    <a:xfrm rot="8100000">
                      <a:off x="8381203" y="1178176"/>
                      <a:ext cx="386209" cy="386210"/>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0" name="Freeform 80">
                      <a:extLst>
                        <a:ext uri="{FF2B5EF4-FFF2-40B4-BE49-F238E27FC236}">
                          <a16:creationId xmlns:a16="http://schemas.microsoft.com/office/drawing/2014/main" id="{BEB3D0B5-8622-4780-8C9E-39FFD4AF3021}"/>
                        </a:ext>
                      </a:extLst>
                    </p:cNvPr>
                    <p:cNvSpPr>
                      <a:spLocks/>
                    </p:cNvSpPr>
                    <p:nvPr/>
                  </p:nvSpPr>
                  <p:spPr bwMode="auto">
                    <a:xfrm rot="8100000">
                      <a:off x="7839761" y="1180140"/>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1" name="Freeform 1575">
                      <a:extLst>
                        <a:ext uri="{FF2B5EF4-FFF2-40B4-BE49-F238E27FC236}">
                          <a16:creationId xmlns:a16="http://schemas.microsoft.com/office/drawing/2014/main" id="{738F0657-0BD0-4D03-B6EA-BD2D780F9F98}"/>
                        </a:ext>
                      </a:extLst>
                    </p:cNvPr>
                    <p:cNvSpPr>
                      <a:spLocks/>
                    </p:cNvSpPr>
                    <p:nvPr/>
                  </p:nvSpPr>
                  <p:spPr bwMode="auto">
                    <a:xfrm>
                      <a:off x="8120594" y="1440623"/>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2" name="Freeform 1576">
                      <a:extLst>
                        <a:ext uri="{FF2B5EF4-FFF2-40B4-BE49-F238E27FC236}">
                          <a16:creationId xmlns:a16="http://schemas.microsoft.com/office/drawing/2014/main" id="{F010257B-2F86-4267-BF9A-A5018879EABD}"/>
                        </a:ext>
                      </a:extLst>
                    </p:cNvPr>
                    <p:cNvSpPr>
                      <a:spLocks/>
                    </p:cNvSpPr>
                    <p:nvPr/>
                  </p:nvSpPr>
                  <p:spPr bwMode="auto">
                    <a:xfrm>
                      <a:off x="8120594" y="1294004"/>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3" name="Freeform 1577">
                      <a:extLst>
                        <a:ext uri="{FF2B5EF4-FFF2-40B4-BE49-F238E27FC236}">
                          <a16:creationId xmlns:a16="http://schemas.microsoft.com/office/drawing/2014/main" id="{0EDEB22E-3329-4B5A-8FAF-6E31ABF12793}"/>
                        </a:ext>
                      </a:extLst>
                    </p:cNvPr>
                    <p:cNvSpPr>
                      <a:spLocks/>
                    </p:cNvSpPr>
                    <p:nvPr/>
                  </p:nvSpPr>
                  <p:spPr bwMode="auto">
                    <a:xfrm>
                      <a:off x="8322555" y="1294004"/>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4" name="Freeform 1578">
                      <a:extLst>
                        <a:ext uri="{FF2B5EF4-FFF2-40B4-BE49-F238E27FC236}">
                          <a16:creationId xmlns:a16="http://schemas.microsoft.com/office/drawing/2014/main" id="{7938E217-E3D3-4ABE-9338-5E2199DC4778}"/>
                        </a:ext>
                      </a:extLst>
                    </p:cNvPr>
                    <p:cNvSpPr>
                      <a:spLocks noEditPoints="1"/>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5" name="Freeform 1579">
                      <a:extLst>
                        <a:ext uri="{FF2B5EF4-FFF2-40B4-BE49-F238E27FC236}">
                          <a16:creationId xmlns:a16="http://schemas.microsoft.com/office/drawing/2014/main" id="{B9D83343-09AE-4DA8-A30C-77AF8EE87C9A}"/>
                        </a:ext>
                      </a:extLst>
                    </p:cNvPr>
                    <p:cNvSpPr>
                      <a:spLocks/>
                    </p:cNvSpPr>
                    <p:nvPr/>
                  </p:nvSpPr>
                  <p:spPr bwMode="auto">
                    <a:xfrm>
                      <a:off x="8313088" y="1288080"/>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6" name="Freeform 1580">
                      <a:extLst>
                        <a:ext uri="{FF2B5EF4-FFF2-40B4-BE49-F238E27FC236}">
                          <a16:creationId xmlns:a16="http://schemas.microsoft.com/office/drawing/2014/main" id="{019577C1-D65C-4469-A36B-7E23AB68A369}"/>
                        </a:ext>
                      </a:extLst>
                    </p:cNvPr>
                    <p:cNvSpPr>
                      <a:spLocks/>
                    </p:cNvSpPr>
                    <p:nvPr/>
                  </p:nvSpPr>
                  <p:spPr bwMode="auto">
                    <a:xfrm>
                      <a:off x="8328866" y="1299928"/>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47" name="Freeform 1581">
                      <a:extLst>
                        <a:ext uri="{FF2B5EF4-FFF2-40B4-BE49-F238E27FC236}">
                          <a16:creationId xmlns:a16="http://schemas.microsoft.com/office/drawing/2014/main" id="{ADFE94A6-6EBA-4D1F-A39D-0B0D9F5FD2F0}"/>
                        </a:ext>
                      </a:extLst>
                    </p:cNvPr>
                    <p:cNvSpPr>
                      <a:spLocks noEditPoints="1"/>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8" name="Freeform 1582">
                      <a:extLst>
                        <a:ext uri="{FF2B5EF4-FFF2-40B4-BE49-F238E27FC236}">
                          <a16:creationId xmlns:a16="http://schemas.microsoft.com/office/drawing/2014/main" id="{C7BE996B-21C2-40A9-B8E2-9BFFC1106535}"/>
                        </a:ext>
                      </a:extLst>
                    </p:cNvPr>
                    <p:cNvSpPr>
                      <a:spLocks/>
                    </p:cNvSpPr>
                    <p:nvPr/>
                  </p:nvSpPr>
                  <p:spPr bwMode="auto">
                    <a:xfrm>
                      <a:off x="8048014" y="1288080"/>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49" name="Freeform 1583">
                      <a:extLst>
                        <a:ext uri="{FF2B5EF4-FFF2-40B4-BE49-F238E27FC236}">
                          <a16:creationId xmlns:a16="http://schemas.microsoft.com/office/drawing/2014/main" id="{3E5AE7C4-CA5C-4F64-AE39-1C30461A6F57}"/>
                        </a:ext>
                      </a:extLst>
                    </p:cNvPr>
                    <p:cNvSpPr>
                      <a:spLocks/>
                    </p:cNvSpPr>
                    <p:nvPr/>
                  </p:nvSpPr>
                  <p:spPr bwMode="auto">
                    <a:xfrm>
                      <a:off x="8063792" y="1299928"/>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650" name="Freeform 1584">
                      <a:extLst>
                        <a:ext uri="{FF2B5EF4-FFF2-40B4-BE49-F238E27FC236}">
                          <a16:creationId xmlns:a16="http://schemas.microsoft.com/office/drawing/2014/main" id="{A7F346BF-C9DA-4DD1-A359-87EE5863F945}"/>
                        </a:ext>
                      </a:extLst>
                    </p:cNvPr>
                    <p:cNvSpPr>
                      <a:spLocks/>
                    </p:cNvSpPr>
                    <p:nvPr/>
                  </p:nvSpPr>
                  <p:spPr bwMode="auto">
                    <a:xfrm>
                      <a:off x="8322555" y="1177003"/>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1" name="Freeform 1585">
                      <a:extLst>
                        <a:ext uri="{FF2B5EF4-FFF2-40B4-BE49-F238E27FC236}">
                          <a16:creationId xmlns:a16="http://schemas.microsoft.com/office/drawing/2014/main" id="{03AF5E99-0265-414D-B000-1B05B67EA63F}"/>
                        </a:ext>
                      </a:extLst>
                    </p:cNvPr>
                    <p:cNvSpPr>
                      <a:spLocks/>
                    </p:cNvSpPr>
                    <p:nvPr/>
                  </p:nvSpPr>
                  <p:spPr bwMode="auto">
                    <a:xfrm>
                      <a:off x="8073259" y="1177003"/>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2" name="Freeform 1586">
                      <a:extLst>
                        <a:ext uri="{FF2B5EF4-FFF2-40B4-BE49-F238E27FC236}">
                          <a16:creationId xmlns:a16="http://schemas.microsoft.com/office/drawing/2014/main" id="{9C12FD66-0104-47B6-BA7B-61AEC8752599}"/>
                        </a:ext>
                      </a:extLst>
                    </p:cNvPr>
                    <p:cNvSpPr>
                      <a:spLocks/>
                    </p:cNvSpPr>
                    <p:nvPr/>
                  </p:nvSpPr>
                  <p:spPr bwMode="auto">
                    <a:xfrm>
                      <a:off x="8313088" y="1174041"/>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3" name="Freeform 1587">
                      <a:extLst>
                        <a:ext uri="{FF2B5EF4-FFF2-40B4-BE49-F238E27FC236}">
                          <a16:creationId xmlns:a16="http://schemas.microsoft.com/office/drawing/2014/main" id="{9951E013-7E87-410C-8E24-29FDA7A6C6DA}"/>
                        </a:ext>
                      </a:extLst>
                    </p:cNvPr>
                    <p:cNvSpPr>
                      <a:spLocks/>
                    </p:cNvSpPr>
                    <p:nvPr/>
                  </p:nvSpPr>
                  <p:spPr bwMode="auto">
                    <a:xfrm>
                      <a:off x="8071682" y="1174041"/>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4" name="Freeform 1588">
                      <a:extLst>
                        <a:ext uri="{FF2B5EF4-FFF2-40B4-BE49-F238E27FC236}">
                          <a16:creationId xmlns:a16="http://schemas.microsoft.com/office/drawing/2014/main" id="{CB66D67A-CD7C-45A5-93A0-17D2076B34FD}"/>
                        </a:ext>
                      </a:extLst>
                    </p:cNvPr>
                    <p:cNvSpPr>
                      <a:spLocks/>
                    </p:cNvSpPr>
                    <p:nvPr/>
                  </p:nvSpPr>
                  <p:spPr bwMode="auto">
                    <a:xfrm>
                      <a:off x="8114283" y="1294004"/>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655" name="Rectangle 1589">
                      <a:extLst>
                        <a:ext uri="{FF2B5EF4-FFF2-40B4-BE49-F238E27FC236}">
                          <a16:creationId xmlns:a16="http://schemas.microsoft.com/office/drawing/2014/main" id="{BDF12F17-0C71-4937-9C30-C4456872E9F0}"/>
                        </a:ext>
                      </a:extLst>
                    </p:cNvPr>
                    <p:cNvSpPr>
                      <a:spLocks noChangeArrowheads="1"/>
                    </p:cNvSpPr>
                    <p:nvPr/>
                  </p:nvSpPr>
                  <p:spPr bwMode="auto">
                    <a:xfrm>
                      <a:off x="8316244" y="1360649"/>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6" name="Rectangle 1590">
                      <a:extLst>
                        <a:ext uri="{FF2B5EF4-FFF2-40B4-BE49-F238E27FC236}">
                          <a16:creationId xmlns:a16="http://schemas.microsoft.com/office/drawing/2014/main" id="{8B492B29-7280-436E-9AC1-E80545DB4283}"/>
                        </a:ext>
                      </a:extLst>
                    </p:cNvPr>
                    <p:cNvSpPr>
                      <a:spLocks noChangeArrowheads="1"/>
                    </p:cNvSpPr>
                    <p:nvPr/>
                  </p:nvSpPr>
                  <p:spPr bwMode="auto">
                    <a:xfrm>
                      <a:off x="8316244" y="1227358"/>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7" name="Freeform 1591">
                      <a:extLst>
                        <a:ext uri="{FF2B5EF4-FFF2-40B4-BE49-F238E27FC236}">
                          <a16:creationId xmlns:a16="http://schemas.microsoft.com/office/drawing/2014/main" id="{76139F27-78A2-42B0-9FDA-A8A0E3A35891}"/>
                        </a:ext>
                      </a:extLst>
                    </p:cNvPr>
                    <p:cNvSpPr>
                      <a:spLocks/>
                    </p:cNvSpPr>
                    <p:nvPr/>
                  </p:nvSpPr>
                  <p:spPr bwMode="auto">
                    <a:xfrm>
                      <a:off x="8344645" y="1525041"/>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8" name="Freeform 1592">
                      <a:extLst>
                        <a:ext uri="{FF2B5EF4-FFF2-40B4-BE49-F238E27FC236}">
                          <a16:creationId xmlns:a16="http://schemas.microsoft.com/office/drawing/2014/main" id="{06F68C76-69CC-4184-B71A-BDFFCBBFFEB9}"/>
                        </a:ext>
                      </a:extLst>
                    </p:cNvPr>
                    <p:cNvSpPr>
                      <a:spLocks/>
                    </p:cNvSpPr>
                    <p:nvPr/>
                  </p:nvSpPr>
                  <p:spPr bwMode="auto">
                    <a:xfrm>
                      <a:off x="8344645" y="1517636"/>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59" name="Freeform 1593">
                      <a:extLst>
                        <a:ext uri="{FF2B5EF4-FFF2-40B4-BE49-F238E27FC236}">
                          <a16:creationId xmlns:a16="http://schemas.microsoft.com/office/drawing/2014/main" id="{1D2BA2E5-E975-4297-8C48-495935B695B8}"/>
                        </a:ext>
                      </a:extLst>
                    </p:cNvPr>
                    <p:cNvSpPr>
                      <a:spLocks noEditPoints="1"/>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0" name="Freeform 1594">
                      <a:extLst>
                        <a:ext uri="{FF2B5EF4-FFF2-40B4-BE49-F238E27FC236}">
                          <a16:creationId xmlns:a16="http://schemas.microsoft.com/office/drawing/2014/main" id="{839046DC-F08A-40B0-9130-29568052811A}"/>
                        </a:ext>
                      </a:extLst>
                    </p:cNvPr>
                    <p:cNvSpPr>
                      <a:spLocks/>
                    </p:cNvSpPr>
                    <p:nvPr/>
                  </p:nvSpPr>
                  <p:spPr bwMode="auto">
                    <a:xfrm>
                      <a:off x="8139528" y="1467281"/>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1" name="Freeform 1595">
                      <a:extLst>
                        <a:ext uri="{FF2B5EF4-FFF2-40B4-BE49-F238E27FC236}">
                          <a16:creationId xmlns:a16="http://schemas.microsoft.com/office/drawing/2014/main" id="{C7295905-C88D-4F88-A9B4-A3A04EEA38FC}"/>
                        </a:ext>
                      </a:extLst>
                    </p:cNvPr>
                    <p:cNvSpPr>
                      <a:spLocks/>
                    </p:cNvSpPr>
                    <p:nvPr/>
                  </p:nvSpPr>
                  <p:spPr bwMode="auto">
                    <a:xfrm>
                      <a:off x="8147417" y="1479129"/>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2" name="Freeform 1596">
                      <a:extLst>
                        <a:ext uri="{FF2B5EF4-FFF2-40B4-BE49-F238E27FC236}">
                          <a16:creationId xmlns:a16="http://schemas.microsoft.com/office/drawing/2014/main" id="{372FE04C-F613-4FB1-A157-0EF46379F4A6}"/>
                        </a:ext>
                      </a:extLst>
                    </p:cNvPr>
                    <p:cNvSpPr>
                      <a:spLocks/>
                    </p:cNvSpPr>
                    <p:nvPr/>
                  </p:nvSpPr>
                  <p:spPr bwMode="auto">
                    <a:xfrm>
                      <a:off x="8142683" y="1452471"/>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3" name="Freeform 1672">
                      <a:extLst>
                        <a:ext uri="{FF2B5EF4-FFF2-40B4-BE49-F238E27FC236}">
                          <a16:creationId xmlns:a16="http://schemas.microsoft.com/office/drawing/2014/main" id="{4E7B2D6E-1B1A-415E-B46A-017DE4077DAC}"/>
                        </a:ext>
                      </a:extLst>
                    </p:cNvPr>
                    <p:cNvSpPr>
                      <a:spLocks/>
                    </p:cNvSpPr>
                    <p:nvPr/>
                  </p:nvSpPr>
                  <p:spPr bwMode="auto">
                    <a:xfrm>
                      <a:off x="8420380" y="1185890"/>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4" name="Freeform 1673">
                      <a:extLst>
                        <a:ext uri="{FF2B5EF4-FFF2-40B4-BE49-F238E27FC236}">
                          <a16:creationId xmlns:a16="http://schemas.microsoft.com/office/drawing/2014/main" id="{2480C457-4F1B-4A58-9719-8BCBF0654AA3}"/>
                        </a:ext>
                      </a:extLst>
                    </p:cNvPr>
                    <p:cNvSpPr>
                      <a:spLocks/>
                    </p:cNvSpPr>
                    <p:nvPr/>
                  </p:nvSpPr>
                  <p:spPr bwMode="auto">
                    <a:xfrm>
                      <a:off x="8505583" y="1154789"/>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5" name="Freeform 1674">
                      <a:extLst>
                        <a:ext uri="{FF2B5EF4-FFF2-40B4-BE49-F238E27FC236}">
                          <a16:creationId xmlns:a16="http://schemas.microsoft.com/office/drawing/2014/main" id="{AA635A41-34E7-4935-8E2D-F92F15286436}"/>
                        </a:ext>
                      </a:extLst>
                    </p:cNvPr>
                    <p:cNvSpPr>
                      <a:spLocks/>
                    </p:cNvSpPr>
                    <p:nvPr/>
                  </p:nvSpPr>
                  <p:spPr bwMode="auto">
                    <a:xfrm>
                      <a:off x="8369890" y="1254016"/>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6" name="Freeform 1675">
                      <a:extLst>
                        <a:ext uri="{FF2B5EF4-FFF2-40B4-BE49-F238E27FC236}">
                          <a16:creationId xmlns:a16="http://schemas.microsoft.com/office/drawing/2014/main" id="{6E9D52F0-964D-46B3-8F20-C7EF8B06F2B5}"/>
                        </a:ext>
                      </a:extLst>
                    </p:cNvPr>
                    <p:cNvSpPr>
                      <a:spLocks/>
                    </p:cNvSpPr>
                    <p:nvPr/>
                  </p:nvSpPr>
                  <p:spPr bwMode="auto">
                    <a:xfrm>
                      <a:off x="8377779" y="1237725"/>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7" name="Freeform 1676">
                      <a:extLst>
                        <a:ext uri="{FF2B5EF4-FFF2-40B4-BE49-F238E27FC236}">
                          <a16:creationId xmlns:a16="http://schemas.microsoft.com/office/drawing/2014/main" id="{403901DA-19CB-4CB6-94A8-C4E9EC3E00C4}"/>
                        </a:ext>
                      </a:extLst>
                    </p:cNvPr>
                    <p:cNvSpPr>
                      <a:spLocks/>
                    </p:cNvSpPr>
                    <p:nvPr/>
                  </p:nvSpPr>
                  <p:spPr bwMode="auto">
                    <a:xfrm>
                      <a:off x="8365157" y="1271788"/>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8" name="Freeform 1677">
                      <a:extLst>
                        <a:ext uri="{FF2B5EF4-FFF2-40B4-BE49-F238E27FC236}">
                          <a16:creationId xmlns:a16="http://schemas.microsoft.com/office/drawing/2014/main" id="{A549648E-DFDD-48B9-8545-D45CB2E0604A}"/>
                        </a:ext>
                      </a:extLst>
                    </p:cNvPr>
                    <p:cNvSpPr>
                      <a:spLocks/>
                    </p:cNvSpPr>
                    <p:nvPr/>
                  </p:nvSpPr>
                  <p:spPr bwMode="auto">
                    <a:xfrm>
                      <a:off x="8363578" y="1288080"/>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69" name="Freeform 1678">
                      <a:extLst>
                        <a:ext uri="{FF2B5EF4-FFF2-40B4-BE49-F238E27FC236}">
                          <a16:creationId xmlns:a16="http://schemas.microsoft.com/office/drawing/2014/main" id="{6FE35CEC-37B7-4A4A-AEFB-51623D2782D4}"/>
                        </a:ext>
                      </a:extLst>
                    </p:cNvPr>
                    <p:cNvSpPr>
                      <a:spLocks/>
                    </p:cNvSpPr>
                    <p:nvPr/>
                  </p:nvSpPr>
                  <p:spPr bwMode="auto">
                    <a:xfrm>
                      <a:off x="8362001" y="1305852"/>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0" name="Freeform 1679">
                      <a:extLst>
                        <a:ext uri="{FF2B5EF4-FFF2-40B4-BE49-F238E27FC236}">
                          <a16:creationId xmlns:a16="http://schemas.microsoft.com/office/drawing/2014/main" id="{180E4AD2-44CC-4BCC-9693-9C0750F52BCE}"/>
                        </a:ext>
                      </a:extLst>
                    </p:cNvPr>
                    <p:cNvSpPr>
                      <a:spLocks/>
                    </p:cNvSpPr>
                    <p:nvPr/>
                  </p:nvSpPr>
                  <p:spPr bwMode="auto">
                    <a:xfrm>
                      <a:off x="8434581" y="1175523"/>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1" name="Freeform 1680">
                      <a:extLst>
                        <a:ext uri="{FF2B5EF4-FFF2-40B4-BE49-F238E27FC236}">
                          <a16:creationId xmlns:a16="http://schemas.microsoft.com/office/drawing/2014/main" id="{8F417B20-8A1C-4829-94FE-A47DE3B12C61}"/>
                        </a:ext>
                      </a:extLst>
                    </p:cNvPr>
                    <p:cNvSpPr>
                      <a:spLocks/>
                    </p:cNvSpPr>
                    <p:nvPr/>
                  </p:nvSpPr>
                  <p:spPr bwMode="auto">
                    <a:xfrm>
                      <a:off x="8453515" y="1169599"/>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2" name="Freeform 1681">
                      <a:extLst>
                        <a:ext uri="{FF2B5EF4-FFF2-40B4-BE49-F238E27FC236}">
                          <a16:creationId xmlns:a16="http://schemas.microsoft.com/office/drawing/2014/main" id="{6D7DC1E0-4038-43AA-8125-8E0CF806B6AD}"/>
                        </a:ext>
                      </a:extLst>
                    </p:cNvPr>
                    <p:cNvSpPr>
                      <a:spLocks/>
                    </p:cNvSpPr>
                    <p:nvPr/>
                  </p:nvSpPr>
                  <p:spPr bwMode="auto">
                    <a:xfrm>
                      <a:off x="8385668" y="1222915"/>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3" name="Freeform 1682">
                      <a:extLst>
                        <a:ext uri="{FF2B5EF4-FFF2-40B4-BE49-F238E27FC236}">
                          <a16:creationId xmlns:a16="http://schemas.microsoft.com/office/drawing/2014/main" id="{27DB94BA-2038-4889-A510-D7FE0E61E558}"/>
                        </a:ext>
                      </a:extLst>
                    </p:cNvPr>
                    <p:cNvSpPr>
                      <a:spLocks/>
                    </p:cNvSpPr>
                    <p:nvPr/>
                  </p:nvSpPr>
                  <p:spPr bwMode="auto">
                    <a:xfrm>
                      <a:off x="8396713" y="1209586"/>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4" name="Freeform 1683">
                      <a:extLst>
                        <a:ext uri="{FF2B5EF4-FFF2-40B4-BE49-F238E27FC236}">
                          <a16:creationId xmlns:a16="http://schemas.microsoft.com/office/drawing/2014/main" id="{3D210A7C-EA3E-47F3-AE43-70AB53A7C5D0}"/>
                        </a:ext>
                      </a:extLst>
                    </p:cNvPr>
                    <p:cNvSpPr>
                      <a:spLocks/>
                    </p:cNvSpPr>
                    <p:nvPr/>
                  </p:nvSpPr>
                  <p:spPr bwMode="auto">
                    <a:xfrm>
                      <a:off x="8407757" y="1197737"/>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5" name="Freeform 1684">
                      <a:extLst>
                        <a:ext uri="{FF2B5EF4-FFF2-40B4-BE49-F238E27FC236}">
                          <a16:creationId xmlns:a16="http://schemas.microsoft.com/office/drawing/2014/main" id="{CFBCD459-E0D1-404C-B043-B077C0C5982C}"/>
                        </a:ext>
                      </a:extLst>
                    </p:cNvPr>
                    <p:cNvSpPr>
                      <a:spLocks/>
                    </p:cNvSpPr>
                    <p:nvPr/>
                  </p:nvSpPr>
                  <p:spPr bwMode="auto">
                    <a:xfrm>
                      <a:off x="8469293" y="1162193"/>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6" name="Freeform 1685">
                      <a:extLst>
                        <a:ext uri="{FF2B5EF4-FFF2-40B4-BE49-F238E27FC236}">
                          <a16:creationId xmlns:a16="http://schemas.microsoft.com/office/drawing/2014/main" id="{CA1BEB67-CFD8-4327-A686-A8BB4B8363E1}"/>
                        </a:ext>
                      </a:extLst>
                    </p:cNvPr>
                    <p:cNvSpPr>
                      <a:spLocks/>
                    </p:cNvSpPr>
                    <p:nvPr/>
                  </p:nvSpPr>
                  <p:spPr bwMode="auto">
                    <a:xfrm>
                      <a:off x="8552917" y="1199219"/>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7" name="Freeform 1686">
                      <a:extLst>
                        <a:ext uri="{FF2B5EF4-FFF2-40B4-BE49-F238E27FC236}">
                          <a16:creationId xmlns:a16="http://schemas.microsoft.com/office/drawing/2014/main" id="{AD51BBB0-64A2-4678-A9D2-68515D15945C}"/>
                        </a:ext>
                      </a:extLst>
                    </p:cNvPr>
                    <p:cNvSpPr>
                      <a:spLocks/>
                    </p:cNvSpPr>
                    <p:nvPr/>
                  </p:nvSpPr>
                  <p:spPr bwMode="auto">
                    <a:xfrm>
                      <a:off x="8533983" y="1193295"/>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8" name="Freeform 1687">
                      <a:extLst>
                        <a:ext uri="{FF2B5EF4-FFF2-40B4-BE49-F238E27FC236}">
                          <a16:creationId xmlns:a16="http://schemas.microsoft.com/office/drawing/2014/main" id="{82164BEB-906C-49C0-8B3A-379BFB8927C4}"/>
                        </a:ext>
                      </a:extLst>
                    </p:cNvPr>
                    <p:cNvSpPr>
                      <a:spLocks/>
                    </p:cNvSpPr>
                    <p:nvPr/>
                  </p:nvSpPr>
                  <p:spPr bwMode="auto">
                    <a:xfrm>
                      <a:off x="8567118" y="1190333"/>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79" name="Freeform 1688">
                      <a:extLst>
                        <a:ext uri="{FF2B5EF4-FFF2-40B4-BE49-F238E27FC236}">
                          <a16:creationId xmlns:a16="http://schemas.microsoft.com/office/drawing/2014/main" id="{38C6A769-DFBC-4AE7-B73E-95E236380C09}"/>
                        </a:ext>
                      </a:extLst>
                    </p:cNvPr>
                    <p:cNvSpPr>
                      <a:spLocks/>
                    </p:cNvSpPr>
                    <p:nvPr/>
                  </p:nvSpPr>
                  <p:spPr bwMode="auto">
                    <a:xfrm>
                      <a:off x="8568695" y="1174041"/>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0" name="Freeform 1689">
                      <a:extLst>
                        <a:ext uri="{FF2B5EF4-FFF2-40B4-BE49-F238E27FC236}">
                          <a16:creationId xmlns:a16="http://schemas.microsoft.com/office/drawing/2014/main" id="{6C2B4535-51F1-4721-B868-442D390157FE}"/>
                        </a:ext>
                      </a:extLst>
                    </p:cNvPr>
                    <p:cNvSpPr>
                      <a:spLocks/>
                    </p:cNvSpPr>
                    <p:nvPr/>
                  </p:nvSpPr>
                  <p:spPr bwMode="auto">
                    <a:xfrm>
                      <a:off x="8508738" y="1171079"/>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1" name="Freeform 1690">
                      <a:extLst>
                        <a:ext uri="{FF2B5EF4-FFF2-40B4-BE49-F238E27FC236}">
                          <a16:creationId xmlns:a16="http://schemas.microsoft.com/office/drawing/2014/main" id="{2168089E-048B-4A03-9C25-750D9257C0C2}"/>
                        </a:ext>
                      </a:extLst>
                    </p:cNvPr>
                    <p:cNvSpPr>
                      <a:spLocks/>
                    </p:cNvSpPr>
                    <p:nvPr/>
                  </p:nvSpPr>
                  <p:spPr bwMode="auto">
                    <a:xfrm>
                      <a:off x="8519783" y="1184409"/>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2" name="Freeform 1691">
                      <a:extLst>
                        <a:ext uri="{FF2B5EF4-FFF2-40B4-BE49-F238E27FC236}">
                          <a16:creationId xmlns:a16="http://schemas.microsoft.com/office/drawing/2014/main" id="{DFA2A51B-8DD5-4A89-910D-CA1931958F9C}"/>
                        </a:ext>
                      </a:extLst>
                    </p:cNvPr>
                    <p:cNvSpPr>
                      <a:spLocks/>
                    </p:cNvSpPr>
                    <p:nvPr/>
                  </p:nvSpPr>
                  <p:spPr bwMode="auto">
                    <a:xfrm>
                      <a:off x="8524516" y="1154789"/>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3" name="Freeform 1692">
                      <a:extLst>
                        <a:ext uri="{FF2B5EF4-FFF2-40B4-BE49-F238E27FC236}">
                          <a16:creationId xmlns:a16="http://schemas.microsoft.com/office/drawing/2014/main" id="{A9E5E83B-1642-437F-81A9-45B9216C6E76}"/>
                        </a:ext>
                      </a:extLst>
                    </p:cNvPr>
                    <p:cNvSpPr>
                      <a:spLocks/>
                    </p:cNvSpPr>
                    <p:nvPr/>
                  </p:nvSpPr>
                  <p:spPr bwMode="auto">
                    <a:xfrm>
                      <a:off x="8505583" y="1138497"/>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4" name="Freeform 1693">
                      <a:extLst>
                        <a:ext uri="{FF2B5EF4-FFF2-40B4-BE49-F238E27FC236}">
                          <a16:creationId xmlns:a16="http://schemas.microsoft.com/office/drawing/2014/main" id="{4D17AC3A-3637-4B47-8F9F-1AD6086B342A}"/>
                        </a:ext>
                      </a:extLst>
                    </p:cNvPr>
                    <p:cNvSpPr>
                      <a:spLocks/>
                    </p:cNvSpPr>
                    <p:nvPr/>
                  </p:nvSpPr>
                  <p:spPr bwMode="auto">
                    <a:xfrm>
                      <a:off x="8486649" y="1157751"/>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5" name="Freeform 1694">
                      <a:extLst>
                        <a:ext uri="{FF2B5EF4-FFF2-40B4-BE49-F238E27FC236}">
                          <a16:creationId xmlns:a16="http://schemas.microsoft.com/office/drawing/2014/main" id="{22067ED6-B214-45A8-B029-1E440A68DC04}"/>
                        </a:ext>
                      </a:extLst>
                    </p:cNvPr>
                    <p:cNvSpPr>
                      <a:spLocks/>
                    </p:cNvSpPr>
                    <p:nvPr/>
                  </p:nvSpPr>
                  <p:spPr bwMode="auto">
                    <a:xfrm>
                      <a:off x="8516628" y="1105915"/>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6" name="Freeform 1695">
                      <a:extLst>
                        <a:ext uri="{FF2B5EF4-FFF2-40B4-BE49-F238E27FC236}">
                          <a16:creationId xmlns:a16="http://schemas.microsoft.com/office/drawing/2014/main" id="{1DD1A4F9-2A30-4003-A5DD-895914829728}"/>
                        </a:ext>
                      </a:extLst>
                    </p:cNvPr>
                    <p:cNvSpPr>
                      <a:spLocks/>
                    </p:cNvSpPr>
                    <p:nvPr/>
                  </p:nvSpPr>
                  <p:spPr bwMode="auto">
                    <a:xfrm>
                      <a:off x="8507161" y="1120725"/>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7" name="Freeform 1696">
                      <a:extLst>
                        <a:ext uri="{FF2B5EF4-FFF2-40B4-BE49-F238E27FC236}">
                          <a16:creationId xmlns:a16="http://schemas.microsoft.com/office/drawing/2014/main" id="{75EC2E55-1218-45BC-85F3-E24F97CC503D}"/>
                        </a:ext>
                      </a:extLst>
                    </p:cNvPr>
                    <p:cNvSpPr>
                      <a:spLocks/>
                    </p:cNvSpPr>
                    <p:nvPr/>
                  </p:nvSpPr>
                  <p:spPr bwMode="auto">
                    <a:xfrm>
                      <a:off x="8541873" y="1156269"/>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688" name="Freeform 1697">
                      <a:extLst>
                        <a:ext uri="{FF2B5EF4-FFF2-40B4-BE49-F238E27FC236}">
                          <a16:creationId xmlns:a16="http://schemas.microsoft.com/office/drawing/2014/main" id="{3AD6C380-4F95-4912-9991-EAB99AD4D35D}"/>
                        </a:ext>
                      </a:extLst>
                    </p:cNvPr>
                    <p:cNvSpPr>
                      <a:spLocks/>
                    </p:cNvSpPr>
                    <p:nvPr/>
                  </p:nvSpPr>
                  <p:spPr bwMode="auto">
                    <a:xfrm>
                      <a:off x="8557651" y="1162193"/>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sp>
          <p:nvSpPr>
            <p:cNvPr id="2801" name="Rectangle 2800">
              <a:extLst>
                <a:ext uri="{FF2B5EF4-FFF2-40B4-BE49-F238E27FC236}">
                  <a16:creationId xmlns:a16="http://schemas.microsoft.com/office/drawing/2014/main" id="{5CC3A915-C0CF-48D9-BE8E-52BB3F9E154F}"/>
                </a:ext>
              </a:extLst>
            </p:cNvPr>
            <p:cNvSpPr/>
            <p:nvPr/>
          </p:nvSpPr>
          <p:spPr>
            <a:xfrm>
              <a:off x="10072567" y="4659118"/>
              <a:ext cx="1723928" cy="721672"/>
            </a:xfrm>
            <a:prstGeom prst="rect">
              <a:avLst/>
            </a:prstGeom>
          </p:spPr>
          <p:txBody>
            <a:bodyPr wrap="square">
              <a:spAutoFit/>
            </a:bodyPr>
            <a:lstStyle/>
            <a:p>
              <a:pPr algn="ctr" defTabSz="828903">
                <a:defRPr/>
              </a:pPr>
              <a:r>
                <a:rPr lang="en-US" sz="818" dirty="0">
                  <a:solidFill>
                    <a:prstClr val="black"/>
                  </a:solidFill>
                </a:rPr>
                <a:t>Set of User Stories completed during the sprint.</a:t>
              </a:r>
              <a:br>
                <a:rPr lang="en-US" sz="818" dirty="0">
                  <a:solidFill>
                    <a:prstClr val="black"/>
                  </a:solidFill>
                </a:rPr>
              </a:br>
              <a:endParaRPr lang="en-US" sz="818" dirty="0">
                <a:solidFill>
                  <a:prstClr val="black"/>
                </a:solidFill>
              </a:endParaRPr>
            </a:p>
            <a:p>
              <a:pPr algn="ctr" defTabSz="828903">
                <a:defRPr/>
              </a:pPr>
              <a:r>
                <a:rPr lang="en-US" sz="818" dirty="0">
                  <a:solidFill>
                    <a:prstClr val="black"/>
                  </a:solidFill>
                </a:rPr>
                <a:t>Multiple Product Increments can combine to form a Release.</a:t>
              </a:r>
            </a:p>
          </p:txBody>
        </p:sp>
      </p:grpSp>
      <p:grpSp>
        <p:nvGrpSpPr>
          <p:cNvPr id="15" name="Group 14">
            <a:extLst>
              <a:ext uri="{FF2B5EF4-FFF2-40B4-BE49-F238E27FC236}">
                <a16:creationId xmlns:a16="http://schemas.microsoft.com/office/drawing/2014/main" id="{A3D36A2B-F5C4-4D01-9709-E1957D7DC38A}"/>
              </a:ext>
            </a:extLst>
          </p:cNvPr>
          <p:cNvGrpSpPr/>
          <p:nvPr/>
        </p:nvGrpSpPr>
        <p:grpSpPr>
          <a:xfrm>
            <a:off x="3481621" y="3615964"/>
            <a:ext cx="4581486" cy="2892141"/>
            <a:chOff x="3480940" y="3616012"/>
            <a:chExt cx="4582679" cy="2892894"/>
          </a:xfrm>
        </p:grpSpPr>
        <p:grpSp>
          <p:nvGrpSpPr>
            <p:cNvPr id="7" name="Group 6">
              <a:extLst>
                <a:ext uri="{FF2B5EF4-FFF2-40B4-BE49-F238E27FC236}">
                  <a16:creationId xmlns:a16="http://schemas.microsoft.com/office/drawing/2014/main" id="{692D072B-49CC-4303-8CF2-3D45E20D9312}"/>
                </a:ext>
              </a:extLst>
            </p:cNvPr>
            <p:cNvGrpSpPr/>
            <p:nvPr/>
          </p:nvGrpSpPr>
          <p:grpSpPr>
            <a:xfrm>
              <a:off x="3480940" y="4590574"/>
              <a:ext cx="2021522" cy="1918332"/>
              <a:chOff x="3480940" y="4590574"/>
              <a:chExt cx="2021522" cy="1918332"/>
            </a:xfrm>
          </p:grpSpPr>
          <p:grpSp>
            <p:nvGrpSpPr>
              <p:cNvPr id="2018" name="Group 2017">
                <a:extLst>
                  <a:ext uri="{FF2B5EF4-FFF2-40B4-BE49-F238E27FC236}">
                    <a16:creationId xmlns:a16="http://schemas.microsoft.com/office/drawing/2014/main" id="{56540839-72CD-4906-AEB0-E18EC5A846B9}"/>
                  </a:ext>
                </a:extLst>
              </p:cNvPr>
              <p:cNvGrpSpPr/>
              <p:nvPr/>
            </p:nvGrpSpPr>
            <p:grpSpPr>
              <a:xfrm>
                <a:off x="3480940" y="4590574"/>
                <a:ext cx="2021522" cy="1918332"/>
                <a:chOff x="3489383" y="4562005"/>
                <a:chExt cx="2026683" cy="1923229"/>
              </a:xfrm>
            </p:grpSpPr>
            <p:sp>
              <p:nvSpPr>
                <p:cNvPr id="2019" name="Rectangle 2018">
                  <a:extLst>
                    <a:ext uri="{FF2B5EF4-FFF2-40B4-BE49-F238E27FC236}">
                      <a16:creationId xmlns:a16="http://schemas.microsoft.com/office/drawing/2014/main" id="{748B31C8-D114-4F7B-AF23-309F82F6A9F1}"/>
                    </a:ext>
                  </a:extLst>
                </p:cNvPr>
                <p:cNvSpPr>
                  <a:spLocks/>
                </p:cNvSpPr>
                <p:nvPr/>
              </p:nvSpPr>
              <p:spPr bwMode="gray">
                <a:xfrm>
                  <a:off x="3489383" y="4562005"/>
                  <a:ext cx="2026683" cy="1923229"/>
                </a:xfrm>
                <a:prstGeom prst="rect">
                  <a:avLst/>
                </a:prstGeom>
                <a:solidFill>
                  <a:srgbClr val="DDEFE8"/>
                </a:solidFill>
                <a:ln w="19050" algn="ctr">
                  <a:noFill/>
                  <a:miter lim="800000"/>
                  <a:headEnd/>
                  <a:tailEnd/>
                </a:ln>
              </p:spPr>
              <p:txBody>
                <a:bodyPr wrap="square" lIns="62170" tIns="31086" rIns="62170" bIns="0" rtlCol="0" anchor="t"/>
                <a:lstStyle/>
                <a:p>
                  <a:pPr algn="ctr" defTabSz="828903">
                    <a:lnSpc>
                      <a:spcPct val="106000"/>
                    </a:lnSpc>
                    <a:spcAft>
                      <a:spcPts val="408"/>
                    </a:spcAft>
                    <a:defRPr/>
                  </a:pPr>
                  <a:r>
                    <a:rPr lang="en-US" sz="816" b="1" dirty="0">
                      <a:solidFill>
                        <a:sysClr val="windowText" lastClr="000000"/>
                      </a:solidFill>
                      <a:latin typeface="Verdana"/>
                    </a:rPr>
                    <a:t>Daily Standup</a:t>
                  </a:r>
                </a:p>
              </p:txBody>
            </p:sp>
            <p:pic>
              <p:nvPicPr>
                <p:cNvPr id="2020" name="Picture 2019">
                  <a:extLst>
                    <a:ext uri="{FF2B5EF4-FFF2-40B4-BE49-F238E27FC236}">
                      <a16:creationId xmlns:a16="http://schemas.microsoft.com/office/drawing/2014/main" id="{29BBB789-058D-4185-8ABF-BA11CF4AA1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5607" y="5465783"/>
                  <a:ext cx="759629" cy="931620"/>
                </a:xfrm>
                <a:prstGeom prst="rect">
                  <a:avLst/>
                </a:prstGeom>
              </p:spPr>
            </p:pic>
            <p:sp>
              <p:nvSpPr>
                <p:cNvPr id="2021" name="Rectangle 2020">
                  <a:extLst>
                    <a:ext uri="{FF2B5EF4-FFF2-40B4-BE49-F238E27FC236}">
                      <a16:creationId xmlns:a16="http://schemas.microsoft.com/office/drawing/2014/main" id="{19403D70-F06C-4607-9A22-DBDF11EF45BA}"/>
                    </a:ext>
                  </a:extLst>
                </p:cNvPr>
                <p:cNvSpPr/>
                <p:nvPr/>
              </p:nvSpPr>
              <p:spPr>
                <a:xfrm>
                  <a:off x="3490128" y="4745043"/>
                  <a:ext cx="1017788" cy="870751"/>
                </a:xfrm>
                <a:prstGeom prst="rect">
                  <a:avLst/>
                </a:prstGeom>
              </p:spPr>
              <p:txBody>
                <a:bodyPr wrap="square">
                  <a:spAutoFit/>
                </a:bodyPr>
                <a:lstStyle/>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did you do yester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will you do today?</a:t>
                  </a:r>
                </a:p>
                <a:p>
                  <a:pPr marL="124339" indent="-124339" defTabSz="828903">
                    <a:lnSpc>
                      <a:spcPct val="90000"/>
                    </a:lnSpc>
                    <a:spcAft>
                      <a:spcPts val="204"/>
                    </a:spcAft>
                    <a:buFont typeface="+mj-lt"/>
                    <a:buAutoNum type="arabicPeriod"/>
                    <a:defRPr/>
                  </a:pPr>
                  <a:r>
                    <a:rPr lang="en-US" sz="748" dirty="0">
                      <a:solidFill>
                        <a:sysClr val="windowText" lastClr="000000"/>
                      </a:solidFill>
                      <a:latin typeface="Verdana"/>
                    </a:rPr>
                    <a:t>What impediments do you have?</a:t>
                  </a:r>
                </a:p>
              </p:txBody>
            </p:sp>
            <p:grpSp>
              <p:nvGrpSpPr>
                <p:cNvPr id="2022" name="Group 2021">
                  <a:extLst>
                    <a:ext uri="{FF2B5EF4-FFF2-40B4-BE49-F238E27FC236}">
                      <a16:creationId xmlns:a16="http://schemas.microsoft.com/office/drawing/2014/main" id="{FDD675A8-B8D0-4448-A656-3949DF642096}"/>
                    </a:ext>
                  </a:extLst>
                </p:cNvPr>
                <p:cNvGrpSpPr/>
                <p:nvPr/>
              </p:nvGrpSpPr>
              <p:grpSpPr>
                <a:xfrm>
                  <a:off x="4439956" y="4676083"/>
                  <a:ext cx="1030675" cy="846880"/>
                  <a:chOff x="10800033" y="2297897"/>
                  <a:chExt cx="1600558" cy="1315140"/>
                </a:xfrm>
              </p:grpSpPr>
              <p:grpSp>
                <p:nvGrpSpPr>
                  <p:cNvPr id="2023" name="Group 2022">
                    <a:extLst>
                      <a:ext uri="{FF2B5EF4-FFF2-40B4-BE49-F238E27FC236}">
                        <a16:creationId xmlns:a16="http://schemas.microsoft.com/office/drawing/2014/main" id="{1D61E89D-80B4-4262-AD4B-4F1EFBD7F33F}"/>
                      </a:ext>
                    </a:extLst>
                  </p:cNvPr>
                  <p:cNvGrpSpPr>
                    <a:grpSpLocks/>
                  </p:cNvGrpSpPr>
                  <p:nvPr/>
                </p:nvGrpSpPr>
                <p:grpSpPr>
                  <a:xfrm>
                    <a:off x="10800033" y="2339037"/>
                    <a:ext cx="613092" cy="613092"/>
                    <a:chOff x="745985" y="4768134"/>
                    <a:chExt cx="368776" cy="368777"/>
                  </a:xfrm>
                </p:grpSpPr>
                <p:grpSp>
                  <p:nvGrpSpPr>
                    <p:cNvPr id="2087" name="Group 64">
                      <a:extLst>
                        <a:ext uri="{FF2B5EF4-FFF2-40B4-BE49-F238E27FC236}">
                          <a16:creationId xmlns:a16="http://schemas.microsoft.com/office/drawing/2014/main" id="{01E48BE4-E577-4DA7-A7DA-D47F81E40EA8}"/>
                        </a:ext>
                      </a:extLst>
                    </p:cNvPr>
                    <p:cNvGrpSpPr>
                      <a:grpSpLocks noChangeAspect="1"/>
                    </p:cNvGrpSpPr>
                    <p:nvPr/>
                  </p:nvGrpSpPr>
                  <p:grpSpPr bwMode="auto">
                    <a:xfrm rot="8100000">
                      <a:off x="745985" y="4768134"/>
                      <a:ext cx="368776" cy="368777"/>
                      <a:chOff x="701" y="2170"/>
                      <a:chExt cx="587" cy="587"/>
                    </a:xfrm>
                  </p:grpSpPr>
                  <p:sp>
                    <p:nvSpPr>
                      <p:cNvPr id="2098" name="Oval 65">
                        <a:extLst>
                          <a:ext uri="{FF2B5EF4-FFF2-40B4-BE49-F238E27FC236}">
                            <a16:creationId xmlns:a16="http://schemas.microsoft.com/office/drawing/2014/main" id="{0A886081-F1D0-4AEB-9041-0464331AAF2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9" name="Line 66">
                        <a:extLst>
                          <a:ext uri="{FF2B5EF4-FFF2-40B4-BE49-F238E27FC236}">
                            <a16:creationId xmlns:a16="http://schemas.microsoft.com/office/drawing/2014/main" id="{C2E285F7-F1EF-42B3-A7C4-9FB0D6ED700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0" name="Line 67">
                        <a:extLst>
                          <a:ext uri="{FF2B5EF4-FFF2-40B4-BE49-F238E27FC236}">
                            <a16:creationId xmlns:a16="http://schemas.microsoft.com/office/drawing/2014/main" id="{0E350AB0-6D10-4606-B539-2CA4EC77E00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1" name="Line 69">
                        <a:extLst>
                          <a:ext uri="{FF2B5EF4-FFF2-40B4-BE49-F238E27FC236}">
                            <a16:creationId xmlns:a16="http://schemas.microsoft.com/office/drawing/2014/main" id="{7F69DCC6-831C-4C0A-83DB-10573EFA4100}"/>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2" name="Line 74">
                        <a:extLst>
                          <a:ext uri="{FF2B5EF4-FFF2-40B4-BE49-F238E27FC236}">
                            <a16:creationId xmlns:a16="http://schemas.microsoft.com/office/drawing/2014/main" id="{A945B4C0-A0A8-4357-BDCC-600F0584749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3" name="Freeform 78">
                        <a:extLst>
                          <a:ext uri="{FF2B5EF4-FFF2-40B4-BE49-F238E27FC236}">
                            <a16:creationId xmlns:a16="http://schemas.microsoft.com/office/drawing/2014/main" id="{83080771-497A-49B6-9DD8-EC246B91EE6B}"/>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04" name="Freeform 80">
                        <a:extLst>
                          <a:ext uri="{FF2B5EF4-FFF2-40B4-BE49-F238E27FC236}">
                            <a16:creationId xmlns:a16="http://schemas.microsoft.com/office/drawing/2014/main" id="{35116DAD-749B-45B8-9C86-0FA72B3638F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88" name="Group 2087">
                      <a:extLst>
                        <a:ext uri="{FF2B5EF4-FFF2-40B4-BE49-F238E27FC236}">
                          <a16:creationId xmlns:a16="http://schemas.microsoft.com/office/drawing/2014/main" id="{37B1DD8D-1211-492D-8E3E-883D25B35A83}"/>
                        </a:ext>
                      </a:extLst>
                    </p:cNvPr>
                    <p:cNvGrpSpPr/>
                    <p:nvPr/>
                  </p:nvGrpSpPr>
                  <p:grpSpPr>
                    <a:xfrm>
                      <a:off x="837312" y="4814434"/>
                      <a:ext cx="136805" cy="278689"/>
                      <a:chOff x="2806700" y="2803319"/>
                      <a:chExt cx="433387" cy="882861"/>
                    </a:xfrm>
                  </p:grpSpPr>
                  <p:grpSp>
                    <p:nvGrpSpPr>
                      <p:cNvPr id="2089" name="Group 2088">
                        <a:extLst>
                          <a:ext uri="{FF2B5EF4-FFF2-40B4-BE49-F238E27FC236}">
                            <a16:creationId xmlns:a16="http://schemas.microsoft.com/office/drawing/2014/main" id="{3A754CC2-FAD8-46DE-A50F-546C90D392FC}"/>
                          </a:ext>
                        </a:extLst>
                      </p:cNvPr>
                      <p:cNvGrpSpPr>
                        <a:grpSpLocks noChangeAspect="1"/>
                      </p:cNvGrpSpPr>
                      <p:nvPr/>
                    </p:nvGrpSpPr>
                    <p:grpSpPr bwMode="auto">
                      <a:xfrm>
                        <a:off x="2806700" y="3043242"/>
                        <a:ext cx="433387" cy="642938"/>
                        <a:chOff x="1768" y="1917"/>
                        <a:chExt cx="273" cy="405"/>
                      </a:xfrm>
                    </p:grpSpPr>
                    <p:sp>
                      <p:nvSpPr>
                        <p:cNvPr id="2091" name="Freeform 52">
                          <a:extLst>
                            <a:ext uri="{FF2B5EF4-FFF2-40B4-BE49-F238E27FC236}">
                              <a16:creationId xmlns:a16="http://schemas.microsoft.com/office/drawing/2014/main" id="{C242132A-76D3-438C-AC96-5DB53EFA2BA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92" name="Line 54">
                          <a:extLst>
                            <a:ext uri="{FF2B5EF4-FFF2-40B4-BE49-F238E27FC236}">
                              <a16:creationId xmlns:a16="http://schemas.microsoft.com/office/drawing/2014/main" id="{D462B0C0-A26C-408D-B7F4-25FC0A46FCF6}"/>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3" name="Line 55">
                          <a:extLst>
                            <a:ext uri="{FF2B5EF4-FFF2-40B4-BE49-F238E27FC236}">
                              <a16:creationId xmlns:a16="http://schemas.microsoft.com/office/drawing/2014/main" id="{36CE7D36-8D4E-4E7D-B44E-37EF507C2CFA}"/>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4" name="Freeform 56">
                          <a:extLst>
                            <a:ext uri="{FF2B5EF4-FFF2-40B4-BE49-F238E27FC236}">
                              <a16:creationId xmlns:a16="http://schemas.microsoft.com/office/drawing/2014/main" id="{08EF9AB4-BEA6-467D-A1D8-F77DE6A94B90}"/>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5" name="Line 57">
                          <a:extLst>
                            <a:ext uri="{FF2B5EF4-FFF2-40B4-BE49-F238E27FC236}">
                              <a16:creationId xmlns:a16="http://schemas.microsoft.com/office/drawing/2014/main" id="{CF6AEC22-0767-467A-81AD-C0DFD9A4AA36}"/>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6" name="Freeform 58">
                          <a:extLst>
                            <a:ext uri="{FF2B5EF4-FFF2-40B4-BE49-F238E27FC236}">
                              <a16:creationId xmlns:a16="http://schemas.microsoft.com/office/drawing/2014/main" id="{C2604C23-AD38-4566-BAD3-47B5EA863900}"/>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97" name="Rectangle 2096">
                          <a:extLst>
                            <a:ext uri="{FF2B5EF4-FFF2-40B4-BE49-F238E27FC236}">
                              <a16:creationId xmlns:a16="http://schemas.microsoft.com/office/drawing/2014/main" id="{8509A289-0E67-4A94-8BC5-CE91EA04DF7E}"/>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090" name="Oval 2089">
                        <a:extLst>
                          <a:ext uri="{FF2B5EF4-FFF2-40B4-BE49-F238E27FC236}">
                            <a16:creationId xmlns:a16="http://schemas.microsoft.com/office/drawing/2014/main" id="{F0A3E300-0A0E-4060-8DDB-B6EBA012D9C7}"/>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024" name="Group 2023">
                    <a:extLst>
                      <a:ext uri="{FF2B5EF4-FFF2-40B4-BE49-F238E27FC236}">
                        <a16:creationId xmlns:a16="http://schemas.microsoft.com/office/drawing/2014/main" id="{DE0B9681-3DED-44E4-9627-E0B541A48C40}"/>
                      </a:ext>
                    </a:extLst>
                  </p:cNvPr>
                  <p:cNvGrpSpPr>
                    <a:grpSpLocks/>
                  </p:cNvGrpSpPr>
                  <p:nvPr/>
                </p:nvGrpSpPr>
                <p:grpSpPr>
                  <a:xfrm>
                    <a:off x="11166615" y="2825631"/>
                    <a:ext cx="787402" cy="787406"/>
                    <a:chOff x="1454941" y="4721722"/>
                    <a:chExt cx="473625" cy="473627"/>
                  </a:xfrm>
                </p:grpSpPr>
                <p:grpSp>
                  <p:nvGrpSpPr>
                    <p:cNvPr id="2048" name="Group 64">
                      <a:extLst>
                        <a:ext uri="{FF2B5EF4-FFF2-40B4-BE49-F238E27FC236}">
                          <a16:creationId xmlns:a16="http://schemas.microsoft.com/office/drawing/2014/main" id="{72DB5D0F-8955-442F-AE53-3D14F7805B61}"/>
                        </a:ext>
                      </a:extLst>
                    </p:cNvPr>
                    <p:cNvGrpSpPr>
                      <a:grpSpLocks noChangeAspect="1"/>
                    </p:cNvGrpSpPr>
                    <p:nvPr/>
                  </p:nvGrpSpPr>
                  <p:grpSpPr bwMode="auto">
                    <a:xfrm rot="8100000">
                      <a:off x="1454941" y="4721722"/>
                      <a:ext cx="473625" cy="473627"/>
                      <a:chOff x="701" y="2170"/>
                      <a:chExt cx="587" cy="587"/>
                    </a:xfrm>
                  </p:grpSpPr>
                  <p:sp>
                    <p:nvSpPr>
                      <p:cNvPr id="2080" name="Oval 65">
                        <a:extLst>
                          <a:ext uri="{FF2B5EF4-FFF2-40B4-BE49-F238E27FC236}">
                            <a16:creationId xmlns:a16="http://schemas.microsoft.com/office/drawing/2014/main" id="{ACE6D71E-9A7F-44F5-9810-DDC2B3990786}"/>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81" name="Line 66">
                        <a:extLst>
                          <a:ext uri="{FF2B5EF4-FFF2-40B4-BE49-F238E27FC236}">
                            <a16:creationId xmlns:a16="http://schemas.microsoft.com/office/drawing/2014/main" id="{764A254C-EFAA-4983-9208-C93B7A14743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2" name="Line 67">
                        <a:extLst>
                          <a:ext uri="{FF2B5EF4-FFF2-40B4-BE49-F238E27FC236}">
                            <a16:creationId xmlns:a16="http://schemas.microsoft.com/office/drawing/2014/main" id="{93EADFD0-1ECF-4DD6-B959-0DE85C072592}"/>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3" name="Line 69">
                        <a:extLst>
                          <a:ext uri="{FF2B5EF4-FFF2-40B4-BE49-F238E27FC236}">
                            <a16:creationId xmlns:a16="http://schemas.microsoft.com/office/drawing/2014/main" id="{FC151A07-1A6D-489C-8F94-96192C8AF74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4" name="Line 74">
                        <a:extLst>
                          <a:ext uri="{FF2B5EF4-FFF2-40B4-BE49-F238E27FC236}">
                            <a16:creationId xmlns:a16="http://schemas.microsoft.com/office/drawing/2014/main" id="{56564724-9B6C-41A6-A179-CC0E3D81C6DF}"/>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5" name="Freeform 78">
                        <a:extLst>
                          <a:ext uri="{FF2B5EF4-FFF2-40B4-BE49-F238E27FC236}">
                            <a16:creationId xmlns:a16="http://schemas.microsoft.com/office/drawing/2014/main" id="{8A75B03E-65C6-414B-83C9-15BB05C9A59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86" name="Freeform 80">
                        <a:extLst>
                          <a:ext uri="{FF2B5EF4-FFF2-40B4-BE49-F238E27FC236}">
                            <a16:creationId xmlns:a16="http://schemas.microsoft.com/office/drawing/2014/main" id="{6036BA97-74E3-4525-95A2-587018FBD06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49" name="Group 2048">
                      <a:extLst>
                        <a:ext uri="{FF2B5EF4-FFF2-40B4-BE49-F238E27FC236}">
                          <a16:creationId xmlns:a16="http://schemas.microsoft.com/office/drawing/2014/main" id="{8D9F6327-0B0B-485A-8EC5-F862A7E69C50}"/>
                        </a:ext>
                      </a:extLst>
                    </p:cNvPr>
                    <p:cNvGrpSpPr/>
                    <p:nvPr/>
                  </p:nvGrpSpPr>
                  <p:grpSpPr>
                    <a:xfrm>
                      <a:off x="1511214" y="4789508"/>
                      <a:ext cx="356509" cy="349884"/>
                      <a:chOff x="468738" y="2241878"/>
                      <a:chExt cx="1655483" cy="1624719"/>
                    </a:xfrm>
                  </p:grpSpPr>
                  <p:sp>
                    <p:nvSpPr>
                      <p:cNvPr id="2050" name="Freeform 5">
                        <a:extLst>
                          <a:ext uri="{FF2B5EF4-FFF2-40B4-BE49-F238E27FC236}">
                            <a16:creationId xmlns:a16="http://schemas.microsoft.com/office/drawing/2014/main" id="{8458A5E1-1B47-42D6-B27E-97B06E861C41}"/>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51" name="Freeform 6">
                        <a:extLst>
                          <a:ext uri="{FF2B5EF4-FFF2-40B4-BE49-F238E27FC236}">
                            <a16:creationId xmlns:a16="http://schemas.microsoft.com/office/drawing/2014/main" id="{5E623E06-E501-49AC-B639-E48CD0497907}"/>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2" name="Line 7">
                        <a:extLst>
                          <a:ext uri="{FF2B5EF4-FFF2-40B4-BE49-F238E27FC236}">
                            <a16:creationId xmlns:a16="http://schemas.microsoft.com/office/drawing/2014/main" id="{8A8AEB48-8EA2-4AE9-A410-03E59D7B8A91}"/>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3" name="Freeform 8">
                        <a:extLst>
                          <a:ext uri="{FF2B5EF4-FFF2-40B4-BE49-F238E27FC236}">
                            <a16:creationId xmlns:a16="http://schemas.microsoft.com/office/drawing/2014/main" id="{DA15DEDE-44A2-46BA-91D5-8160FF5EC2E9}"/>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4" name="Line 9">
                        <a:extLst>
                          <a:ext uri="{FF2B5EF4-FFF2-40B4-BE49-F238E27FC236}">
                            <a16:creationId xmlns:a16="http://schemas.microsoft.com/office/drawing/2014/main" id="{017EFE93-47AA-43AE-B2CC-D9295B6A9F99}"/>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55" name="Group 2054">
                        <a:extLst>
                          <a:ext uri="{FF2B5EF4-FFF2-40B4-BE49-F238E27FC236}">
                            <a16:creationId xmlns:a16="http://schemas.microsoft.com/office/drawing/2014/main" id="{084D1A28-0222-46DD-8E24-FFB39B1A73D9}"/>
                          </a:ext>
                        </a:extLst>
                      </p:cNvPr>
                      <p:cNvGrpSpPr/>
                      <p:nvPr/>
                    </p:nvGrpSpPr>
                    <p:grpSpPr>
                      <a:xfrm>
                        <a:off x="1207113" y="2241878"/>
                        <a:ext cx="178734" cy="348678"/>
                        <a:chOff x="1207113" y="2241878"/>
                        <a:chExt cx="178734" cy="348678"/>
                      </a:xfrm>
                    </p:grpSpPr>
                    <p:sp>
                      <p:nvSpPr>
                        <p:cNvPr id="2078" name="Freeform 10">
                          <a:extLst>
                            <a:ext uri="{FF2B5EF4-FFF2-40B4-BE49-F238E27FC236}">
                              <a16:creationId xmlns:a16="http://schemas.microsoft.com/office/drawing/2014/main" id="{A6C5B11D-8CDC-4FCE-8BD2-323816C319E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9" name="Line 11">
                          <a:extLst>
                            <a:ext uri="{FF2B5EF4-FFF2-40B4-BE49-F238E27FC236}">
                              <a16:creationId xmlns:a16="http://schemas.microsoft.com/office/drawing/2014/main" id="{C71CB6D2-F664-402E-9A23-8E043C87299E}"/>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056" name="Freeform 12">
                        <a:extLst>
                          <a:ext uri="{FF2B5EF4-FFF2-40B4-BE49-F238E27FC236}">
                            <a16:creationId xmlns:a16="http://schemas.microsoft.com/office/drawing/2014/main" id="{71AF4565-F1DB-4FAA-ACBD-3BE44EDF480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7" name="Line 13">
                        <a:extLst>
                          <a:ext uri="{FF2B5EF4-FFF2-40B4-BE49-F238E27FC236}">
                            <a16:creationId xmlns:a16="http://schemas.microsoft.com/office/drawing/2014/main" id="{FCB036DD-2C22-45DF-89C6-21107DB7F46B}"/>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8" name="Freeform 14">
                        <a:extLst>
                          <a:ext uri="{FF2B5EF4-FFF2-40B4-BE49-F238E27FC236}">
                            <a16:creationId xmlns:a16="http://schemas.microsoft.com/office/drawing/2014/main" id="{ED66D134-CDCF-48B3-BA53-AABFBE5C14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59" name="Line 15">
                        <a:extLst>
                          <a:ext uri="{FF2B5EF4-FFF2-40B4-BE49-F238E27FC236}">
                            <a16:creationId xmlns:a16="http://schemas.microsoft.com/office/drawing/2014/main" id="{954244E4-308D-4F88-9DCF-7194D2801C8A}"/>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0" name="Freeform 16">
                        <a:extLst>
                          <a:ext uri="{FF2B5EF4-FFF2-40B4-BE49-F238E27FC236}">
                            <a16:creationId xmlns:a16="http://schemas.microsoft.com/office/drawing/2014/main" id="{3F85E511-5E10-48E6-9EBC-83EB630E9B44}"/>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1" name="Line 17">
                        <a:extLst>
                          <a:ext uri="{FF2B5EF4-FFF2-40B4-BE49-F238E27FC236}">
                            <a16:creationId xmlns:a16="http://schemas.microsoft.com/office/drawing/2014/main" id="{6B909ABD-1595-4AD4-BC0B-DEC69383D0BC}"/>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2" name="Freeform 18">
                        <a:extLst>
                          <a:ext uri="{FF2B5EF4-FFF2-40B4-BE49-F238E27FC236}">
                            <a16:creationId xmlns:a16="http://schemas.microsoft.com/office/drawing/2014/main" id="{BDCEB189-E1A3-4F61-BE87-F10D87B2710A}"/>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3" name="Line 19">
                        <a:extLst>
                          <a:ext uri="{FF2B5EF4-FFF2-40B4-BE49-F238E27FC236}">
                            <a16:creationId xmlns:a16="http://schemas.microsoft.com/office/drawing/2014/main" id="{A5801A50-A158-4B52-9E77-FF89C2D442E6}"/>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4" name="Freeform 35">
                        <a:extLst>
                          <a:ext uri="{FF2B5EF4-FFF2-40B4-BE49-F238E27FC236}">
                            <a16:creationId xmlns:a16="http://schemas.microsoft.com/office/drawing/2014/main" id="{A2A5B366-8854-45C4-8BEC-9E9F76CBAEFA}"/>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5" name="Freeform 36">
                        <a:extLst>
                          <a:ext uri="{FF2B5EF4-FFF2-40B4-BE49-F238E27FC236}">
                            <a16:creationId xmlns:a16="http://schemas.microsoft.com/office/drawing/2014/main" id="{A9959492-14F1-4A2E-AE94-E9959B0345D4}"/>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6" name="Freeform 37">
                        <a:extLst>
                          <a:ext uri="{FF2B5EF4-FFF2-40B4-BE49-F238E27FC236}">
                            <a16:creationId xmlns:a16="http://schemas.microsoft.com/office/drawing/2014/main" id="{5ED0F6C4-9257-4A26-82FD-6DA64DCDF93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67" name="Freeform 38">
                        <a:extLst>
                          <a:ext uri="{FF2B5EF4-FFF2-40B4-BE49-F238E27FC236}">
                            <a16:creationId xmlns:a16="http://schemas.microsoft.com/office/drawing/2014/main" id="{E6D4C4DE-85DA-4348-BAF1-FBDF5CB75BA7}"/>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8" name="Freeform 39">
                        <a:extLst>
                          <a:ext uri="{FF2B5EF4-FFF2-40B4-BE49-F238E27FC236}">
                            <a16:creationId xmlns:a16="http://schemas.microsoft.com/office/drawing/2014/main" id="{A53B7A6D-CB31-4EE8-9E58-AC8FFE6CA5C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69" name="Freeform 40">
                        <a:extLst>
                          <a:ext uri="{FF2B5EF4-FFF2-40B4-BE49-F238E27FC236}">
                            <a16:creationId xmlns:a16="http://schemas.microsoft.com/office/drawing/2014/main" id="{090B3AC6-1F4F-43CF-9E4E-C4AB75FB265D}"/>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0" name="Freeform 41">
                        <a:extLst>
                          <a:ext uri="{FF2B5EF4-FFF2-40B4-BE49-F238E27FC236}">
                            <a16:creationId xmlns:a16="http://schemas.microsoft.com/office/drawing/2014/main" id="{D01F9AD9-90A1-4084-857D-6A0CE0A59B96}"/>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1" name="Line 42">
                        <a:extLst>
                          <a:ext uri="{FF2B5EF4-FFF2-40B4-BE49-F238E27FC236}">
                            <a16:creationId xmlns:a16="http://schemas.microsoft.com/office/drawing/2014/main" id="{1B200E90-00C5-4D47-8EDC-739CE998E996}"/>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2" name="Freeform 43">
                        <a:extLst>
                          <a:ext uri="{FF2B5EF4-FFF2-40B4-BE49-F238E27FC236}">
                            <a16:creationId xmlns:a16="http://schemas.microsoft.com/office/drawing/2014/main" id="{57AC4181-E6DE-496C-8CC6-59006C184E45}"/>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3" name="Freeform 44">
                        <a:extLst>
                          <a:ext uri="{FF2B5EF4-FFF2-40B4-BE49-F238E27FC236}">
                            <a16:creationId xmlns:a16="http://schemas.microsoft.com/office/drawing/2014/main" id="{79C99E03-D11E-40AF-96F5-7947612FECB9}"/>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74" name="Freeform 45">
                        <a:extLst>
                          <a:ext uri="{FF2B5EF4-FFF2-40B4-BE49-F238E27FC236}">
                            <a16:creationId xmlns:a16="http://schemas.microsoft.com/office/drawing/2014/main" id="{5317F08E-B27F-4FEC-BF2A-B6314519682E}"/>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075" name="Group 2074">
                        <a:extLst>
                          <a:ext uri="{FF2B5EF4-FFF2-40B4-BE49-F238E27FC236}">
                            <a16:creationId xmlns:a16="http://schemas.microsoft.com/office/drawing/2014/main" id="{B2BECC28-D7C9-486B-B602-A81655E18478}"/>
                          </a:ext>
                        </a:extLst>
                      </p:cNvPr>
                      <p:cNvGrpSpPr/>
                      <p:nvPr/>
                    </p:nvGrpSpPr>
                    <p:grpSpPr>
                      <a:xfrm flipV="1">
                        <a:off x="1202047" y="3517919"/>
                        <a:ext cx="178734" cy="348678"/>
                        <a:chOff x="1207113" y="2241878"/>
                        <a:chExt cx="178734" cy="348678"/>
                      </a:xfrm>
                    </p:grpSpPr>
                    <p:sp>
                      <p:nvSpPr>
                        <p:cNvPr id="2076" name="Freeform 10">
                          <a:extLst>
                            <a:ext uri="{FF2B5EF4-FFF2-40B4-BE49-F238E27FC236}">
                              <a16:creationId xmlns:a16="http://schemas.microsoft.com/office/drawing/2014/main" id="{E98405F1-35EE-4CF6-B642-4093736BC42E}"/>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77" name="Line 11">
                          <a:extLst>
                            <a:ext uri="{FF2B5EF4-FFF2-40B4-BE49-F238E27FC236}">
                              <a16:creationId xmlns:a16="http://schemas.microsoft.com/office/drawing/2014/main" id="{368D9ED1-B092-4360-B4B0-D9D564B307E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025" name="Group 2024">
                    <a:extLst>
                      <a:ext uri="{FF2B5EF4-FFF2-40B4-BE49-F238E27FC236}">
                        <a16:creationId xmlns:a16="http://schemas.microsoft.com/office/drawing/2014/main" id="{B037B739-0AC6-483D-9CD6-C23CB322CDCF}"/>
                      </a:ext>
                    </a:extLst>
                  </p:cNvPr>
                  <p:cNvGrpSpPr>
                    <a:grpSpLocks/>
                  </p:cNvGrpSpPr>
                  <p:nvPr/>
                </p:nvGrpSpPr>
                <p:grpSpPr>
                  <a:xfrm>
                    <a:off x="11709639" y="2297897"/>
                    <a:ext cx="690952" cy="690956"/>
                    <a:chOff x="2268747" y="4723725"/>
                    <a:chExt cx="415610" cy="415612"/>
                  </a:xfrm>
                </p:grpSpPr>
                <p:grpSp>
                  <p:nvGrpSpPr>
                    <p:cNvPr id="2026" name="Group 64">
                      <a:extLst>
                        <a:ext uri="{FF2B5EF4-FFF2-40B4-BE49-F238E27FC236}">
                          <a16:creationId xmlns:a16="http://schemas.microsoft.com/office/drawing/2014/main" id="{08D7E938-A413-4450-A19B-6A75A5009960}"/>
                        </a:ext>
                      </a:extLst>
                    </p:cNvPr>
                    <p:cNvGrpSpPr>
                      <a:grpSpLocks noChangeAspect="1"/>
                    </p:cNvGrpSpPr>
                    <p:nvPr/>
                  </p:nvGrpSpPr>
                  <p:grpSpPr bwMode="auto">
                    <a:xfrm rot="8100000">
                      <a:off x="2268747" y="4723725"/>
                      <a:ext cx="415610" cy="415612"/>
                      <a:chOff x="701" y="2170"/>
                      <a:chExt cx="587" cy="587"/>
                    </a:xfrm>
                  </p:grpSpPr>
                  <p:sp>
                    <p:nvSpPr>
                      <p:cNvPr id="2041" name="Oval 65">
                        <a:extLst>
                          <a:ext uri="{FF2B5EF4-FFF2-40B4-BE49-F238E27FC236}">
                            <a16:creationId xmlns:a16="http://schemas.microsoft.com/office/drawing/2014/main" id="{C0044DE8-339A-40BF-8511-55ED3339CF1C}"/>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42" name="Line 66">
                        <a:extLst>
                          <a:ext uri="{FF2B5EF4-FFF2-40B4-BE49-F238E27FC236}">
                            <a16:creationId xmlns:a16="http://schemas.microsoft.com/office/drawing/2014/main" id="{E104734A-91B5-4854-B5E4-46A8B4BE5A5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3" name="Line 67">
                        <a:extLst>
                          <a:ext uri="{FF2B5EF4-FFF2-40B4-BE49-F238E27FC236}">
                            <a16:creationId xmlns:a16="http://schemas.microsoft.com/office/drawing/2014/main" id="{F8A00DAE-6A81-4FD7-8577-2A690D709D81}"/>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4" name="Line 69">
                        <a:extLst>
                          <a:ext uri="{FF2B5EF4-FFF2-40B4-BE49-F238E27FC236}">
                            <a16:creationId xmlns:a16="http://schemas.microsoft.com/office/drawing/2014/main" id="{E959F45C-F50B-48A5-ACAD-A8FD159609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5" name="Line 74">
                        <a:extLst>
                          <a:ext uri="{FF2B5EF4-FFF2-40B4-BE49-F238E27FC236}">
                            <a16:creationId xmlns:a16="http://schemas.microsoft.com/office/drawing/2014/main" id="{F7A415D4-892E-415D-B52D-4C31737AE6E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6" name="Freeform 78">
                        <a:extLst>
                          <a:ext uri="{FF2B5EF4-FFF2-40B4-BE49-F238E27FC236}">
                            <a16:creationId xmlns:a16="http://schemas.microsoft.com/office/drawing/2014/main" id="{24F79AE3-20DF-4F7B-84B6-6B1B62693B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7" name="Freeform 80">
                        <a:extLst>
                          <a:ext uri="{FF2B5EF4-FFF2-40B4-BE49-F238E27FC236}">
                            <a16:creationId xmlns:a16="http://schemas.microsoft.com/office/drawing/2014/main" id="{DC56F3FF-10DF-4FFC-9360-29442B3474B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027" name="Group 2026">
                      <a:extLst>
                        <a:ext uri="{FF2B5EF4-FFF2-40B4-BE49-F238E27FC236}">
                          <a16:creationId xmlns:a16="http://schemas.microsoft.com/office/drawing/2014/main" id="{0E2DCCB4-C702-40DD-A4A1-69BC491A0C03}"/>
                        </a:ext>
                      </a:extLst>
                    </p:cNvPr>
                    <p:cNvGrpSpPr/>
                    <p:nvPr/>
                  </p:nvGrpSpPr>
                  <p:grpSpPr>
                    <a:xfrm>
                      <a:off x="2318076" y="4830163"/>
                      <a:ext cx="313949" cy="233075"/>
                      <a:chOff x="3707533" y="2731244"/>
                      <a:chExt cx="389644" cy="289271"/>
                    </a:xfrm>
                  </p:grpSpPr>
                  <p:sp>
                    <p:nvSpPr>
                      <p:cNvPr id="2028" name="Freeform 33">
                        <a:extLst>
                          <a:ext uri="{FF2B5EF4-FFF2-40B4-BE49-F238E27FC236}">
                            <a16:creationId xmlns:a16="http://schemas.microsoft.com/office/drawing/2014/main" id="{E8B2C79B-4AF1-4A44-A176-891EBCF127A3}"/>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29" name="Freeform 34">
                        <a:extLst>
                          <a:ext uri="{FF2B5EF4-FFF2-40B4-BE49-F238E27FC236}">
                            <a16:creationId xmlns:a16="http://schemas.microsoft.com/office/drawing/2014/main" id="{2B2340E6-B3CE-41D4-93E8-10F66EC1C005}"/>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0" name="Freeform 37">
                        <a:extLst>
                          <a:ext uri="{FF2B5EF4-FFF2-40B4-BE49-F238E27FC236}">
                            <a16:creationId xmlns:a16="http://schemas.microsoft.com/office/drawing/2014/main" id="{70FD9DBD-3EEE-4081-A7C5-623B318DEB6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1" name="Freeform 38">
                        <a:extLst>
                          <a:ext uri="{FF2B5EF4-FFF2-40B4-BE49-F238E27FC236}">
                            <a16:creationId xmlns:a16="http://schemas.microsoft.com/office/drawing/2014/main" id="{6B638651-29FF-47DA-A9EE-190AE460256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2" name="Freeform 32">
                        <a:extLst>
                          <a:ext uri="{FF2B5EF4-FFF2-40B4-BE49-F238E27FC236}">
                            <a16:creationId xmlns:a16="http://schemas.microsoft.com/office/drawing/2014/main" id="{52509299-95E6-477F-B2CE-5C495EFB222F}"/>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3" name="Freeform 35">
                        <a:extLst>
                          <a:ext uri="{FF2B5EF4-FFF2-40B4-BE49-F238E27FC236}">
                            <a16:creationId xmlns:a16="http://schemas.microsoft.com/office/drawing/2014/main" id="{9D4A156B-550E-40AC-9F3C-1A59E40AD25B}"/>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4" name="Freeform 36">
                        <a:extLst>
                          <a:ext uri="{FF2B5EF4-FFF2-40B4-BE49-F238E27FC236}">
                            <a16:creationId xmlns:a16="http://schemas.microsoft.com/office/drawing/2014/main" id="{0784B5FD-53DC-459C-9501-0DF1AD18B886}"/>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5" name="Freeform 25">
                        <a:extLst>
                          <a:ext uri="{FF2B5EF4-FFF2-40B4-BE49-F238E27FC236}">
                            <a16:creationId xmlns:a16="http://schemas.microsoft.com/office/drawing/2014/main" id="{063F9560-0D59-42B4-936E-55347638420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6" name="Freeform 39">
                        <a:extLst>
                          <a:ext uri="{FF2B5EF4-FFF2-40B4-BE49-F238E27FC236}">
                            <a16:creationId xmlns:a16="http://schemas.microsoft.com/office/drawing/2014/main" id="{6B294804-F521-46BA-87D4-E7C218050903}"/>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7" name="Freeform 26">
                        <a:extLst>
                          <a:ext uri="{FF2B5EF4-FFF2-40B4-BE49-F238E27FC236}">
                            <a16:creationId xmlns:a16="http://schemas.microsoft.com/office/drawing/2014/main" id="{4716EE93-6A1A-44B5-9DA4-72D5176B1770}"/>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8" name="Rectangle 27">
                        <a:extLst>
                          <a:ext uri="{FF2B5EF4-FFF2-40B4-BE49-F238E27FC236}">
                            <a16:creationId xmlns:a16="http://schemas.microsoft.com/office/drawing/2014/main" id="{4E146FFA-8A46-4665-AF88-43ADE3D3650D}"/>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039" name="Line 29">
                        <a:extLst>
                          <a:ext uri="{FF2B5EF4-FFF2-40B4-BE49-F238E27FC236}">
                            <a16:creationId xmlns:a16="http://schemas.microsoft.com/office/drawing/2014/main" id="{ECD43F80-7F01-4A04-AF12-F87ADD6E9346}"/>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040" name="Line 31">
                        <a:extLst>
                          <a:ext uri="{FF2B5EF4-FFF2-40B4-BE49-F238E27FC236}">
                            <a16:creationId xmlns:a16="http://schemas.microsoft.com/office/drawing/2014/main" id="{494C1B5D-1A30-411F-B0DF-EFA8E546997F}"/>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grpSp>
            <p:nvGrpSpPr>
              <p:cNvPr id="2423" name="Group 2422">
                <a:extLst>
                  <a:ext uri="{FF2B5EF4-FFF2-40B4-BE49-F238E27FC236}">
                    <a16:creationId xmlns:a16="http://schemas.microsoft.com/office/drawing/2014/main" id="{0861F88F-F86B-4256-871A-619833B675D8}"/>
                  </a:ext>
                </a:extLst>
              </p:cNvPr>
              <p:cNvGrpSpPr/>
              <p:nvPr/>
            </p:nvGrpSpPr>
            <p:grpSpPr>
              <a:xfrm>
                <a:off x="3584215" y="5655005"/>
                <a:ext cx="1001118" cy="830281"/>
                <a:chOff x="3592922" y="5629153"/>
                <a:chExt cx="1003674" cy="832401"/>
              </a:xfrm>
            </p:grpSpPr>
            <p:pic>
              <p:nvPicPr>
                <p:cNvPr id="2424" name="Picture 1">
                  <a:extLst>
                    <a:ext uri="{FF2B5EF4-FFF2-40B4-BE49-F238E27FC236}">
                      <a16:creationId xmlns:a16="http://schemas.microsoft.com/office/drawing/2014/main" id="{2F855582-806F-4F4C-9E3E-ACC2A6B1559B}"/>
                    </a:ext>
                  </a:extLst>
                </p:cNvPr>
                <p:cNvPicPr>
                  <a:picLocks noChangeArrowheads="1"/>
                </p:cNvPicPr>
                <p:nvPr/>
              </p:nvPicPr>
              <p:blipFill>
                <a:blip r:embed="rId5"/>
                <a:stretch>
                  <a:fillRect/>
                </a:stretch>
              </p:blipFill>
              <p:spPr bwMode="auto">
                <a:xfrm>
                  <a:off x="3592922" y="5775984"/>
                  <a:ext cx="1003674" cy="6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5" name="Rectangle 2424">
                  <a:extLst>
                    <a:ext uri="{FF2B5EF4-FFF2-40B4-BE49-F238E27FC236}">
                      <a16:creationId xmlns:a16="http://schemas.microsoft.com/office/drawing/2014/main" id="{46CEBEB8-20DE-4256-87A0-C6931B3E059E}"/>
                    </a:ext>
                  </a:extLst>
                </p:cNvPr>
                <p:cNvSpPr>
                  <a:spLocks/>
                </p:cNvSpPr>
                <p:nvPr/>
              </p:nvSpPr>
              <p:spPr bwMode="gray">
                <a:xfrm>
                  <a:off x="3592922" y="5629153"/>
                  <a:ext cx="1003674" cy="148449"/>
                </a:xfrm>
                <a:prstGeom prst="rect">
                  <a:avLst/>
                </a:prstGeom>
                <a:solidFill>
                  <a:schemeClr val="accent3"/>
                </a:solidFill>
                <a:ln w="19050" algn="ctr">
                  <a:noFill/>
                  <a:miter lim="800000"/>
                  <a:headEnd/>
                  <a:tailEnd/>
                </a:ln>
              </p:spPr>
              <p:txBody>
                <a:bodyPr wrap="square" lIns="37778" tIns="37778" rIns="37778" bIns="37778" rtlCol="0" anchor="ctr"/>
                <a:lstStyle/>
                <a:p>
                  <a:pPr algn="ctr" defTabSz="828903">
                    <a:lnSpc>
                      <a:spcPct val="106000"/>
                    </a:lnSpc>
                    <a:defRPr/>
                  </a:pPr>
                  <a:r>
                    <a:rPr lang="en-US" sz="579" b="1" dirty="0">
                      <a:solidFill>
                        <a:prstClr val="white"/>
                      </a:solidFill>
                      <a:latin typeface="Verdana"/>
                    </a:rPr>
                    <a:t>Burn Down Chart</a:t>
                  </a:r>
                </a:p>
              </p:txBody>
            </p:sp>
          </p:grpSp>
        </p:grpSp>
        <p:grpSp>
          <p:nvGrpSpPr>
            <p:cNvPr id="2802" name="Group 2801">
              <a:extLst>
                <a:ext uri="{FF2B5EF4-FFF2-40B4-BE49-F238E27FC236}">
                  <a16:creationId xmlns:a16="http://schemas.microsoft.com/office/drawing/2014/main" id="{B42686BC-04B1-4420-A0D9-BB8E0B6F4E1B}"/>
                </a:ext>
              </a:extLst>
            </p:cNvPr>
            <p:cNvGrpSpPr/>
            <p:nvPr/>
          </p:nvGrpSpPr>
          <p:grpSpPr>
            <a:xfrm>
              <a:off x="4527697" y="3616012"/>
              <a:ext cx="3535922" cy="312851"/>
              <a:chOff x="4538813" y="3457139"/>
              <a:chExt cx="3544948" cy="313650"/>
            </a:xfrm>
          </p:grpSpPr>
          <p:grpSp>
            <p:nvGrpSpPr>
              <p:cNvPr id="2803" name="Group 2802">
                <a:extLst>
                  <a:ext uri="{FF2B5EF4-FFF2-40B4-BE49-F238E27FC236}">
                    <a16:creationId xmlns:a16="http://schemas.microsoft.com/office/drawing/2014/main" id="{042C71BF-029D-49A1-8571-D8CA13FE0977}"/>
                  </a:ext>
                </a:extLst>
              </p:cNvPr>
              <p:cNvGrpSpPr/>
              <p:nvPr/>
            </p:nvGrpSpPr>
            <p:grpSpPr>
              <a:xfrm>
                <a:off x="4538813" y="3463012"/>
                <a:ext cx="3544948" cy="307777"/>
                <a:chOff x="4538813" y="3463012"/>
                <a:chExt cx="3544948" cy="307777"/>
              </a:xfrm>
            </p:grpSpPr>
            <p:sp>
              <p:nvSpPr>
                <p:cNvPr id="2805" name="Rectangle 2804">
                  <a:extLst>
                    <a:ext uri="{FF2B5EF4-FFF2-40B4-BE49-F238E27FC236}">
                      <a16:creationId xmlns:a16="http://schemas.microsoft.com/office/drawing/2014/main" id="{75C3E363-1F35-489E-BA74-0A779425B25C}"/>
                    </a:ext>
                  </a:extLst>
                </p:cNvPr>
                <p:cNvSpPr/>
                <p:nvPr/>
              </p:nvSpPr>
              <p:spPr>
                <a:xfrm>
                  <a:off x="4538813"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6" name="Rectangle 2805">
                  <a:extLst>
                    <a:ext uri="{FF2B5EF4-FFF2-40B4-BE49-F238E27FC236}">
                      <a16:creationId xmlns:a16="http://schemas.microsoft.com/office/drawing/2014/main" id="{BD535703-7C60-48C0-A6F3-77B1BC346C9F}"/>
                    </a:ext>
                  </a:extLst>
                </p:cNvPr>
                <p:cNvSpPr/>
                <p:nvPr/>
              </p:nvSpPr>
              <p:spPr>
                <a:xfrm>
                  <a:off x="4944625"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7" name="Rectangle 2806">
                  <a:extLst>
                    <a:ext uri="{FF2B5EF4-FFF2-40B4-BE49-F238E27FC236}">
                      <a16:creationId xmlns:a16="http://schemas.microsoft.com/office/drawing/2014/main" id="{47F71A10-A782-443A-8CBD-936E26C964D4}"/>
                    </a:ext>
                  </a:extLst>
                </p:cNvPr>
                <p:cNvSpPr/>
                <p:nvPr/>
              </p:nvSpPr>
              <p:spPr>
                <a:xfrm>
                  <a:off x="540169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8" name="Rectangle 2807">
                  <a:extLst>
                    <a:ext uri="{FF2B5EF4-FFF2-40B4-BE49-F238E27FC236}">
                      <a16:creationId xmlns:a16="http://schemas.microsoft.com/office/drawing/2014/main" id="{08AC8244-6710-4675-8737-487150EB8633}"/>
                    </a:ext>
                  </a:extLst>
                </p:cNvPr>
                <p:cNvSpPr/>
                <p:nvPr/>
              </p:nvSpPr>
              <p:spPr>
                <a:xfrm>
                  <a:off x="621424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09" name="Rectangle 2808">
                  <a:extLst>
                    <a:ext uri="{FF2B5EF4-FFF2-40B4-BE49-F238E27FC236}">
                      <a16:creationId xmlns:a16="http://schemas.microsoft.com/office/drawing/2014/main" id="{09A7514C-CF6A-4EB5-97F3-2B004132D70A}"/>
                    </a:ext>
                  </a:extLst>
                </p:cNvPr>
                <p:cNvSpPr/>
                <p:nvPr/>
              </p:nvSpPr>
              <p:spPr>
                <a:xfrm>
                  <a:off x="663153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0" name="Rectangle 2809">
                  <a:extLst>
                    <a:ext uri="{FF2B5EF4-FFF2-40B4-BE49-F238E27FC236}">
                      <a16:creationId xmlns:a16="http://schemas.microsoft.com/office/drawing/2014/main" id="{D4BE4497-2EE1-4340-9A22-F07D1EEA1094}"/>
                    </a:ext>
                  </a:extLst>
                </p:cNvPr>
                <p:cNvSpPr/>
                <p:nvPr/>
              </p:nvSpPr>
              <p:spPr>
                <a:xfrm>
                  <a:off x="7056821"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sp>
              <p:nvSpPr>
                <p:cNvPr id="2811" name="Rectangle 2810">
                  <a:extLst>
                    <a:ext uri="{FF2B5EF4-FFF2-40B4-BE49-F238E27FC236}">
                      <a16:creationId xmlns:a16="http://schemas.microsoft.com/office/drawing/2014/main" id="{AC1A6B11-647E-4E78-9141-5AB1BDC7AC86}"/>
                    </a:ext>
                  </a:extLst>
                </p:cNvPr>
                <p:cNvSpPr/>
                <p:nvPr/>
              </p:nvSpPr>
              <p:spPr>
                <a:xfrm>
                  <a:off x="7482936" y="3463012"/>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sp>
            <p:nvSpPr>
              <p:cNvPr id="2804" name="Rectangle 2803">
                <a:extLst>
                  <a:ext uri="{FF2B5EF4-FFF2-40B4-BE49-F238E27FC236}">
                    <a16:creationId xmlns:a16="http://schemas.microsoft.com/office/drawing/2014/main" id="{84BE1BCD-92F1-4234-892B-3E3E3EB97326}"/>
                  </a:ext>
                </a:extLst>
              </p:cNvPr>
              <p:cNvSpPr/>
              <p:nvPr/>
            </p:nvSpPr>
            <p:spPr>
              <a:xfrm>
                <a:off x="5811341" y="3457139"/>
                <a:ext cx="600825" cy="307777"/>
              </a:xfrm>
              <a:prstGeom prst="rect">
                <a:avLst/>
              </a:prstGeom>
            </p:spPr>
            <p:txBody>
              <a:bodyPr wrap="square">
                <a:spAutoFit/>
              </a:bodyPr>
              <a:lstStyle/>
              <a:p>
                <a:pPr algn="ctr" defTabSz="911818">
                  <a:defRPr/>
                </a:pPr>
                <a:r>
                  <a:rPr lang="en-US" sz="698" dirty="0">
                    <a:solidFill>
                      <a:schemeClr val="bg1"/>
                    </a:solidFill>
                  </a:rPr>
                  <a:t>Daily Standup</a:t>
                </a:r>
              </a:p>
            </p:txBody>
          </p:sp>
        </p:grpSp>
      </p:grpSp>
      <p:grpSp>
        <p:nvGrpSpPr>
          <p:cNvPr id="3" name="Group 2">
            <a:extLst>
              <a:ext uri="{FF2B5EF4-FFF2-40B4-BE49-F238E27FC236}">
                <a16:creationId xmlns:a16="http://schemas.microsoft.com/office/drawing/2014/main" id="{F68ED92F-55F2-4796-B592-F951746241DD}"/>
              </a:ext>
            </a:extLst>
          </p:cNvPr>
          <p:cNvGrpSpPr/>
          <p:nvPr/>
        </p:nvGrpSpPr>
        <p:grpSpPr>
          <a:xfrm>
            <a:off x="1944832" y="1841990"/>
            <a:ext cx="1530261" cy="1365012"/>
            <a:chOff x="1943749" y="1841576"/>
            <a:chExt cx="1530660" cy="1365368"/>
          </a:xfrm>
        </p:grpSpPr>
        <p:grpSp>
          <p:nvGrpSpPr>
            <p:cNvPr id="2" name="Group 1">
              <a:extLst>
                <a:ext uri="{FF2B5EF4-FFF2-40B4-BE49-F238E27FC236}">
                  <a16:creationId xmlns:a16="http://schemas.microsoft.com/office/drawing/2014/main" id="{810E02F5-E91A-4A84-B614-26F7833E4F9E}"/>
                </a:ext>
              </a:extLst>
            </p:cNvPr>
            <p:cNvGrpSpPr/>
            <p:nvPr/>
          </p:nvGrpSpPr>
          <p:grpSpPr>
            <a:xfrm>
              <a:off x="1943749" y="2407608"/>
              <a:ext cx="1530660" cy="799336"/>
              <a:chOff x="1943749" y="2407608"/>
              <a:chExt cx="1530660" cy="799336"/>
            </a:xfrm>
          </p:grpSpPr>
          <p:cxnSp>
            <p:nvCxnSpPr>
              <p:cNvPr id="2812" name="Elbow Connector 558">
                <a:extLst>
                  <a:ext uri="{FF2B5EF4-FFF2-40B4-BE49-F238E27FC236}">
                    <a16:creationId xmlns:a16="http://schemas.microsoft.com/office/drawing/2014/main" id="{1935F575-87DC-442A-9CCD-6F852C78EB34}"/>
                  </a:ext>
                </a:extLst>
              </p:cNvPr>
              <p:cNvCxnSpPr>
                <a:cxnSpLocks/>
                <a:endCxn id="2814" idx="1"/>
              </p:cNvCxnSpPr>
              <p:nvPr/>
            </p:nvCxnSpPr>
            <p:spPr>
              <a:xfrm rot="5400000" flipH="1" flipV="1">
                <a:off x="1875990" y="2849434"/>
                <a:ext cx="425269" cy="289752"/>
              </a:xfrm>
              <a:prstGeom prst="bentConnector2">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2813" name="Elbow Connector 558">
                <a:extLst>
                  <a:ext uri="{FF2B5EF4-FFF2-40B4-BE49-F238E27FC236}">
                    <a16:creationId xmlns:a16="http://schemas.microsoft.com/office/drawing/2014/main" id="{37DBABF8-A9A5-45DD-953F-1B5BE29639BD}"/>
                  </a:ext>
                </a:extLst>
              </p:cNvPr>
              <p:cNvCxnSpPr>
                <a:cxnSpLocks/>
                <a:stCxn id="2814" idx="3"/>
                <a:endCxn id="2105" idx="1"/>
              </p:cNvCxnSpPr>
              <p:nvPr/>
            </p:nvCxnSpPr>
            <p:spPr>
              <a:xfrm flipV="1">
                <a:off x="2543277" y="2407608"/>
                <a:ext cx="931132" cy="374067"/>
              </a:xfrm>
              <a:prstGeom prst="bentConnector3">
                <a:avLst>
                  <a:gd name="adj1" fmla="val 50000"/>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pic>
            <p:nvPicPr>
              <p:cNvPr id="2814" name="Picture 2813">
                <a:extLst>
                  <a:ext uri="{FF2B5EF4-FFF2-40B4-BE49-F238E27FC236}">
                    <a16:creationId xmlns:a16="http://schemas.microsoft.com/office/drawing/2014/main" id="{B4B3FA98-B76F-474E-9F2A-47EBAD2A5D2E}"/>
                  </a:ext>
                </a:extLst>
              </p:cNvPr>
              <p:cNvPicPr>
                <a:picLocks noChangeAspect="1"/>
              </p:cNvPicPr>
              <p:nvPr/>
            </p:nvPicPr>
            <p:blipFill>
              <a:blip r:embed="rId6"/>
              <a:stretch>
                <a:fillRect/>
              </a:stretch>
            </p:blipFill>
            <p:spPr>
              <a:xfrm>
                <a:off x="2233500" y="2496539"/>
                <a:ext cx="309777" cy="570271"/>
              </a:xfrm>
              <a:prstGeom prst="rect">
                <a:avLst/>
              </a:prstGeom>
            </p:spPr>
          </p:pic>
        </p:grpSp>
        <p:pic>
          <p:nvPicPr>
            <p:cNvPr id="2815" name="Picture 2814">
              <a:extLst>
                <a:ext uri="{FF2B5EF4-FFF2-40B4-BE49-F238E27FC236}">
                  <a16:creationId xmlns:a16="http://schemas.microsoft.com/office/drawing/2014/main" id="{4A96C1DF-0971-4663-9F6A-90244601521F}"/>
                </a:ext>
              </a:extLst>
            </p:cNvPr>
            <p:cNvPicPr>
              <a:picLocks noChangeAspect="1"/>
            </p:cNvPicPr>
            <p:nvPr/>
          </p:nvPicPr>
          <p:blipFill>
            <a:blip r:embed="rId7"/>
            <a:stretch>
              <a:fillRect/>
            </a:stretch>
          </p:blipFill>
          <p:spPr>
            <a:xfrm>
              <a:off x="2231599" y="1841576"/>
              <a:ext cx="302738" cy="580832"/>
            </a:xfrm>
            <a:prstGeom prst="rect">
              <a:avLst/>
            </a:prstGeom>
          </p:spPr>
        </p:pic>
      </p:grpSp>
      <p:grpSp>
        <p:nvGrpSpPr>
          <p:cNvPr id="17" name="Group 16">
            <a:extLst>
              <a:ext uri="{FF2B5EF4-FFF2-40B4-BE49-F238E27FC236}">
                <a16:creationId xmlns:a16="http://schemas.microsoft.com/office/drawing/2014/main" id="{33600B55-E1D3-4227-A53F-AD77EF5DC265}"/>
              </a:ext>
            </a:extLst>
          </p:cNvPr>
          <p:cNvGrpSpPr/>
          <p:nvPr/>
        </p:nvGrpSpPr>
        <p:grpSpPr>
          <a:xfrm>
            <a:off x="2967087" y="1754090"/>
            <a:ext cx="6753931" cy="2719939"/>
            <a:chOff x="2966271" y="1753652"/>
            <a:chExt cx="6755690" cy="2720648"/>
          </a:xfrm>
        </p:grpSpPr>
        <p:grpSp>
          <p:nvGrpSpPr>
            <p:cNvPr id="2492" name="Group 2491">
              <a:extLst>
                <a:ext uri="{FF2B5EF4-FFF2-40B4-BE49-F238E27FC236}">
                  <a16:creationId xmlns:a16="http://schemas.microsoft.com/office/drawing/2014/main" id="{C156E434-0C35-4614-A2F1-117C750B774A}"/>
                </a:ext>
              </a:extLst>
            </p:cNvPr>
            <p:cNvGrpSpPr/>
            <p:nvPr/>
          </p:nvGrpSpPr>
          <p:grpSpPr>
            <a:xfrm>
              <a:off x="2966271" y="3623425"/>
              <a:ext cx="5559816" cy="850875"/>
              <a:chOff x="2941193" y="3591455"/>
              <a:chExt cx="5574010" cy="853047"/>
            </a:xfrm>
          </p:grpSpPr>
          <p:grpSp>
            <p:nvGrpSpPr>
              <p:cNvPr id="2493" name="Group 2492">
                <a:extLst>
                  <a:ext uri="{FF2B5EF4-FFF2-40B4-BE49-F238E27FC236}">
                    <a16:creationId xmlns:a16="http://schemas.microsoft.com/office/drawing/2014/main" id="{8864D1B4-31CE-45B9-B68E-E0D72F5AEC42}"/>
                  </a:ext>
                </a:extLst>
              </p:cNvPr>
              <p:cNvGrpSpPr/>
              <p:nvPr/>
            </p:nvGrpSpPr>
            <p:grpSpPr>
              <a:xfrm>
                <a:off x="2941193" y="3710094"/>
                <a:ext cx="5483474" cy="734408"/>
                <a:chOff x="2941193" y="3710094"/>
                <a:chExt cx="5483474" cy="734408"/>
              </a:xfrm>
            </p:grpSpPr>
            <p:cxnSp>
              <p:nvCxnSpPr>
                <p:cNvPr id="2495" name="Elbow Connector 558">
                  <a:extLst>
                    <a:ext uri="{FF2B5EF4-FFF2-40B4-BE49-F238E27FC236}">
                      <a16:creationId xmlns:a16="http://schemas.microsoft.com/office/drawing/2014/main" id="{7A9F4266-D077-44DF-AE7B-293210D40A2B}"/>
                    </a:ext>
                  </a:extLst>
                </p:cNvPr>
                <p:cNvCxnSpPr>
                  <a:cxnSpLocks/>
                </p:cNvCxnSpPr>
                <p:nvPr/>
              </p:nvCxnSpPr>
              <p:spPr>
                <a:xfrm rot="10800000" flipV="1">
                  <a:off x="2941193" y="3710094"/>
                  <a:ext cx="5483474" cy="641714"/>
                </a:xfrm>
                <a:prstGeom prst="bentConnector3">
                  <a:avLst>
                    <a:gd name="adj1" fmla="val -1904"/>
                  </a:avLst>
                </a:prstGeom>
                <a:ln w="25400">
                  <a:solidFill>
                    <a:schemeClr val="tx2">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2496" name="Rectangle 2495">
                  <a:extLst>
                    <a:ext uri="{FF2B5EF4-FFF2-40B4-BE49-F238E27FC236}">
                      <a16:creationId xmlns:a16="http://schemas.microsoft.com/office/drawing/2014/main" id="{9ED04E6C-C783-43AF-B9D7-462D0CC74E93}"/>
                    </a:ext>
                  </a:extLst>
                </p:cNvPr>
                <p:cNvSpPr>
                  <a:spLocks/>
                </p:cNvSpPr>
                <p:nvPr/>
              </p:nvSpPr>
              <p:spPr bwMode="gray">
                <a:xfrm>
                  <a:off x="3895099" y="4224854"/>
                  <a:ext cx="1033261" cy="219648"/>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748" b="1" dirty="0">
                      <a:solidFill>
                        <a:srgbClr val="FFFFFF"/>
                      </a:solidFill>
                      <a:latin typeface="Verdana"/>
                    </a:rPr>
                    <a:t>Feedback Velocity</a:t>
                  </a:r>
                </a:p>
              </p:txBody>
            </p:sp>
          </p:grpSp>
          <p:sp>
            <p:nvSpPr>
              <p:cNvPr id="2494" name="Rectangle 2493">
                <a:extLst>
                  <a:ext uri="{FF2B5EF4-FFF2-40B4-BE49-F238E27FC236}">
                    <a16:creationId xmlns:a16="http://schemas.microsoft.com/office/drawing/2014/main" id="{6D209AB9-0138-4950-9BFB-7D6BE135A81D}"/>
                  </a:ext>
                </a:extLst>
              </p:cNvPr>
              <p:cNvSpPr/>
              <p:nvPr/>
            </p:nvSpPr>
            <p:spPr>
              <a:xfrm>
                <a:off x="7914378" y="3591455"/>
                <a:ext cx="600825" cy="307777"/>
              </a:xfrm>
              <a:prstGeom prst="rect">
                <a:avLst/>
              </a:prstGeom>
            </p:spPr>
            <p:txBody>
              <a:bodyPr wrap="square">
                <a:spAutoFit/>
              </a:bodyPr>
              <a:lstStyle/>
              <a:p>
                <a:pPr algn="ctr"/>
                <a:r>
                  <a:rPr lang="en-US" sz="698" dirty="0">
                    <a:solidFill>
                      <a:schemeClr val="bg1"/>
                    </a:solidFill>
                  </a:rPr>
                  <a:t>Sprint Review</a:t>
                </a:r>
              </a:p>
            </p:txBody>
          </p:sp>
        </p:grpSp>
        <p:grpSp>
          <p:nvGrpSpPr>
            <p:cNvPr id="16" name="Group 15">
              <a:extLst>
                <a:ext uri="{FF2B5EF4-FFF2-40B4-BE49-F238E27FC236}">
                  <a16:creationId xmlns:a16="http://schemas.microsoft.com/office/drawing/2014/main" id="{A333C4F2-11D6-4CD6-A48B-C540504BA326}"/>
                </a:ext>
              </a:extLst>
            </p:cNvPr>
            <p:cNvGrpSpPr/>
            <p:nvPr/>
          </p:nvGrpSpPr>
          <p:grpSpPr>
            <a:xfrm>
              <a:off x="6614264" y="1753652"/>
              <a:ext cx="3107697" cy="1310210"/>
              <a:chOff x="6614264" y="1753652"/>
              <a:chExt cx="3107697" cy="1310210"/>
            </a:xfrm>
          </p:grpSpPr>
          <p:sp>
            <p:nvSpPr>
              <p:cNvPr id="2193" name="Rectangle 2192">
                <a:extLst>
                  <a:ext uri="{FF2B5EF4-FFF2-40B4-BE49-F238E27FC236}">
                    <a16:creationId xmlns:a16="http://schemas.microsoft.com/office/drawing/2014/main" id="{04D16098-D91C-43FE-B655-4F16746A527E}"/>
                  </a:ext>
                </a:extLst>
              </p:cNvPr>
              <p:cNvSpPr>
                <a:spLocks/>
              </p:cNvSpPr>
              <p:nvPr/>
            </p:nvSpPr>
            <p:spPr bwMode="gray">
              <a:xfrm>
                <a:off x="6614264"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Review</a:t>
                </a:r>
              </a:p>
            </p:txBody>
          </p:sp>
          <p:grpSp>
            <p:nvGrpSpPr>
              <p:cNvPr id="2194" name="Group 2193">
                <a:extLst>
                  <a:ext uri="{FF2B5EF4-FFF2-40B4-BE49-F238E27FC236}">
                    <a16:creationId xmlns:a16="http://schemas.microsoft.com/office/drawing/2014/main" id="{0DEF170E-3C53-4FE6-AD1B-1F5AA6C41BA8}"/>
                  </a:ext>
                </a:extLst>
              </p:cNvPr>
              <p:cNvGrpSpPr/>
              <p:nvPr/>
            </p:nvGrpSpPr>
            <p:grpSpPr>
              <a:xfrm>
                <a:off x="6970489" y="2381238"/>
                <a:ext cx="876005" cy="682624"/>
                <a:chOff x="8153924" y="1224949"/>
                <a:chExt cx="927652" cy="722869"/>
              </a:xfrm>
            </p:grpSpPr>
            <p:sp>
              <p:nvSpPr>
                <p:cNvPr id="2195" name="TextBox 2194">
                  <a:extLst>
                    <a:ext uri="{FF2B5EF4-FFF2-40B4-BE49-F238E27FC236}">
                      <a16:creationId xmlns:a16="http://schemas.microsoft.com/office/drawing/2014/main" id="{824EE8B9-F191-41E4-9E22-E40FF6265E49}"/>
                    </a:ext>
                  </a:extLst>
                </p:cNvPr>
                <p:cNvSpPr txBox="1"/>
                <p:nvPr/>
              </p:nvSpPr>
              <p:spPr>
                <a:xfrm>
                  <a:off x="8406098" y="1704056"/>
                  <a:ext cx="434562" cy="243762"/>
                </a:xfrm>
                <a:prstGeom prst="rect">
                  <a:avLst/>
                </a:prstGeom>
                <a:noFill/>
              </p:spPr>
              <p:txBody>
                <a:bodyPr wrap="square" lIns="0" tIns="0" rIns="0" bIns="0" rtlCol="0">
                  <a:spAutoFit/>
                </a:bodyPr>
                <a:lstStyle/>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Product </a:t>
                  </a:r>
                </a:p>
                <a:p>
                  <a:pPr algn="ctr">
                    <a:buSzPct val="100000"/>
                  </a:pPr>
                  <a:r>
                    <a:rPr lang="en-US" sz="748" b="1" dirty="0">
                      <a:solidFill>
                        <a:srgbClr val="00A3E0"/>
                      </a:solidFill>
                      <a:latin typeface="+mj-lt"/>
                      <a:ea typeface="Open Sans" panose="020B0606030504020204" pitchFamily="34" charset="0"/>
                      <a:cs typeface="Open Sans" panose="020B0606030504020204" pitchFamily="34" charset="0"/>
                    </a:rPr>
                    <a:t>Increment</a:t>
                  </a:r>
                </a:p>
              </p:txBody>
            </p:sp>
            <p:grpSp>
              <p:nvGrpSpPr>
                <p:cNvPr id="2196" name="Group 2195">
                  <a:extLst>
                    <a:ext uri="{FF2B5EF4-FFF2-40B4-BE49-F238E27FC236}">
                      <a16:creationId xmlns:a16="http://schemas.microsoft.com/office/drawing/2014/main" id="{97B3AC04-FD4F-464A-BF56-D40A68297AA4}"/>
                    </a:ext>
                  </a:extLst>
                </p:cNvPr>
                <p:cNvGrpSpPr/>
                <p:nvPr/>
              </p:nvGrpSpPr>
              <p:grpSpPr>
                <a:xfrm>
                  <a:off x="8153924" y="1224949"/>
                  <a:ext cx="927652" cy="402840"/>
                  <a:chOff x="8153924" y="1224949"/>
                  <a:chExt cx="927652" cy="402840"/>
                </a:xfrm>
              </p:grpSpPr>
              <p:sp>
                <p:nvSpPr>
                  <p:cNvPr id="2200" name="Freeform 78">
                    <a:extLst>
                      <a:ext uri="{FF2B5EF4-FFF2-40B4-BE49-F238E27FC236}">
                        <a16:creationId xmlns:a16="http://schemas.microsoft.com/office/drawing/2014/main" id="{BEF58473-7D8F-48A0-991C-D8D87A91540C}"/>
                      </a:ext>
                    </a:extLst>
                  </p:cNvPr>
                  <p:cNvSpPr>
                    <a:spLocks/>
                  </p:cNvSpPr>
                  <p:nvPr/>
                </p:nvSpPr>
                <p:spPr bwMode="auto">
                  <a:xfrm rot="8100000">
                    <a:off x="8695367" y="1229085"/>
                    <a:ext cx="386209" cy="386209"/>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1" name="Freeform 80">
                    <a:extLst>
                      <a:ext uri="{FF2B5EF4-FFF2-40B4-BE49-F238E27FC236}">
                        <a16:creationId xmlns:a16="http://schemas.microsoft.com/office/drawing/2014/main" id="{327E6B47-E2EB-49E5-9A55-1DDEE77B94F9}"/>
                      </a:ext>
                    </a:extLst>
                  </p:cNvPr>
                  <p:cNvSpPr>
                    <a:spLocks/>
                  </p:cNvSpPr>
                  <p:nvPr/>
                </p:nvSpPr>
                <p:spPr bwMode="auto">
                  <a:xfrm rot="8100000">
                    <a:off x="8153924" y="1231049"/>
                    <a:ext cx="382281" cy="38228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3" name="Freeform 1576">
                    <a:extLst>
                      <a:ext uri="{FF2B5EF4-FFF2-40B4-BE49-F238E27FC236}">
                        <a16:creationId xmlns:a16="http://schemas.microsoft.com/office/drawing/2014/main" id="{D47E6B54-388A-47E6-A88D-82E39A0A150B}"/>
                      </a:ext>
                    </a:extLst>
                  </p:cNvPr>
                  <p:cNvSpPr>
                    <a:spLocks/>
                  </p:cNvSpPr>
                  <p:nvPr/>
                </p:nvSpPr>
                <p:spPr bwMode="auto">
                  <a:xfrm>
                    <a:off x="8434758" y="1344913"/>
                    <a:ext cx="201961" cy="279910"/>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4" name="Freeform 1577">
                    <a:extLst>
                      <a:ext uri="{FF2B5EF4-FFF2-40B4-BE49-F238E27FC236}">
                        <a16:creationId xmlns:a16="http://schemas.microsoft.com/office/drawing/2014/main" id="{CA03811B-4E2A-49E9-B01C-A03B133B9947}"/>
                      </a:ext>
                    </a:extLst>
                  </p:cNvPr>
                  <p:cNvSpPr>
                    <a:spLocks/>
                  </p:cNvSpPr>
                  <p:nvPr/>
                </p:nvSpPr>
                <p:spPr bwMode="auto">
                  <a:xfrm>
                    <a:off x="8636721" y="1344913"/>
                    <a:ext cx="201961" cy="279910"/>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5" name="Freeform 1578">
                    <a:extLst>
                      <a:ext uri="{FF2B5EF4-FFF2-40B4-BE49-F238E27FC236}">
                        <a16:creationId xmlns:a16="http://schemas.microsoft.com/office/drawing/2014/main" id="{7534C028-D396-4227-AE0D-3F8B78D92E79}"/>
                      </a:ext>
                    </a:extLst>
                  </p:cNvPr>
                  <p:cNvSpPr>
                    <a:spLocks noEditPoints="1"/>
                  </p:cNvSpPr>
                  <p:nvPr/>
                </p:nvSpPr>
                <p:spPr bwMode="auto">
                  <a:xfrm>
                    <a:off x="8628279" y="1341591"/>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6" name="Freeform 1579">
                    <a:extLst>
                      <a:ext uri="{FF2B5EF4-FFF2-40B4-BE49-F238E27FC236}">
                        <a16:creationId xmlns:a16="http://schemas.microsoft.com/office/drawing/2014/main" id="{40686DC3-F18E-482F-99E4-7023BBFC12E4}"/>
                      </a:ext>
                    </a:extLst>
                  </p:cNvPr>
                  <p:cNvSpPr>
                    <a:spLocks/>
                  </p:cNvSpPr>
                  <p:nvPr/>
                </p:nvSpPr>
                <p:spPr bwMode="auto">
                  <a:xfrm>
                    <a:off x="8627252" y="133899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7" name="Freeform 1580">
                    <a:extLst>
                      <a:ext uri="{FF2B5EF4-FFF2-40B4-BE49-F238E27FC236}">
                        <a16:creationId xmlns:a16="http://schemas.microsoft.com/office/drawing/2014/main" id="{931D6EF7-E1B2-4D53-AE4C-E5998F82EC9F}"/>
                      </a:ext>
                    </a:extLst>
                  </p:cNvPr>
                  <p:cNvSpPr>
                    <a:spLocks/>
                  </p:cNvSpPr>
                  <p:nvPr/>
                </p:nvSpPr>
                <p:spPr bwMode="auto">
                  <a:xfrm>
                    <a:off x="8643030" y="1350834"/>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08" name="Freeform 1581">
                    <a:extLst>
                      <a:ext uri="{FF2B5EF4-FFF2-40B4-BE49-F238E27FC236}">
                        <a16:creationId xmlns:a16="http://schemas.microsoft.com/office/drawing/2014/main" id="{E2B3C2B6-ECD7-4CE5-857E-595729D1D7BA}"/>
                      </a:ext>
                    </a:extLst>
                  </p:cNvPr>
                  <p:cNvSpPr>
                    <a:spLocks noEditPoints="1"/>
                  </p:cNvSpPr>
                  <p:nvPr/>
                </p:nvSpPr>
                <p:spPr bwMode="auto">
                  <a:xfrm>
                    <a:off x="8363205" y="1341591"/>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09" name="Freeform 1582">
                    <a:extLst>
                      <a:ext uri="{FF2B5EF4-FFF2-40B4-BE49-F238E27FC236}">
                        <a16:creationId xmlns:a16="http://schemas.microsoft.com/office/drawing/2014/main" id="{8A045F3A-6F6F-4986-A97F-24BD7F224E2B}"/>
                      </a:ext>
                    </a:extLst>
                  </p:cNvPr>
                  <p:cNvSpPr>
                    <a:spLocks/>
                  </p:cNvSpPr>
                  <p:nvPr/>
                </p:nvSpPr>
                <p:spPr bwMode="auto">
                  <a:xfrm>
                    <a:off x="8362175" y="133899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0" name="Freeform 1583">
                    <a:extLst>
                      <a:ext uri="{FF2B5EF4-FFF2-40B4-BE49-F238E27FC236}">
                        <a16:creationId xmlns:a16="http://schemas.microsoft.com/office/drawing/2014/main" id="{057FD777-6EAB-4469-9C3A-6FF4E9FEEA97}"/>
                      </a:ext>
                    </a:extLst>
                  </p:cNvPr>
                  <p:cNvSpPr>
                    <a:spLocks/>
                  </p:cNvSpPr>
                  <p:nvPr/>
                </p:nvSpPr>
                <p:spPr bwMode="auto">
                  <a:xfrm>
                    <a:off x="8377953" y="1350834"/>
                    <a:ext cx="249297"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11" name="Freeform 1584">
                    <a:extLst>
                      <a:ext uri="{FF2B5EF4-FFF2-40B4-BE49-F238E27FC236}">
                        <a16:creationId xmlns:a16="http://schemas.microsoft.com/office/drawing/2014/main" id="{88CF09A3-214A-4DDE-BCF6-0C5C938EFABE}"/>
                      </a:ext>
                    </a:extLst>
                  </p:cNvPr>
                  <p:cNvSpPr>
                    <a:spLocks/>
                  </p:cNvSpPr>
                  <p:nvPr/>
                </p:nvSpPr>
                <p:spPr bwMode="auto">
                  <a:xfrm>
                    <a:off x="8636716" y="122791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2" name="Freeform 1585">
                    <a:extLst>
                      <a:ext uri="{FF2B5EF4-FFF2-40B4-BE49-F238E27FC236}">
                        <a16:creationId xmlns:a16="http://schemas.microsoft.com/office/drawing/2014/main" id="{A9693C23-CAAF-44C8-AA56-29ADD4984252}"/>
                      </a:ext>
                    </a:extLst>
                  </p:cNvPr>
                  <p:cNvSpPr>
                    <a:spLocks/>
                  </p:cNvSpPr>
                  <p:nvPr/>
                </p:nvSpPr>
                <p:spPr bwMode="auto">
                  <a:xfrm>
                    <a:off x="8387422" y="1227916"/>
                    <a:ext cx="249297"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3" name="Freeform 1586">
                    <a:extLst>
                      <a:ext uri="{FF2B5EF4-FFF2-40B4-BE49-F238E27FC236}">
                        <a16:creationId xmlns:a16="http://schemas.microsoft.com/office/drawing/2014/main" id="{FDAAD9FE-FEC4-4690-9F45-517DC82D194A}"/>
                      </a:ext>
                    </a:extLst>
                  </p:cNvPr>
                  <p:cNvSpPr>
                    <a:spLocks/>
                  </p:cNvSpPr>
                  <p:nvPr/>
                </p:nvSpPr>
                <p:spPr bwMode="auto">
                  <a:xfrm>
                    <a:off x="8627251" y="1224949"/>
                    <a:ext cx="258763" cy="125887"/>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4" name="Freeform 1587">
                    <a:extLst>
                      <a:ext uri="{FF2B5EF4-FFF2-40B4-BE49-F238E27FC236}">
                        <a16:creationId xmlns:a16="http://schemas.microsoft.com/office/drawing/2014/main" id="{4318389F-9D63-4534-A104-FB617913DAB0}"/>
                      </a:ext>
                    </a:extLst>
                  </p:cNvPr>
                  <p:cNvSpPr>
                    <a:spLocks/>
                  </p:cNvSpPr>
                  <p:nvPr/>
                </p:nvSpPr>
                <p:spPr bwMode="auto">
                  <a:xfrm>
                    <a:off x="8385847" y="1224951"/>
                    <a:ext cx="257185" cy="125887"/>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5" name="Freeform 1588">
                    <a:extLst>
                      <a:ext uri="{FF2B5EF4-FFF2-40B4-BE49-F238E27FC236}">
                        <a16:creationId xmlns:a16="http://schemas.microsoft.com/office/drawing/2014/main" id="{D016AAB5-CB66-4CBD-9774-2524E682D3C2}"/>
                      </a:ext>
                    </a:extLst>
                  </p:cNvPr>
                  <p:cNvSpPr>
                    <a:spLocks/>
                  </p:cNvSpPr>
                  <p:nvPr/>
                </p:nvSpPr>
                <p:spPr bwMode="auto">
                  <a:xfrm>
                    <a:off x="8428449" y="1344917"/>
                    <a:ext cx="413389" cy="282872"/>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16" name="Rectangle 1589">
                    <a:extLst>
                      <a:ext uri="{FF2B5EF4-FFF2-40B4-BE49-F238E27FC236}">
                        <a16:creationId xmlns:a16="http://schemas.microsoft.com/office/drawing/2014/main" id="{17A56E3F-1447-4D06-9A4D-BB6FD2FAA6CE}"/>
                      </a:ext>
                    </a:extLst>
                  </p:cNvPr>
                  <p:cNvSpPr>
                    <a:spLocks noChangeArrowheads="1"/>
                  </p:cNvSpPr>
                  <p:nvPr/>
                </p:nvSpPr>
                <p:spPr bwMode="auto">
                  <a:xfrm>
                    <a:off x="8630405" y="1411563"/>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7" name="Rectangle 1590">
                    <a:extLst>
                      <a:ext uri="{FF2B5EF4-FFF2-40B4-BE49-F238E27FC236}">
                        <a16:creationId xmlns:a16="http://schemas.microsoft.com/office/drawing/2014/main" id="{D9147DB1-38ED-402D-9211-821A252C5E1C}"/>
                      </a:ext>
                    </a:extLst>
                  </p:cNvPr>
                  <p:cNvSpPr>
                    <a:spLocks noChangeArrowheads="1"/>
                  </p:cNvSpPr>
                  <p:nvPr/>
                </p:nvSpPr>
                <p:spPr bwMode="auto">
                  <a:xfrm>
                    <a:off x="8630407" y="1290042"/>
                    <a:ext cx="11045" cy="11107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8" name="Freeform 1591">
                    <a:extLst>
                      <a:ext uri="{FF2B5EF4-FFF2-40B4-BE49-F238E27FC236}">
                        <a16:creationId xmlns:a16="http://schemas.microsoft.com/office/drawing/2014/main" id="{7DB3C441-9633-4B8F-BB72-F116B61E5E01}"/>
                      </a:ext>
                    </a:extLst>
                  </p:cNvPr>
                  <p:cNvSpPr>
                    <a:spLocks/>
                  </p:cNvSpPr>
                  <p:nvPr/>
                </p:nvSpPr>
                <p:spPr bwMode="auto">
                  <a:xfrm>
                    <a:off x="8658807" y="1575950"/>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19" name="Freeform 1592">
                    <a:extLst>
                      <a:ext uri="{FF2B5EF4-FFF2-40B4-BE49-F238E27FC236}">
                        <a16:creationId xmlns:a16="http://schemas.microsoft.com/office/drawing/2014/main" id="{05BC030C-DE2B-44CA-A36B-40B8460CA415}"/>
                      </a:ext>
                    </a:extLst>
                  </p:cNvPr>
                  <p:cNvSpPr>
                    <a:spLocks/>
                  </p:cNvSpPr>
                  <p:nvPr/>
                </p:nvSpPr>
                <p:spPr bwMode="auto">
                  <a:xfrm>
                    <a:off x="8658807" y="1568545"/>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20" name="Freeform 1593">
                    <a:extLst>
                      <a:ext uri="{FF2B5EF4-FFF2-40B4-BE49-F238E27FC236}">
                        <a16:creationId xmlns:a16="http://schemas.microsoft.com/office/drawing/2014/main" id="{5F8E574F-A395-4515-93A0-85FC183285A4}"/>
                      </a:ext>
                    </a:extLst>
                  </p:cNvPr>
                  <p:cNvSpPr>
                    <a:spLocks noEditPoints="1"/>
                  </p:cNvSpPr>
                  <p:nvPr/>
                </p:nvSpPr>
                <p:spPr bwMode="auto">
                  <a:xfrm>
                    <a:off x="8453690" y="151819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sp>
                <p:nvSpPr>
                  <p:cNvPr id="2223" name="Freeform 1596">
                    <a:extLst>
                      <a:ext uri="{FF2B5EF4-FFF2-40B4-BE49-F238E27FC236}">
                        <a16:creationId xmlns:a16="http://schemas.microsoft.com/office/drawing/2014/main" id="{724BE479-F3CC-4D83-99F2-8C8213FE3F45}"/>
                      </a:ext>
                    </a:extLst>
                  </p:cNvPr>
                  <p:cNvSpPr>
                    <a:spLocks/>
                  </p:cNvSpPr>
                  <p:nvPr/>
                </p:nvSpPr>
                <p:spPr bwMode="auto">
                  <a:xfrm>
                    <a:off x="8456845" y="1503380"/>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50" name="Group 2249">
                <a:extLst>
                  <a:ext uri="{FF2B5EF4-FFF2-40B4-BE49-F238E27FC236}">
                    <a16:creationId xmlns:a16="http://schemas.microsoft.com/office/drawing/2014/main" id="{D70A11B7-6F64-47DA-8A7A-4040F6B9646E}"/>
                  </a:ext>
                </a:extLst>
              </p:cNvPr>
              <p:cNvGrpSpPr/>
              <p:nvPr/>
            </p:nvGrpSpPr>
            <p:grpSpPr>
              <a:xfrm>
                <a:off x="7508988" y="1995190"/>
                <a:ext cx="2049581" cy="1005869"/>
                <a:chOff x="8356478" y="3790294"/>
                <a:chExt cx="3013725" cy="1479041"/>
              </a:xfrm>
            </p:grpSpPr>
            <p:sp>
              <p:nvSpPr>
                <p:cNvPr id="2251" name="Rectangle 2250">
                  <a:extLst>
                    <a:ext uri="{FF2B5EF4-FFF2-40B4-BE49-F238E27FC236}">
                      <a16:creationId xmlns:a16="http://schemas.microsoft.com/office/drawing/2014/main" id="{3ED95D22-5E94-4761-94DD-A54B165BACF5}"/>
                    </a:ext>
                  </a:extLst>
                </p:cNvPr>
                <p:cNvSpPr>
                  <a:spLocks/>
                </p:cNvSpPr>
                <p:nvPr/>
              </p:nvSpPr>
              <p:spPr bwMode="gray">
                <a:xfrm>
                  <a:off x="8356478" y="3790294"/>
                  <a:ext cx="1364515" cy="386617"/>
                </a:xfrm>
                <a:prstGeom prst="rect">
                  <a:avLst/>
                </a:prstGeom>
                <a:solidFill>
                  <a:srgbClr val="00A3E0"/>
                </a:solidFill>
                <a:ln w="19050" algn="ctr">
                  <a:noFill/>
                  <a:miter lim="800000"/>
                  <a:headEnd/>
                  <a:tailEnd/>
                </a:ln>
              </p:spPr>
              <p:txBody>
                <a:bodyPr wrap="square" lIns="37778" tIns="37778" rIns="37778" bIns="37778" rtlCol="0" anchor="ctr"/>
                <a:lstStyle/>
                <a:p>
                  <a:pPr algn="ctr" defTabSz="828903">
                    <a:lnSpc>
                      <a:spcPct val="106000"/>
                    </a:lnSpc>
                    <a:defRPr/>
                  </a:pPr>
                  <a:r>
                    <a:rPr lang="en-US" sz="816" b="1" dirty="0">
                      <a:solidFill>
                        <a:prstClr val="white"/>
                      </a:solidFill>
                      <a:latin typeface="Verdana"/>
                    </a:rPr>
                    <a:t>Demo to Stakeholders</a:t>
                  </a:r>
                </a:p>
              </p:txBody>
            </p:sp>
            <p:sp>
              <p:nvSpPr>
                <p:cNvPr id="2252" name="Rectangle 2251">
                  <a:extLst>
                    <a:ext uri="{FF2B5EF4-FFF2-40B4-BE49-F238E27FC236}">
                      <a16:creationId xmlns:a16="http://schemas.microsoft.com/office/drawing/2014/main" id="{EED4F708-8071-4275-9E31-8505C7FD8A44}"/>
                    </a:ext>
                  </a:extLst>
                </p:cNvPr>
                <p:cNvSpPr>
                  <a:spLocks/>
                </p:cNvSpPr>
                <p:nvPr/>
              </p:nvSpPr>
              <p:spPr bwMode="gray">
                <a:xfrm>
                  <a:off x="9983995" y="4993736"/>
                  <a:ext cx="1386208" cy="275599"/>
                </a:xfrm>
                <a:prstGeom prst="rect">
                  <a:avLst/>
                </a:prstGeom>
                <a:solidFill>
                  <a:srgbClr val="004F59"/>
                </a:solidFill>
                <a:ln w="19050" algn="ctr">
                  <a:noFill/>
                  <a:miter lim="800000"/>
                  <a:headEnd/>
                  <a:tailEnd/>
                </a:ln>
              </p:spPr>
              <p:txBody>
                <a:bodyPr wrap="square" lIns="37778" tIns="37778" rIns="37778" bIns="37778" rtlCol="0" anchor="ctr"/>
                <a:lstStyle/>
                <a:p>
                  <a:pPr algn="ctr" defTabSz="828903">
                    <a:lnSpc>
                      <a:spcPct val="106000"/>
                    </a:lnSpc>
                    <a:defRPr/>
                  </a:pPr>
                  <a:r>
                    <a:rPr lang="en-US" sz="953" b="1" dirty="0">
                      <a:solidFill>
                        <a:srgbClr val="FFFFFF"/>
                      </a:solidFill>
                      <a:latin typeface="Verdana"/>
                    </a:rPr>
                    <a:t>Feedback</a:t>
                  </a:r>
                </a:p>
              </p:txBody>
            </p:sp>
            <p:cxnSp>
              <p:nvCxnSpPr>
                <p:cNvPr id="2253" name="Straight Arrow Connector 2252">
                  <a:extLst>
                    <a:ext uri="{FF2B5EF4-FFF2-40B4-BE49-F238E27FC236}">
                      <a16:creationId xmlns:a16="http://schemas.microsoft.com/office/drawing/2014/main" id="{2AA744CC-9F4A-455B-9006-7EEAC9DB6BCB}"/>
                    </a:ext>
                  </a:extLst>
                </p:cNvPr>
                <p:cNvCxnSpPr>
                  <a:cxnSpLocks/>
                  <a:stCxn id="2251" idx="2"/>
                </p:cNvCxnSpPr>
                <p:nvPr/>
              </p:nvCxnSpPr>
              <p:spPr>
                <a:xfrm>
                  <a:off x="9038736" y="4176911"/>
                  <a:ext cx="945259" cy="944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54" name="Group 2253">
                <a:extLst>
                  <a:ext uri="{FF2B5EF4-FFF2-40B4-BE49-F238E27FC236}">
                    <a16:creationId xmlns:a16="http://schemas.microsoft.com/office/drawing/2014/main" id="{963BF23F-F68D-4BE6-8CA5-B08509740B15}"/>
                  </a:ext>
                </a:extLst>
              </p:cNvPr>
              <p:cNvGrpSpPr/>
              <p:nvPr/>
            </p:nvGrpSpPr>
            <p:grpSpPr>
              <a:xfrm>
                <a:off x="8556157" y="1876097"/>
                <a:ext cx="1088511" cy="894403"/>
                <a:chOff x="10800033" y="2297897"/>
                <a:chExt cx="1600558" cy="1315140"/>
              </a:xfrm>
            </p:grpSpPr>
            <p:grpSp>
              <p:nvGrpSpPr>
                <p:cNvPr id="2255" name="Group 2254">
                  <a:extLst>
                    <a:ext uri="{FF2B5EF4-FFF2-40B4-BE49-F238E27FC236}">
                      <a16:creationId xmlns:a16="http://schemas.microsoft.com/office/drawing/2014/main" id="{C8C784BB-19F1-406E-B59C-36FB6E7F259A}"/>
                    </a:ext>
                  </a:extLst>
                </p:cNvPr>
                <p:cNvGrpSpPr>
                  <a:grpSpLocks/>
                </p:cNvGrpSpPr>
                <p:nvPr/>
              </p:nvGrpSpPr>
              <p:grpSpPr>
                <a:xfrm>
                  <a:off x="10800033" y="2339037"/>
                  <a:ext cx="613092" cy="613092"/>
                  <a:chOff x="745985" y="4768134"/>
                  <a:chExt cx="368776" cy="368777"/>
                </a:xfrm>
              </p:grpSpPr>
              <p:grpSp>
                <p:nvGrpSpPr>
                  <p:cNvPr id="2319" name="Group 64">
                    <a:extLst>
                      <a:ext uri="{FF2B5EF4-FFF2-40B4-BE49-F238E27FC236}">
                        <a16:creationId xmlns:a16="http://schemas.microsoft.com/office/drawing/2014/main" id="{28586376-98DE-4204-92A9-3C759DF31E19}"/>
                      </a:ext>
                    </a:extLst>
                  </p:cNvPr>
                  <p:cNvGrpSpPr>
                    <a:grpSpLocks noChangeAspect="1"/>
                  </p:cNvGrpSpPr>
                  <p:nvPr/>
                </p:nvGrpSpPr>
                <p:grpSpPr bwMode="auto">
                  <a:xfrm rot="8100000">
                    <a:off x="745985" y="4768134"/>
                    <a:ext cx="368776" cy="368777"/>
                    <a:chOff x="701" y="2170"/>
                    <a:chExt cx="587" cy="587"/>
                  </a:xfrm>
                </p:grpSpPr>
                <p:sp>
                  <p:nvSpPr>
                    <p:cNvPr id="2330" name="Oval 65">
                      <a:extLst>
                        <a:ext uri="{FF2B5EF4-FFF2-40B4-BE49-F238E27FC236}">
                          <a16:creationId xmlns:a16="http://schemas.microsoft.com/office/drawing/2014/main" id="{286BE6FE-9FBA-4C95-BBE8-74EF00253D7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31" name="Line 66">
                      <a:extLst>
                        <a:ext uri="{FF2B5EF4-FFF2-40B4-BE49-F238E27FC236}">
                          <a16:creationId xmlns:a16="http://schemas.microsoft.com/office/drawing/2014/main" id="{FDA59EFF-5D40-49A4-9ED1-4CFCE8B73F77}"/>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2" name="Line 67">
                      <a:extLst>
                        <a:ext uri="{FF2B5EF4-FFF2-40B4-BE49-F238E27FC236}">
                          <a16:creationId xmlns:a16="http://schemas.microsoft.com/office/drawing/2014/main" id="{60FB569F-8A3D-4DA4-BB3D-6AC5EB8E64A4}"/>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3" name="Line 69">
                      <a:extLst>
                        <a:ext uri="{FF2B5EF4-FFF2-40B4-BE49-F238E27FC236}">
                          <a16:creationId xmlns:a16="http://schemas.microsoft.com/office/drawing/2014/main" id="{85A77D11-EA84-4456-B02C-854AEE672F5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4" name="Line 74">
                      <a:extLst>
                        <a:ext uri="{FF2B5EF4-FFF2-40B4-BE49-F238E27FC236}">
                          <a16:creationId xmlns:a16="http://schemas.microsoft.com/office/drawing/2014/main" id="{7DD60C16-9C83-4FFD-9696-C1692E8AE99A}"/>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5" name="Freeform 78">
                      <a:extLst>
                        <a:ext uri="{FF2B5EF4-FFF2-40B4-BE49-F238E27FC236}">
                          <a16:creationId xmlns:a16="http://schemas.microsoft.com/office/drawing/2014/main" id="{D58AF235-6886-4EE5-8E1E-DD472C984A46}"/>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36" name="Freeform 80">
                      <a:extLst>
                        <a:ext uri="{FF2B5EF4-FFF2-40B4-BE49-F238E27FC236}">
                          <a16:creationId xmlns:a16="http://schemas.microsoft.com/office/drawing/2014/main" id="{62009741-4586-4C75-A8B6-9A7F152F5F48}"/>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320" name="Group 2319">
                    <a:extLst>
                      <a:ext uri="{FF2B5EF4-FFF2-40B4-BE49-F238E27FC236}">
                        <a16:creationId xmlns:a16="http://schemas.microsoft.com/office/drawing/2014/main" id="{A72F4352-F5AE-4A8D-A9DB-718879387E83}"/>
                      </a:ext>
                    </a:extLst>
                  </p:cNvPr>
                  <p:cNvGrpSpPr/>
                  <p:nvPr/>
                </p:nvGrpSpPr>
                <p:grpSpPr>
                  <a:xfrm>
                    <a:off x="837312" y="4814434"/>
                    <a:ext cx="136805" cy="278689"/>
                    <a:chOff x="2806700" y="2803319"/>
                    <a:chExt cx="433387" cy="882861"/>
                  </a:xfrm>
                </p:grpSpPr>
                <p:grpSp>
                  <p:nvGrpSpPr>
                    <p:cNvPr id="2321" name="Group 2320">
                      <a:extLst>
                        <a:ext uri="{FF2B5EF4-FFF2-40B4-BE49-F238E27FC236}">
                          <a16:creationId xmlns:a16="http://schemas.microsoft.com/office/drawing/2014/main" id="{8226CFC8-1121-4F85-B51B-ED7288DE0663}"/>
                        </a:ext>
                      </a:extLst>
                    </p:cNvPr>
                    <p:cNvGrpSpPr>
                      <a:grpSpLocks noChangeAspect="1"/>
                    </p:cNvGrpSpPr>
                    <p:nvPr/>
                  </p:nvGrpSpPr>
                  <p:grpSpPr bwMode="auto">
                    <a:xfrm>
                      <a:off x="2806700" y="3043242"/>
                      <a:ext cx="433387" cy="642938"/>
                      <a:chOff x="1768" y="1917"/>
                      <a:chExt cx="273" cy="405"/>
                    </a:xfrm>
                  </p:grpSpPr>
                  <p:sp>
                    <p:nvSpPr>
                      <p:cNvPr id="2323" name="Freeform 52">
                        <a:extLst>
                          <a:ext uri="{FF2B5EF4-FFF2-40B4-BE49-F238E27FC236}">
                            <a16:creationId xmlns:a16="http://schemas.microsoft.com/office/drawing/2014/main" id="{8F916E64-9176-45EF-B6BD-542BB871AA28}"/>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24" name="Line 54">
                        <a:extLst>
                          <a:ext uri="{FF2B5EF4-FFF2-40B4-BE49-F238E27FC236}">
                            <a16:creationId xmlns:a16="http://schemas.microsoft.com/office/drawing/2014/main" id="{F32349BC-E762-4775-A2C4-2FED49E03842}"/>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5" name="Line 55">
                        <a:extLst>
                          <a:ext uri="{FF2B5EF4-FFF2-40B4-BE49-F238E27FC236}">
                            <a16:creationId xmlns:a16="http://schemas.microsoft.com/office/drawing/2014/main" id="{ECDE6D1F-2512-4CE7-8B21-305CCE6898E9}"/>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6" name="Freeform 56">
                        <a:extLst>
                          <a:ext uri="{FF2B5EF4-FFF2-40B4-BE49-F238E27FC236}">
                            <a16:creationId xmlns:a16="http://schemas.microsoft.com/office/drawing/2014/main" id="{4B93A918-E18A-41AB-B94E-1728F138E0BA}"/>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7" name="Line 57">
                        <a:extLst>
                          <a:ext uri="{FF2B5EF4-FFF2-40B4-BE49-F238E27FC236}">
                            <a16:creationId xmlns:a16="http://schemas.microsoft.com/office/drawing/2014/main" id="{C814B30C-1691-49DC-A7D1-74881FA9CCC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8" name="Freeform 58">
                        <a:extLst>
                          <a:ext uri="{FF2B5EF4-FFF2-40B4-BE49-F238E27FC236}">
                            <a16:creationId xmlns:a16="http://schemas.microsoft.com/office/drawing/2014/main" id="{0C9E511B-A7E9-4088-882B-8904E92B7C8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29" name="Rectangle 2328">
                        <a:extLst>
                          <a:ext uri="{FF2B5EF4-FFF2-40B4-BE49-F238E27FC236}">
                            <a16:creationId xmlns:a16="http://schemas.microsoft.com/office/drawing/2014/main" id="{0D382042-197D-49FF-AB83-A1DA3315DA0F}"/>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322" name="Oval 2321">
                      <a:extLst>
                        <a:ext uri="{FF2B5EF4-FFF2-40B4-BE49-F238E27FC236}">
                          <a16:creationId xmlns:a16="http://schemas.microsoft.com/office/drawing/2014/main" id="{88AD37F8-65CD-4867-AF7F-5DCEBDAC6D2D}"/>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256" name="Group 2255">
                  <a:extLst>
                    <a:ext uri="{FF2B5EF4-FFF2-40B4-BE49-F238E27FC236}">
                      <a16:creationId xmlns:a16="http://schemas.microsoft.com/office/drawing/2014/main" id="{B310D40B-2040-47A0-A781-C7B19F426D3E}"/>
                    </a:ext>
                  </a:extLst>
                </p:cNvPr>
                <p:cNvGrpSpPr>
                  <a:grpSpLocks/>
                </p:cNvGrpSpPr>
                <p:nvPr/>
              </p:nvGrpSpPr>
              <p:grpSpPr>
                <a:xfrm>
                  <a:off x="11166615" y="2825631"/>
                  <a:ext cx="787402" cy="787406"/>
                  <a:chOff x="1454941" y="4721722"/>
                  <a:chExt cx="473625" cy="473627"/>
                </a:xfrm>
              </p:grpSpPr>
              <p:grpSp>
                <p:nvGrpSpPr>
                  <p:cNvPr id="2280" name="Group 64">
                    <a:extLst>
                      <a:ext uri="{FF2B5EF4-FFF2-40B4-BE49-F238E27FC236}">
                        <a16:creationId xmlns:a16="http://schemas.microsoft.com/office/drawing/2014/main" id="{44165CC7-83EE-4033-B931-B535DCA7D595}"/>
                      </a:ext>
                    </a:extLst>
                  </p:cNvPr>
                  <p:cNvGrpSpPr>
                    <a:grpSpLocks noChangeAspect="1"/>
                  </p:cNvGrpSpPr>
                  <p:nvPr/>
                </p:nvGrpSpPr>
                <p:grpSpPr bwMode="auto">
                  <a:xfrm rot="8100000">
                    <a:off x="1454941" y="4721722"/>
                    <a:ext cx="473625" cy="473627"/>
                    <a:chOff x="701" y="2170"/>
                    <a:chExt cx="587" cy="587"/>
                  </a:xfrm>
                </p:grpSpPr>
                <p:sp>
                  <p:nvSpPr>
                    <p:cNvPr id="2312" name="Oval 65">
                      <a:extLst>
                        <a:ext uri="{FF2B5EF4-FFF2-40B4-BE49-F238E27FC236}">
                          <a16:creationId xmlns:a16="http://schemas.microsoft.com/office/drawing/2014/main" id="{AC6CEA27-6C62-43E7-A9BE-CEFEB056B585}"/>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13" name="Line 66">
                      <a:extLst>
                        <a:ext uri="{FF2B5EF4-FFF2-40B4-BE49-F238E27FC236}">
                          <a16:creationId xmlns:a16="http://schemas.microsoft.com/office/drawing/2014/main" id="{A7E90AC8-5A63-46C2-952A-0C80F8D6550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4" name="Line 67">
                      <a:extLst>
                        <a:ext uri="{FF2B5EF4-FFF2-40B4-BE49-F238E27FC236}">
                          <a16:creationId xmlns:a16="http://schemas.microsoft.com/office/drawing/2014/main" id="{2F3CB1E3-A4C6-4ED6-8D8B-74D9DE25D43F}"/>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5" name="Line 69">
                      <a:extLst>
                        <a:ext uri="{FF2B5EF4-FFF2-40B4-BE49-F238E27FC236}">
                          <a16:creationId xmlns:a16="http://schemas.microsoft.com/office/drawing/2014/main" id="{B6689590-AA68-408D-A328-BEDB4AC98D5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6" name="Line 74">
                      <a:extLst>
                        <a:ext uri="{FF2B5EF4-FFF2-40B4-BE49-F238E27FC236}">
                          <a16:creationId xmlns:a16="http://schemas.microsoft.com/office/drawing/2014/main" id="{92CFBBEB-06C6-462E-9492-A2CB23D7A0B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7" name="Freeform 78">
                      <a:extLst>
                        <a:ext uri="{FF2B5EF4-FFF2-40B4-BE49-F238E27FC236}">
                          <a16:creationId xmlns:a16="http://schemas.microsoft.com/office/drawing/2014/main" id="{C7CCC532-5538-475F-ADA6-B6D75D71209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8" name="Freeform 80">
                      <a:extLst>
                        <a:ext uri="{FF2B5EF4-FFF2-40B4-BE49-F238E27FC236}">
                          <a16:creationId xmlns:a16="http://schemas.microsoft.com/office/drawing/2014/main" id="{5E1F4A4B-A6AC-4DF5-ACA4-8081C09BC651}"/>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81" name="Group 2280">
                    <a:extLst>
                      <a:ext uri="{FF2B5EF4-FFF2-40B4-BE49-F238E27FC236}">
                        <a16:creationId xmlns:a16="http://schemas.microsoft.com/office/drawing/2014/main" id="{5759AB8D-CB6E-4B7D-B2D7-DCB0BA1A9B5E}"/>
                      </a:ext>
                    </a:extLst>
                  </p:cNvPr>
                  <p:cNvGrpSpPr/>
                  <p:nvPr/>
                </p:nvGrpSpPr>
                <p:grpSpPr>
                  <a:xfrm>
                    <a:off x="1511214" y="4789508"/>
                    <a:ext cx="356509" cy="349884"/>
                    <a:chOff x="468738" y="2241878"/>
                    <a:chExt cx="1655483" cy="1624719"/>
                  </a:xfrm>
                </p:grpSpPr>
                <p:sp>
                  <p:nvSpPr>
                    <p:cNvPr id="2282" name="Freeform 5">
                      <a:extLst>
                        <a:ext uri="{FF2B5EF4-FFF2-40B4-BE49-F238E27FC236}">
                          <a16:creationId xmlns:a16="http://schemas.microsoft.com/office/drawing/2014/main" id="{951560DE-6EE5-49BC-8309-BCBFB2520EDE}"/>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83" name="Freeform 6">
                      <a:extLst>
                        <a:ext uri="{FF2B5EF4-FFF2-40B4-BE49-F238E27FC236}">
                          <a16:creationId xmlns:a16="http://schemas.microsoft.com/office/drawing/2014/main" id="{C8A60117-4A28-42E3-9277-E9B5BEB4C47C}"/>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4" name="Line 7">
                      <a:extLst>
                        <a:ext uri="{FF2B5EF4-FFF2-40B4-BE49-F238E27FC236}">
                          <a16:creationId xmlns:a16="http://schemas.microsoft.com/office/drawing/2014/main" id="{A513A69F-1DAB-474C-9D79-602D69B7938E}"/>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5" name="Freeform 8">
                      <a:extLst>
                        <a:ext uri="{FF2B5EF4-FFF2-40B4-BE49-F238E27FC236}">
                          <a16:creationId xmlns:a16="http://schemas.microsoft.com/office/drawing/2014/main" id="{2894406B-3D41-4130-BD4C-7FA8ADD3C530}"/>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6" name="Line 9">
                      <a:extLst>
                        <a:ext uri="{FF2B5EF4-FFF2-40B4-BE49-F238E27FC236}">
                          <a16:creationId xmlns:a16="http://schemas.microsoft.com/office/drawing/2014/main" id="{4983E88B-02D0-443D-A8E4-109B266442A0}"/>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287" name="Group 2286">
                      <a:extLst>
                        <a:ext uri="{FF2B5EF4-FFF2-40B4-BE49-F238E27FC236}">
                          <a16:creationId xmlns:a16="http://schemas.microsoft.com/office/drawing/2014/main" id="{54BC51B2-8E56-47FC-85F4-E996BDBFE4CA}"/>
                        </a:ext>
                      </a:extLst>
                    </p:cNvPr>
                    <p:cNvGrpSpPr/>
                    <p:nvPr/>
                  </p:nvGrpSpPr>
                  <p:grpSpPr>
                    <a:xfrm>
                      <a:off x="1207113" y="2241878"/>
                      <a:ext cx="178734" cy="348678"/>
                      <a:chOff x="1207113" y="2241878"/>
                      <a:chExt cx="178734" cy="348678"/>
                    </a:xfrm>
                  </p:grpSpPr>
                  <p:sp>
                    <p:nvSpPr>
                      <p:cNvPr id="2310" name="Freeform 10">
                        <a:extLst>
                          <a:ext uri="{FF2B5EF4-FFF2-40B4-BE49-F238E27FC236}">
                            <a16:creationId xmlns:a16="http://schemas.microsoft.com/office/drawing/2014/main" id="{6C2989C1-8072-4F03-A61E-43B91E9D549F}"/>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11" name="Line 11">
                        <a:extLst>
                          <a:ext uri="{FF2B5EF4-FFF2-40B4-BE49-F238E27FC236}">
                            <a16:creationId xmlns:a16="http://schemas.microsoft.com/office/drawing/2014/main" id="{0301896B-7DBD-415E-ADE2-3A87AE6A8C4A}"/>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288" name="Freeform 12">
                      <a:extLst>
                        <a:ext uri="{FF2B5EF4-FFF2-40B4-BE49-F238E27FC236}">
                          <a16:creationId xmlns:a16="http://schemas.microsoft.com/office/drawing/2014/main" id="{0EC32524-89B0-4DEB-BD97-B96C42D7F6C5}"/>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89" name="Line 13">
                      <a:extLst>
                        <a:ext uri="{FF2B5EF4-FFF2-40B4-BE49-F238E27FC236}">
                          <a16:creationId xmlns:a16="http://schemas.microsoft.com/office/drawing/2014/main" id="{73F7FBEC-CB36-4691-A985-43E561464932}"/>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0" name="Freeform 14">
                      <a:extLst>
                        <a:ext uri="{FF2B5EF4-FFF2-40B4-BE49-F238E27FC236}">
                          <a16:creationId xmlns:a16="http://schemas.microsoft.com/office/drawing/2014/main" id="{58E0825E-0424-40B4-AB08-AC62A9844FF8}"/>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1" name="Line 15">
                      <a:extLst>
                        <a:ext uri="{FF2B5EF4-FFF2-40B4-BE49-F238E27FC236}">
                          <a16:creationId xmlns:a16="http://schemas.microsoft.com/office/drawing/2014/main" id="{C2C69BCE-F279-4966-8F4A-2DD1ADDA5793}"/>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2" name="Freeform 16">
                      <a:extLst>
                        <a:ext uri="{FF2B5EF4-FFF2-40B4-BE49-F238E27FC236}">
                          <a16:creationId xmlns:a16="http://schemas.microsoft.com/office/drawing/2014/main" id="{6E789726-F51E-4926-BFEC-F979E358871B}"/>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3" name="Line 17">
                      <a:extLst>
                        <a:ext uri="{FF2B5EF4-FFF2-40B4-BE49-F238E27FC236}">
                          <a16:creationId xmlns:a16="http://schemas.microsoft.com/office/drawing/2014/main" id="{D47BFB8E-F127-4215-881F-2EAC3FD1A3D6}"/>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4" name="Freeform 18">
                      <a:extLst>
                        <a:ext uri="{FF2B5EF4-FFF2-40B4-BE49-F238E27FC236}">
                          <a16:creationId xmlns:a16="http://schemas.microsoft.com/office/drawing/2014/main" id="{246B6867-150F-4628-905D-EA7A93B1AE1B}"/>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5" name="Line 19">
                      <a:extLst>
                        <a:ext uri="{FF2B5EF4-FFF2-40B4-BE49-F238E27FC236}">
                          <a16:creationId xmlns:a16="http://schemas.microsoft.com/office/drawing/2014/main" id="{796D3A11-69AD-4D1E-8E23-1B67194C2A8F}"/>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6" name="Freeform 35">
                      <a:extLst>
                        <a:ext uri="{FF2B5EF4-FFF2-40B4-BE49-F238E27FC236}">
                          <a16:creationId xmlns:a16="http://schemas.microsoft.com/office/drawing/2014/main" id="{57D76E0E-0C9F-486F-9AB6-F21B4CAEF5EF}"/>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97" name="Freeform 36">
                      <a:extLst>
                        <a:ext uri="{FF2B5EF4-FFF2-40B4-BE49-F238E27FC236}">
                          <a16:creationId xmlns:a16="http://schemas.microsoft.com/office/drawing/2014/main" id="{2FF9A1E2-286D-4FA2-A459-EA349B9B9DAF}"/>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8" name="Freeform 37">
                      <a:extLst>
                        <a:ext uri="{FF2B5EF4-FFF2-40B4-BE49-F238E27FC236}">
                          <a16:creationId xmlns:a16="http://schemas.microsoft.com/office/drawing/2014/main" id="{AD5AC173-D913-4236-AFE8-FB2185560EE2}"/>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99" name="Freeform 38">
                      <a:extLst>
                        <a:ext uri="{FF2B5EF4-FFF2-40B4-BE49-F238E27FC236}">
                          <a16:creationId xmlns:a16="http://schemas.microsoft.com/office/drawing/2014/main" id="{4EF0C878-6C78-4A40-8BF3-09CD74FE827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0" name="Freeform 39">
                      <a:extLst>
                        <a:ext uri="{FF2B5EF4-FFF2-40B4-BE49-F238E27FC236}">
                          <a16:creationId xmlns:a16="http://schemas.microsoft.com/office/drawing/2014/main" id="{425A2A43-590B-4467-BBB2-3D4ADD82E04A}"/>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1" name="Freeform 40">
                      <a:extLst>
                        <a:ext uri="{FF2B5EF4-FFF2-40B4-BE49-F238E27FC236}">
                          <a16:creationId xmlns:a16="http://schemas.microsoft.com/office/drawing/2014/main" id="{1EADE06F-C13E-460C-8520-800624459926}"/>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2" name="Freeform 41">
                      <a:extLst>
                        <a:ext uri="{FF2B5EF4-FFF2-40B4-BE49-F238E27FC236}">
                          <a16:creationId xmlns:a16="http://schemas.microsoft.com/office/drawing/2014/main" id="{AF4EDC2D-16F1-4F8F-8C09-FA6644014711}"/>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3" name="Line 42">
                      <a:extLst>
                        <a:ext uri="{FF2B5EF4-FFF2-40B4-BE49-F238E27FC236}">
                          <a16:creationId xmlns:a16="http://schemas.microsoft.com/office/drawing/2014/main" id="{85EA9BCD-6BDF-4635-BD6D-4EF5F18FFB8A}"/>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4" name="Freeform 43">
                      <a:extLst>
                        <a:ext uri="{FF2B5EF4-FFF2-40B4-BE49-F238E27FC236}">
                          <a16:creationId xmlns:a16="http://schemas.microsoft.com/office/drawing/2014/main" id="{C38D20FD-BD40-485F-B654-3CCFD71FFAC0}"/>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5" name="Freeform 44">
                      <a:extLst>
                        <a:ext uri="{FF2B5EF4-FFF2-40B4-BE49-F238E27FC236}">
                          <a16:creationId xmlns:a16="http://schemas.microsoft.com/office/drawing/2014/main" id="{3A52AB7B-E857-4C55-BE93-1AD491939495}"/>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306" name="Freeform 45">
                      <a:extLst>
                        <a:ext uri="{FF2B5EF4-FFF2-40B4-BE49-F238E27FC236}">
                          <a16:creationId xmlns:a16="http://schemas.microsoft.com/office/drawing/2014/main" id="{34F50FA1-A883-405B-A52C-A75782AFF624}"/>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307" name="Group 2306">
                      <a:extLst>
                        <a:ext uri="{FF2B5EF4-FFF2-40B4-BE49-F238E27FC236}">
                          <a16:creationId xmlns:a16="http://schemas.microsoft.com/office/drawing/2014/main" id="{B1A9EBE2-6A5F-4B6C-96DC-E627DCECAA7D}"/>
                        </a:ext>
                      </a:extLst>
                    </p:cNvPr>
                    <p:cNvGrpSpPr/>
                    <p:nvPr/>
                  </p:nvGrpSpPr>
                  <p:grpSpPr>
                    <a:xfrm flipV="1">
                      <a:off x="1202047" y="3517919"/>
                      <a:ext cx="178734" cy="348678"/>
                      <a:chOff x="1207113" y="2241878"/>
                      <a:chExt cx="178734" cy="348678"/>
                    </a:xfrm>
                  </p:grpSpPr>
                  <p:sp>
                    <p:nvSpPr>
                      <p:cNvPr id="2308" name="Freeform 10">
                        <a:extLst>
                          <a:ext uri="{FF2B5EF4-FFF2-40B4-BE49-F238E27FC236}">
                            <a16:creationId xmlns:a16="http://schemas.microsoft.com/office/drawing/2014/main" id="{F8AF0355-F600-4EF6-925F-1B282A05D59C}"/>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309" name="Line 11">
                        <a:extLst>
                          <a:ext uri="{FF2B5EF4-FFF2-40B4-BE49-F238E27FC236}">
                            <a16:creationId xmlns:a16="http://schemas.microsoft.com/office/drawing/2014/main" id="{1943D528-BC61-435A-BCCF-F220FBB4ABA0}"/>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257" name="Group 2256">
                  <a:extLst>
                    <a:ext uri="{FF2B5EF4-FFF2-40B4-BE49-F238E27FC236}">
                      <a16:creationId xmlns:a16="http://schemas.microsoft.com/office/drawing/2014/main" id="{8C6B2209-8961-4089-BCEC-4C63B52CC961}"/>
                    </a:ext>
                  </a:extLst>
                </p:cNvPr>
                <p:cNvGrpSpPr>
                  <a:grpSpLocks/>
                </p:cNvGrpSpPr>
                <p:nvPr/>
              </p:nvGrpSpPr>
              <p:grpSpPr>
                <a:xfrm>
                  <a:off x="11709639" y="2297897"/>
                  <a:ext cx="690952" cy="690956"/>
                  <a:chOff x="2268747" y="4723725"/>
                  <a:chExt cx="415610" cy="415612"/>
                </a:xfrm>
              </p:grpSpPr>
              <p:grpSp>
                <p:nvGrpSpPr>
                  <p:cNvPr id="2258" name="Group 64">
                    <a:extLst>
                      <a:ext uri="{FF2B5EF4-FFF2-40B4-BE49-F238E27FC236}">
                        <a16:creationId xmlns:a16="http://schemas.microsoft.com/office/drawing/2014/main" id="{867FAEE0-2D04-4E3C-AE38-C9592A0000FD}"/>
                      </a:ext>
                    </a:extLst>
                  </p:cNvPr>
                  <p:cNvGrpSpPr>
                    <a:grpSpLocks noChangeAspect="1"/>
                  </p:cNvGrpSpPr>
                  <p:nvPr/>
                </p:nvGrpSpPr>
                <p:grpSpPr bwMode="auto">
                  <a:xfrm rot="8100000">
                    <a:off x="2268747" y="4723725"/>
                    <a:ext cx="415610" cy="415612"/>
                    <a:chOff x="701" y="2170"/>
                    <a:chExt cx="587" cy="587"/>
                  </a:xfrm>
                </p:grpSpPr>
                <p:sp>
                  <p:nvSpPr>
                    <p:cNvPr id="2273" name="Oval 65">
                      <a:extLst>
                        <a:ext uri="{FF2B5EF4-FFF2-40B4-BE49-F238E27FC236}">
                          <a16:creationId xmlns:a16="http://schemas.microsoft.com/office/drawing/2014/main" id="{2D30A910-537A-44BD-8D3C-B2531C63D10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4" name="Line 66">
                      <a:extLst>
                        <a:ext uri="{FF2B5EF4-FFF2-40B4-BE49-F238E27FC236}">
                          <a16:creationId xmlns:a16="http://schemas.microsoft.com/office/drawing/2014/main" id="{A3FB047A-6916-4966-8E37-F240AD19858A}"/>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5" name="Line 67">
                      <a:extLst>
                        <a:ext uri="{FF2B5EF4-FFF2-40B4-BE49-F238E27FC236}">
                          <a16:creationId xmlns:a16="http://schemas.microsoft.com/office/drawing/2014/main" id="{C545B188-8835-4CBB-8F48-99A3CA90A3D8}"/>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6" name="Line 69">
                      <a:extLst>
                        <a:ext uri="{FF2B5EF4-FFF2-40B4-BE49-F238E27FC236}">
                          <a16:creationId xmlns:a16="http://schemas.microsoft.com/office/drawing/2014/main" id="{52769506-D07D-408B-ACCF-3272D7D8C96F}"/>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7" name="Line 74">
                      <a:extLst>
                        <a:ext uri="{FF2B5EF4-FFF2-40B4-BE49-F238E27FC236}">
                          <a16:creationId xmlns:a16="http://schemas.microsoft.com/office/drawing/2014/main" id="{54E708BD-39A2-4099-B662-7D5020D598C4}"/>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8" name="Freeform 78">
                      <a:extLst>
                        <a:ext uri="{FF2B5EF4-FFF2-40B4-BE49-F238E27FC236}">
                          <a16:creationId xmlns:a16="http://schemas.microsoft.com/office/drawing/2014/main" id="{2CDE9587-AEC6-4A14-9D23-A609DD10636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9" name="Freeform 80">
                      <a:extLst>
                        <a:ext uri="{FF2B5EF4-FFF2-40B4-BE49-F238E27FC236}">
                          <a16:creationId xmlns:a16="http://schemas.microsoft.com/office/drawing/2014/main" id="{DB301EE2-DFB4-4909-8F90-436561CC40DF}"/>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259" name="Group 2258">
                    <a:extLst>
                      <a:ext uri="{FF2B5EF4-FFF2-40B4-BE49-F238E27FC236}">
                        <a16:creationId xmlns:a16="http://schemas.microsoft.com/office/drawing/2014/main" id="{242CEC30-89C0-4D6A-A16D-951F24084E42}"/>
                      </a:ext>
                    </a:extLst>
                  </p:cNvPr>
                  <p:cNvGrpSpPr/>
                  <p:nvPr/>
                </p:nvGrpSpPr>
                <p:grpSpPr>
                  <a:xfrm>
                    <a:off x="2318076" y="4830163"/>
                    <a:ext cx="313949" cy="233075"/>
                    <a:chOff x="3707533" y="2731244"/>
                    <a:chExt cx="389644" cy="289271"/>
                  </a:xfrm>
                </p:grpSpPr>
                <p:sp>
                  <p:nvSpPr>
                    <p:cNvPr id="2260" name="Freeform 33">
                      <a:extLst>
                        <a:ext uri="{FF2B5EF4-FFF2-40B4-BE49-F238E27FC236}">
                          <a16:creationId xmlns:a16="http://schemas.microsoft.com/office/drawing/2014/main" id="{59784E4B-68D3-42AF-B089-C1F1BDF9EEE4}"/>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1" name="Freeform 34">
                      <a:extLst>
                        <a:ext uri="{FF2B5EF4-FFF2-40B4-BE49-F238E27FC236}">
                          <a16:creationId xmlns:a16="http://schemas.microsoft.com/office/drawing/2014/main" id="{C2C6D420-A586-49AC-B57F-8DE6886C1E0D}"/>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2" name="Freeform 37">
                      <a:extLst>
                        <a:ext uri="{FF2B5EF4-FFF2-40B4-BE49-F238E27FC236}">
                          <a16:creationId xmlns:a16="http://schemas.microsoft.com/office/drawing/2014/main" id="{A9210B00-A6F1-4F07-98B9-9931A4177B0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3" name="Freeform 38">
                      <a:extLst>
                        <a:ext uri="{FF2B5EF4-FFF2-40B4-BE49-F238E27FC236}">
                          <a16:creationId xmlns:a16="http://schemas.microsoft.com/office/drawing/2014/main" id="{D1E78EBA-035E-4FFC-A183-6A904EF5668E}"/>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4" name="Freeform 32">
                      <a:extLst>
                        <a:ext uri="{FF2B5EF4-FFF2-40B4-BE49-F238E27FC236}">
                          <a16:creationId xmlns:a16="http://schemas.microsoft.com/office/drawing/2014/main" id="{D60C9B6A-A919-4748-BC27-A46A1F5053E3}"/>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5" name="Freeform 35">
                      <a:extLst>
                        <a:ext uri="{FF2B5EF4-FFF2-40B4-BE49-F238E27FC236}">
                          <a16:creationId xmlns:a16="http://schemas.microsoft.com/office/drawing/2014/main" id="{9059E0AB-2383-4C75-A025-9E690335644C}"/>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6" name="Freeform 36">
                      <a:extLst>
                        <a:ext uri="{FF2B5EF4-FFF2-40B4-BE49-F238E27FC236}">
                          <a16:creationId xmlns:a16="http://schemas.microsoft.com/office/drawing/2014/main" id="{21366FDE-FD8F-4797-975D-08893A37E31A}"/>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7" name="Freeform 25">
                      <a:extLst>
                        <a:ext uri="{FF2B5EF4-FFF2-40B4-BE49-F238E27FC236}">
                          <a16:creationId xmlns:a16="http://schemas.microsoft.com/office/drawing/2014/main" id="{AECB81F4-CB9D-4D47-93EA-B4E073B580C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8" name="Freeform 39">
                      <a:extLst>
                        <a:ext uri="{FF2B5EF4-FFF2-40B4-BE49-F238E27FC236}">
                          <a16:creationId xmlns:a16="http://schemas.microsoft.com/office/drawing/2014/main" id="{2E2DA5F3-8449-46DD-8F67-78CF4CFF952D}"/>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69" name="Freeform 26">
                      <a:extLst>
                        <a:ext uri="{FF2B5EF4-FFF2-40B4-BE49-F238E27FC236}">
                          <a16:creationId xmlns:a16="http://schemas.microsoft.com/office/drawing/2014/main" id="{564F2F0C-C423-44E0-81F0-264D8E480D2B}"/>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0" name="Rectangle 27">
                      <a:extLst>
                        <a:ext uri="{FF2B5EF4-FFF2-40B4-BE49-F238E27FC236}">
                          <a16:creationId xmlns:a16="http://schemas.microsoft.com/office/drawing/2014/main" id="{02C9AAC2-93ED-4623-9BDC-F5F9B73C59DE}"/>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271" name="Line 29">
                      <a:extLst>
                        <a:ext uri="{FF2B5EF4-FFF2-40B4-BE49-F238E27FC236}">
                          <a16:creationId xmlns:a16="http://schemas.microsoft.com/office/drawing/2014/main" id="{D2C6A72A-AB29-4D59-AB6D-C832C3D2C68A}"/>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272" name="Line 31">
                      <a:extLst>
                        <a:ext uri="{FF2B5EF4-FFF2-40B4-BE49-F238E27FC236}">
                          <a16:creationId xmlns:a16="http://schemas.microsoft.com/office/drawing/2014/main" id="{DD5CC3D3-3BB4-4134-B783-4C7E859A2518}"/>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16" name="Group 2815">
                <a:extLst>
                  <a:ext uri="{FF2B5EF4-FFF2-40B4-BE49-F238E27FC236}">
                    <a16:creationId xmlns:a16="http://schemas.microsoft.com/office/drawing/2014/main" id="{5B1B28BD-A612-42D7-A8A3-F8F1CE7C3B2F}"/>
                  </a:ext>
                </a:extLst>
              </p:cNvPr>
              <p:cNvGrpSpPr/>
              <p:nvPr/>
            </p:nvGrpSpPr>
            <p:grpSpPr>
              <a:xfrm>
                <a:off x="6802541" y="1842565"/>
                <a:ext cx="314357" cy="580832"/>
                <a:chOff x="6355981" y="199813"/>
                <a:chExt cx="314357" cy="580832"/>
              </a:xfrm>
            </p:grpSpPr>
            <p:pic>
              <p:nvPicPr>
                <p:cNvPr id="2817" name="Picture 2816">
                  <a:extLst>
                    <a:ext uri="{FF2B5EF4-FFF2-40B4-BE49-F238E27FC236}">
                      <a16:creationId xmlns:a16="http://schemas.microsoft.com/office/drawing/2014/main" id="{A106E996-A475-40B1-BD5E-C9C9B7915933}"/>
                    </a:ext>
                  </a:extLst>
                </p:cNvPr>
                <p:cNvPicPr>
                  <a:picLocks noChangeAspect="1"/>
                </p:cNvPicPr>
                <p:nvPr/>
              </p:nvPicPr>
              <p:blipFill>
                <a:blip r:embed="rId7"/>
                <a:stretch>
                  <a:fillRect/>
                </a:stretch>
              </p:blipFill>
              <p:spPr>
                <a:xfrm>
                  <a:off x="6355981" y="199813"/>
                  <a:ext cx="302738" cy="580832"/>
                </a:xfrm>
                <a:prstGeom prst="rect">
                  <a:avLst/>
                </a:prstGeom>
              </p:spPr>
            </p:pic>
            <p:sp>
              <p:nvSpPr>
                <p:cNvPr id="2818" name="Freeform 152">
                  <a:extLst>
                    <a:ext uri="{FF2B5EF4-FFF2-40B4-BE49-F238E27FC236}">
                      <a16:creationId xmlns:a16="http://schemas.microsoft.com/office/drawing/2014/main" id="{CB4974FC-A5CE-4B39-A5CF-6BC57603010B}"/>
                    </a:ext>
                  </a:extLst>
                </p:cNvPr>
                <p:cNvSpPr>
                  <a:spLocks/>
                </p:cNvSpPr>
                <p:nvPr/>
              </p:nvSpPr>
              <p:spPr bwMode="auto">
                <a:xfrm>
                  <a:off x="6546213" y="325826"/>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pic>
        <p:nvPicPr>
          <p:cNvPr id="2819" name="Picture 2818">
            <a:extLst>
              <a:ext uri="{FF2B5EF4-FFF2-40B4-BE49-F238E27FC236}">
                <a16:creationId xmlns:a16="http://schemas.microsoft.com/office/drawing/2014/main" id="{6544E938-61F0-46D9-A75C-4BF3D3484FA3}"/>
              </a:ext>
            </a:extLst>
          </p:cNvPr>
          <p:cNvPicPr>
            <a:picLocks noChangeAspect="1"/>
          </p:cNvPicPr>
          <p:nvPr/>
        </p:nvPicPr>
        <p:blipFill>
          <a:blip r:embed="rId8"/>
          <a:stretch>
            <a:fillRect/>
          </a:stretch>
        </p:blipFill>
        <p:spPr>
          <a:xfrm rot="19800000">
            <a:off x="421100" y="4657564"/>
            <a:ext cx="884802" cy="447298"/>
          </a:xfrm>
          <a:prstGeom prst="rect">
            <a:avLst/>
          </a:prstGeom>
        </p:spPr>
      </p:pic>
      <p:graphicFrame>
        <p:nvGraphicFramePr>
          <p:cNvPr id="2820" name="Table 2819">
            <a:extLst>
              <a:ext uri="{FF2B5EF4-FFF2-40B4-BE49-F238E27FC236}">
                <a16:creationId xmlns:a16="http://schemas.microsoft.com/office/drawing/2014/main" id="{89A8A12C-D536-4549-8896-ACAF02458597}"/>
              </a:ext>
            </a:extLst>
          </p:cNvPr>
          <p:cNvGraphicFramePr>
            <a:graphicFrameLocks noGrp="1"/>
          </p:cNvGraphicFramePr>
          <p:nvPr/>
        </p:nvGraphicFramePr>
        <p:xfrm>
          <a:off x="723088" y="3207003"/>
          <a:ext cx="2221358" cy="1265161"/>
        </p:xfrm>
        <a:graphic>
          <a:graphicData uri="http://schemas.openxmlformats.org/drawingml/2006/table">
            <a:tbl>
              <a:tblPr firstRow="1" bandRow="1">
                <a:tableStyleId>{5C22544A-7EE6-4342-B048-85BDC9FD1C3A}</a:tableStyleId>
              </a:tblPr>
              <a:tblGrid>
                <a:gridCol w="482305">
                  <a:extLst>
                    <a:ext uri="{9D8B030D-6E8A-4147-A177-3AD203B41FA5}">
                      <a16:colId xmlns:a16="http://schemas.microsoft.com/office/drawing/2014/main" val="3104683680"/>
                    </a:ext>
                  </a:extLst>
                </a:gridCol>
                <a:gridCol w="202340">
                  <a:extLst>
                    <a:ext uri="{9D8B030D-6E8A-4147-A177-3AD203B41FA5}">
                      <a16:colId xmlns:a16="http://schemas.microsoft.com/office/drawing/2014/main" val="20000"/>
                    </a:ext>
                  </a:extLst>
                </a:gridCol>
                <a:gridCol w="887891">
                  <a:extLst>
                    <a:ext uri="{9D8B030D-6E8A-4147-A177-3AD203B41FA5}">
                      <a16:colId xmlns:a16="http://schemas.microsoft.com/office/drawing/2014/main" val="20001"/>
                    </a:ext>
                  </a:extLst>
                </a:gridCol>
                <a:gridCol w="324411">
                  <a:extLst>
                    <a:ext uri="{9D8B030D-6E8A-4147-A177-3AD203B41FA5}">
                      <a16:colId xmlns:a16="http://schemas.microsoft.com/office/drawing/2014/main" val="20002"/>
                    </a:ext>
                  </a:extLst>
                </a:gridCol>
                <a:gridCol w="324411">
                  <a:extLst>
                    <a:ext uri="{9D8B030D-6E8A-4147-A177-3AD203B41FA5}">
                      <a16:colId xmlns:a16="http://schemas.microsoft.com/office/drawing/2014/main" val="20003"/>
                    </a:ext>
                  </a:extLst>
                </a:gridCol>
              </a:tblGrid>
              <a:tr h="161168">
                <a:tc rowSpan="8">
                  <a:txBody>
                    <a:bodyPr/>
                    <a:lstStyle/>
                    <a:p>
                      <a:pPr algn="ctr">
                        <a:lnSpc>
                          <a:spcPct val="90000"/>
                        </a:lnSpc>
                        <a:spcAft>
                          <a:spcPts val="200"/>
                        </a:spcAft>
                      </a:pPr>
                      <a:endParaRPr lang="en-US" sz="700" dirty="0"/>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gridSpan="4">
                  <a:txBody>
                    <a:bodyPr/>
                    <a:lstStyle/>
                    <a:p>
                      <a:pPr algn="ctr">
                        <a:lnSpc>
                          <a:spcPct val="90000"/>
                        </a:lnSpc>
                        <a:spcAft>
                          <a:spcPts val="200"/>
                        </a:spcAft>
                      </a:pPr>
                      <a:r>
                        <a:rPr lang="en-US" sz="700" dirty="0"/>
                        <a:t>Product Backlog</a:t>
                      </a:r>
                    </a:p>
                  </a:txBody>
                  <a:tcPr marL="65181" marR="65181" marT="32591" marB="3259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endParaRPr lang="en-US"/>
                    </a:p>
                  </a:txBody>
                  <a:tcP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0000"/>
                  </a:ext>
                </a:extLst>
              </a:tr>
              <a:tr h="148611">
                <a:tc vMerge="1">
                  <a:txBody>
                    <a:bodyPr/>
                    <a:lstStyle/>
                    <a:p>
                      <a:pPr algn="ctr"/>
                      <a:endParaRPr lang="en-US" sz="600" b="1">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600" b="1" dirty="0">
                          <a:solidFill>
                            <a:schemeClr val="bg1"/>
                          </a:solidFill>
                        </a:rPr>
                        <a:t>Pri</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User</a:t>
                      </a:r>
                      <a:r>
                        <a:rPr lang="en-US" sz="600" b="1" baseline="0" dirty="0">
                          <a:solidFill>
                            <a:schemeClr val="bg1"/>
                          </a:solidFill>
                        </a:rPr>
                        <a:t> </a:t>
                      </a:r>
                      <a:r>
                        <a:rPr lang="en-US" sz="600" b="1" dirty="0">
                          <a:solidFill>
                            <a:schemeClr val="bg1"/>
                          </a:solidFill>
                        </a:rPr>
                        <a:t>Stor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Est.</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600" b="1" dirty="0">
                          <a:solidFill>
                            <a:schemeClr val="bg1"/>
                          </a:solidFill>
                        </a:rPr>
                        <a:t>Rdy?</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2</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228600" indent="-22860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2"/>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23</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3"/>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8</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4"/>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4</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5</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5"/>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5</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8</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2</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indent="-171450" algn="l">
                        <a:buFont typeface="Wingdings" panose="05000000000000000000" pitchFamily="2" charset="2"/>
                        <a:buChar char="ü"/>
                      </a:pPr>
                      <a:r>
                        <a:rPr lang="en-US" sz="700" dirty="0">
                          <a:solidFill>
                            <a:schemeClr val="bg1"/>
                          </a:solidFill>
                        </a:rPr>
                        <a:t> </a:t>
                      </a: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6"/>
                  </a:ext>
                </a:extLst>
              </a:tr>
              <a:tr h="159226">
                <a:tc vMerge="1">
                  <a:txBody>
                    <a:bodyPr/>
                    <a:lstStyle/>
                    <a:p>
                      <a:pPr algn="ctr"/>
                      <a:endParaRPr lang="en-US" sz="700">
                        <a:solidFill>
                          <a:schemeClr val="bg1"/>
                        </a:solidFill>
                      </a:endParaRPr>
                    </a:p>
                  </a:txBody>
                  <a:tcPr marL="0" marR="0" marT="20375" marB="20375">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76A8"/>
                    </a:solidFill>
                  </a:tcPr>
                </a:tc>
                <a:tc>
                  <a:txBody>
                    <a:bodyPr/>
                    <a:lstStyle/>
                    <a:p>
                      <a:pPr algn="ctr"/>
                      <a:r>
                        <a:rPr lang="en-US" sz="700" dirty="0">
                          <a:solidFill>
                            <a:schemeClr val="bg1"/>
                          </a:solidFill>
                        </a:rPr>
                        <a:t>6</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r>
                        <a:rPr lang="en-US" sz="700" dirty="0">
                          <a:solidFill>
                            <a:schemeClr val="bg1"/>
                          </a:solidFill>
                        </a:rPr>
                        <a:t>User Story 19</a:t>
                      </a:r>
                    </a:p>
                  </a:txBody>
                  <a:tcPr marL="26072"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US" sz="700" dirty="0">
                          <a:solidFill>
                            <a:schemeClr val="bg1"/>
                          </a:solidFill>
                        </a:rPr>
                        <a:t>13</a:t>
                      </a:r>
                    </a:p>
                  </a:txBody>
                  <a:tcPr marL="0"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indent="0" algn="l">
                        <a:buFont typeface="Wingdings" panose="05000000000000000000" pitchFamily="2" charset="2"/>
                        <a:buNone/>
                      </a:pPr>
                      <a:r>
                        <a:rPr lang="en-US" sz="700" dirty="0">
                          <a:solidFill>
                            <a:schemeClr val="bg1"/>
                          </a:solidFill>
                        </a:rPr>
                        <a:t>--</a:t>
                      </a:r>
                      <a:r>
                        <a:rPr lang="en-US" sz="700" baseline="0" dirty="0">
                          <a:solidFill>
                            <a:schemeClr val="bg1"/>
                          </a:solidFill>
                        </a:rPr>
                        <a:t> </a:t>
                      </a:r>
                      <a:endParaRPr lang="en-US" sz="700" dirty="0">
                        <a:solidFill>
                          <a:schemeClr val="bg1"/>
                        </a:solidFill>
                      </a:endParaRPr>
                    </a:p>
                  </a:txBody>
                  <a:tcPr marL="91183" marR="0" marT="20370" marB="2037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7"/>
                  </a:ext>
                </a:extLst>
              </a:tr>
            </a:tbl>
          </a:graphicData>
        </a:graphic>
      </p:graphicFrame>
      <p:grpSp>
        <p:nvGrpSpPr>
          <p:cNvPr id="2821" name="Group 2820">
            <a:extLst>
              <a:ext uri="{FF2B5EF4-FFF2-40B4-BE49-F238E27FC236}">
                <a16:creationId xmlns:a16="http://schemas.microsoft.com/office/drawing/2014/main" id="{1A72D80C-EC97-4590-90E5-A0435476FCFE}"/>
              </a:ext>
            </a:extLst>
          </p:cNvPr>
          <p:cNvGrpSpPr/>
          <p:nvPr/>
        </p:nvGrpSpPr>
        <p:grpSpPr>
          <a:xfrm>
            <a:off x="766965" y="3483750"/>
            <a:ext cx="381241" cy="766727"/>
            <a:chOff x="765576" y="3316088"/>
            <a:chExt cx="381340" cy="766927"/>
          </a:xfrm>
        </p:grpSpPr>
        <p:pic>
          <p:nvPicPr>
            <p:cNvPr id="2822" name="Picture 2821">
              <a:extLst>
                <a:ext uri="{FF2B5EF4-FFF2-40B4-BE49-F238E27FC236}">
                  <a16:creationId xmlns:a16="http://schemas.microsoft.com/office/drawing/2014/main" id="{FE11C917-2E55-4F7D-A2A1-2EFAB11CDE0C}"/>
                </a:ext>
              </a:extLst>
            </p:cNvPr>
            <p:cNvPicPr>
              <a:picLocks noChangeAspect="1"/>
            </p:cNvPicPr>
            <p:nvPr/>
          </p:nvPicPr>
          <p:blipFill>
            <a:blip r:embed="rId9"/>
            <a:stretch>
              <a:fillRect/>
            </a:stretch>
          </p:blipFill>
          <p:spPr>
            <a:xfrm flipH="1">
              <a:off x="765576" y="3316088"/>
              <a:ext cx="300182" cy="375226"/>
            </a:xfrm>
            <a:prstGeom prst="rect">
              <a:avLst/>
            </a:prstGeom>
          </p:spPr>
        </p:pic>
        <p:pic>
          <p:nvPicPr>
            <p:cNvPr id="2823" name="Picture 2822">
              <a:extLst>
                <a:ext uri="{FF2B5EF4-FFF2-40B4-BE49-F238E27FC236}">
                  <a16:creationId xmlns:a16="http://schemas.microsoft.com/office/drawing/2014/main" id="{17224878-9330-48F3-B403-329D12D003CF}"/>
                </a:ext>
              </a:extLst>
            </p:cNvPr>
            <p:cNvPicPr>
              <a:picLocks noChangeAspect="1"/>
            </p:cNvPicPr>
            <p:nvPr/>
          </p:nvPicPr>
          <p:blipFill>
            <a:blip r:embed="rId9"/>
            <a:stretch>
              <a:fillRect/>
            </a:stretch>
          </p:blipFill>
          <p:spPr>
            <a:xfrm flipH="1">
              <a:off x="806930" y="3496989"/>
              <a:ext cx="300182" cy="375226"/>
            </a:xfrm>
            <a:prstGeom prst="rect">
              <a:avLst/>
            </a:prstGeom>
          </p:spPr>
        </p:pic>
        <p:pic>
          <p:nvPicPr>
            <p:cNvPr id="2824" name="Picture 2823">
              <a:extLst>
                <a:ext uri="{FF2B5EF4-FFF2-40B4-BE49-F238E27FC236}">
                  <a16:creationId xmlns:a16="http://schemas.microsoft.com/office/drawing/2014/main" id="{852FF2A2-2767-4AFF-951E-8472461D8D9B}"/>
                </a:ext>
              </a:extLst>
            </p:cNvPr>
            <p:cNvPicPr>
              <a:picLocks noChangeAspect="1"/>
            </p:cNvPicPr>
            <p:nvPr/>
          </p:nvPicPr>
          <p:blipFill>
            <a:blip r:embed="rId9"/>
            <a:stretch>
              <a:fillRect/>
            </a:stretch>
          </p:blipFill>
          <p:spPr>
            <a:xfrm flipH="1">
              <a:off x="846734" y="3707789"/>
              <a:ext cx="300182" cy="375226"/>
            </a:xfrm>
            <a:prstGeom prst="rect">
              <a:avLst/>
            </a:prstGeom>
          </p:spPr>
        </p:pic>
      </p:grpSp>
      <p:grpSp>
        <p:nvGrpSpPr>
          <p:cNvPr id="5" name="Group 4">
            <a:extLst>
              <a:ext uri="{FF2B5EF4-FFF2-40B4-BE49-F238E27FC236}">
                <a16:creationId xmlns:a16="http://schemas.microsoft.com/office/drawing/2014/main" id="{5EEE3459-2DC7-42CE-BC3F-E8DC87CB15E6}"/>
              </a:ext>
            </a:extLst>
          </p:cNvPr>
          <p:cNvGrpSpPr/>
          <p:nvPr/>
        </p:nvGrpSpPr>
        <p:grpSpPr>
          <a:xfrm>
            <a:off x="3475092" y="1754090"/>
            <a:ext cx="3106888" cy="2174645"/>
            <a:chOff x="3474409" y="1753652"/>
            <a:chExt cx="3107697" cy="2175211"/>
          </a:xfrm>
        </p:grpSpPr>
        <p:sp>
          <p:nvSpPr>
            <p:cNvPr id="2191" name="Rectangle 2190">
              <a:extLst>
                <a:ext uri="{FF2B5EF4-FFF2-40B4-BE49-F238E27FC236}">
                  <a16:creationId xmlns:a16="http://schemas.microsoft.com/office/drawing/2014/main" id="{89D1F8BB-2ACD-46A8-BABB-497E2F300D91}"/>
                </a:ext>
              </a:extLst>
            </p:cNvPr>
            <p:cNvSpPr/>
            <p:nvPr/>
          </p:nvSpPr>
          <p:spPr>
            <a:xfrm>
              <a:off x="4096356" y="3621870"/>
              <a:ext cx="599295" cy="306993"/>
            </a:xfrm>
            <a:prstGeom prst="rect">
              <a:avLst/>
            </a:prstGeom>
          </p:spPr>
          <p:txBody>
            <a:bodyPr wrap="square">
              <a:spAutoFit/>
            </a:bodyPr>
            <a:lstStyle/>
            <a:p>
              <a:pPr algn="ctr" defTabSz="911818">
                <a:defRPr/>
              </a:pPr>
              <a:r>
                <a:rPr lang="en-US" sz="698" dirty="0">
                  <a:solidFill>
                    <a:schemeClr val="bg1"/>
                  </a:solidFill>
                </a:rPr>
                <a:t>Sprint Planning</a:t>
              </a:r>
            </a:p>
          </p:txBody>
        </p:sp>
        <p:grpSp>
          <p:nvGrpSpPr>
            <p:cNvPr id="4" name="Group 3">
              <a:extLst>
                <a:ext uri="{FF2B5EF4-FFF2-40B4-BE49-F238E27FC236}">
                  <a16:creationId xmlns:a16="http://schemas.microsoft.com/office/drawing/2014/main" id="{D07FDF92-4F18-4D73-938A-6E4D44CEEA44}"/>
                </a:ext>
              </a:extLst>
            </p:cNvPr>
            <p:cNvGrpSpPr/>
            <p:nvPr/>
          </p:nvGrpSpPr>
          <p:grpSpPr>
            <a:xfrm>
              <a:off x="3474409" y="1753652"/>
              <a:ext cx="3107697" cy="1338890"/>
              <a:chOff x="3474409" y="1753652"/>
              <a:chExt cx="3107697" cy="1338890"/>
            </a:xfrm>
          </p:grpSpPr>
          <p:sp>
            <p:nvSpPr>
              <p:cNvPr id="2105" name="Rectangle 2104">
                <a:extLst>
                  <a:ext uri="{FF2B5EF4-FFF2-40B4-BE49-F238E27FC236}">
                    <a16:creationId xmlns:a16="http://schemas.microsoft.com/office/drawing/2014/main" id="{44E516F3-313F-4914-B318-9AB1CD619BCC}"/>
                  </a:ext>
                </a:extLst>
              </p:cNvPr>
              <p:cNvSpPr>
                <a:spLocks/>
              </p:cNvSpPr>
              <p:nvPr/>
            </p:nvSpPr>
            <p:spPr bwMode="gray">
              <a:xfrm>
                <a:off x="3474409" y="1753652"/>
                <a:ext cx="3107697" cy="1307911"/>
              </a:xfrm>
              <a:prstGeom prst="rect">
                <a:avLst/>
              </a:prstGeom>
              <a:solidFill>
                <a:srgbClr val="DDEFE8"/>
              </a:solidFill>
              <a:ln w="19050" algn="ctr">
                <a:noFill/>
                <a:miter lim="800000"/>
                <a:headEnd/>
                <a:tailEnd/>
              </a:ln>
            </p:spPr>
            <p:txBody>
              <a:bodyPr wrap="square" lIns="62170" tIns="31086" rIns="62170" bIns="0" rtlCol="0" anchor="t"/>
              <a:lstStyle/>
              <a:p>
                <a:pPr algn="ctr" defTabSz="828903">
                  <a:defRPr/>
                </a:pPr>
                <a:r>
                  <a:rPr lang="en-US" sz="816" b="1" dirty="0">
                    <a:solidFill>
                      <a:prstClr val="black"/>
                    </a:solidFill>
                    <a:latin typeface="Verdana"/>
                  </a:rPr>
                  <a:t>Sprint Planning</a:t>
                </a:r>
              </a:p>
              <a:p>
                <a:pPr defTabSz="828903">
                  <a:defRPr/>
                </a:pPr>
                <a:endParaRPr lang="en-US" sz="476" dirty="0">
                  <a:solidFill>
                    <a:srgbClr val="FF0000"/>
                  </a:solidFill>
                  <a:latin typeface="Verdana"/>
                </a:endParaRPr>
              </a:p>
              <a:p>
                <a:pPr marL="124339" indent="-124339" defTabSz="828903">
                  <a:lnSpc>
                    <a:spcPct val="90000"/>
                  </a:lnSpc>
                  <a:spcAft>
                    <a:spcPts val="204"/>
                  </a:spcAft>
                  <a:buFont typeface="+mj-lt"/>
                  <a:buAutoNum type="arabicPeriod"/>
                  <a:defRPr/>
                </a:pPr>
                <a:r>
                  <a:rPr lang="en-US" sz="748" dirty="0">
                    <a:latin typeface="Verdana"/>
                  </a:rPr>
                  <a:t>Confirm shared understanding </a:t>
                </a:r>
                <a:br>
                  <a:rPr lang="en-US" sz="748" dirty="0">
                    <a:latin typeface="Verdana"/>
                  </a:rPr>
                </a:br>
                <a:r>
                  <a:rPr lang="en-US" sz="748" dirty="0">
                    <a:latin typeface="Verdana"/>
                  </a:rPr>
                  <a:t>of User Stories</a:t>
                </a:r>
              </a:p>
              <a:p>
                <a:pPr marL="124339" indent="-124339" defTabSz="828903">
                  <a:lnSpc>
                    <a:spcPct val="90000"/>
                  </a:lnSpc>
                  <a:spcAft>
                    <a:spcPts val="204"/>
                  </a:spcAft>
                  <a:buFont typeface="+mj-lt"/>
                  <a:buAutoNum type="arabicPeriod"/>
                  <a:defRPr/>
                </a:pPr>
                <a:r>
                  <a:rPr lang="en-US" sz="748" dirty="0">
                    <a:solidFill>
                      <a:prstClr val="black"/>
                    </a:solidFill>
                    <a:latin typeface="Verdana"/>
                  </a:rPr>
                  <a:t>Breakdown into Tasks &amp;</a:t>
                </a:r>
                <a:br>
                  <a:rPr lang="en-US" sz="748" dirty="0">
                    <a:solidFill>
                      <a:prstClr val="black"/>
                    </a:solidFill>
                    <a:latin typeface="Verdana"/>
                  </a:rPr>
                </a:br>
                <a:r>
                  <a:rPr lang="en-US" sz="748" dirty="0">
                    <a:solidFill>
                      <a:prstClr val="black"/>
                    </a:solidFill>
                    <a:latin typeface="Verdana"/>
                  </a:rPr>
                  <a:t>estimate in hours</a:t>
                </a:r>
              </a:p>
            </p:txBody>
          </p:sp>
          <p:grpSp>
            <p:nvGrpSpPr>
              <p:cNvPr id="2106" name="Group 2105">
                <a:extLst>
                  <a:ext uri="{FF2B5EF4-FFF2-40B4-BE49-F238E27FC236}">
                    <a16:creationId xmlns:a16="http://schemas.microsoft.com/office/drawing/2014/main" id="{5AF1A57A-6041-40E5-95D8-3110D4631C73}"/>
                  </a:ext>
                </a:extLst>
              </p:cNvPr>
              <p:cNvGrpSpPr/>
              <p:nvPr/>
            </p:nvGrpSpPr>
            <p:grpSpPr>
              <a:xfrm>
                <a:off x="3504077" y="2398698"/>
                <a:ext cx="1559613" cy="693844"/>
                <a:chOff x="3512580" y="2236718"/>
                <a:chExt cx="1563594" cy="695615"/>
              </a:xfrm>
            </p:grpSpPr>
            <p:grpSp>
              <p:nvGrpSpPr>
                <p:cNvPr id="2107" name="Group 2106">
                  <a:extLst>
                    <a:ext uri="{FF2B5EF4-FFF2-40B4-BE49-F238E27FC236}">
                      <a16:creationId xmlns:a16="http://schemas.microsoft.com/office/drawing/2014/main" id="{3FAA8F21-0B40-4BFE-ABF3-D6F66711CD94}"/>
                    </a:ext>
                  </a:extLst>
                </p:cNvPr>
                <p:cNvGrpSpPr>
                  <a:grpSpLocks/>
                </p:cNvGrpSpPr>
                <p:nvPr/>
              </p:nvGrpSpPr>
              <p:grpSpPr>
                <a:xfrm>
                  <a:off x="3512580" y="2240647"/>
                  <a:ext cx="418017" cy="418017"/>
                  <a:chOff x="745985" y="4768134"/>
                  <a:chExt cx="368776" cy="368777"/>
                </a:xfrm>
              </p:grpSpPr>
              <p:grpSp>
                <p:nvGrpSpPr>
                  <p:cNvPr id="2171" name="Group 64">
                    <a:extLst>
                      <a:ext uri="{FF2B5EF4-FFF2-40B4-BE49-F238E27FC236}">
                        <a16:creationId xmlns:a16="http://schemas.microsoft.com/office/drawing/2014/main" id="{38EC354A-5F5B-414D-9BE2-F680719CDB0D}"/>
                      </a:ext>
                    </a:extLst>
                  </p:cNvPr>
                  <p:cNvGrpSpPr>
                    <a:grpSpLocks noChangeAspect="1"/>
                  </p:cNvGrpSpPr>
                  <p:nvPr/>
                </p:nvGrpSpPr>
                <p:grpSpPr bwMode="auto">
                  <a:xfrm rot="8100000">
                    <a:off x="745985" y="4768134"/>
                    <a:ext cx="368776" cy="368777"/>
                    <a:chOff x="701" y="2170"/>
                    <a:chExt cx="587" cy="587"/>
                  </a:xfrm>
                </p:grpSpPr>
                <p:sp>
                  <p:nvSpPr>
                    <p:cNvPr id="2182" name="Oval 65">
                      <a:extLst>
                        <a:ext uri="{FF2B5EF4-FFF2-40B4-BE49-F238E27FC236}">
                          <a16:creationId xmlns:a16="http://schemas.microsoft.com/office/drawing/2014/main" id="{E48D45F4-2D4B-4F31-90D7-988033BE94A0}"/>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83" name="Line 66">
                      <a:extLst>
                        <a:ext uri="{FF2B5EF4-FFF2-40B4-BE49-F238E27FC236}">
                          <a16:creationId xmlns:a16="http://schemas.microsoft.com/office/drawing/2014/main" id="{17980589-1B20-462C-9FD7-541129E1D230}"/>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4" name="Line 67">
                      <a:extLst>
                        <a:ext uri="{FF2B5EF4-FFF2-40B4-BE49-F238E27FC236}">
                          <a16:creationId xmlns:a16="http://schemas.microsoft.com/office/drawing/2014/main" id="{08F6E583-99D8-4EFD-917A-22B56D6A3AF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5" name="Line 69">
                      <a:extLst>
                        <a:ext uri="{FF2B5EF4-FFF2-40B4-BE49-F238E27FC236}">
                          <a16:creationId xmlns:a16="http://schemas.microsoft.com/office/drawing/2014/main" id="{F84751FB-D875-443B-B9F1-00A506F2C9BC}"/>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6" name="Line 74">
                      <a:extLst>
                        <a:ext uri="{FF2B5EF4-FFF2-40B4-BE49-F238E27FC236}">
                          <a16:creationId xmlns:a16="http://schemas.microsoft.com/office/drawing/2014/main" id="{8980D920-70AF-4C24-A8A5-A29A9D314CB1}"/>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7" name="Freeform 78">
                      <a:extLst>
                        <a:ext uri="{FF2B5EF4-FFF2-40B4-BE49-F238E27FC236}">
                          <a16:creationId xmlns:a16="http://schemas.microsoft.com/office/drawing/2014/main" id="{7278A439-704A-41CA-80D3-8832931F3B37}"/>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8" name="Freeform 80">
                      <a:extLst>
                        <a:ext uri="{FF2B5EF4-FFF2-40B4-BE49-F238E27FC236}">
                          <a16:creationId xmlns:a16="http://schemas.microsoft.com/office/drawing/2014/main" id="{4407C87D-B2E5-428A-B68F-9BEE53F202DE}"/>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72" name="Group 2171">
                    <a:extLst>
                      <a:ext uri="{FF2B5EF4-FFF2-40B4-BE49-F238E27FC236}">
                        <a16:creationId xmlns:a16="http://schemas.microsoft.com/office/drawing/2014/main" id="{AF84420C-E4A9-4F8C-9324-06623783D1A5}"/>
                      </a:ext>
                    </a:extLst>
                  </p:cNvPr>
                  <p:cNvGrpSpPr/>
                  <p:nvPr/>
                </p:nvGrpSpPr>
                <p:grpSpPr>
                  <a:xfrm>
                    <a:off x="837312" y="4814434"/>
                    <a:ext cx="136805" cy="278689"/>
                    <a:chOff x="2806700" y="2803319"/>
                    <a:chExt cx="433387" cy="882861"/>
                  </a:xfrm>
                </p:grpSpPr>
                <p:grpSp>
                  <p:nvGrpSpPr>
                    <p:cNvPr id="2173" name="Group 2172">
                      <a:extLst>
                        <a:ext uri="{FF2B5EF4-FFF2-40B4-BE49-F238E27FC236}">
                          <a16:creationId xmlns:a16="http://schemas.microsoft.com/office/drawing/2014/main" id="{A5E697F8-92AC-4BD0-9129-C67AF64A3869}"/>
                        </a:ext>
                      </a:extLst>
                    </p:cNvPr>
                    <p:cNvGrpSpPr>
                      <a:grpSpLocks noChangeAspect="1"/>
                    </p:cNvGrpSpPr>
                    <p:nvPr/>
                  </p:nvGrpSpPr>
                  <p:grpSpPr bwMode="auto">
                    <a:xfrm>
                      <a:off x="2806700" y="3043242"/>
                      <a:ext cx="433387" cy="642938"/>
                      <a:chOff x="1768" y="1917"/>
                      <a:chExt cx="273" cy="405"/>
                    </a:xfrm>
                  </p:grpSpPr>
                  <p:sp>
                    <p:nvSpPr>
                      <p:cNvPr id="2175" name="Freeform 52">
                        <a:extLst>
                          <a:ext uri="{FF2B5EF4-FFF2-40B4-BE49-F238E27FC236}">
                            <a16:creationId xmlns:a16="http://schemas.microsoft.com/office/drawing/2014/main" id="{C449D0F1-569C-42BE-B5E1-518BB0764D59}"/>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76" name="Line 54">
                        <a:extLst>
                          <a:ext uri="{FF2B5EF4-FFF2-40B4-BE49-F238E27FC236}">
                            <a16:creationId xmlns:a16="http://schemas.microsoft.com/office/drawing/2014/main" id="{4D088C09-DDB8-43AA-952A-CA9724EC801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7" name="Line 55">
                        <a:extLst>
                          <a:ext uri="{FF2B5EF4-FFF2-40B4-BE49-F238E27FC236}">
                            <a16:creationId xmlns:a16="http://schemas.microsoft.com/office/drawing/2014/main" id="{A7A5D080-91B1-406C-B744-3E56686F2472}"/>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8" name="Freeform 56">
                        <a:extLst>
                          <a:ext uri="{FF2B5EF4-FFF2-40B4-BE49-F238E27FC236}">
                            <a16:creationId xmlns:a16="http://schemas.microsoft.com/office/drawing/2014/main" id="{2D15C026-04EE-4121-9FF3-3195568DE13D}"/>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9" name="Line 57">
                        <a:extLst>
                          <a:ext uri="{FF2B5EF4-FFF2-40B4-BE49-F238E27FC236}">
                            <a16:creationId xmlns:a16="http://schemas.microsoft.com/office/drawing/2014/main" id="{225C9A12-C9E9-43F5-B14C-4A90A9ECFC3B}"/>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0" name="Freeform 58">
                        <a:extLst>
                          <a:ext uri="{FF2B5EF4-FFF2-40B4-BE49-F238E27FC236}">
                            <a16:creationId xmlns:a16="http://schemas.microsoft.com/office/drawing/2014/main" id="{4EDD10A5-C468-4686-802A-FAF24DE2F2A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81" name="Rectangle 2180">
                        <a:extLst>
                          <a:ext uri="{FF2B5EF4-FFF2-40B4-BE49-F238E27FC236}">
                            <a16:creationId xmlns:a16="http://schemas.microsoft.com/office/drawing/2014/main" id="{5606A2F7-2BC4-41E7-A55B-553E73182730}"/>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grpSp>
                <p:sp>
                  <p:nvSpPr>
                    <p:cNvPr id="2174" name="Oval 2173">
                      <a:extLst>
                        <a:ext uri="{FF2B5EF4-FFF2-40B4-BE49-F238E27FC236}">
                          <a16:creationId xmlns:a16="http://schemas.microsoft.com/office/drawing/2014/main" id="{09ACAF1E-A7C8-4DB3-BBC4-2010ACA3D511}"/>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grpSp>
            </p:grpSp>
            <p:grpSp>
              <p:nvGrpSpPr>
                <p:cNvPr id="2108" name="Group 2107">
                  <a:extLst>
                    <a:ext uri="{FF2B5EF4-FFF2-40B4-BE49-F238E27FC236}">
                      <a16:creationId xmlns:a16="http://schemas.microsoft.com/office/drawing/2014/main" id="{792DAFCB-C935-451B-B203-1C3F9D9170FF}"/>
                    </a:ext>
                  </a:extLst>
                </p:cNvPr>
                <p:cNvGrpSpPr>
                  <a:grpSpLocks/>
                </p:cNvGrpSpPr>
                <p:nvPr/>
              </p:nvGrpSpPr>
              <p:grpSpPr>
                <a:xfrm>
                  <a:off x="3989965" y="2395465"/>
                  <a:ext cx="536865" cy="536868"/>
                  <a:chOff x="1454941" y="4721722"/>
                  <a:chExt cx="473625" cy="473627"/>
                </a:xfrm>
              </p:grpSpPr>
              <p:grpSp>
                <p:nvGrpSpPr>
                  <p:cNvPr id="2132" name="Group 64">
                    <a:extLst>
                      <a:ext uri="{FF2B5EF4-FFF2-40B4-BE49-F238E27FC236}">
                        <a16:creationId xmlns:a16="http://schemas.microsoft.com/office/drawing/2014/main" id="{95FC00C3-E804-45A7-A377-AD11BF922982}"/>
                      </a:ext>
                    </a:extLst>
                  </p:cNvPr>
                  <p:cNvGrpSpPr>
                    <a:grpSpLocks noChangeAspect="1"/>
                  </p:cNvGrpSpPr>
                  <p:nvPr/>
                </p:nvGrpSpPr>
                <p:grpSpPr bwMode="auto">
                  <a:xfrm rot="8100000">
                    <a:off x="1454941" y="4721722"/>
                    <a:ext cx="473625" cy="473627"/>
                    <a:chOff x="701" y="2170"/>
                    <a:chExt cx="587" cy="587"/>
                  </a:xfrm>
                </p:grpSpPr>
                <p:sp>
                  <p:nvSpPr>
                    <p:cNvPr id="2164" name="Oval 65">
                      <a:extLst>
                        <a:ext uri="{FF2B5EF4-FFF2-40B4-BE49-F238E27FC236}">
                          <a16:creationId xmlns:a16="http://schemas.microsoft.com/office/drawing/2014/main" id="{EACF8D5C-608F-48E7-B074-B183F86E0A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65" name="Line 66">
                      <a:extLst>
                        <a:ext uri="{FF2B5EF4-FFF2-40B4-BE49-F238E27FC236}">
                          <a16:creationId xmlns:a16="http://schemas.microsoft.com/office/drawing/2014/main" id="{1F6A04EB-1B9D-4A53-BB4E-BE0BBD531D9E}"/>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6" name="Line 67">
                      <a:extLst>
                        <a:ext uri="{FF2B5EF4-FFF2-40B4-BE49-F238E27FC236}">
                          <a16:creationId xmlns:a16="http://schemas.microsoft.com/office/drawing/2014/main" id="{7EBB1F3F-FBFC-44BA-B0D6-3EE0FD2D410A}"/>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7" name="Line 69">
                      <a:extLst>
                        <a:ext uri="{FF2B5EF4-FFF2-40B4-BE49-F238E27FC236}">
                          <a16:creationId xmlns:a16="http://schemas.microsoft.com/office/drawing/2014/main" id="{F20ADE09-C140-4F3C-AE4C-A9786262BDD1}"/>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8" name="Line 74">
                      <a:extLst>
                        <a:ext uri="{FF2B5EF4-FFF2-40B4-BE49-F238E27FC236}">
                          <a16:creationId xmlns:a16="http://schemas.microsoft.com/office/drawing/2014/main" id="{CE1C09F1-0967-4544-8899-A5768B0B4F2E}"/>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9" name="Freeform 78">
                      <a:extLst>
                        <a:ext uri="{FF2B5EF4-FFF2-40B4-BE49-F238E27FC236}">
                          <a16:creationId xmlns:a16="http://schemas.microsoft.com/office/drawing/2014/main" id="{56EB5BCF-13D1-4C3D-BE9D-3872A5AE0962}"/>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70" name="Freeform 80">
                      <a:extLst>
                        <a:ext uri="{FF2B5EF4-FFF2-40B4-BE49-F238E27FC236}">
                          <a16:creationId xmlns:a16="http://schemas.microsoft.com/office/drawing/2014/main" id="{7CCAB085-C2B9-460B-BA69-B4D5776216DB}"/>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33" name="Group 2132">
                    <a:extLst>
                      <a:ext uri="{FF2B5EF4-FFF2-40B4-BE49-F238E27FC236}">
                        <a16:creationId xmlns:a16="http://schemas.microsoft.com/office/drawing/2014/main" id="{2D4DB5BA-3D87-4D38-81F4-383C4020368B}"/>
                      </a:ext>
                    </a:extLst>
                  </p:cNvPr>
                  <p:cNvGrpSpPr/>
                  <p:nvPr/>
                </p:nvGrpSpPr>
                <p:grpSpPr>
                  <a:xfrm>
                    <a:off x="1511214" y="4789508"/>
                    <a:ext cx="356509" cy="349884"/>
                    <a:chOff x="468738" y="2241878"/>
                    <a:chExt cx="1655483" cy="1624719"/>
                  </a:xfrm>
                </p:grpSpPr>
                <p:sp>
                  <p:nvSpPr>
                    <p:cNvPr id="2134" name="Freeform 5">
                      <a:extLst>
                        <a:ext uri="{FF2B5EF4-FFF2-40B4-BE49-F238E27FC236}">
                          <a16:creationId xmlns:a16="http://schemas.microsoft.com/office/drawing/2014/main" id="{AD3029D4-64CC-47C2-B1C4-D8ED87543874}"/>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35" name="Freeform 6">
                      <a:extLst>
                        <a:ext uri="{FF2B5EF4-FFF2-40B4-BE49-F238E27FC236}">
                          <a16:creationId xmlns:a16="http://schemas.microsoft.com/office/drawing/2014/main" id="{B5BFE621-131C-4D52-9439-80C4EC959BEB}"/>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6" name="Line 7">
                      <a:extLst>
                        <a:ext uri="{FF2B5EF4-FFF2-40B4-BE49-F238E27FC236}">
                          <a16:creationId xmlns:a16="http://schemas.microsoft.com/office/drawing/2014/main" id="{BB28B918-CD33-43C8-879C-64C32651725A}"/>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7" name="Freeform 8">
                      <a:extLst>
                        <a:ext uri="{FF2B5EF4-FFF2-40B4-BE49-F238E27FC236}">
                          <a16:creationId xmlns:a16="http://schemas.microsoft.com/office/drawing/2014/main" id="{B2F90028-D1CD-4003-860F-9380A5C2844F}"/>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8" name="Line 9">
                      <a:extLst>
                        <a:ext uri="{FF2B5EF4-FFF2-40B4-BE49-F238E27FC236}">
                          <a16:creationId xmlns:a16="http://schemas.microsoft.com/office/drawing/2014/main" id="{D7D524DB-5ED9-4BEC-BD8E-345DBDE0EA76}"/>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39" name="Group 2138">
                      <a:extLst>
                        <a:ext uri="{FF2B5EF4-FFF2-40B4-BE49-F238E27FC236}">
                          <a16:creationId xmlns:a16="http://schemas.microsoft.com/office/drawing/2014/main" id="{22510D73-D663-4E1A-9845-701E923B6979}"/>
                        </a:ext>
                      </a:extLst>
                    </p:cNvPr>
                    <p:cNvGrpSpPr/>
                    <p:nvPr/>
                  </p:nvGrpSpPr>
                  <p:grpSpPr>
                    <a:xfrm>
                      <a:off x="1207113" y="2241878"/>
                      <a:ext cx="178734" cy="348678"/>
                      <a:chOff x="1207113" y="2241878"/>
                      <a:chExt cx="178734" cy="348678"/>
                    </a:xfrm>
                  </p:grpSpPr>
                  <p:sp>
                    <p:nvSpPr>
                      <p:cNvPr id="2162" name="Freeform 10">
                        <a:extLst>
                          <a:ext uri="{FF2B5EF4-FFF2-40B4-BE49-F238E27FC236}">
                            <a16:creationId xmlns:a16="http://schemas.microsoft.com/office/drawing/2014/main" id="{6EFEEAC3-1634-423B-A959-6E7830384C26}"/>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3" name="Line 11">
                        <a:extLst>
                          <a:ext uri="{FF2B5EF4-FFF2-40B4-BE49-F238E27FC236}">
                            <a16:creationId xmlns:a16="http://schemas.microsoft.com/office/drawing/2014/main" id="{8F45FDBF-0115-45E1-9B55-D71F00100946}"/>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sp>
                  <p:nvSpPr>
                    <p:cNvPr id="2140" name="Freeform 12">
                      <a:extLst>
                        <a:ext uri="{FF2B5EF4-FFF2-40B4-BE49-F238E27FC236}">
                          <a16:creationId xmlns:a16="http://schemas.microsoft.com/office/drawing/2014/main" id="{3C495552-3098-4661-BDFD-B955DD6BCB14}"/>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1" name="Line 13">
                      <a:extLst>
                        <a:ext uri="{FF2B5EF4-FFF2-40B4-BE49-F238E27FC236}">
                          <a16:creationId xmlns:a16="http://schemas.microsoft.com/office/drawing/2014/main" id="{ECD214C7-EACD-4229-9560-F610FE81A747}"/>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2" name="Freeform 14">
                      <a:extLst>
                        <a:ext uri="{FF2B5EF4-FFF2-40B4-BE49-F238E27FC236}">
                          <a16:creationId xmlns:a16="http://schemas.microsoft.com/office/drawing/2014/main" id="{B4CDA5FF-6B69-415F-ADAB-F765E69E2C2C}"/>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3" name="Line 15">
                      <a:extLst>
                        <a:ext uri="{FF2B5EF4-FFF2-40B4-BE49-F238E27FC236}">
                          <a16:creationId xmlns:a16="http://schemas.microsoft.com/office/drawing/2014/main" id="{05E8653C-22F0-4581-A223-FEED3790531F}"/>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4" name="Freeform 16">
                      <a:extLst>
                        <a:ext uri="{FF2B5EF4-FFF2-40B4-BE49-F238E27FC236}">
                          <a16:creationId xmlns:a16="http://schemas.microsoft.com/office/drawing/2014/main" id="{80E39A21-A447-4749-943A-F7C93F46E122}"/>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5" name="Line 17">
                      <a:extLst>
                        <a:ext uri="{FF2B5EF4-FFF2-40B4-BE49-F238E27FC236}">
                          <a16:creationId xmlns:a16="http://schemas.microsoft.com/office/drawing/2014/main" id="{83312F89-1163-44C1-AE9E-FC31ABFC0208}"/>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6" name="Freeform 18">
                      <a:extLst>
                        <a:ext uri="{FF2B5EF4-FFF2-40B4-BE49-F238E27FC236}">
                          <a16:creationId xmlns:a16="http://schemas.microsoft.com/office/drawing/2014/main" id="{2F1608BA-2BDB-4E5F-AB8F-D06BB95AEB62}"/>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7" name="Line 19">
                      <a:extLst>
                        <a:ext uri="{FF2B5EF4-FFF2-40B4-BE49-F238E27FC236}">
                          <a16:creationId xmlns:a16="http://schemas.microsoft.com/office/drawing/2014/main" id="{1CF28B91-606F-47BB-8755-7C9F19B86E10}"/>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48" name="Freeform 35">
                      <a:extLst>
                        <a:ext uri="{FF2B5EF4-FFF2-40B4-BE49-F238E27FC236}">
                          <a16:creationId xmlns:a16="http://schemas.microsoft.com/office/drawing/2014/main" id="{0D9FC22C-6B97-4EA5-A232-FBADFB8B1072}"/>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49" name="Freeform 36">
                      <a:extLst>
                        <a:ext uri="{FF2B5EF4-FFF2-40B4-BE49-F238E27FC236}">
                          <a16:creationId xmlns:a16="http://schemas.microsoft.com/office/drawing/2014/main" id="{2280C96F-7F21-4E0E-8D7B-080AE874B62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0" name="Freeform 37">
                      <a:extLst>
                        <a:ext uri="{FF2B5EF4-FFF2-40B4-BE49-F238E27FC236}">
                          <a16:creationId xmlns:a16="http://schemas.microsoft.com/office/drawing/2014/main" id="{208BDDF9-9F22-4BE0-B5C5-C73D78961BEF}"/>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1" name="Freeform 38">
                      <a:extLst>
                        <a:ext uri="{FF2B5EF4-FFF2-40B4-BE49-F238E27FC236}">
                          <a16:creationId xmlns:a16="http://schemas.microsoft.com/office/drawing/2014/main" id="{8F240DD0-ACA1-4935-8CAD-EBB363D9A109}"/>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2" name="Freeform 39">
                      <a:extLst>
                        <a:ext uri="{FF2B5EF4-FFF2-40B4-BE49-F238E27FC236}">
                          <a16:creationId xmlns:a16="http://schemas.microsoft.com/office/drawing/2014/main" id="{431E5ABE-687E-4F2C-A695-BA8B469E4941}"/>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3" name="Freeform 40">
                      <a:extLst>
                        <a:ext uri="{FF2B5EF4-FFF2-40B4-BE49-F238E27FC236}">
                          <a16:creationId xmlns:a16="http://schemas.microsoft.com/office/drawing/2014/main" id="{C770EBE2-7126-4073-9654-A1DCC6FD2EE0}"/>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4" name="Freeform 41">
                      <a:extLst>
                        <a:ext uri="{FF2B5EF4-FFF2-40B4-BE49-F238E27FC236}">
                          <a16:creationId xmlns:a16="http://schemas.microsoft.com/office/drawing/2014/main" id="{ECE5DD8B-DAF3-41D3-B6B2-8B48854F1667}"/>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5" name="Line 42">
                      <a:extLst>
                        <a:ext uri="{FF2B5EF4-FFF2-40B4-BE49-F238E27FC236}">
                          <a16:creationId xmlns:a16="http://schemas.microsoft.com/office/drawing/2014/main" id="{D85E7B62-8E0C-40C5-B75A-8D5B4D07F08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6" name="Freeform 43">
                      <a:extLst>
                        <a:ext uri="{FF2B5EF4-FFF2-40B4-BE49-F238E27FC236}">
                          <a16:creationId xmlns:a16="http://schemas.microsoft.com/office/drawing/2014/main" id="{F750F8AA-167B-49D8-8200-E25925C7C5A2}"/>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57" name="Freeform 44">
                      <a:extLst>
                        <a:ext uri="{FF2B5EF4-FFF2-40B4-BE49-F238E27FC236}">
                          <a16:creationId xmlns:a16="http://schemas.microsoft.com/office/drawing/2014/main" id="{26A05AF0-E552-4E8A-8650-8F2D50EB62BE}"/>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58" name="Freeform 45">
                      <a:extLst>
                        <a:ext uri="{FF2B5EF4-FFF2-40B4-BE49-F238E27FC236}">
                          <a16:creationId xmlns:a16="http://schemas.microsoft.com/office/drawing/2014/main" id="{90A305AF-DC97-4D53-A390-B839E25094CC}"/>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nvGrpSpPr>
                    <p:cNvPr id="2159" name="Group 2158">
                      <a:extLst>
                        <a:ext uri="{FF2B5EF4-FFF2-40B4-BE49-F238E27FC236}">
                          <a16:creationId xmlns:a16="http://schemas.microsoft.com/office/drawing/2014/main" id="{16EBB8D7-590F-405B-AC14-9407C90A88BE}"/>
                        </a:ext>
                      </a:extLst>
                    </p:cNvPr>
                    <p:cNvGrpSpPr/>
                    <p:nvPr/>
                  </p:nvGrpSpPr>
                  <p:grpSpPr>
                    <a:xfrm flipV="1">
                      <a:off x="1202047" y="3517919"/>
                      <a:ext cx="178734" cy="348678"/>
                      <a:chOff x="1207113" y="2241878"/>
                      <a:chExt cx="178734" cy="348678"/>
                    </a:xfrm>
                  </p:grpSpPr>
                  <p:sp>
                    <p:nvSpPr>
                      <p:cNvPr id="2160" name="Freeform 10">
                        <a:extLst>
                          <a:ext uri="{FF2B5EF4-FFF2-40B4-BE49-F238E27FC236}">
                            <a16:creationId xmlns:a16="http://schemas.microsoft.com/office/drawing/2014/main" id="{0260155B-1A8C-4AC0-B5E4-EA605B4CCA81}"/>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61" name="Line 11">
                        <a:extLst>
                          <a:ext uri="{FF2B5EF4-FFF2-40B4-BE49-F238E27FC236}">
                            <a16:creationId xmlns:a16="http://schemas.microsoft.com/office/drawing/2014/main" id="{FD8CD03B-2BD9-44F1-9372-51F29A34087C}"/>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109" name="Group 2108">
                  <a:extLst>
                    <a:ext uri="{FF2B5EF4-FFF2-40B4-BE49-F238E27FC236}">
                      <a16:creationId xmlns:a16="http://schemas.microsoft.com/office/drawing/2014/main" id="{F743C01D-A412-4502-B453-0E322E740488}"/>
                    </a:ext>
                  </a:extLst>
                </p:cNvPr>
                <p:cNvGrpSpPr>
                  <a:grpSpLocks/>
                </p:cNvGrpSpPr>
                <p:nvPr/>
              </p:nvGrpSpPr>
              <p:grpSpPr>
                <a:xfrm>
                  <a:off x="4605070" y="2236718"/>
                  <a:ext cx="471104" cy="471107"/>
                  <a:chOff x="2268747" y="4723725"/>
                  <a:chExt cx="415610" cy="415612"/>
                </a:xfrm>
              </p:grpSpPr>
              <p:grpSp>
                <p:nvGrpSpPr>
                  <p:cNvPr id="2110" name="Group 64">
                    <a:extLst>
                      <a:ext uri="{FF2B5EF4-FFF2-40B4-BE49-F238E27FC236}">
                        <a16:creationId xmlns:a16="http://schemas.microsoft.com/office/drawing/2014/main" id="{3ED6BA51-88C4-475D-8CAE-3A4E1CE80C92}"/>
                      </a:ext>
                    </a:extLst>
                  </p:cNvPr>
                  <p:cNvGrpSpPr>
                    <a:grpSpLocks noChangeAspect="1"/>
                  </p:cNvGrpSpPr>
                  <p:nvPr/>
                </p:nvGrpSpPr>
                <p:grpSpPr bwMode="auto">
                  <a:xfrm rot="8100000">
                    <a:off x="2268747" y="4723725"/>
                    <a:ext cx="415610" cy="415612"/>
                    <a:chOff x="701" y="2170"/>
                    <a:chExt cx="587" cy="587"/>
                  </a:xfrm>
                </p:grpSpPr>
                <p:sp>
                  <p:nvSpPr>
                    <p:cNvPr id="2125" name="Oval 65">
                      <a:extLst>
                        <a:ext uri="{FF2B5EF4-FFF2-40B4-BE49-F238E27FC236}">
                          <a16:creationId xmlns:a16="http://schemas.microsoft.com/office/drawing/2014/main" id="{3F488B35-08AC-4424-88EE-CFC42A9905E7}"/>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6" name="Line 66">
                      <a:extLst>
                        <a:ext uri="{FF2B5EF4-FFF2-40B4-BE49-F238E27FC236}">
                          <a16:creationId xmlns:a16="http://schemas.microsoft.com/office/drawing/2014/main" id="{E6EEE647-50EC-466A-9CED-4EBA5BAAF6AB}"/>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7" name="Line 67">
                      <a:extLst>
                        <a:ext uri="{FF2B5EF4-FFF2-40B4-BE49-F238E27FC236}">
                          <a16:creationId xmlns:a16="http://schemas.microsoft.com/office/drawing/2014/main" id="{D279D004-E98F-487A-BBC8-DF988B5B044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8" name="Line 69">
                      <a:extLst>
                        <a:ext uri="{FF2B5EF4-FFF2-40B4-BE49-F238E27FC236}">
                          <a16:creationId xmlns:a16="http://schemas.microsoft.com/office/drawing/2014/main" id="{0F201E97-2DE5-4039-8A87-56466A047345}"/>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9" name="Line 74">
                      <a:extLst>
                        <a:ext uri="{FF2B5EF4-FFF2-40B4-BE49-F238E27FC236}">
                          <a16:creationId xmlns:a16="http://schemas.microsoft.com/office/drawing/2014/main" id="{35691D03-9390-4324-8F43-D5A21341F776}"/>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0" name="Freeform 78">
                      <a:extLst>
                        <a:ext uri="{FF2B5EF4-FFF2-40B4-BE49-F238E27FC236}">
                          <a16:creationId xmlns:a16="http://schemas.microsoft.com/office/drawing/2014/main" id="{B1E74084-BDAB-40C6-9B50-F0C5FCC255D1}"/>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31" name="Freeform 80">
                      <a:extLst>
                        <a:ext uri="{FF2B5EF4-FFF2-40B4-BE49-F238E27FC236}">
                          <a16:creationId xmlns:a16="http://schemas.microsoft.com/office/drawing/2014/main" id="{B05E470F-89A9-431A-9AD0-683F759B5C39}"/>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nvGrpSpPr>
                  <p:cNvPr id="2111" name="Group 2110">
                    <a:extLst>
                      <a:ext uri="{FF2B5EF4-FFF2-40B4-BE49-F238E27FC236}">
                        <a16:creationId xmlns:a16="http://schemas.microsoft.com/office/drawing/2014/main" id="{9CBA07D6-2EC5-4BE0-8326-6F02B874729E}"/>
                      </a:ext>
                    </a:extLst>
                  </p:cNvPr>
                  <p:cNvGrpSpPr/>
                  <p:nvPr/>
                </p:nvGrpSpPr>
                <p:grpSpPr>
                  <a:xfrm>
                    <a:off x="2318076" y="4830163"/>
                    <a:ext cx="313949" cy="233075"/>
                    <a:chOff x="3707533" y="2731244"/>
                    <a:chExt cx="389644" cy="289271"/>
                  </a:xfrm>
                </p:grpSpPr>
                <p:sp>
                  <p:nvSpPr>
                    <p:cNvPr id="2112" name="Freeform 33">
                      <a:extLst>
                        <a:ext uri="{FF2B5EF4-FFF2-40B4-BE49-F238E27FC236}">
                          <a16:creationId xmlns:a16="http://schemas.microsoft.com/office/drawing/2014/main" id="{C428139F-5A6B-4BA0-A0B1-5076AAFF7431}"/>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3" name="Freeform 34">
                      <a:extLst>
                        <a:ext uri="{FF2B5EF4-FFF2-40B4-BE49-F238E27FC236}">
                          <a16:creationId xmlns:a16="http://schemas.microsoft.com/office/drawing/2014/main" id="{9F0DD76B-86BA-436E-98AA-27F8CA5AB0EF}"/>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4" name="Freeform 37">
                      <a:extLst>
                        <a:ext uri="{FF2B5EF4-FFF2-40B4-BE49-F238E27FC236}">
                          <a16:creationId xmlns:a16="http://schemas.microsoft.com/office/drawing/2014/main" id="{328E1ECE-0B47-40FF-ADC8-52A869AD5394}"/>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5" name="Freeform 38">
                      <a:extLst>
                        <a:ext uri="{FF2B5EF4-FFF2-40B4-BE49-F238E27FC236}">
                          <a16:creationId xmlns:a16="http://schemas.microsoft.com/office/drawing/2014/main" id="{FBC1A354-40E6-4BA7-A7FC-12DFA0ED8DF0}"/>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6" name="Freeform 32">
                      <a:extLst>
                        <a:ext uri="{FF2B5EF4-FFF2-40B4-BE49-F238E27FC236}">
                          <a16:creationId xmlns:a16="http://schemas.microsoft.com/office/drawing/2014/main" id="{44A20234-6690-46A4-AF7F-55903773AB65}"/>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7" name="Freeform 35">
                      <a:extLst>
                        <a:ext uri="{FF2B5EF4-FFF2-40B4-BE49-F238E27FC236}">
                          <a16:creationId xmlns:a16="http://schemas.microsoft.com/office/drawing/2014/main" id="{E8FFE7C3-81CC-46D2-A00F-E52399A2758E}"/>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8" name="Freeform 36">
                      <a:extLst>
                        <a:ext uri="{FF2B5EF4-FFF2-40B4-BE49-F238E27FC236}">
                          <a16:creationId xmlns:a16="http://schemas.microsoft.com/office/drawing/2014/main" id="{80451F71-A3E1-4C02-A56E-4B6B9C65B397}"/>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19" name="Freeform 25">
                      <a:extLst>
                        <a:ext uri="{FF2B5EF4-FFF2-40B4-BE49-F238E27FC236}">
                          <a16:creationId xmlns:a16="http://schemas.microsoft.com/office/drawing/2014/main" id="{79CCFFCF-160C-44C1-98F6-600F7AEF940D}"/>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0" name="Freeform 39">
                      <a:extLst>
                        <a:ext uri="{FF2B5EF4-FFF2-40B4-BE49-F238E27FC236}">
                          <a16:creationId xmlns:a16="http://schemas.microsoft.com/office/drawing/2014/main" id="{96C9F0EB-878A-4903-9840-A01FC702A21C}"/>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1" name="Freeform 26">
                      <a:extLst>
                        <a:ext uri="{FF2B5EF4-FFF2-40B4-BE49-F238E27FC236}">
                          <a16:creationId xmlns:a16="http://schemas.microsoft.com/office/drawing/2014/main" id="{96D32403-D861-4D9C-BCAB-F0E3CBF48F84}"/>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2" name="Rectangle 27">
                      <a:extLst>
                        <a:ext uri="{FF2B5EF4-FFF2-40B4-BE49-F238E27FC236}">
                          <a16:creationId xmlns:a16="http://schemas.microsoft.com/office/drawing/2014/main" id="{C3B97169-9DC7-44F5-8846-86615CCD4FEB}"/>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62170" tIns="31086" rIns="62170" bIns="31086" numCol="1" anchor="t" anchorCtr="0" compatLnSpc="1">
                      <a:prstTxWarp prst="textNoShape">
                        <a:avLst/>
                      </a:prstTxWarp>
                    </a:bodyPr>
                    <a:lstStyle/>
                    <a:p>
                      <a:endParaRPr lang="en-US" sz="1632" dirty="0"/>
                    </a:p>
                  </p:txBody>
                </p:sp>
                <p:sp>
                  <p:nvSpPr>
                    <p:cNvPr id="2123" name="Line 29">
                      <a:extLst>
                        <a:ext uri="{FF2B5EF4-FFF2-40B4-BE49-F238E27FC236}">
                          <a16:creationId xmlns:a16="http://schemas.microsoft.com/office/drawing/2014/main" id="{064DEB77-4693-426F-9A52-6172A030022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sp>
                  <p:nvSpPr>
                    <p:cNvPr id="2124" name="Line 31">
                      <a:extLst>
                        <a:ext uri="{FF2B5EF4-FFF2-40B4-BE49-F238E27FC236}">
                          <a16:creationId xmlns:a16="http://schemas.microsoft.com/office/drawing/2014/main" id="{B5D17F89-315F-44FC-A2F6-8C02B4CAB390}"/>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2170" tIns="31086" rIns="62170" bIns="31086" numCol="1" anchor="t" anchorCtr="0" compatLnSpc="1">
                      <a:prstTxWarp prst="textNoShape">
                        <a:avLst/>
                      </a:prstTxWarp>
                    </a:bodyPr>
                    <a:lstStyle/>
                    <a:p>
                      <a:endParaRPr lang="en-US" sz="1632" dirty="0"/>
                    </a:p>
                  </p:txBody>
                </p:sp>
              </p:grpSp>
            </p:grpSp>
          </p:grpSp>
          <p:grpSp>
            <p:nvGrpSpPr>
              <p:cNvPr id="2826" name="Group 2825">
                <a:extLst>
                  <a:ext uri="{FF2B5EF4-FFF2-40B4-BE49-F238E27FC236}">
                    <a16:creationId xmlns:a16="http://schemas.microsoft.com/office/drawing/2014/main" id="{10B0253C-5C94-429F-BBF1-611BB03ABB88}"/>
                  </a:ext>
                </a:extLst>
              </p:cNvPr>
              <p:cNvGrpSpPr/>
              <p:nvPr/>
            </p:nvGrpSpPr>
            <p:grpSpPr>
              <a:xfrm>
                <a:off x="5261891" y="1974470"/>
                <a:ext cx="1115908" cy="967814"/>
                <a:chOff x="7338624" y="178556"/>
                <a:chExt cx="1115908" cy="967814"/>
              </a:xfrm>
            </p:grpSpPr>
            <p:grpSp>
              <p:nvGrpSpPr>
                <p:cNvPr id="2827" name="Group 2826">
                  <a:extLst>
                    <a:ext uri="{FF2B5EF4-FFF2-40B4-BE49-F238E27FC236}">
                      <a16:creationId xmlns:a16="http://schemas.microsoft.com/office/drawing/2014/main" id="{E28F05B0-9772-44E3-B5B8-58C6DAC79255}"/>
                    </a:ext>
                  </a:extLst>
                </p:cNvPr>
                <p:cNvGrpSpPr/>
                <p:nvPr/>
              </p:nvGrpSpPr>
              <p:grpSpPr>
                <a:xfrm flipH="1">
                  <a:off x="7603032" y="178556"/>
                  <a:ext cx="524442" cy="697246"/>
                  <a:chOff x="8607957" y="605299"/>
                  <a:chExt cx="2806962" cy="3731864"/>
                </a:xfrm>
              </p:grpSpPr>
              <p:sp>
                <p:nvSpPr>
                  <p:cNvPr id="2829" name="iBar:31/138">
                    <a:extLst>
                      <a:ext uri="{FF2B5EF4-FFF2-40B4-BE49-F238E27FC236}">
                        <a16:creationId xmlns:a16="http://schemas.microsoft.com/office/drawing/2014/main" id="{76083AC9-51FA-4E2F-83DF-C02B81FEC2E0}"/>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0" name="Rectangle 2829">
                    <a:extLst>
                      <a:ext uri="{FF2B5EF4-FFF2-40B4-BE49-F238E27FC236}">
                        <a16:creationId xmlns:a16="http://schemas.microsoft.com/office/drawing/2014/main" id="{E6C84DCD-DA8A-456D-AF0E-EF979749E31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31" name="Group 2830">
                    <a:extLst>
                      <a:ext uri="{FF2B5EF4-FFF2-40B4-BE49-F238E27FC236}">
                        <a16:creationId xmlns:a16="http://schemas.microsoft.com/office/drawing/2014/main" id="{1AB2D2B6-42E6-45AE-A96E-238D173DB770}"/>
                      </a:ext>
                    </a:extLst>
                  </p:cNvPr>
                  <p:cNvGrpSpPr/>
                  <p:nvPr/>
                </p:nvGrpSpPr>
                <p:grpSpPr>
                  <a:xfrm>
                    <a:off x="8776645" y="2392984"/>
                    <a:ext cx="2463737" cy="1844316"/>
                    <a:chOff x="8566719" y="2617154"/>
                    <a:chExt cx="2463737" cy="1844316"/>
                  </a:xfrm>
                </p:grpSpPr>
                <p:sp>
                  <p:nvSpPr>
                    <p:cNvPr id="2845" name="Rectangle 2844">
                      <a:extLst>
                        <a:ext uri="{FF2B5EF4-FFF2-40B4-BE49-F238E27FC236}">
                          <a16:creationId xmlns:a16="http://schemas.microsoft.com/office/drawing/2014/main" id="{96505904-8AB3-48C5-B8E0-5633CA83587E}"/>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6" name="Group 2845">
                      <a:extLst>
                        <a:ext uri="{FF2B5EF4-FFF2-40B4-BE49-F238E27FC236}">
                          <a16:creationId xmlns:a16="http://schemas.microsoft.com/office/drawing/2014/main" id="{0757CA4A-A2A4-4482-8ED7-6ABA1D868BBE}"/>
                        </a:ext>
                      </a:extLst>
                    </p:cNvPr>
                    <p:cNvGrpSpPr/>
                    <p:nvPr/>
                  </p:nvGrpSpPr>
                  <p:grpSpPr>
                    <a:xfrm>
                      <a:off x="8720849" y="2791577"/>
                      <a:ext cx="2190282" cy="1669893"/>
                      <a:chOff x="5195358" y="4591383"/>
                      <a:chExt cx="1906459" cy="1380076"/>
                    </a:xfrm>
                  </p:grpSpPr>
                  <p:grpSp>
                    <p:nvGrpSpPr>
                      <p:cNvPr id="2847" name="Group 2846">
                        <a:extLst>
                          <a:ext uri="{FF2B5EF4-FFF2-40B4-BE49-F238E27FC236}">
                            <a16:creationId xmlns:a16="http://schemas.microsoft.com/office/drawing/2014/main" id="{BF629DC0-DE9F-4F1C-AFA9-FD31D01C65DD}"/>
                          </a:ext>
                        </a:extLst>
                      </p:cNvPr>
                      <p:cNvGrpSpPr/>
                      <p:nvPr/>
                    </p:nvGrpSpPr>
                    <p:grpSpPr>
                      <a:xfrm>
                        <a:off x="5195358" y="4591383"/>
                        <a:ext cx="1020183" cy="1224086"/>
                        <a:chOff x="10650533" y="3663550"/>
                        <a:chExt cx="575867" cy="836067"/>
                      </a:xfrm>
                    </p:grpSpPr>
                    <p:grpSp>
                      <p:nvGrpSpPr>
                        <p:cNvPr id="2849" name="Group 2848">
                          <a:extLst>
                            <a:ext uri="{FF2B5EF4-FFF2-40B4-BE49-F238E27FC236}">
                              <a16:creationId xmlns:a16="http://schemas.microsoft.com/office/drawing/2014/main" id="{BB98506A-FA0C-4492-9504-F1365ACE114B}"/>
                            </a:ext>
                          </a:extLst>
                        </p:cNvPr>
                        <p:cNvGrpSpPr/>
                        <p:nvPr/>
                      </p:nvGrpSpPr>
                      <p:grpSpPr>
                        <a:xfrm>
                          <a:off x="10650533" y="3663550"/>
                          <a:ext cx="575867" cy="728623"/>
                          <a:chOff x="5717961" y="2827338"/>
                          <a:chExt cx="282576" cy="387350"/>
                        </a:xfrm>
                      </p:grpSpPr>
                      <p:sp>
                        <p:nvSpPr>
                          <p:cNvPr id="2851" name="Freeform 1754">
                            <a:extLst>
                              <a:ext uri="{FF2B5EF4-FFF2-40B4-BE49-F238E27FC236}">
                                <a16:creationId xmlns:a16="http://schemas.microsoft.com/office/drawing/2014/main" id="{29A43FEB-3397-4D64-8742-218DE128F717}"/>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2" name="Freeform 1755">
                            <a:extLst>
                              <a:ext uri="{FF2B5EF4-FFF2-40B4-BE49-F238E27FC236}">
                                <a16:creationId xmlns:a16="http://schemas.microsoft.com/office/drawing/2014/main" id="{4CA2087B-D49F-46EC-AE28-3B14506FD4B8}"/>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2853" name="Freeform 1756">
                            <a:extLst>
                              <a:ext uri="{FF2B5EF4-FFF2-40B4-BE49-F238E27FC236}">
                                <a16:creationId xmlns:a16="http://schemas.microsoft.com/office/drawing/2014/main" id="{C8403C95-BCEE-465E-ADAC-A020457D09BE}"/>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4" name="Freeform 1757">
                            <a:extLst>
                              <a:ext uri="{FF2B5EF4-FFF2-40B4-BE49-F238E27FC236}">
                                <a16:creationId xmlns:a16="http://schemas.microsoft.com/office/drawing/2014/main" id="{2561EC10-7056-4F74-8284-A8C753A830CE}"/>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p>
                        </p:txBody>
                      </p:sp>
                      <p:sp>
                        <p:nvSpPr>
                          <p:cNvPr id="2855" name="Freeform 1758">
                            <a:extLst>
                              <a:ext uri="{FF2B5EF4-FFF2-40B4-BE49-F238E27FC236}">
                                <a16:creationId xmlns:a16="http://schemas.microsoft.com/office/drawing/2014/main" id="{931576A2-EA44-463F-A03A-911B6FC5D780}"/>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grpSp>
                    <p:sp>
                      <p:nvSpPr>
                        <p:cNvPr id="2850" name="TextBox 2849">
                          <a:extLst>
                            <a:ext uri="{FF2B5EF4-FFF2-40B4-BE49-F238E27FC236}">
                              <a16:creationId xmlns:a16="http://schemas.microsoft.com/office/drawing/2014/main" id="{3D98CFE1-0FD4-4645-87E5-09E842BBE60A}"/>
                            </a:ext>
                          </a:extLst>
                        </p:cNvPr>
                        <p:cNvSpPr txBox="1"/>
                        <p:nvPr/>
                      </p:nvSpPr>
                      <p:spPr>
                        <a:xfrm>
                          <a:off x="10688951" y="3755728"/>
                          <a:ext cx="499029" cy="743889"/>
                        </a:xfrm>
                        <a:prstGeom prst="rect">
                          <a:avLst/>
                        </a:prstGeom>
                        <a:noFill/>
                      </p:spPr>
                      <p:txBody>
                        <a:bodyPr wrap="square" lIns="0" tIns="0" rIns="0" bIns="0" rtlCol="0">
                          <a:spAutoFit/>
                        </a:bodyPr>
                        <a:lstStyle/>
                        <a:p>
                          <a:pPr algn="ctr">
                            <a:buSzPct val="25000"/>
                          </a:pPr>
                          <a:endParaRPr lang="en-US" sz="1600"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48" name="TextBox 2847">
                        <a:extLst>
                          <a:ext uri="{FF2B5EF4-FFF2-40B4-BE49-F238E27FC236}">
                            <a16:creationId xmlns:a16="http://schemas.microsoft.com/office/drawing/2014/main" id="{89484070-167C-403C-8732-0E81C2078595}"/>
                          </a:ext>
                        </a:extLst>
                      </p:cNvPr>
                      <p:cNvSpPr txBox="1"/>
                      <p:nvPr/>
                    </p:nvSpPr>
                    <p:spPr>
                      <a:xfrm>
                        <a:off x="6328162" y="4746754"/>
                        <a:ext cx="773655" cy="1224705"/>
                      </a:xfrm>
                      <a:prstGeom prst="rect">
                        <a:avLst/>
                      </a:prstGeom>
                      <a:noFill/>
                    </p:spPr>
                    <p:txBody>
                      <a:bodyPr wrap="square" lIns="0" tIns="0" rIns="0" bIns="0" rtlCol="0">
                        <a:spAutoFit/>
                      </a:bodyPr>
                      <a:lstStyle/>
                      <a:p>
                        <a:pPr>
                          <a:buSzPct val="25000"/>
                        </a:pPr>
                        <a:endParaRPr lang="nb-NO" sz="1799">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832" name="Group 2831">
                    <a:extLst>
                      <a:ext uri="{FF2B5EF4-FFF2-40B4-BE49-F238E27FC236}">
                        <a16:creationId xmlns:a16="http://schemas.microsoft.com/office/drawing/2014/main" id="{8B11732F-9CC2-42EE-AB66-BE2E5101BD37}"/>
                      </a:ext>
                    </a:extLst>
                  </p:cNvPr>
                  <p:cNvGrpSpPr/>
                  <p:nvPr/>
                </p:nvGrpSpPr>
                <p:grpSpPr>
                  <a:xfrm>
                    <a:off x="9538998" y="605299"/>
                    <a:ext cx="944881" cy="858986"/>
                    <a:chOff x="3369813" y="4950013"/>
                    <a:chExt cx="440826" cy="400751"/>
                  </a:xfrm>
                </p:grpSpPr>
                <p:sp>
                  <p:nvSpPr>
                    <p:cNvPr id="2841" name="Oval 2840">
                      <a:extLst>
                        <a:ext uri="{FF2B5EF4-FFF2-40B4-BE49-F238E27FC236}">
                          <a16:creationId xmlns:a16="http://schemas.microsoft.com/office/drawing/2014/main" id="{AA81403E-440E-46C0-8AAD-EAF0C5501D0C}"/>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grpSp>
                  <p:nvGrpSpPr>
                    <p:cNvPr id="2842" name="Group 226">
                      <a:extLst>
                        <a:ext uri="{FF2B5EF4-FFF2-40B4-BE49-F238E27FC236}">
                          <a16:creationId xmlns:a16="http://schemas.microsoft.com/office/drawing/2014/main" id="{565B5CAF-270F-478D-B29E-678341F504CA}"/>
                        </a:ext>
                      </a:extLst>
                    </p:cNvPr>
                    <p:cNvGrpSpPr>
                      <a:grpSpLocks noChangeAspect="1"/>
                    </p:cNvGrpSpPr>
                    <p:nvPr/>
                  </p:nvGrpSpPr>
                  <p:grpSpPr bwMode="auto">
                    <a:xfrm>
                      <a:off x="3437467" y="4997630"/>
                      <a:ext cx="305517" cy="305517"/>
                      <a:chOff x="5048" y="783"/>
                      <a:chExt cx="340" cy="340"/>
                    </a:xfrm>
                    <a:solidFill>
                      <a:schemeClr val="bg1"/>
                    </a:solidFill>
                  </p:grpSpPr>
                  <p:sp>
                    <p:nvSpPr>
                      <p:cNvPr id="2843" name="Freeform 227">
                        <a:extLst>
                          <a:ext uri="{FF2B5EF4-FFF2-40B4-BE49-F238E27FC236}">
                            <a16:creationId xmlns:a16="http://schemas.microsoft.com/office/drawing/2014/main" id="{366C18A2-9552-40A8-9B31-D9E6E6F42751}"/>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sp>
                    <p:nvSpPr>
                      <p:cNvPr id="2844" name="Freeform 228">
                        <a:extLst>
                          <a:ext uri="{FF2B5EF4-FFF2-40B4-BE49-F238E27FC236}">
                            <a16:creationId xmlns:a16="http://schemas.microsoft.com/office/drawing/2014/main" id="{21FD642E-B72D-4CA8-9986-89D6870F3588}"/>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p>
                    </p:txBody>
                  </p:sp>
                </p:grpSp>
              </p:grpSp>
              <p:cxnSp>
                <p:nvCxnSpPr>
                  <p:cNvPr id="2833" name="Straight Connector 2832">
                    <a:extLst>
                      <a:ext uri="{FF2B5EF4-FFF2-40B4-BE49-F238E27FC236}">
                        <a16:creationId xmlns:a16="http://schemas.microsoft.com/office/drawing/2014/main" id="{383E3174-9BB6-4919-9467-9F8C351AA09E}"/>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4" name="Straight Connector 2833">
                    <a:extLst>
                      <a:ext uri="{FF2B5EF4-FFF2-40B4-BE49-F238E27FC236}">
                        <a16:creationId xmlns:a16="http://schemas.microsoft.com/office/drawing/2014/main" id="{F9B7EB99-914D-41FC-AF5A-F90C88EDD6CC}"/>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5" name="Straight Connector 2834">
                    <a:extLst>
                      <a:ext uri="{FF2B5EF4-FFF2-40B4-BE49-F238E27FC236}">
                        <a16:creationId xmlns:a16="http://schemas.microsoft.com/office/drawing/2014/main" id="{BC2B2B6B-849E-4DD8-8550-64D70B59D3B9}"/>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6" name="Straight Connector 2835">
                    <a:extLst>
                      <a:ext uri="{FF2B5EF4-FFF2-40B4-BE49-F238E27FC236}">
                        <a16:creationId xmlns:a16="http://schemas.microsoft.com/office/drawing/2014/main" id="{A48ADA09-496D-45B9-96E9-D85E34A3C95D}"/>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37" name="Straight Connector 2836">
                    <a:extLst>
                      <a:ext uri="{FF2B5EF4-FFF2-40B4-BE49-F238E27FC236}">
                        <a16:creationId xmlns:a16="http://schemas.microsoft.com/office/drawing/2014/main" id="{DC4DBB82-431A-4CE8-8A16-3D69C3A21B9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8" name="Straight Connector 2837">
                    <a:extLst>
                      <a:ext uri="{FF2B5EF4-FFF2-40B4-BE49-F238E27FC236}">
                        <a16:creationId xmlns:a16="http://schemas.microsoft.com/office/drawing/2014/main" id="{A16B99CE-E9EE-4DAB-8AE5-A5F1DC8559CC}"/>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9" name="Straight Connector 2838">
                    <a:extLst>
                      <a:ext uri="{FF2B5EF4-FFF2-40B4-BE49-F238E27FC236}">
                        <a16:creationId xmlns:a16="http://schemas.microsoft.com/office/drawing/2014/main" id="{DCCDAB6B-C5CD-4CBF-8E38-210CB00383F7}"/>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0" name="Straight Connector 2839">
                    <a:extLst>
                      <a:ext uri="{FF2B5EF4-FFF2-40B4-BE49-F238E27FC236}">
                        <a16:creationId xmlns:a16="http://schemas.microsoft.com/office/drawing/2014/main" id="{A296BF29-EB62-4597-8850-8C45C724A659}"/>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828" name="Rectangle 2827">
                  <a:extLst>
                    <a:ext uri="{FF2B5EF4-FFF2-40B4-BE49-F238E27FC236}">
                      <a16:creationId xmlns:a16="http://schemas.microsoft.com/office/drawing/2014/main" id="{F06BBE9B-80D6-4DEE-92CB-5CB4F1CBF1C0}"/>
                    </a:ext>
                  </a:extLst>
                </p:cNvPr>
                <p:cNvSpPr/>
                <p:nvPr/>
              </p:nvSpPr>
              <p:spPr>
                <a:xfrm>
                  <a:off x="7338624" y="915538"/>
                  <a:ext cx="1115908" cy="230832"/>
                </a:xfrm>
                <a:prstGeom prst="rect">
                  <a:avLst/>
                </a:prstGeom>
              </p:spPr>
              <p:txBody>
                <a:bodyPr wrap="square">
                  <a:spAutoFit/>
                </a:bodyPr>
                <a:lstStyle/>
                <a:p>
                  <a:pPr algn="ctr"/>
                  <a:r>
                    <a:rPr lang="en-US" sz="900" b="1" dirty="0"/>
                    <a:t>Sprint Backlog</a:t>
                  </a:r>
                </a:p>
              </p:txBody>
            </p:sp>
          </p:grpSp>
          <p:grpSp>
            <p:nvGrpSpPr>
              <p:cNvPr id="2856" name="Group 2855">
                <a:extLst>
                  <a:ext uri="{FF2B5EF4-FFF2-40B4-BE49-F238E27FC236}">
                    <a16:creationId xmlns:a16="http://schemas.microsoft.com/office/drawing/2014/main" id="{39FBE55D-3B31-4558-AA6D-C82DF7F5AB12}"/>
                  </a:ext>
                </a:extLst>
              </p:cNvPr>
              <p:cNvGrpSpPr/>
              <p:nvPr/>
            </p:nvGrpSpPr>
            <p:grpSpPr>
              <a:xfrm>
                <a:off x="6189282" y="2207036"/>
                <a:ext cx="309777" cy="570271"/>
                <a:chOff x="6298183" y="258138"/>
                <a:chExt cx="309777" cy="570271"/>
              </a:xfrm>
            </p:grpSpPr>
            <p:pic>
              <p:nvPicPr>
                <p:cNvPr id="2857" name="Picture 2856">
                  <a:extLst>
                    <a:ext uri="{FF2B5EF4-FFF2-40B4-BE49-F238E27FC236}">
                      <a16:creationId xmlns:a16="http://schemas.microsoft.com/office/drawing/2014/main" id="{4BBE49CE-786F-4672-A5CA-941B8AF71A9F}"/>
                    </a:ext>
                  </a:extLst>
                </p:cNvPr>
                <p:cNvPicPr>
                  <a:picLocks noChangeAspect="1"/>
                </p:cNvPicPr>
                <p:nvPr/>
              </p:nvPicPr>
              <p:blipFill>
                <a:blip r:embed="rId6"/>
                <a:stretch>
                  <a:fillRect/>
                </a:stretch>
              </p:blipFill>
              <p:spPr>
                <a:xfrm>
                  <a:off x="6298183" y="258138"/>
                  <a:ext cx="309777" cy="570271"/>
                </a:xfrm>
                <a:prstGeom prst="rect">
                  <a:avLst/>
                </a:prstGeom>
              </p:spPr>
            </p:pic>
            <p:sp>
              <p:nvSpPr>
                <p:cNvPr id="2858" name="Freeform 152">
                  <a:extLst>
                    <a:ext uri="{FF2B5EF4-FFF2-40B4-BE49-F238E27FC236}">
                      <a16:creationId xmlns:a16="http://schemas.microsoft.com/office/drawing/2014/main" id="{E3CD1546-4807-4BEC-AEFD-4BC1E9269A74}"/>
                    </a:ext>
                  </a:extLst>
                </p:cNvPr>
                <p:cNvSpPr>
                  <a:spLocks/>
                </p:cNvSpPr>
                <p:nvPr/>
              </p:nvSpPr>
              <p:spPr bwMode="auto">
                <a:xfrm>
                  <a:off x="6482785" y="397574"/>
                  <a:ext cx="124125" cy="94420"/>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200" dirty="0"/>
                </a:p>
              </p:txBody>
            </p:sp>
          </p:grpSp>
        </p:grpSp>
      </p:grpSp>
      <p:grpSp>
        <p:nvGrpSpPr>
          <p:cNvPr id="2860" name="Group 2859">
            <a:extLst>
              <a:ext uri="{FF2B5EF4-FFF2-40B4-BE49-F238E27FC236}">
                <a16:creationId xmlns:a16="http://schemas.microsoft.com/office/drawing/2014/main" id="{8469F45A-26BD-4B2C-B9E7-6A5F332A7359}"/>
              </a:ext>
            </a:extLst>
          </p:cNvPr>
          <p:cNvGrpSpPr/>
          <p:nvPr/>
        </p:nvGrpSpPr>
        <p:grpSpPr>
          <a:xfrm>
            <a:off x="412748" y="1219432"/>
            <a:ext cx="11430427" cy="561479"/>
            <a:chOff x="347472" y="1051180"/>
            <a:chExt cx="11667743" cy="561625"/>
          </a:xfrm>
        </p:grpSpPr>
        <p:grpSp>
          <p:nvGrpSpPr>
            <p:cNvPr id="2861" name="Group 2860">
              <a:extLst>
                <a:ext uri="{FF2B5EF4-FFF2-40B4-BE49-F238E27FC236}">
                  <a16:creationId xmlns:a16="http://schemas.microsoft.com/office/drawing/2014/main" id="{4C8E5E70-E4D0-4028-8B01-CF3D9E25E7CD}"/>
                </a:ext>
              </a:extLst>
            </p:cNvPr>
            <p:cNvGrpSpPr/>
            <p:nvPr/>
          </p:nvGrpSpPr>
          <p:grpSpPr>
            <a:xfrm>
              <a:off x="347472" y="1051180"/>
              <a:ext cx="11667743" cy="561625"/>
              <a:chOff x="347472" y="1051180"/>
              <a:chExt cx="11667743" cy="561625"/>
            </a:xfrm>
          </p:grpSpPr>
          <p:grpSp>
            <p:nvGrpSpPr>
              <p:cNvPr id="2863" name="Group 2862">
                <a:extLst>
                  <a:ext uri="{FF2B5EF4-FFF2-40B4-BE49-F238E27FC236}">
                    <a16:creationId xmlns:a16="http://schemas.microsoft.com/office/drawing/2014/main" id="{19B053B6-D501-46E8-8324-28B2181F54E8}"/>
                  </a:ext>
                </a:extLst>
              </p:cNvPr>
              <p:cNvGrpSpPr/>
              <p:nvPr/>
            </p:nvGrpSpPr>
            <p:grpSpPr>
              <a:xfrm>
                <a:off x="347472" y="1154250"/>
                <a:ext cx="11667743" cy="458555"/>
                <a:chOff x="390609" y="1132914"/>
                <a:chExt cx="11511569" cy="458555"/>
              </a:xfrm>
            </p:grpSpPr>
            <p:sp>
              <p:nvSpPr>
                <p:cNvPr id="2865" name="Rectangle: Rounded Corners 2864">
                  <a:extLst>
                    <a:ext uri="{FF2B5EF4-FFF2-40B4-BE49-F238E27FC236}">
                      <a16:creationId xmlns:a16="http://schemas.microsoft.com/office/drawing/2014/main" id="{C0ECC67F-0257-4ADE-8214-7AF66289F9D4}"/>
                    </a:ext>
                  </a:extLst>
                </p:cNvPr>
                <p:cNvSpPr/>
                <p:nvPr/>
              </p:nvSpPr>
              <p:spPr bwMode="gray">
                <a:xfrm>
                  <a:off x="390609" y="1132914"/>
                  <a:ext cx="11511569" cy="372282"/>
                </a:xfrm>
                <a:prstGeom prst="roundRect">
                  <a:avLst/>
                </a:prstGeom>
                <a:solidFill>
                  <a:schemeClr val="bg1"/>
                </a:solidFill>
                <a:ln w="19050" algn="ctr">
                  <a:solidFill>
                    <a:schemeClr val="tx1"/>
                  </a:solidFill>
                  <a:prstDash val="sysDash"/>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66" name="Rectangle 2865">
                  <a:extLst>
                    <a:ext uri="{FF2B5EF4-FFF2-40B4-BE49-F238E27FC236}">
                      <a16:creationId xmlns:a16="http://schemas.microsoft.com/office/drawing/2014/main" id="{31A4B2A4-CB38-47F9-918B-83E5241FED48}"/>
                    </a:ext>
                  </a:extLst>
                </p:cNvPr>
                <p:cNvSpPr/>
                <p:nvPr/>
              </p:nvSpPr>
              <p:spPr bwMode="gray">
                <a:xfrm>
                  <a:off x="404298" y="1211125"/>
                  <a:ext cx="2872364" cy="232411"/>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Discovery</a:t>
                  </a:r>
                </a:p>
              </p:txBody>
            </p:sp>
            <p:sp>
              <p:nvSpPr>
                <p:cNvPr id="2867" name="Rectangle 2866">
                  <a:extLst>
                    <a:ext uri="{FF2B5EF4-FFF2-40B4-BE49-F238E27FC236}">
                      <a16:creationId xmlns:a16="http://schemas.microsoft.com/office/drawing/2014/main" id="{D4656027-3B78-4CB3-A1A2-D6BB2C320FF7}"/>
                    </a:ext>
                  </a:extLst>
                </p:cNvPr>
                <p:cNvSpPr/>
                <p:nvPr/>
              </p:nvSpPr>
              <p:spPr bwMode="gray">
                <a:xfrm>
                  <a:off x="3377370" y="1183981"/>
                  <a:ext cx="6421031" cy="286698"/>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Sprint Cycle(s)</a:t>
                  </a:r>
                </a:p>
              </p:txBody>
            </p:sp>
            <p:sp>
              <p:nvSpPr>
                <p:cNvPr id="2868" name="Rectangle 2867">
                  <a:extLst>
                    <a:ext uri="{FF2B5EF4-FFF2-40B4-BE49-F238E27FC236}">
                      <a16:creationId xmlns:a16="http://schemas.microsoft.com/office/drawing/2014/main" id="{C98E7147-5C83-4907-A983-19382A05947B}"/>
                    </a:ext>
                  </a:extLst>
                </p:cNvPr>
                <p:cNvSpPr/>
                <p:nvPr/>
              </p:nvSpPr>
              <p:spPr bwMode="gray">
                <a:xfrm>
                  <a:off x="9923412" y="1217458"/>
                  <a:ext cx="1971503" cy="219744"/>
                </a:xfrm>
                <a:prstGeom prst="rect">
                  <a:avLst/>
                </a:prstGeom>
                <a:noFill/>
                <a:ln w="19050" algn="ctr">
                  <a:noFill/>
                  <a:prstDash val="sysDash"/>
                  <a:miter lim="800000"/>
                  <a:headEnd/>
                  <a:tailEnd/>
                </a:ln>
              </p:spPr>
              <p:txBody>
                <a:bodyPr wrap="square" lIns="79788" tIns="79788" rIns="79788" bIns="79788" rtlCol="0" anchor="ctr"/>
                <a:lstStyle/>
                <a:p>
                  <a:pPr algn="ctr" defTabSz="820654">
                    <a:lnSpc>
                      <a:spcPct val="106000"/>
                    </a:lnSpc>
                    <a:defRPr/>
                  </a:pPr>
                  <a:r>
                    <a:rPr lang="en-US" sz="967" b="1" dirty="0">
                      <a:latin typeface="+mj-lt"/>
                    </a:rPr>
                    <a:t>Release</a:t>
                  </a:r>
                </a:p>
              </p:txBody>
            </p:sp>
            <p:sp>
              <p:nvSpPr>
                <p:cNvPr id="2869" name="Isosceles Triangle 2868">
                  <a:extLst>
                    <a:ext uri="{FF2B5EF4-FFF2-40B4-BE49-F238E27FC236}">
                      <a16:creationId xmlns:a16="http://schemas.microsoft.com/office/drawing/2014/main" id="{377B7AEF-DD5C-407A-BC96-22FE913B1FDF}"/>
                    </a:ext>
                  </a:extLst>
                </p:cNvPr>
                <p:cNvSpPr/>
                <p:nvPr/>
              </p:nvSpPr>
              <p:spPr bwMode="gray">
                <a:xfrm rot="16200000">
                  <a:off x="3521284" y="140746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sp>
              <p:nvSpPr>
                <p:cNvPr id="2870" name="Isosceles Triangle 2869">
                  <a:extLst>
                    <a:ext uri="{FF2B5EF4-FFF2-40B4-BE49-F238E27FC236}">
                      <a16:creationId xmlns:a16="http://schemas.microsoft.com/office/drawing/2014/main" id="{9E20B44C-313C-46AE-B0F0-4AB18A509ADA}"/>
                    </a:ext>
                  </a:extLst>
                </p:cNvPr>
                <p:cNvSpPr/>
                <p:nvPr/>
              </p:nvSpPr>
              <p:spPr bwMode="gray">
                <a:xfrm rot="16200000">
                  <a:off x="9582667" y="1406674"/>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4" name="Isosceles Triangle 2863">
                <a:extLst>
                  <a:ext uri="{FF2B5EF4-FFF2-40B4-BE49-F238E27FC236}">
                    <a16:creationId xmlns:a16="http://schemas.microsoft.com/office/drawing/2014/main" id="{A841C7DD-F4A1-4DCA-8EFD-70E365D590F5}"/>
                  </a:ext>
                </a:extLst>
              </p:cNvPr>
              <p:cNvSpPr/>
              <p:nvPr/>
            </p:nvSpPr>
            <p:spPr bwMode="gray">
              <a:xfrm rot="5400000">
                <a:off x="9152108" y="104533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62" name="Isosceles Triangle 2861">
              <a:extLst>
                <a:ext uri="{FF2B5EF4-FFF2-40B4-BE49-F238E27FC236}">
                  <a16:creationId xmlns:a16="http://schemas.microsoft.com/office/drawing/2014/main" id="{6C5E3EB9-EC10-4A5A-BE32-40C4AD1E2BB9}"/>
                </a:ext>
              </a:extLst>
            </p:cNvPr>
            <p:cNvSpPr/>
            <p:nvPr/>
          </p:nvSpPr>
          <p:spPr bwMode="gray">
            <a:xfrm rot="5400000">
              <a:off x="2884119" y="1046141"/>
              <a:ext cx="178159" cy="189857"/>
            </a:xfrm>
            <a:prstGeom prst="triangle">
              <a:avLst/>
            </a:prstGeom>
            <a:solidFill>
              <a:schemeClr val="tx1"/>
            </a:solidFill>
            <a:ln w="19050" algn="ctr">
              <a:noFill/>
              <a:miter lim="800000"/>
              <a:headEnd/>
              <a:tailEnd/>
            </a:ln>
          </p:spPr>
          <p:txBody>
            <a:bodyPr wrap="square" lIns="79788" tIns="79788" rIns="79788" bIns="79788" rtlCol="0" anchor="ctr"/>
            <a:lstStyle/>
            <a:p>
              <a:pPr algn="ctr" defTabSz="820654">
                <a:lnSpc>
                  <a:spcPct val="106000"/>
                </a:lnSpc>
                <a:defRPr/>
              </a:pPr>
              <a:endParaRPr lang="en-US" sz="1436" b="1" dirty="0">
                <a:solidFill>
                  <a:srgbClr val="585A5C"/>
                </a:solidFill>
                <a:latin typeface="+mj-lt"/>
              </a:endParaRPr>
            </a:p>
          </p:txBody>
        </p:sp>
      </p:grpSp>
      <p:sp>
        <p:nvSpPr>
          <p:cNvPr id="2825" name="Rectangle 2824">
            <a:extLst>
              <a:ext uri="{FF2B5EF4-FFF2-40B4-BE49-F238E27FC236}">
                <a16:creationId xmlns:a16="http://schemas.microsoft.com/office/drawing/2014/main" id="{5224E924-2468-41ED-95B1-F5004958C1BE}"/>
              </a:ext>
            </a:extLst>
          </p:cNvPr>
          <p:cNvSpPr>
            <a:spLocks/>
          </p:cNvSpPr>
          <p:nvPr/>
        </p:nvSpPr>
        <p:spPr bwMode="gray">
          <a:xfrm>
            <a:off x="392096" y="1689529"/>
            <a:ext cx="2869470" cy="4861963"/>
          </a:xfrm>
          <a:prstGeom prst="rect">
            <a:avLst/>
          </a:prstGeom>
          <a:solidFill>
            <a:schemeClr val="bg1">
              <a:alpha val="80000"/>
            </a:schemeClr>
          </a:solidFill>
          <a:ln w="38100" algn="ctr">
            <a:solidFill>
              <a:schemeClr val="accent1"/>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sp>
        <p:nvSpPr>
          <p:cNvPr id="2859" name="Rectangle 2858">
            <a:extLst>
              <a:ext uri="{FF2B5EF4-FFF2-40B4-BE49-F238E27FC236}">
                <a16:creationId xmlns:a16="http://schemas.microsoft.com/office/drawing/2014/main" id="{68B15680-A55E-47F6-8D5C-D956EDAD387E}"/>
              </a:ext>
            </a:extLst>
          </p:cNvPr>
          <p:cNvSpPr>
            <a:spLocks/>
          </p:cNvSpPr>
          <p:nvPr/>
        </p:nvSpPr>
        <p:spPr bwMode="gray">
          <a:xfrm>
            <a:off x="3378079" y="1689529"/>
            <a:ext cx="6421217" cy="4861963"/>
          </a:xfrm>
          <a:prstGeom prst="rect">
            <a:avLst/>
          </a:prstGeom>
          <a:solidFill>
            <a:schemeClr val="bg1">
              <a:alpha val="80000"/>
            </a:schemeClr>
          </a:solidFill>
          <a:ln w="38100" algn="ctr">
            <a:solidFill>
              <a:srgbClr val="75787B"/>
            </a:solidFill>
            <a:miter lim="800000"/>
            <a:headEnd/>
            <a:tailEnd/>
          </a:ln>
          <a:effectLst/>
        </p:spPr>
        <p:txBody>
          <a:bodyPr wrap="square" lIns="37778" tIns="37778" rIns="37778" bIns="37778" rtlCol="0" anchor="t"/>
          <a:lstStyle/>
          <a:p>
            <a:pPr defTabSz="828903">
              <a:lnSpc>
                <a:spcPct val="106000"/>
              </a:lnSpc>
            </a:pPr>
            <a:endParaRPr lang="en-US" sz="680" dirty="0">
              <a:solidFill>
                <a:srgbClr val="86BC25"/>
              </a:solidFill>
              <a:latin typeface="Verdana"/>
            </a:endParaRPr>
          </a:p>
        </p:txBody>
      </p:sp>
      <p:sp>
        <p:nvSpPr>
          <p:cNvPr id="834" name="Rectangle 833">
            <a:extLst>
              <a:ext uri="{FF2B5EF4-FFF2-40B4-BE49-F238E27FC236}">
                <a16:creationId xmlns:a16="http://schemas.microsoft.com/office/drawing/2014/main" id="{44294A6C-1E89-428A-8C4C-D2E97104DAA7}"/>
              </a:ext>
            </a:extLst>
          </p:cNvPr>
          <p:cNvSpPr/>
          <p:nvPr/>
        </p:nvSpPr>
        <p:spPr bwMode="gray">
          <a:xfrm>
            <a:off x="3487250" y="1751245"/>
            <a:ext cx="6206452" cy="4724054"/>
          </a:xfrm>
          <a:prstGeom prst="rect">
            <a:avLst/>
          </a:prstGeom>
          <a:solidFill>
            <a:srgbClr val="A0DCFF"/>
          </a:solidFill>
          <a:ln w="28575" algn="ctr">
            <a:noFill/>
            <a:prstDash val="dash"/>
            <a:miter lim="800000"/>
            <a:headEnd/>
            <a:tailEnd/>
          </a:ln>
        </p:spPr>
        <p:txBody>
          <a:bodyPr wrap="square" lIns="46872" tIns="28482" rIns="28482" bIns="28482" rtlCol="0" anchor="t"/>
          <a:lstStyle/>
          <a:p>
            <a:pPr algn="ctr" defTabSz="624960">
              <a:lnSpc>
                <a:spcPct val="106000"/>
              </a:lnSpc>
              <a:defRPr/>
            </a:pPr>
            <a:endParaRPr lang="en-US" sz="1053" b="1" dirty="0">
              <a:solidFill>
                <a:prstClr val="black"/>
              </a:solidFill>
              <a:latin typeface="Verdana"/>
            </a:endParaRPr>
          </a:p>
        </p:txBody>
      </p:sp>
      <p:grpSp>
        <p:nvGrpSpPr>
          <p:cNvPr id="835" name="Group 834">
            <a:extLst>
              <a:ext uri="{FF2B5EF4-FFF2-40B4-BE49-F238E27FC236}">
                <a16:creationId xmlns:a16="http://schemas.microsoft.com/office/drawing/2014/main" id="{44271316-4B3C-4200-886B-1D45F66AD553}"/>
              </a:ext>
            </a:extLst>
          </p:cNvPr>
          <p:cNvGrpSpPr/>
          <p:nvPr/>
        </p:nvGrpSpPr>
        <p:grpSpPr>
          <a:xfrm>
            <a:off x="5862221" y="2173477"/>
            <a:ext cx="1415196" cy="1385877"/>
            <a:chOff x="7086560" y="3961867"/>
            <a:chExt cx="1882368" cy="1843371"/>
          </a:xfrm>
          <a:solidFill>
            <a:schemeClr val="bg1"/>
          </a:solidFill>
        </p:grpSpPr>
        <p:sp>
          <p:nvSpPr>
            <p:cNvPr id="836" name="Rectangle 835">
              <a:extLst>
                <a:ext uri="{FF2B5EF4-FFF2-40B4-BE49-F238E27FC236}">
                  <a16:creationId xmlns:a16="http://schemas.microsoft.com/office/drawing/2014/main" id="{2C36241A-43FD-4531-8AF9-1205421F6021}"/>
                </a:ext>
              </a:extLst>
            </p:cNvPr>
            <p:cNvSpPr/>
            <p:nvPr/>
          </p:nvSpPr>
          <p:spPr bwMode="gray">
            <a:xfrm>
              <a:off x="7086560" y="3961867"/>
              <a:ext cx="1882368" cy="1843371"/>
            </a:xfrm>
            <a:prstGeom prst="rect">
              <a:avLst/>
            </a:prstGeom>
            <a:grpFill/>
            <a:ln w="28575" algn="ctr">
              <a:solidFill>
                <a:srgbClr val="007680"/>
              </a:solidFill>
              <a:prstDash val="sysDash"/>
              <a:miter lim="800000"/>
              <a:headEnd/>
              <a:tailEnd/>
            </a:ln>
          </p:spPr>
          <p:txBody>
            <a:bodyPr wrap="square" lIns="68746" tIns="68746" rIns="68746" bIns="68746" rtlCol="0" anchor="t">
              <a:noAutofit/>
            </a:bodyPr>
            <a:lstStyle/>
            <a:p>
              <a:pPr algn="ctr">
                <a:lnSpc>
                  <a:spcPct val="106000"/>
                </a:lnSpc>
              </a:pPr>
              <a:r>
                <a:rPr lang="en-US" sz="1354" b="1" dirty="0">
                  <a:latin typeface="Open Sans" panose="020B0606030504020204" pitchFamily="34" charset="0"/>
                  <a:ea typeface="Open Sans" panose="020B0606030504020204" pitchFamily="34" charset="0"/>
                  <a:cs typeface="Open Sans" panose="020B0606030504020204" pitchFamily="34" charset="0"/>
                </a:rPr>
                <a:t>MVP</a:t>
              </a:r>
            </a:p>
          </p:txBody>
        </p:sp>
        <p:pic>
          <p:nvPicPr>
            <p:cNvPr id="837" name="Picture 836">
              <a:extLst>
                <a:ext uri="{FF2B5EF4-FFF2-40B4-BE49-F238E27FC236}">
                  <a16:creationId xmlns:a16="http://schemas.microsoft.com/office/drawing/2014/main" id="{068D3EBC-1CD3-406B-BB57-D67108D51F03}"/>
                </a:ext>
              </a:extLst>
            </p:cNvPr>
            <p:cNvPicPr>
              <a:picLocks noChangeAspect="1"/>
            </p:cNvPicPr>
            <p:nvPr/>
          </p:nvPicPr>
          <p:blipFill>
            <a:blip r:embed="rId8"/>
            <a:stretch>
              <a:fillRect/>
            </a:stretch>
          </p:blipFill>
          <p:spPr>
            <a:xfrm>
              <a:off x="7318841" y="4802426"/>
              <a:ext cx="1348156" cy="681540"/>
            </a:xfrm>
            <a:prstGeom prst="rect">
              <a:avLst/>
            </a:prstGeom>
            <a:grpFill/>
          </p:spPr>
        </p:pic>
      </p:grpSp>
      <p:sp>
        <p:nvSpPr>
          <p:cNvPr id="838" name="Rectangle 837">
            <a:extLst>
              <a:ext uri="{FF2B5EF4-FFF2-40B4-BE49-F238E27FC236}">
                <a16:creationId xmlns:a16="http://schemas.microsoft.com/office/drawing/2014/main" id="{59F50317-DDE4-4316-988A-33ECD2CBC8A1}"/>
              </a:ext>
            </a:extLst>
          </p:cNvPr>
          <p:cNvSpPr/>
          <p:nvPr/>
        </p:nvSpPr>
        <p:spPr>
          <a:xfrm>
            <a:off x="4919423" y="3685590"/>
            <a:ext cx="3300796" cy="738664"/>
          </a:xfrm>
          <a:prstGeom prst="rect">
            <a:avLst/>
          </a:prstGeom>
        </p:spPr>
        <p:txBody>
          <a:bodyPr wrap="square">
            <a:spAutoFit/>
          </a:bodyPr>
          <a:lstStyle/>
          <a:p>
            <a:pPr algn="ctr"/>
            <a:r>
              <a:rPr lang="en-US" sz="1400" dirty="0"/>
              <a:t>Smallest subset of essential functionality that can be implemented together to deliver value to the business</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pic>
        <p:nvPicPr>
          <p:cNvPr id="839" name="Picture 838">
            <a:extLst>
              <a:ext uri="{FF2B5EF4-FFF2-40B4-BE49-F238E27FC236}">
                <a16:creationId xmlns:a16="http://schemas.microsoft.com/office/drawing/2014/main" id="{A506DB19-09B7-4B78-B2FC-D7B3D765BC68}"/>
              </a:ext>
            </a:extLst>
          </p:cNvPr>
          <p:cNvPicPr>
            <a:picLocks noChangeAspect="1"/>
          </p:cNvPicPr>
          <p:nvPr/>
        </p:nvPicPr>
        <p:blipFill>
          <a:blip r:embed="rId10"/>
          <a:stretch>
            <a:fillRect/>
          </a:stretch>
        </p:blipFill>
        <p:spPr>
          <a:xfrm>
            <a:off x="4872799" y="4514826"/>
            <a:ext cx="3437682" cy="821854"/>
          </a:xfrm>
          <a:prstGeom prst="rect">
            <a:avLst/>
          </a:prstGeom>
          <a:solidFill>
            <a:schemeClr val="bg1"/>
          </a:solidFill>
        </p:spPr>
      </p:pic>
      <p:sp>
        <p:nvSpPr>
          <p:cNvPr id="840" name="Rectangle 839">
            <a:extLst>
              <a:ext uri="{FF2B5EF4-FFF2-40B4-BE49-F238E27FC236}">
                <a16:creationId xmlns:a16="http://schemas.microsoft.com/office/drawing/2014/main" id="{EDD171AC-ED9A-4C41-9D77-07F23AB21320}"/>
              </a:ext>
            </a:extLst>
          </p:cNvPr>
          <p:cNvSpPr/>
          <p:nvPr/>
        </p:nvSpPr>
        <p:spPr bwMode="gray">
          <a:xfrm>
            <a:off x="467759" y="6126383"/>
            <a:ext cx="11287636" cy="649920"/>
          </a:xfrm>
          <a:prstGeom prst="rect">
            <a:avLst/>
          </a:prstGeom>
          <a:solidFill>
            <a:schemeClr val="bg2"/>
          </a:solidFill>
          <a:ln w="19050" algn="ctr">
            <a:noFill/>
            <a:miter lim="800000"/>
            <a:headEnd/>
            <a:tailEnd/>
          </a:ln>
        </p:spPr>
        <p:txBody>
          <a:bodyPr wrap="square" lIns="66836" tIns="66836" rIns="66836" bIns="66836" rtlCol="0" anchor="ctr"/>
          <a:lstStyle/>
          <a:p>
            <a:pPr algn="ctr">
              <a:lnSpc>
                <a:spcPct val="106000"/>
              </a:lnSpc>
            </a:pPr>
            <a:r>
              <a:rPr lang="en-US" sz="1700" dirty="0"/>
              <a:t>For many Deloitte projects, the MVP requires a “critical mass” of components that have to be deployed in an initial release to provide a complete solution. Additional advanced Features or capabilities can be added later to enhance the solution. </a:t>
            </a:r>
          </a:p>
        </p:txBody>
      </p:sp>
    </p:spTree>
    <p:custDataLst>
      <p:tags r:id="rId1"/>
    </p:custDataLst>
    <p:extLst>
      <p:ext uri="{BB962C8B-B14F-4D97-AF65-F5344CB8AC3E}">
        <p14:creationId xmlns:p14="http://schemas.microsoft.com/office/powerpoint/2010/main" val="344348883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AA82B5-9224-44EA-B623-9C5DEE603BFC}"/>
              </a:ext>
            </a:extLst>
          </p:cNvPr>
          <p:cNvSpPr>
            <a:spLocks noGrp="1"/>
          </p:cNvSpPr>
          <p:nvPr>
            <p:ph type="title"/>
          </p:nvPr>
        </p:nvSpPr>
        <p:spPr/>
        <p:txBody>
          <a:bodyPr/>
          <a:lstStyle/>
          <a:p>
            <a:r>
              <a:rPr lang="en-US" dirty="0"/>
              <a:t>We’ve covered, so far</a:t>
            </a:r>
          </a:p>
        </p:txBody>
      </p:sp>
      <p:sp>
        <p:nvSpPr>
          <p:cNvPr id="3" name="Text Placeholder 2">
            <a:extLst>
              <a:ext uri="{FF2B5EF4-FFF2-40B4-BE49-F238E27FC236}">
                <a16:creationId xmlns:a16="http://schemas.microsoft.com/office/drawing/2014/main" id="{5930608E-4186-4AD7-B5DD-711875F0EBD0}"/>
              </a:ext>
            </a:extLst>
          </p:cNvPr>
          <p:cNvSpPr>
            <a:spLocks noGrp="1"/>
          </p:cNvSpPr>
          <p:nvPr>
            <p:ph type="body" sz="quarter" idx="13"/>
          </p:nvPr>
        </p:nvSpPr>
        <p:spPr/>
        <p:txBody>
          <a:bodyPr/>
          <a:lstStyle/>
          <a:p>
            <a:r>
              <a:rPr lang="en-US" dirty="0"/>
              <a:t> </a:t>
            </a:r>
          </a:p>
        </p:txBody>
      </p:sp>
      <p:sp>
        <p:nvSpPr>
          <p:cNvPr id="922" name="Rectangle 921">
            <a:extLst>
              <a:ext uri="{FF2B5EF4-FFF2-40B4-BE49-F238E27FC236}">
                <a16:creationId xmlns:a16="http://schemas.microsoft.com/office/drawing/2014/main" id="{2B7D83C0-2B4F-49DD-AA05-BC69D55D5FE6}"/>
              </a:ext>
            </a:extLst>
          </p:cNvPr>
          <p:cNvSpPr/>
          <p:nvPr/>
        </p:nvSpPr>
        <p:spPr bwMode="gray">
          <a:xfrm>
            <a:off x="7626326" y="2089938"/>
            <a:ext cx="2769009" cy="3229580"/>
          </a:xfrm>
          <a:prstGeom prst="rect">
            <a:avLst/>
          </a:prstGeom>
          <a:solidFill>
            <a:schemeClr val="bg1">
              <a:alpha val="80000"/>
            </a:schemeClr>
          </a:solidFill>
          <a:ln w="38100" algn="ctr">
            <a:solidFill>
              <a:srgbClr val="97999B"/>
            </a:solidFill>
            <a:miter lim="800000"/>
            <a:headEnd/>
            <a:tailEnd/>
          </a:ln>
          <a:effectLst/>
        </p:spPr>
        <p:txBody>
          <a:bodyPr wrap="square" lIns="28409" tIns="28409" rIns="28409" bIns="28409" rtlCol="0" anchor="t"/>
          <a:lstStyle/>
          <a:p>
            <a:pPr algn="ctr" defTabSz="623398">
              <a:lnSpc>
                <a:spcPct val="106000"/>
              </a:lnSpc>
            </a:pPr>
            <a:r>
              <a:rPr lang="en-US" sz="1053" b="1" dirty="0">
                <a:latin typeface="Verdana"/>
              </a:rPr>
              <a:t>8 Artifacts</a:t>
            </a:r>
          </a:p>
        </p:txBody>
      </p:sp>
      <p:sp>
        <p:nvSpPr>
          <p:cNvPr id="923" name="Rectangle 922">
            <a:extLst>
              <a:ext uri="{FF2B5EF4-FFF2-40B4-BE49-F238E27FC236}">
                <a16:creationId xmlns:a16="http://schemas.microsoft.com/office/drawing/2014/main" id="{8BF78AC8-B531-4C5A-B6E8-8C9092293612}"/>
              </a:ext>
            </a:extLst>
          </p:cNvPr>
          <p:cNvSpPr/>
          <p:nvPr/>
        </p:nvSpPr>
        <p:spPr bwMode="gray">
          <a:xfrm>
            <a:off x="4743367" y="2097962"/>
            <a:ext cx="2769009" cy="3229580"/>
          </a:xfrm>
          <a:prstGeom prst="rect">
            <a:avLst/>
          </a:prstGeom>
          <a:solidFill>
            <a:schemeClr val="bg1">
              <a:alpha val="80000"/>
            </a:schemeClr>
          </a:solidFill>
          <a:ln w="38100" algn="ctr">
            <a:solidFill>
              <a:srgbClr val="97999B"/>
            </a:solidFill>
            <a:miter lim="800000"/>
            <a:headEnd/>
            <a:tailEnd/>
          </a:ln>
          <a:effectLst/>
        </p:spPr>
        <p:txBody>
          <a:bodyPr wrap="square" lIns="28409" tIns="28409" rIns="28409" bIns="28409" rtlCol="0" anchor="t"/>
          <a:lstStyle/>
          <a:p>
            <a:pPr algn="ctr" defTabSz="623398">
              <a:lnSpc>
                <a:spcPct val="106000"/>
              </a:lnSpc>
            </a:pPr>
            <a:r>
              <a:rPr lang="en-US" sz="1053" b="1" dirty="0">
                <a:latin typeface="Verdana"/>
              </a:rPr>
              <a:t>3 Scrum Team roles</a:t>
            </a:r>
          </a:p>
        </p:txBody>
      </p:sp>
      <p:sp>
        <p:nvSpPr>
          <p:cNvPr id="1018" name="Rectangle 1017">
            <a:extLst>
              <a:ext uri="{FF2B5EF4-FFF2-40B4-BE49-F238E27FC236}">
                <a16:creationId xmlns:a16="http://schemas.microsoft.com/office/drawing/2014/main" id="{E5AF0ABB-8814-4D8A-914A-99E1AF4A9E76}"/>
              </a:ext>
            </a:extLst>
          </p:cNvPr>
          <p:cNvSpPr/>
          <p:nvPr/>
        </p:nvSpPr>
        <p:spPr bwMode="gray">
          <a:xfrm>
            <a:off x="1860408" y="2089938"/>
            <a:ext cx="2769009" cy="3229580"/>
          </a:xfrm>
          <a:prstGeom prst="rect">
            <a:avLst/>
          </a:prstGeom>
          <a:solidFill>
            <a:schemeClr val="bg1">
              <a:alpha val="80000"/>
            </a:schemeClr>
          </a:solidFill>
          <a:ln w="38100" algn="ctr">
            <a:solidFill>
              <a:srgbClr val="97999B"/>
            </a:solidFill>
            <a:miter lim="800000"/>
            <a:headEnd/>
            <a:tailEnd/>
          </a:ln>
          <a:effectLst/>
        </p:spPr>
        <p:txBody>
          <a:bodyPr wrap="square" lIns="28409" tIns="28409" rIns="28409" bIns="28409" rtlCol="0" anchor="t"/>
          <a:lstStyle/>
          <a:p>
            <a:pPr algn="ctr" defTabSz="623398">
              <a:lnSpc>
                <a:spcPct val="106000"/>
              </a:lnSpc>
            </a:pPr>
            <a:r>
              <a:rPr lang="en-US" sz="1053" b="1" dirty="0">
                <a:latin typeface="Verdana"/>
              </a:rPr>
              <a:t>6 Ceremonies</a:t>
            </a:r>
          </a:p>
        </p:txBody>
      </p:sp>
      <p:grpSp>
        <p:nvGrpSpPr>
          <p:cNvPr id="610" name="Group 609">
            <a:extLst>
              <a:ext uri="{FF2B5EF4-FFF2-40B4-BE49-F238E27FC236}">
                <a16:creationId xmlns:a16="http://schemas.microsoft.com/office/drawing/2014/main" id="{A0D307F6-7BE7-4BA2-8E68-1D898AEC8120}"/>
              </a:ext>
            </a:extLst>
          </p:cNvPr>
          <p:cNvGrpSpPr/>
          <p:nvPr/>
        </p:nvGrpSpPr>
        <p:grpSpPr>
          <a:xfrm>
            <a:off x="1883715" y="2340521"/>
            <a:ext cx="838958" cy="962222"/>
            <a:chOff x="478109" y="2089088"/>
            <a:chExt cx="1115908" cy="1279863"/>
          </a:xfrm>
        </p:grpSpPr>
        <p:grpSp>
          <p:nvGrpSpPr>
            <p:cNvPr id="611" name="Group 610">
              <a:extLst>
                <a:ext uri="{FF2B5EF4-FFF2-40B4-BE49-F238E27FC236}">
                  <a16:creationId xmlns:a16="http://schemas.microsoft.com/office/drawing/2014/main" id="{29BB2DA4-0BBC-46A4-BF7B-E43BF3EC3256}"/>
                </a:ext>
              </a:extLst>
            </p:cNvPr>
            <p:cNvGrpSpPr/>
            <p:nvPr/>
          </p:nvGrpSpPr>
          <p:grpSpPr>
            <a:xfrm>
              <a:off x="586693" y="2089088"/>
              <a:ext cx="803662" cy="1200210"/>
              <a:chOff x="4404171" y="1891503"/>
              <a:chExt cx="567661" cy="847759"/>
            </a:xfrm>
          </p:grpSpPr>
          <p:sp>
            <p:nvSpPr>
              <p:cNvPr id="613" name="Line 66">
                <a:extLst>
                  <a:ext uri="{FF2B5EF4-FFF2-40B4-BE49-F238E27FC236}">
                    <a16:creationId xmlns:a16="http://schemas.microsoft.com/office/drawing/2014/main" id="{E33FF038-4EFD-4B1A-BA2D-38355B9C7A05}"/>
                  </a:ext>
                </a:extLst>
              </p:cNvPr>
              <p:cNvSpPr>
                <a:spLocks noChangeShapeType="1"/>
              </p:cNvSpPr>
              <p:nvPr/>
            </p:nvSpPr>
            <p:spPr bwMode="auto">
              <a:xfrm rot="8100000">
                <a:off x="4711514" y="1891503"/>
                <a:ext cx="0" cy="0"/>
              </a:xfrm>
              <a:prstGeom prst="line">
                <a:avLst/>
              </a:prstGeom>
              <a:noFill/>
              <a:ln w="1905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14" name="Line 67">
                <a:extLst>
                  <a:ext uri="{FF2B5EF4-FFF2-40B4-BE49-F238E27FC236}">
                    <a16:creationId xmlns:a16="http://schemas.microsoft.com/office/drawing/2014/main" id="{BC4AD184-2EAA-4A4D-B0F3-BDE1A83E5EE2}"/>
                  </a:ext>
                </a:extLst>
              </p:cNvPr>
              <p:cNvSpPr>
                <a:spLocks noChangeShapeType="1"/>
              </p:cNvSpPr>
              <p:nvPr/>
            </p:nvSpPr>
            <p:spPr bwMode="auto">
              <a:xfrm rot="8100000">
                <a:off x="4420834" y="220254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15" name="Line 69">
                <a:extLst>
                  <a:ext uri="{FF2B5EF4-FFF2-40B4-BE49-F238E27FC236}">
                    <a16:creationId xmlns:a16="http://schemas.microsoft.com/office/drawing/2014/main" id="{763FED00-0872-4F97-AFDE-B60D08713512}"/>
                  </a:ext>
                </a:extLst>
              </p:cNvPr>
              <p:cNvSpPr>
                <a:spLocks noChangeShapeType="1"/>
              </p:cNvSpPr>
              <p:nvPr/>
            </p:nvSpPr>
            <p:spPr bwMode="auto">
              <a:xfrm rot="8100000">
                <a:off x="4732806" y="252748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16" name="Line 74">
                <a:extLst>
                  <a:ext uri="{FF2B5EF4-FFF2-40B4-BE49-F238E27FC236}">
                    <a16:creationId xmlns:a16="http://schemas.microsoft.com/office/drawing/2014/main" id="{1B51A985-57C7-49BD-8F5F-EF55B59E7570}"/>
                  </a:ext>
                </a:extLst>
              </p:cNvPr>
              <p:cNvSpPr>
                <a:spLocks noChangeShapeType="1"/>
              </p:cNvSpPr>
              <p:nvPr/>
            </p:nvSpPr>
            <p:spPr bwMode="auto">
              <a:xfrm rot="8100000">
                <a:off x="4404171" y="221921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17" name="Line 66">
                <a:extLst>
                  <a:ext uri="{FF2B5EF4-FFF2-40B4-BE49-F238E27FC236}">
                    <a16:creationId xmlns:a16="http://schemas.microsoft.com/office/drawing/2014/main" id="{D54FC919-359A-420B-88CF-FFAC4290F9A0}"/>
                  </a:ext>
                </a:extLst>
              </p:cNvPr>
              <p:cNvSpPr>
                <a:spLocks noChangeShapeType="1"/>
              </p:cNvSpPr>
              <p:nvPr/>
            </p:nvSpPr>
            <p:spPr bwMode="auto">
              <a:xfrm rot="8100000">
                <a:off x="4711514" y="273926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18" name="Freeform 1186">
                <a:extLst>
                  <a:ext uri="{FF2B5EF4-FFF2-40B4-BE49-F238E27FC236}">
                    <a16:creationId xmlns:a16="http://schemas.microsoft.com/office/drawing/2014/main" id="{6E4E5453-A6C7-4BA9-A117-418655F2703D}"/>
                  </a:ext>
                </a:extLst>
              </p:cNvPr>
              <p:cNvSpPr>
                <a:spLocks/>
              </p:cNvSpPr>
              <p:nvPr/>
            </p:nvSpPr>
            <p:spPr bwMode="auto">
              <a:xfrm>
                <a:off x="4497396" y="2007469"/>
                <a:ext cx="23834" cy="14151"/>
              </a:xfrm>
              <a:custGeom>
                <a:avLst/>
                <a:gdLst>
                  <a:gd name="T0" fmla="*/ 64 w 64"/>
                  <a:gd name="T1" fmla="*/ 39 h 39"/>
                  <a:gd name="T2" fmla="*/ 64 w 64"/>
                  <a:gd name="T3" fmla="*/ 7 h 39"/>
                  <a:gd name="T4" fmla="*/ 64 w 64"/>
                  <a:gd name="T5" fmla="*/ 7 h 39"/>
                  <a:gd name="T6" fmla="*/ 62 w 64"/>
                  <a:gd name="T7" fmla="*/ 4 h 39"/>
                  <a:gd name="T8" fmla="*/ 60 w 64"/>
                  <a:gd name="T9" fmla="*/ 2 h 39"/>
                  <a:gd name="T10" fmla="*/ 60 w 64"/>
                  <a:gd name="T11" fmla="*/ 2 h 39"/>
                  <a:gd name="T12" fmla="*/ 57 w 64"/>
                  <a:gd name="T13" fmla="*/ 0 h 39"/>
                  <a:gd name="T14" fmla="*/ 7 w 64"/>
                  <a:gd name="T15" fmla="*/ 0 h 39"/>
                  <a:gd name="T16" fmla="*/ 7 w 64"/>
                  <a:gd name="T17" fmla="*/ 0 h 39"/>
                  <a:gd name="T18" fmla="*/ 3 w 64"/>
                  <a:gd name="T19" fmla="*/ 0 h 39"/>
                  <a:gd name="T20" fmla="*/ 1 w 64"/>
                  <a:gd name="T21" fmla="*/ 2 h 39"/>
                  <a:gd name="T22" fmla="*/ 0 w 64"/>
                  <a:gd name="T23" fmla="*/ 4 h 39"/>
                  <a:gd name="T24" fmla="*/ 0 w 64"/>
                  <a:gd name="T25" fmla="*/ 7 h 39"/>
                  <a:gd name="T26" fmla="*/ 0 w 64"/>
                  <a:gd name="T2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9">
                    <a:moveTo>
                      <a:pt x="64" y="39"/>
                    </a:moveTo>
                    <a:lnTo>
                      <a:pt x="64" y="7"/>
                    </a:lnTo>
                    <a:lnTo>
                      <a:pt x="64" y="7"/>
                    </a:lnTo>
                    <a:lnTo>
                      <a:pt x="62" y="4"/>
                    </a:lnTo>
                    <a:lnTo>
                      <a:pt x="60" y="2"/>
                    </a:lnTo>
                    <a:lnTo>
                      <a:pt x="60" y="2"/>
                    </a:lnTo>
                    <a:lnTo>
                      <a:pt x="57" y="0"/>
                    </a:lnTo>
                    <a:lnTo>
                      <a:pt x="7" y="0"/>
                    </a:lnTo>
                    <a:lnTo>
                      <a:pt x="7" y="0"/>
                    </a:lnTo>
                    <a:lnTo>
                      <a:pt x="3" y="0"/>
                    </a:lnTo>
                    <a:lnTo>
                      <a:pt x="1" y="2"/>
                    </a:lnTo>
                    <a:lnTo>
                      <a:pt x="0" y="4"/>
                    </a:lnTo>
                    <a:lnTo>
                      <a:pt x="0" y="7"/>
                    </a:lnTo>
                    <a:lnTo>
                      <a:pt x="0" y="39"/>
                    </a:lnTo>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19" name="Freeform 1187">
                <a:extLst>
                  <a:ext uri="{FF2B5EF4-FFF2-40B4-BE49-F238E27FC236}">
                    <a16:creationId xmlns:a16="http://schemas.microsoft.com/office/drawing/2014/main" id="{6404749B-0C00-41B6-B40B-C0965F970A38}"/>
                  </a:ext>
                </a:extLst>
              </p:cNvPr>
              <p:cNvSpPr>
                <a:spLocks/>
              </p:cNvSpPr>
              <p:nvPr/>
            </p:nvSpPr>
            <p:spPr bwMode="auto">
              <a:xfrm>
                <a:off x="4497396" y="2186220"/>
                <a:ext cx="23834" cy="30537"/>
              </a:xfrm>
              <a:custGeom>
                <a:avLst/>
                <a:gdLst>
                  <a:gd name="T0" fmla="*/ 64 w 64"/>
                  <a:gd name="T1" fmla="*/ 0 h 83"/>
                  <a:gd name="T2" fmla="*/ 64 w 64"/>
                  <a:gd name="T3" fmla="*/ 13 h 83"/>
                  <a:gd name="T4" fmla="*/ 31 w 64"/>
                  <a:gd name="T5" fmla="*/ 83 h 83"/>
                  <a:gd name="T6" fmla="*/ 0 w 64"/>
                  <a:gd name="T7" fmla="*/ 13 h 83"/>
                  <a:gd name="T8" fmla="*/ 0 w 64"/>
                  <a:gd name="T9" fmla="*/ 0 h 83"/>
                </a:gdLst>
                <a:ahLst/>
                <a:cxnLst>
                  <a:cxn ang="0">
                    <a:pos x="T0" y="T1"/>
                  </a:cxn>
                  <a:cxn ang="0">
                    <a:pos x="T2" y="T3"/>
                  </a:cxn>
                  <a:cxn ang="0">
                    <a:pos x="T4" y="T5"/>
                  </a:cxn>
                  <a:cxn ang="0">
                    <a:pos x="T6" y="T7"/>
                  </a:cxn>
                  <a:cxn ang="0">
                    <a:pos x="T8" y="T9"/>
                  </a:cxn>
                </a:cxnLst>
                <a:rect l="0" t="0" r="r" b="b"/>
                <a:pathLst>
                  <a:path w="64" h="83">
                    <a:moveTo>
                      <a:pt x="64" y="0"/>
                    </a:moveTo>
                    <a:lnTo>
                      <a:pt x="64" y="13"/>
                    </a:lnTo>
                    <a:lnTo>
                      <a:pt x="31" y="83"/>
                    </a:lnTo>
                    <a:lnTo>
                      <a:pt x="0" y="13"/>
                    </a:lnTo>
                    <a:lnTo>
                      <a:pt x="0" y="0"/>
                    </a:lnTo>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0" name="Rectangle 1188">
                <a:extLst>
                  <a:ext uri="{FF2B5EF4-FFF2-40B4-BE49-F238E27FC236}">
                    <a16:creationId xmlns:a16="http://schemas.microsoft.com/office/drawing/2014/main" id="{3849C16C-71A5-4540-9E96-A7EF210646BC}"/>
                  </a:ext>
                </a:extLst>
              </p:cNvPr>
              <p:cNvSpPr>
                <a:spLocks noChangeArrowheads="1"/>
              </p:cNvSpPr>
              <p:nvPr/>
            </p:nvSpPr>
            <p:spPr bwMode="auto">
              <a:xfrm>
                <a:off x="4497396" y="2033536"/>
                <a:ext cx="23834" cy="151939"/>
              </a:xfrm>
              <a:prstGeom prst="rect">
                <a:avLst/>
              </a:prstGeom>
              <a:noFill/>
              <a:ln w="6350">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1" name="Freeform 1189">
                <a:extLst>
                  <a:ext uri="{FF2B5EF4-FFF2-40B4-BE49-F238E27FC236}">
                    <a16:creationId xmlns:a16="http://schemas.microsoft.com/office/drawing/2014/main" id="{1FB0725E-4C76-4AD1-98B9-DCF3A89AC35F}"/>
                  </a:ext>
                </a:extLst>
              </p:cNvPr>
              <p:cNvSpPr>
                <a:spLocks/>
              </p:cNvSpPr>
              <p:nvPr/>
            </p:nvSpPr>
            <p:spPr bwMode="auto">
              <a:xfrm>
                <a:off x="4828831" y="2065563"/>
                <a:ext cx="143001" cy="143001"/>
              </a:xfrm>
              <a:custGeom>
                <a:avLst/>
                <a:gdLst>
                  <a:gd name="T0" fmla="*/ 384 w 384"/>
                  <a:gd name="T1" fmla="*/ 194 h 385"/>
                  <a:gd name="T2" fmla="*/ 381 w 384"/>
                  <a:gd name="T3" fmla="*/ 232 h 385"/>
                  <a:gd name="T4" fmla="*/ 371 w 384"/>
                  <a:gd name="T5" fmla="*/ 267 h 385"/>
                  <a:gd name="T6" fmla="*/ 353 w 384"/>
                  <a:gd name="T7" fmla="*/ 300 h 385"/>
                  <a:gd name="T8" fmla="*/ 329 w 384"/>
                  <a:gd name="T9" fmla="*/ 330 h 385"/>
                  <a:gd name="T10" fmla="*/ 314 w 384"/>
                  <a:gd name="T11" fmla="*/ 343 h 385"/>
                  <a:gd name="T12" fmla="*/ 283 w 384"/>
                  <a:gd name="T13" fmla="*/ 363 h 385"/>
                  <a:gd name="T14" fmla="*/ 250 w 384"/>
                  <a:gd name="T15" fmla="*/ 378 h 385"/>
                  <a:gd name="T16" fmla="*/ 211 w 384"/>
                  <a:gd name="T17" fmla="*/ 385 h 385"/>
                  <a:gd name="T18" fmla="*/ 193 w 384"/>
                  <a:gd name="T19" fmla="*/ 385 h 385"/>
                  <a:gd name="T20" fmla="*/ 154 w 384"/>
                  <a:gd name="T21" fmla="*/ 381 h 385"/>
                  <a:gd name="T22" fmla="*/ 119 w 384"/>
                  <a:gd name="T23" fmla="*/ 372 h 385"/>
                  <a:gd name="T24" fmla="*/ 86 w 384"/>
                  <a:gd name="T25" fmla="*/ 354 h 385"/>
                  <a:gd name="T26" fmla="*/ 57 w 384"/>
                  <a:gd name="T27" fmla="*/ 330 h 385"/>
                  <a:gd name="T28" fmla="*/ 42 w 384"/>
                  <a:gd name="T29" fmla="*/ 315 h 385"/>
                  <a:gd name="T30" fmla="*/ 22 w 384"/>
                  <a:gd name="T31" fmla="*/ 284 h 385"/>
                  <a:gd name="T32" fmla="*/ 7 w 384"/>
                  <a:gd name="T33" fmla="*/ 249 h 385"/>
                  <a:gd name="T34" fmla="*/ 0 w 384"/>
                  <a:gd name="T35" fmla="*/ 212 h 385"/>
                  <a:gd name="T36" fmla="*/ 0 w 384"/>
                  <a:gd name="T37" fmla="*/ 194 h 385"/>
                  <a:gd name="T38" fmla="*/ 3 w 384"/>
                  <a:gd name="T39" fmla="*/ 155 h 385"/>
                  <a:gd name="T40" fmla="*/ 15 w 384"/>
                  <a:gd name="T41" fmla="*/ 118 h 385"/>
                  <a:gd name="T42" fmla="*/ 31 w 384"/>
                  <a:gd name="T43" fmla="*/ 87 h 385"/>
                  <a:gd name="T44" fmla="*/ 57 w 384"/>
                  <a:gd name="T45" fmla="*/ 57 h 385"/>
                  <a:gd name="T46" fmla="*/ 70 w 384"/>
                  <a:gd name="T47" fmla="*/ 43 h 385"/>
                  <a:gd name="T48" fmla="*/ 101 w 384"/>
                  <a:gd name="T49" fmla="*/ 23 h 385"/>
                  <a:gd name="T50" fmla="*/ 136 w 384"/>
                  <a:gd name="T51" fmla="*/ 8 h 385"/>
                  <a:gd name="T52" fmla="*/ 173 w 384"/>
                  <a:gd name="T53" fmla="*/ 0 h 385"/>
                  <a:gd name="T54" fmla="*/ 193 w 384"/>
                  <a:gd name="T55" fmla="*/ 0 h 385"/>
                  <a:gd name="T56" fmla="*/ 232 w 384"/>
                  <a:gd name="T57" fmla="*/ 4 h 385"/>
                  <a:gd name="T58" fmla="*/ 267 w 384"/>
                  <a:gd name="T59" fmla="*/ 13 h 385"/>
                  <a:gd name="T60" fmla="*/ 300 w 384"/>
                  <a:gd name="T61" fmla="*/ 32 h 385"/>
                  <a:gd name="T62" fmla="*/ 329 w 384"/>
                  <a:gd name="T63" fmla="*/ 57 h 385"/>
                  <a:gd name="T64" fmla="*/ 342 w 384"/>
                  <a:gd name="T65" fmla="*/ 70 h 385"/>
                  <a:gd name="T66" fmla="*/ 362 w 384"/>
                  <a:gd name="T67" fmla="*/ 102 h 385"/>
                  <a:gd name="T68" fmla="*/ 377 w 384"/>
                  <a:gd name="T69" fmla="*/ 137 h 385"/>
                  <a:gd name="T70" fmla="*/ 384 w 384"/>
                  <a:gd name="T71" fmla="*/ 173 h 385"/>
                  <a:gd name="T72" fmla="*/ 384 w 384"/>
                  <a:gd name="T73" fmla="*/ 19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85">
                    <a:moveTo>
                      <a:pt x="384" y="194"/>
                    </a:moveTo>
                    <a:lnTo>
                      <a:pt x="384" y="194"/>
                    </a:lnTo>
                    <a:lnTo>
                      <a:pt x="384" y="212"/>
                    </a:lnTo>
                    <a:lnTo>
                      <a:pt x="381" y="232"/>
                    </a:lnTo>
                    <a:lnTo>
                      <a:pt x="377" y="249"/>
                    </a:lnTo>
                    <a:lnTo>
                      <a:pt x="371" y="267"/>
                    </a:lnTo>
                    <a:lnTo>
                      <a:pt x="362" y="284"/>
                    </a:lnTo>
                    <a:lnTo>
                      <a:pt x="353" y="300"/>
                    </a:lnTo>
                    <a:lnTo>
                      <a:pt x="342" y="315"/>
                    </a:lnTo>
                    <a:lnTo>
                      <a:pt x="329" y="330"/>
                    </a:lnTo>
                    <a:lnTo>
                      <a:pt x="329" y="330"/>
                    </a:lnTo>
                    <a:lnTo>
                      <a:pt x="314" y="343"/>
                    </a:lnTo>
                    <a:lnTo>
                      <a:pt x="300" y="354"/>
                    </a:lnTo>
                    <a:lnTo>
                      <a:pt x="283" y="363"/>
                    </a:lnTo>
                    <a:lnTo>
                      <a:pt x="267" y="372"/>
                    </a:lnTo>
                    <a:lnTo>
                      <a:pt x="250" y="378"/>
                    </a:lnTo>
                    <a:lnTo>
                      <a:pt x="232" y="381"/>
                    </a:lnTo>
                    <a:lnTo>
                      <a:pt x="211" y="385"/>
                    </a:lnTo>
                    <a:lnTo>
                      <a:pt x="193" y="385"/>
                    </a:lnTo>
                    <a:lnTo>
                      <a:pt x="193" y="385"/>
                    </a:lnTo>
                    <a:lnTo>
                      <a:pt x="173" y="385"/>
                    </a:lnTo>
                    <a:lnTo>
                      <a:pt x="154" y="381"/>
                    </a:lnTo>
                    <a:lnTo>
                      <a:pt x="136" y="378"/>
                    </a:lnTo>
                    <a:lnTo>
                      <a:pt x="119" y="372"/>
                    </a:lnTo>
                    <a:lnTo>
                      <a:pt x="101" y="363"/>
                    </a:lnTo>
                    <a:lnTo>
                      <a:pt x="86" y="354"/>
                    </a:lnTo>
                    <a:lnTo>
                      <a:pt x="70" y="343"/>
                    </a:lnTo>
                    <a:lnTo>
                      <a:pt x="57" y="330"/>
                    </a:lnTo>
                    <a:lnTo>
                      <a:pt x="57" y="330"/>
                    </a:lnTo>
                    <a:lnTo>
                      <a:pt x="42" y="315"/>
                    </a:lnTo>
                    <a:lnTo>
                      <a:pt x="31" y="300"/>
                    </a:lnTo>
                    <a:lnTo>
                      <a:pt x="22" y="284"/>
                    </a:lnTo>
                    <a:lnTo>
                      <a:pt x="15" y="267"/>
                    </a:lnTo>
                    <a:lnTo>
                      <a:pt x="7" y="249"/>
                    </a:lnTo>
                    <a:lnTo>
                      <a:pt x="3" y="232"/>
                    </a:lnTo>
                    <a:lnTo>
                      <a:pt x="0" y="212"/>
                    </a:lnTo>
                    <a:lnTo>
                      <a:pt x="0" y="194"/>
                    </a:lnTo>
                    <a:lnTo>
                      <a:pt x="0" y="194"/>
                    </a:lnTo>
                    <a:lnTo>
                      <a:pt x="0" y="173"/>
                    </a:lnTo>
                    <a:lnTo>
                      <a:pt x="3" y="155"/>
                    </a:lnTo>
                    <a:lnTo>
                      <a:pt x="7" y="137"/>
                    </a:lnTo>
                    <a:lnTo>
                      <a:pt x="15" y="118"/>
                    </a:lnTo>
                    <a:lnTo>
                      <a:pt x="22" y="102"/>
                    </a:lnTo>
                    <a:lnTo>
                      <a:pt x="31" y="87"/>
                    </a:lnTo>
                    <a:lnTo>
                      <a:pt x="42" y="70"/>
                    </a:lnTo>
                    <a:lnTo>
                      <a:pt x="57" y="57"/>
                    </a:lnTo>
                    <a:lnTo>
                      <a:pt x="57" y="57"/>
                    </a:lnTo>
                    <a:lnTo>
                      <a:pt x="70" y="43"/>
                    </a:lnTo>
                    <a:lnTo>
                      <a:pt x="86" y="32"/>
                    </a:lnTo>
                    <a:lnTo>
                      <a:pt x="101" y="23"/>
                    </a:lnTo>
                    <a:lnTo>
                      <a:pt x="119" y="13"/>
                    </a:lnTo>
                    <a:lnTo>
                      <a:pt x="136" y="8"/>
                    </a:lnTo>
                    <a:lnTo>
                      <a:pt x="154" y="4"/>
                    </a:lnTo>
                    <a:lnTo>
                      <a:pt x="173" y="0"/>
                    </a:lnTo>
                    <a:lnTo>
                      <a:pt x="193" y="0"/>
                    </a:lnTo>
                    <a:lnTo>
                      <a:pt x="193" y="0"/>
                    </a:lnTo>
                    <a:lnTo>
                      <a:pt x="211" y="0"/>
                    </a:lnTo>
                    <a:lnTo>
                      <a:pt x="232" y="4"/>
                    </a:lnTo>
                    <a:lnTo>
                      <a:pt x="250" y="8"/>
                    </a:lnTo>
                    <a:lnTo>
                      <a:pt x="267" y="13"/>
                    </a:lnTo>
                    <a:lnTo>
                      <a:pt x="283" y="23"/>
                    </a:lnTo>
                    <a:lnTo>
                      <a:pt x="300" y="32"/>
                    </a:lnTo>
                    <a:lnTo>
                      <a:pt x="314" y="43"/>
                    </a:lnTo>
                    <a:lnTo>
                      <a:pt x="329" y="57"/>
                    </a:lnTo>
                    <a:lnTo>
                      <a:pt x="329" y="57"/>
                    </a:lnTo>
                    <a:lnTo>
                      <a:pt x="342" y="70"/>
                    </a:lnTo>
                    <a:lnTo>
                      <a:pt x="353" y="87"/>
                    </a:lnTo>
                    <a:lnTo>
                      <a:pt x="362" y="102"/>
                    </a:lnTo>
                    <a:lnTo>
                      <a:pt x="371" y="118"/>
                    </a:lnTo>
                    <a:lnTo>
                      <a:pt x="377" y="137"/>
                    </a:lnTo>
                    <a:lnTo>
                      <a:pt x="381" y="155"/>
                    </a:lnTo>
                    <a:lnTo>
                      <a:pt x="384" y="173"/>
                    </a:lnTo>
                    <a:lnTo>
                      <a:pt x="384" y="194"/>
                    </a:lnTo>
                    <a:lnTo>
                      <a:pt x="384" y="194"/>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2" name="Freeform 1190">
                <a:extLst>
                  <a:ext uri="{FF2B5EF4-FFF2-40B4-BE49-F238E27FC236}">
                    <a16:creationId xmlns:a16="http://schemas.microsoft.com/office/drawing/2014/main" id="{E509CF28-3C9F-4A6A-A2D5-83EA1F5FF48C}"/>
                  </a:ext>
                </a:extLst>
              </p:cNvPr>
              <p:cNvSpPr>
                <a:spLocks/>
              </p:cNvSpPr>
              <p:nvPr/>
            </p:nvSpPr>
            <p:spPr bwMode="auto">
              <a:xfrm>
                <a:off x="4858623" y="2065563"/>
                <a:ext cx="83417" cy="143001"/>
              </a:xfrm>
              <a:custGeom>
                <a:avLst/>
                <a:gdLst>
                  <a:gd name="T0" fmla="*/ 222 w 222"/>
                  <a:gd name="T1" fmla="*/ 194 h 385"/>
                  <a:gd name="T2" fmla="*/ 219 w 222"/>
                  <a:gd name="T3" fmla="*/ 249 h 385"/>
                  <a:gd name="T4" fmla="*/ 209 w 222"/>
                  <a:gd name="T5" fmla="*/ 284 h 385"/>
                  <a:gd name="T6" fmla="*/ 198 w 222"/>
                  <a:gd name="T7" fmla="*/ 315 h 385"/>
                  <a:gd name="T8" fmla="*/ 191 w 222"/>
                  <a:gd name="T9" fmla="*/ 330 h 385"/>
                  <a:gd name="T10" fmla="*/ 173 w 222"/>
                  <a:gd name="T11" fmla="*/ 354 h 385"/>
                  <a:gd name="T12" fmla="*/ 154 w 222"/>
                  <a:gd name="T13" fmla="*/ 372 h 385"/>
                  <a:gd name="T14" fmla="*/ 134 w 222"/>
                  <a:gd name="T15" fmla="*/ 381 h 385"/>
                  <a:gd name="T16" fmla="*/ 112 w 222"/>
                  <a:gd name="T17" fmla="*/ 385 h 385"/>
                  <a:gd name="T18" fmla="*/ 101 w 222"/>
                  <a:gd name="T19" fmla="*/ 385 h 385"/>
                  <a:gd name="T20" fmla="*/ 79 w 222"/>
                  <a:gd name="T21" fmla="*/ 378 h 385"/>
                  <a:gd name="T22" fmla="*/ 59 w 222"/>
                  <a:gd name="T23" fmla="*/ 363 h 385"/>
                  <a:gd name="T24" fmla="*/ 42 w 222"/>
                  <a:gd name="T25" fmla="*/ 343 h 385"/>
                  <a:gd name="T26" fmla="*/ 33 w 222"/>
                  <a:gd name="T27" fmla="*/ 330 h 385"/>
                  <a:gd name="T28" fmla="*/ 18 w 222"/>
                  <a:gd name="T29" fmla="*/ 300 h 385"/>
                  <a:gd name="T30" fmla="*/ 9 w 222"/>
                  <a:gd name="T31" fmla="*/ 267 h 385"/>
                  <a:gd name="T32" fmla="*/ 2 w 222"/>
                  <a:gd name="T33" fmla="*/ 232 h 385"/>
                  <a:gd name="T34" fmla="*/ 0 w 222"/>
                  <a:gd name="T35" fmla="*/ 194 h 385"/>
                  <a:gd name="T36" fmla="*/ 5 w 222"/>
                  <a:gd name="T37" fmla="*/ 137 h 385"/>
                  <a:gd name="T38" fmla="*/ 13 w 222"/>
                  <a:gd name="T39" fmla="*/ 102 h 385"/>
                  <a:gd name="T40" fmla="*/ 25 w 222"/>
                  <a:gd name="T41" fmla="*/ 70 h 385"/>
                  <a:gd name="T42" fmla="*/ 33 w 222"/>
                  <a:gd name="T43" fmla="*/ 57 h 385"/>
                  <a:gd name="T44" fmla="*/ 49 w 222"/>
                  <a:gd name="T45" fmla="*/ 32 h 385"/>
                  <a:gd name="T46" fmla="*/ 68 w 222"/>
                  <a:gd name="T47" fmla="*/ 13 h 385"/>
                  <a:gd name="T48" fmla="*/ 90 w 222"/>
                  <a:gd name="T49" fmla="*/ 4 h 385"/>
                  <a:gd name="T50" fmla="*/ 112 w 222"/>
                  <a:gd name="T51" fmla="*/ 0 h 385"/>
                  <a:gd name="T52" fmla="*/ 123 w 222"/>
                  <a:gd name="T53" fmla="*/ 0 h 385"/>
                  <a:gd name="T54" fmla="*/ 145 w 222"/>
                  <a:gd name="T55" fmla="*/ 8 h 385"/>
                  <a:gd name="T56" fmla="*/ 163 w 222"/>
                  <a:gd name="T57" fmla="*/ 23 h 385"/>
                  <a:gd name="T58" fmla="*/ 182 w 222"/>
                  <a:gd name="T59" fmla="*/ 43 h 385"/>
                  <a:gd name="T60" fmla="*/ 191 w 222"/>
                  <a:gd name="T61" fmla="*/ 57 h 385"/>
                  <a:gd name="T62" fmla="*/ 204 w 222"/>
                  <a:gd name="T63" fmla="*/ 87 h 385"/>
                  <a:gd name="T64" fmla="*/ 215 w 222"/>
                  <a:gd name="T65" fmla="*/ 118 h 385"/>
                  <a:gd name="T66" fmla="*/ 220 w 222"/>
                  <a:gd name="T67" fmla="*/ 155 h 385"/>
                  <a:gd name="T68" fmla="*/ 222 w 222"/>
                  <a:gd name="T69" fmla="*/ 19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385">
                    <a:moveTo>
                      <a:pt x="222" y="194"/>
                    </a:moveTo>
                    <a:lnTo>
                      <a:pt x="222" y="194"/>
                    </a:lnTo>
                    <a:lnTo>
                      <a:pt x="220" y="232"/>
                    </a:lnTo>
                    <a:lnTo>
                      <a:pt x="219" y="249"/>
                    </a:lnTo>
                    <a:lnTo>
                      <a:pt x="215" y="267"/>
                    </a:lnTo>
                    <a:lnTo>
                      <a:pt x="209" y="284"/>
                    </a:lnTo>
                    <a:lnTo>
                      <a:pt x="204" y="300"/>
                    </a:lnTo>
                    <a:lnTo>
                      <a:pt x="198" y="315"/>
                    </a:lnTo>
                    <a:lnTo>
                      <a:pt x="191" y="330"/>
                    </a:lnTo>
                    <a:lnTo>
                      <a:pt x="191" y="330"/>
                    </a:lnTo>
                    <a:lnTo>
                      <a:pt x="182" y="343"/>
                    </a:lnTo>
                    <a:lnTo>
                      <a:pt x="173" y="354"/>
                    </a:lnTo>
                    <a:lnTo>
                      <a:pt x="163" y="363"/>
                    </a:lnTo>
                    <a:lnTo>
                      <a:pt x="154" y="372"/>
                    </a:lnTo>
                    <a:lnTo>
                      <a:pt x="145" y="378"/>
                    </a:lnTo>
                    <a:lnTo>
                      <a:pt x="134" y="381"/>
                    </a:lnTo>
                    <a:lnTo>
                      <a:pt x="123" y="385"/>
                    </a:lnTo>
                    <a:lnTo>
                      <a:pt x="112" y="385"/>
                    </a:lnTo>
                    <a:lnTo>
                      <a:pt x="112" y="385"/>
                    </a:lnTo>
                    <a:lnTo>
                      <a:pt x="101" y="385"/>
                    </a:lnTo>
                    <a:lnTo>
                      <a:pt x="90" y="381"/>
                    </a:lnTo>
                    <a:lnTo>
                      <a:pt x="79" y="378"/>
                    </a:lnTo>
                    <a:lnTo>
                      <a:pt x="68" y="372"/>
                    </a:lnTo>
                    <a:lnTo>
                      <a:pt x="59" y="363"/>
                    </a:lnTo>
                    <a:lnTo>
                      <a:pt x="49" y="354"/>
                    </a:lnTo>
                    <a:lnTo>
                      <a:pt x="42" y="343"/>
                    </a:lnTo>
                    <a:lnTo>
                      <a:pt x="33" y="330"/>
                    </a:lnTo>
                    <a:lnTo>
                      <a:pt x="33" y="330"/>
                    </a:lnTo>
                    <a:lnTo>
                      <a:pt x="25" y="315"/>
                    </a:lnTo>
                    <a:lnTo>
                      <a:pt x="18" y="300"/>
                    </a:lnTo>
                    <a:lnTo>
                      <a:pt x="13" y="284"/>
                    </a:lnTo>
                    <a:lnTo>
                      <a:pt x="9" y="267"/>
                    </a:lnTo>
                    <a:lnTo>
                      <a:pt x="5" y="249"/>
                    </a:lnTo>
                    <a:lnTo>
                      <a:pt x="2" y="232"/>
                    </a:lnTo>
                    <a:lnTo>
                      <a:pt x="0" y="194"/>
                    </a:lnTo>
                    <a:lnTo>
                      <a:pt x="0" y="194"/>
                    </a:lnTo>
                    <a:lnTo>
                      <a:pt x="2" y="155"/>
                    </a:lnTo>
                    <a:lnTo>
                      <a:pt x="5" y="137"/>
                    </a:lnTo>
                    <a:lnTo>
                      <a:pt x="9" y="118"/>
                    </a:lnTo>
                    <a:lnTo>
                      <a:pt x="13" y="102"/>
                    </a:lnTo>
                    <a:lnTo>
                      <a:pt x="18" y="87"/>
                    </a:lnTo>
                    <a:lnTo>
                      <a:pt x="25" y="70"/>
                    </a:lnTo>
                    <a:lnTo>
                      <a:pt x="33" y="57"/>
                    </a:lnTo>
                    <a:lnTo>
                      <a:pt x="33" y="57"/>
                    </a:lnTo>
                    <a:lnTo>
                      <a:pt x="42" y="43"/>
                    </a:lnTo>
                    <a:lnTo>
                      <a:pt x="49" y="32"/>
                    </a:lnTo>
                    <a:lnTo>
                      <a:pt x="59" y="23"/>
                    </a:lnTo>
                    <a:lnTo>
                      <a:pt x="68" y="13"/>
                    </a:lnTo>
                    <a:lnTo>
                      <a:pt x="79" y="8"/>
                    </a:lnTo>
                    <a:lnTo>
                      <a:pt x="90" y="4"/>
                    </a:lnTo>
                    <a:lnTo>
                      <a:pt x="101" y="0"/>
                    </a:lnTo>
                    <a:lnTo>
                      <a:pt x="112" y="0"/>
                    </a:lnTo>
                    <a:lnTo>
                      <a:pt x="112" y="0"/>
                    </a:lnTo>
                    <a:lnTo>
                      <a:pt x="123" y="0"/>
                    </a:lnTo>
                    <a:lnTo>
                      <a:pt x="134" y="4"/>
                    </a:lnTo>
                    <a:lnTo>
                      <a:pt x="145" y="8"/>
                    </a:lnTo>
                    <a:lnTo>
                      <a:pt x="154" y="13"/>
                    </a:lnTo>
                    <a:lnTo>
                      <a:pt x="163" y="23"/>
                    </a:lnTo>
                    <a:lnTo>
                      <a:pt x="173" y="32"/>
                    </a:lnTo>
                    <a:lnTo>
                      <a:pt x="182" y="43"/>
                    </a:lnTo>
                    <a:lnTo>
                      <a:pt x="191" y="57"/>
                    </a:lnTo>
                    <a:lnTo>
                      <a:pt x="191" y="57"/>
                    </a:lnTo>
                    <a:lnTo>
                      <a:pt x="198" y="70"/>
                    </a:lnTo>
                    <a:lnTo>
                      <a:pt x="204" y="87"/>
                    </a:lnTo>
                    <a:lnTo>
                      <a:pt x="209" y="102"/>
                    </a:lnTo>
                    <a:lnTo>
                      <a:pt x="215" y="118"/>
                    </a:lnTo>
                    <a:lnTo>
                      <a:pt x="219" y="137"/>
                    </a:lnTo>
                    <a:lnTo>
                      <a:pt x="220" y="155"/>
                    </a:lnTo>
                    <a:lnTo>
                      <a:pt x="222" y="194"/>
                    </a:lnTo>
                    <a:lnTo>
                      <a:pt x="222" y="194"/>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3" name="Freeform 1191">
                <a:extLst>
                  <a:ext uri="{FF2B5EF4-FFF2-40B4-BE49-F238E27FC236}">
                    <a16:creationId xmlns:a16="http://schemas.microsoft.com/office/drawing/2014/main" id="{B38DA51A-07F3-455C-B0A4-209D1CAB22F0}"/>
                  </a:ext>
                </a:extLst>
              </p:cNvPr>
              <p:cNvSpPr>
                <a:spLocks/>
              </p:cNvSpPr>
              <p:nvPr/>
            </p:nvSpPr>
            <p:spPr bwMode="auto">
              <a:xfrm>
                <a:off x="4900331" y="2065563"/>
                <a:ext cx="71501" cy="143001"/>
              </a:xfrm>
              <a:custGeom>
                <a:avLst/>
                <a:gdLst>
                  <a:gd name="T0" fmla="*/ 0 w 191"/>
                  <a:gd name="T1" fmla="*/ 385 h 385"/>
                  <a:gd name="T2" fmla="*/ 0 w 191"/>
                  <a:gd name="T3" fmla="*/ 385 h 385"/>
                  <a:gd name="T4" fmla="*/ 18 w 191"/>
                  <a:gd name="T5" fmla="*/ 385 h 385"/>
                  <a:gd name="T6" fmla="*/ 39 w 191"/>
                  <a:gd name="T7" fmla="*/ 381 h 385"/>
                  <a:gd name="T8" fmla="*/ 57 w 191"/>
                  <a:gd name="T9" fmla="*/ 378 h 385"/>
                  <a:gd name="T10" fmla="*/ 74 w 191"/>
                  <a:gd name="T11" fmla="*/ 372 h 385"/>
                  <a:gd name="T12" fmla="*/ 90 w 191"/>
                  <a:gd name="T13" fmla="*/ 363 h 385"/>
                  <a:gd name="T14" fmla="*/ 107 w 191"/>
                  <a:gd name="T15" fmla="*/ 354 h 385"/>
                  <a:gd name="T16" fmla="*/ 121 w 191"/>
                  <a:gd name="T17" fmla="*/ 343 h 385"/>
                  <a:gd name="T18" fmla="*/ 136 w 191"/>
                  <a:gd name="T19" fmla="*/ 330 h 385"/>
                  <a:gd name="T20" fmla="*/ 136 w 191"/>
                  <a:gd name="T21" fmla="*/ 330 h 385"/>
                  <a:gd name="T22" fmla="*/ 149 w 191"/>
                  <a:gd name="T23" fmla="*/ 315 h 385"/>
                  <a:gd name="T24" fmla="*/ 160 w 191"/>
                  <a:gd name="T25" fmla="*/ 300 h 385"/>
                  <a:gd name="T26" fmla="*/ 169 w 191"/>
                  <a:gd name="T27" fmla="*/ 284 h 385"/>
                  <a:gd name="T28" fmla="*/ 178 w 191"/>
                  <a:gd name="T29" fmla="*/ 267 h 385"/>
                  <a:gd name="T30" fmla="*/ 184 w 191"/>
                  <a:gd name="T31" fmla="*/ 249 h 385"/>
                  <a:gd name="T32" fmla="*/ 188 w 191"/>
                  <a:gd name="T33" fmla="*/ 232 h 385"/>
                  <a:gd name="T34" fmla="*/ 191 w 191"/>
                  <a:gd name="T35" fmla="*/ 212 h 385"/>
                  <a:gd name="T36" fmla="*/ 191 w 191"/>
                  <a:gd name="T37" fmla="*/ 194 h 385"/>
                  <a:gd name="T38" fmla="*/ 191 w 191"/>
                  <a:gd name="T39" fmla="*/ 194 h 385"/>
                  <a:gd name="T40" fmla="*/ 191 w 191"/>
                  <a:gd name="T41" fmla="*/ 173 h 385"/>
                  <a:gd name="T42" fmla="*/ 188 w 191"/>
                  <a:gd name="T43" fmla="*/ 155 h 385"/>
                  <a:gd name="T44" fmla="*/ 184 w 191"/>
                  <a:gd name="T45" fmla="*/ 137 h 385"/>
                  <a:gd name="T46" fmla="*/ 178 w 191"/>
                  <a:gd name="T47" fmla="*/ 118 h 385"/>
                  <a:gd name="T48" fmla="*/ 169 w 191"/>
                  <a:gd name="T49" fmla="*/ 102 h 385"/>
                  <a:gd name="T50" fmla="*/ 160 w 191"/>
                  <a:gd name="T51" fmla="*/ 87 h 385"/>
                  <a:gd name="T52" fmla="*/ 149 w 191"/>
                  <a:gd name="T53" fmla="*/ 70 h 385"/>
                  <a:gd name="T54" fmla="*/ 136 w 191"/>
                  <a:gd name="T55" fmla="*/ 57 h 385"/>
                  <a:gd name="T56" fmla="*/ 136 w 191"/>
                  <a:gd name="T57" fmla="*/ 57 h 385"/>
                  <a:gd name="T58" fmla="*/ 121 w 191"/>
                  <a:gd name="T59" fmla="*/ 43 h 385"/>
                  <a:gd name="T60" fmla="*/ 107 w 191"/>
                  <a:gd name="T61" fmla="*/ 32 h 385"/>
                  <a:gd name="T62" fmla="*/ 90 w 191"/>
                  <a:gd name="T63" fmla="*/ 23 h 385"/>
                  <a:gd name="T64" fmla="*/ 74 w 191"/>
                  <a:gd name="T65" fmla="*/ 13 h 385"/>
                  <a:gd name="T66" fmla="*/ 57 w 191"/>
                  <a:gd name="T67" fmla="*/ 8 h 385"/>
                  <a:gd name="T68" fmla="*/ 39 w 191"/>
                  <a:gd name="T69" fmla="*/ 4 h 385"/>
                  <a:gd name="T70" fmla="*/ 18 w 191"/>
                  <a:gd name="T71" fmla="*/ 0 h 385"/>
                  <a:gd name="T72" fmla="*/ 0 w 191"/>
                  <a:gd name="T73" fmla="*/ 0 h 385"/>
                  <a:gd name="T74" fmla="*/ 0 w 191"/>
                  <a:gd name="T7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385">
                    <a:moveTo>
                      <a:pt x="0" y="385"/>
                    </a:moveTo>
                    <a:lnTo>
                      <a:pt x="0" y="385"/>
                    </a:lnTo>
                    <a:lnTo>
                      <a:pt x="18" y="385"/>
                    </a:lnTo>
                    <a:lnTo>
                      <a:pt x="39" y="381"/>
                    </a:lnTo>
                    <a:lnTo>
                      <a:pt x="57" y="378"/>
                    </a:lnTo>
                    <a:lnTo>
                      <a:pt x="74" y="372"/>
                    </a:lnTo>
                    <a:lnTo>
                      <a:pt x="90" y="363"/>
                    </a:lnTo>
                    <a:lnTo>
                      <a:pt x="107" y="354"/>
                    </a:lnTo>
                    <a:lnTo>
                      <a:pt x="121" y="343"/>
                    </a:lnTo>
                    <a:lnTo>
                      <a:pt x="136" y="330"/>
                    </a:lnTo>
                    <a:lnTo>
                      <a:pt x="136" y="330"/>
                    </a:lnTo>
                    <a:lnTo>
                      <a:pt x="149" y="315"/>
                    </a:lnTo>
                    <a:lnTo>
                      <a:pt x="160" y="300"/>
                    </a:lnTo>
                    <a:lnTo>
                      <a:pt x="169" y="284"/>
                    </a:lnTo>
                    <a:lnTo>
                      <a:pt x="178" y="267"/>
                    </a:lnTo>
                    <a:lnTo>
                      <a:pt x="184" y="249"/>
                    </a:lnTo>
                    <a:lnTo>
                      <a:pt x="188" y="232"/>
                    </a:lnTo>
                    <a:lnTo>
                      <a:pt x="191" y="212"/>
                    </a:lnTo>
                    <a:lnTo>
                      <a:pt x="191" y="194"/>
                    </a:lnTo>
                    <a:lnTo>
                      <a:pt x="191" y="194"/>
                    </a:lnTo>
                    <a:lnTo>
                      <a:pt x="191" y="173"/>
                    </a:lnTo>
                    <a:lnTo>
                      <a:pt x="188" y="155"/>
                    </a:lnTo>
                    <a:lnTo>
                      <a:pt x="184" y="137"/>
                    </a:lnTo>
                    <a:lnTo>
                      <a:pt x="178" y="118"/>
                    </a:lnTo>
                    <a:lnTo>
                      <a:pt x="169" y="102"/>
                    </a:lnTo>
                    <a:lnTo>
                      <a:pt x="160" y="87"/>
                    </a:lnTo>
                    <a:lnTo>
                      <a:pt x="149" y="70"/>
                    </a:lnTo>
                    <a:lnTo>
                      <a:pt x="136" y="57"/>
                    </a:lnTo>
                    <a:lnTo>
                      <a:pt x="136" y="57"/>
                    </a:lnTo>
                    <a:lnTo>
                      <a:pt x="121" y="43"/>
                    </a:lnTo>
                    <a:lnTo>
                      <a:pt x="107" y="32"/>
                    </a:lnTo>
                    <a:lnTo>
                      <a:pt x="90" y="23"/>
                    </a:lnTo>
                    <a:lnTo>
                      <a:pt x="74" y="13"/>
                    </a:lnTo>
                    <a:lnTo>
                      <a:pt x="57" y="8"/>
                    </a:lnTo>
                    <a:lnTo>
                      <a:pt x="39" y="4"/>
                    </a:lnTo>
                    <a:lnTo>
                      <a:pt x="18" y="0"/>
                    </a:lnTo>
                    <a:lnTo>
                      <a:pt x="0" y="0"/>
                    </a:lnTo>
                    <a:lnTo>
                      <a:pt x="0" y="385"/>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4" name="Freeform 1192">
                <a:extLst>
                  <a:ext uri="{FF2B5EF4-FFF2-40B4-BE49-F238E27FC236}">
                    <a16:creationId xmlns:a16="http://schemas.microsoft.com/office/drawing/2014/main" id="{93173672-F50E-4879-9F07-831CD75B99D4}"/>
                  </a:ext>
                </a:extLst>
              </p:cNvPr>
              <p:cNvSpPr>
                <a:spLocks/>
              </p:cNvSpPr>
              <p:nvPr/>
            </p:nvSpPr>
            <p:spPr bwMode="auto">
              <a:xfrm>
                <a:off x="4828831" y="2111740"/>
                <a:ext cx="143001" cy="50646"/>
              </a:xfrm>
              <a:custGeom>
                <a:avLst/>
                <a:gdLst>
                  <a:gd name="T0" fmla="*/ 0 w 384"/>
                  <a:gd name="T1" fmla="*/ 68 h 136"/>
                  <a:gd name="T2" fmla="*/ 0 w 384"/>
                  <a:gd name="T3" fmla="*/ 68 h 136"/>
                  <a:gd name="T4" fmla="*/ 0 w 384"/>
                  <a:gd name="T5" fmla="*/ 84 h 136"/>
                  <a:gd name="T6" fmla="*/ 3 w 384"/>
                  <a:gd name="T7" fmla="*/ 101 h 136"/>
                  <a:gd name="T8" fmla="*/ 7 w 384"/>
                  <a:gd name="T9" fmla="*/ 119 h 136"/>
                  <a:gd name="T10" fmla="*/ 13 w 384"/>
                  <a:gd name="T11" fmla="*/ 136 h 136"/>
                  <a:gd name="T12" fmla="*/ 373 w 384"/>
                  <a:gd name="T13" fmla="*/ 136 h 136"/>
                  <a:gd name="T14" fmla="*/ 373 w 384"/>
                  <a:gd name="T15" fmla="*/ 136 h 136"/>
                  <a:gd name="T16" fmla="*/ 379 w 384"/>
                  <a:gd name="T17" fmla="*/ 119 h 136"/>
                  <a:gd name="T18" fmla="*/ 382 w 384"/>
                  <a:gd name="T19" fmla="*/ 101 h 136"/>
                  <a:gd name="T20" fmla="*/ 384 w 384"/>
                  <a:gd name="T21" fmla="*/ 84 h 136"/>
                  <a:gd name="T22" fmla="*/ 384 w 384"/>
                  <a:gd name="T23" fmla="*/ 68 h 136"/>
                  <a:gd name="T24" fmla="*/ 384 w 384"/>
                  <a:gd name="T25" fmla="*/ 68 h 136"/>
                  <a:gd name="T26" fmla="*/ 384 w 384"/>
                  <a:gd name="T27" fmla="*/ 49 h 136"/>
                  <a:gd name="T28" fmla="*/ 382 w 384"/>
                  <a:gd name="T29" fmla="*/ 33 h 136"/>
                  <a:gd name="T30" fmla="*/ 379 w 384"/>
                  <a:gd name="T31" fmla="*/ 16 h 136"/>
                  <a:gd name="T32" fmla="*/ 373 w 384"/>
                  <a:gd name="T33" fmla="*/ 0 h 136"/>
                  <a:gd name="T34" fmla="*/ 13 w 384"/>
                  <a:gd name="T35" fmla="*/ 0 h 136"/>
                  <a:gd name="T36" fmla="*/ 13 w 384"/>
                  <a:gd name="T37" fmla="*/ 0 h 136"/>
                  <a:gd name="T38" fmla="*/ 7 w 384"/>
                  <a:gd name="T39" fmla="*/ 16 h 136"/>
                  <a:gd name="T40" fmla="*/ 3 w 384"/>
                  <a:gd name="T41" fmla="*/ 33 h 136"/>
                  <a:gd name="T42" fmla="*/ 0 w 384"/>
                  <a:gd name="T43" fmla="*/ 49 h 136"/>
                  <a:gd name="T44" fmla="*/ 0 w 384"/>
                  <a:gd name="T45" fmla="*/ 68 h 136"/>
                  <a:gd name="T46" fmla="*/ 0 w 384"/>
                  <a:gd name="T47"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 h="136">
                    <a:moveTo>
                      <a:pt x="0" y="68"/>
                    </a:moveTo>
                    <a:lnTo>
                      <a:pt x="0" y="68"/>
                    </a:lnTo>
                    <a:lnTo>
                      <a:pt x="0" y="84"/>
                    </a:lnTo>
                    <a:lnTo>
                      <a:pt x="3" y="101"/>
                    </a:lnTo>
                    <a:lnTo>
                      <a:pt x="7" y="119"/>
                    </a:lnTo>
                    <a:lnTo>
                      <a:pt x="13" y="136"/>
                    </a:lnTo>
                    <a:lnTo>
                      <a:pt x="373" y="136"/>
                    </a:lnTo>
                    <a:lnTo>
                      <a:pt x="373" y="136"/>
                    </a:lnTo>
                    <a:lnTo>
                      <a:pt x="379" y="119"/>
                    </a:lnTo>
                    <a:lnTo>
                      <a:pt x="382" y="101"/>
                    </a:lnTo>
                    <a:lnTo>
                      <a:pt x="384" y="84"/>
                    </a:lnTo>
                    <a:lnTo>
                      <a:pt x="384" y="68"/>
                    </a:lnTo>
                    <a:lnTo>
                      <a:pt x="384" y="68"/>
                    </a:lnTo>
                    <a:lnTo>
                      <a:pt x="384" y="49"/>
                    </a:lnTo>
                    <a:lnTo>
                      <a:pt x="382" y="33"/>
                    </a:lnTo>
                    <a:lnTo>
                      <a:pt x="379" y="16"/>
                    </a:lnTo>
                    <a:lnTo>
                      <a:pt x="373" y="0"/>
                    </a:lnTo>
                    <a:lnTo>
                      <a:pt x="13" y="0"/>
                    </a:lnTo>
                    <a:lnTo>
                      <a:pt x="13" y="0"/>
                    </a:lnTo>
                    <a:lnTo>
                      <a:pt x="7" y="16"/>
                    </a:lnTo>
                    <a:lnTo>
                      <a:pt x="3" y="33"/>
                    </a:lnTo>
                    <a:lnTo>
                      <a:pt x="0" y="49"/>
                    </a:lnTo>
                    <a:lnTo>
                      <a:pt x="0" y="68"/>
                    </a:lnTo>
                    <a:lnTo>
                      <a:pt x="0" y="68"/>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5" name="Freeform 1193">
                <a:extLst>
                  <a:ext uri="{FF2B5EF4-FFF2-40B4-BE49-F238E27FC236}">
                    <a16:creationId xmlns:a16="http://schemas.microsoft.com/office/drawing/2014/main" id="{D6A5EA93-9C1B-4E12-82E8-D3BE58F5434C}"/>
                  </a:ext>
                </a:extLst>
              </p:cNvPr>
              <p:cNvSpPr>
                <a:spLocks/>
              </p:cNvSpPr>
              <p:nvPr/>
            </p:nvSpPr>
            <p:spPr bwMode="auto">
              <a:xfrm>
                <a:off x="4584537" y="2050667"/>
                <a:ext cx="205564" cy="309836"/>
              </a:xfrm>
              <a:custGeom>
                <a:avLst/>
                <a:gdLst>
                  <a:gd name="T0" fmla="*/ 418 w 554"/>
                  <a:gd name="T1" fmla="*/ 0 h 831"/>
                  <a:gd name="T2" fmla="*/ 0 w 554"/>
                  <a:gd name="T3" fmla="*/ 0 h 831"/>
                  <a:gd name="T4" fmla="*/ 0 w 554"/>
                  <a:gd name="T5" fmla="*/ 831 h 831"/>
                  <a:gd name="T6" fmla="*/ 554 w 554"/>
                  <a:gd name="T7" fmla="*/ 831 h 831"/>
                  <a:gd name="T8" fmla="*/ 554 w 554"/>
                  <a:gd name="T9" fmla="*/ 136 h 831"/>
                  <a:gd name="T10" fmla="*/ 418 w 554"/>
                  <a:gd name="T11" fmla="*/ 0 h 831"/>
                </a:gdLst>
                <a:ahLst/>
                <a:cxnLst>
                  <a:cxn ang="0">
                    <a:pos x="T0" y="T1"/>
                  </a:cxn>
                  <a:cxn ang="0">
                    <a:pos x="T2" y="T3"/>
                  </a:cxn>
                  <a:cxn ang="0">
                    <a:pos x="T4" y="T5"/>
                  </a:cxn>
                  <a:cxn ang="0">
                    <a:pos x="T6" y="T7"/>
                  </a:cxn>
                  <a:cxn ang="0">
                    <a:pos x="T8" y="T9"/>
                  </a:cxn>
                  <a:cxn ang="0">
                    <a:pos x="T10" y="T11"/>
                  </a:cxn>
                </a:cxnLst>
                <a:rect l="0" t="0" r="r" b="b"/>
                <a:pathLst>
                  <a:path w="554" h="831">
                    <a:moveTo>
                      <a:pt x="418" y="0"/>
                    </a:moveTo>
                    <a:lnTo>
                      <a:pt x="0" y="0"/>
                    </a:lnTo>
                    <a:lnTo>
                      <a:pt x="0" y="831"/>
                    </a:lnTo>
                    <a:lnTo>
                      <a:pt x="554" y="831"/>
                    </a:lnTo>
                    <a:lnTo>
                      <a:pt x="554" y="136"/>
                    </a:lnTo>
                    <a:lnTo>
                      <a:pt x="418" y="0"/>
                    </a:lnTo>
                    <a:close/>
                  </a:path>
                </a:pathLst>
              </a:custGeom>
              <a:solidFill>
                <a:srgbClr val="30C0D8"/>
              </a:solidFill>
              <a:ln w="317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26" name="Freeform 1194">
                <a:extLst>
                  <a:ext uri="{FF2B5EF4-FFF2-40B4-BE49-F238E27FC236}">
                    <a16:creationId xmlns:a16="http://schemas.microsoft.com/office/drawing/2014/main" id="{6852B158-D50B-4D16-AB5A-F9BF49128E5A}"/>
                  </a:ext>
                </a:extLst>
              </p:cNvPr>
              <p:cNvSpPr>
                <a:spLocks/>
              </p:cNvSpPr>
              <p:nvPr/>
            </p:nvSpPr>
            <p:spPr bwMode="auto">
              <a:xfrm>
                <a:off x="4739455" y="2050667"/>
                <a:ext cx="52881" cy="52881"/>
              </a:xfrm>
              <a:custGeom>
                <a:avLst/>
                <a:gdLst>
                  <a:gd name="T0" fmla="*/ 0 w 141"/>
                  <a:gd name="T1" fmla="*/ 141 h 141"/>
                  <a:gd name="T2" fmla="*/ 141 w 141"/>
                  <a:gd name="T3" fmla="*/ 141 h 141"/>
                  <a:gd name="T4" fmla="*/ 0 w 141"/>
                  <a:gd name="T5" fmla="*/ 0 h 141"/>
                  <a:gd name="T6" fmla="*/ 0 w 141"/>
                  <a:gd name="T7" fmla="*/ 141 h 141"/>
                </a:gdLst>
                <a:ahLst/>
                <a:cxnLst>
                  <a:cxn ang="0">
                    <a:pos x="T0" y="T1"/>
                  </a:cxn>
                  <a:cxn ang="0">
                    <a:pos x="T2" y="T3"/>
                  </a:cxn>
                  <a:cxn ang="0">
                    <a:pos x="T4" y="T5"/>
                  </a:cxn>
                  <a:cxn ang="0">
                    <a:pos x="T6" y="T7"/>
                  </a:cxn>
                </a:cxnLst>
                <a:rect l="0" t="0" r="r" b="b"/>
                <a:pathLst>
                  <a:path w="141" h="141">
                    <a:moveTo>
                      <a:pt x="0" y="141"/>
                    </a:moveTo>
                    <a:lnTo>
                      <a:pt x="141" y="141"/>
                    </a:lnTo>
                    <a:lnTo>
                      <a:pt x="0" y="0"/>
                    </a:lnTo>
                    <a:lnTo>
                      <a:pt x="0" y="141"/>
                    </a:lnTo>
                    <a:close/>
                  </a:path>
                </a:pathLst>
              </a:custGeom>
              <a:solidFill>
                <a:srgbClr val="FFD23D"/>
              </a:solidFill>
              <a:ln w="317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27" name="Line 1195">
                <a:extLst>
                  <a:ext uri="{FF2B5EF4-FFF2-40B4-BE49-F238E27FC236}">
                    <a16:creationId xmlns:a16="http://schemas.microsoft.com/office/drawing/2014/main" id="{DD501732-AB9F-4DDA-8CE3-240CF26E4145}"/>
                  </a:ext>
                </a:extLst>
              </p:cNvPr>
              <p:cNvSpPr>
                <a:spLocks noChangeShapeType="1"/>
              </p:cNvSpPr>
              <p:nvPr/>
            </p:nvSpPr>
            <p:spPr bwMode="auto">
              <a:xfrm>
                <a:off x="4559959" y="2105782"/>
                <a:ext cx="5809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8" name="Line 1196">
                <a:extLst>
                  <a:ext uri="{FF2B5EF4-FFF2-40B4-BE49-F238E27FC236}">
                    <a16:creationId xmlns:a16="http://schemas.microsoft.com/office/drawing/2014/main" id="{11503632-9C2D-4AD8-81E6-F4AA29883AE8}"/>
                  </a:ext>
                </a:extLst>
              </p:cNvPr>
              <p:cNvSpPr>
                <a:spLocks noChangeShapeType="1"/>
              </p:cNvSpPr>
              <p:nvPr/>
            </p:nvSpPr>
            <p:spPr bwMode="auto">
              <a:xfrm>
                <a:off x="4559214" y="2130360"/>
                <a:ext cx="136298"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29" name="Line 1197">
                <a:extLst>
                  <a:ext uri="{FF2B5EF4-FFF2-40B4-BE49-F238E27FC236}">
                    <a16:creationId xmlns:a16="http://schemas.microsoft.com/office/drawing/2014/main" id="{F01BC9D5-7FAF-4D51-BBA3-0AD1CE56EFE1}"/>
                  </a:ext>
                </a:extLst>
              </p:cNvPr>
              <p:cNvSpPr>
                <a:spLocks noChangeShapeType="1"/>
              </p:cNvSpPr>
              <p:nvPr/>
            </p:nvSpPr>
            <p:spPr bwMode="auto">
              <a:xfrm>
                <a:off x="4559214" y="2155683"/>
                <a:ext cx="136298"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0" name="Line 1198">
                <a:extLst>
                  <a:ext uri="{FF2B5EF4-FFF2-40B4-BE49-F238E27FC236}">
                    <a16:creationId xmlns:a16="http://schemas.microsoft.com/office/drawing/2014/main" id="{D0054669-CC78-4988-8A48-422F614021A3}"/>
                  </a:ext>
                </a:extLst>
              </p:cNvPr>
              <p:cNvSpPr>
                <a:spLocks noChangeShapeType="1"/>
              </p:cNvSpPr>
              <p:nvPr/>
            </p:nvSpPr>
            <p:spPr bwMode="auto">
              <a:xfrm>
                <a:off x="4559214" y="2180262"/>
                <a:ext cx="136298"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1" name="Line 1199">
                <a:extLst>
                  <a:ext uri="{FF2B5EF4-FFF2-40B4-BE49-F238E27FC236}">
                    <a16:creationId xmlns:a16="http://schemas.microsoft.com/office/drawing/2014/main" id="{BA5FD0B7-0B90-4202-9CA2-18DB38EAB6E1}"/>
                  </a:ext>
                </a:extLst>
              </p:cNvPr>
              <p:cNvSpPr>
                <a:spLocks noChangeShapeType="1"/>
              </p:cNvSpPr>
              <p:nvPr/>
            </p:nvSpPr>
            <p:spPr bwMode="auto">
              <a:xfrm>
                <a:off x="4559214" y="2204840"/>
                <a:ext cx="87886"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2" name="Freeform 1200">
                <a:extLst>
                  <a:ext uri="{FF2B5EF4-FFF2-40B4-BE49-F238E27FC236}">
                    <a16:creationId xmlns:a16="http://schemas.microsoft.com/office/drawing/2014/main" id="{22485A5C-ED03-4BA6-9D4F-4CF202968F42}"/>
                  </a:ext>
                </a:extLst>
              </p:cNvPr>
              <p:cNvSpPr>
                <a:spLocks/>
              </p:cNvSpPr>
              <p:nvPr/>
            </p:nvSpPr>
            <p:spPr bwMode="auto">
              <a:xfrm>
                <a:off x="4606136" y="2275596"/>
                <a:ext cx="286002" cy="142256"/>
              </a:xfrm>
              <a:custGeom>
                <a:avLst/>
                <a:gdLst>
                  <a:gd name="T0" fmla="*/ 0 w 767"/>
                  <a:gd name="T1" fmla="*/ 370 h 383"/>
                  <a:gd name="T2" fmla="*/ 0 w 767"/>
                  <a:gd name="T3" fmla="*/ 370 h 383"/>
                  <a:gd name="T4" fmla="*/ 0 w 767"/>
                  <a:gd name="T5" fmla="*/ 375 h 383"/>
                  <a:gd name="T6" fmla="*/ 4 w 767"/>
                  <a:gd name="T7" fmla="*/ 379 h 383"/>
                  <a:gd name="T8" fmla="*/ 4 w 767"/>
                  <a:gd name="T9" fmla="*/ 379 h 383"/>
                  <a:gd name="T10" fmla="*/ 7 w 767"/>
                  <a:gd name="T11" fmla="*/ 383 h 383"/>
                  <a:gd name="T12" fmla="*/ 13 w 767"/>
                  <a:gd name="T13" fmla="*/ 383 h 383"/>
                  <a:gd name="T14" fmla="*/ 754 w 767"/>
                  <a:gd name="T15" fmla="*/ 383 h 383"/>
                  <a:gd name="T16" fmla="*/ 754 w 767"/>
                  <a:gd name="T17" fmla="*/ 383 h 383"/>
                  <a:gd name="T18" fmla="*/ 760 w 767"/>
                  <a:gd name="T19" fmla="*/ 383 h 383"/>
                  <a:gd name="T20" fmla="*/ 763 w 767"/>
                  <a:gd name="T21" fmla="*/ 379 h 383"/>
                  <a:gd name="T22" fmla="*/ 763 w 767"/>
                  <a:gd name="T23" fmla="*/ 379 h 383"/>
                  <a:gd name="T24" fmla="*/ 767 w 767"/>
                  <a:gd name="T25" fmla="*/ 375 h 383"/>
                  <a:gd name="T26" fmla="*/ 767 w 767"/>
                  <a:gd name="T27" fmla="*/ 370 h 383"/>
                  <a:gd name="T28" fmla="*/ 767 w 767"/>
                  <a:gd name="T29" fmla="*/ 13 h 383"/>
                  <a:gd name="T30" fmla="*/ 767 w 767"/>
                  <a:gd name="T31" fmla="*/ 13 h 383"/>
                  <a:gd name="T32" fmla="*/ 767 w 767"/>
                  <a:gd name="T33" fmla="*/ 9 h 383"/>
                  <a:gd name="T34" fmla="*/ 763 w 767"/>
                  <a:gd name="T35" fmla="*/ 4 h 383"/>
                  <a:gd name="T36" fmla="*/ 763 w 767"/>
                  <a:gd name="T37" fmla="*/ 4 h 383"/>
                  <a:gd name="T38" fmla="*/ 760 w 767"/>
                  <a:gd name="T39" fmla="*/ 2 h 383"/>
                  <a:gd name="T40" fmla="*/ 754 w 767"/>
                  <a:gd name="T41" fmla="*/ 0 h 383"/>
                  <a:gd name="T42" fmla="*/ 13 w 767"/>
                  <a:gd name="T43" fmla="*/ 0 h 383"/>
                  <a:gd name="T44" fmla="*/ 13 w 767"/>
                  <a:gd name="T45" fmla="*/ 0 h 383"/>
                  <a:gd name="T46" fmla="*/ 7 w 767"/>
                  <a:gd name="T47" fmla="*/ 2 h 383"/>
                  <a:gd name="T48" fmla="*/ 4 w 767"/>
                  <a:gd name="T49" fmla="*/ 4 h 383"/>
                  <a:gd name="T50" fmla="*/ 4 w 767"/>
                  <a:gd name="T51" fmla="*/ 4 h 383"/>
                  <a:gd name="T52" fmla="*/ 0 w 767"/>
                  <a:gd name="T53" fmla="*/ 9 h 383"/>
                  <a:gd name="T54" fmla="*/ 0 w 767"/>
                  <a:gd name="T55" fmla="*/ 13 h 383"/>
                  <a:gd name="T56" fmla="*/ 0 w 767"/>
                  <a:gd name="T57" fmla="*/ 37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7" h="383">
                    <a:moveTo>
                      <a:pt x="0" y="370"/>
                    </a:moveTo>
                    <a:lnTo>
                      <a:pt x="0" y="370"/>
                    </a:lnTo>
                    <a:lnTo>
                      <a:pt x="0" y="375"/>
                    </a:lnTo>
                    <a:lnTo>
                      <a:pt x="4" y="379"/>
                    </a:lnTo>
                    <a:lnTo>
                      <a:pt x="4" y="379"/>
                    </a:lnTo>
                    <a:lnTo>
                      <a:pt x="7" y="383"/>
                    </a:lnTo>
                    <a:lnTo>
                      <a:pt x="13" y="383"/>
                    </a:lnTo>
                    <a:lnTo>
                      <a:pt x="754" y="383"/>
                    </a:lnTo>
                    <a:lnTo>
                      <a:pt x="754" y="383"/>
                    </a:lnTo>
                    <a:lnTo>
                      <a:pt x="760" y="383"/>
                    </a:lnTo>
                    <a:lnTo>
                      <a:pt x="763" y="379"/>
                    </a:lnTo>
                    <a:lnTo>
                      <a:pt x="763" y="379"/>
                    </a:lnTo>
                    <a:lnTo>
                      <a:pt x="767" y="375"/>
                    </a:lnTo>
                    <a:lnTo>
                      <a:pt x="767" y="370"/>
                    </a:lnTo>
                    <a:lnTo>
                      <a:pt x="767" y="13"/>
                    </a:lnTo>
                    <a:lnTo>
                      <a:pt x="767" y="13"/>
                    </a:lnTo>
                    <a:lnTo>
                      <a:pt x="767" y="9"/>
                    </a:lnTo>
                    <a:lnTo>
                      <a:pt x="763" y="4"/>
                    </a:lnTo>
                    <a:lnTo>
                      <a:pt x="763" y="4"/>
                    </a:lnTo>
                    <a:lnTo>
                      <a:pt x="760" y="2"/>
                    </a:lnTo>
                    <a:lnTo>
                      <a:pt x="754" y="0"/>
                    </a:lnTo>
                    <a:lnTo>
                      <a:pt x="13" y="0"/>
                    </a:lnTo>
                    <a:lnTo>
                      <a:pt x="13" y="0"/>
                    </a:lnTo>
                    <a:lnTo>
                      <a:pt x="7" y="2"/>
                    </a:lnTo>
                    <a:lnTo>
                      <a:pt x="4" y="4"/>
                    </a:lnTo>
                    <a:lnTo>
                      <a:pt x="4" y="4"/>
                    </a:lnTo>
                    <a:lnTo>
                      <a:pt x="0" y="9"/>
                    </a:lnTo>
                    <a:lnTo>
                      <a:pt x="0" y="13"/>
                    </a:lnTo>
                    <a:lnTo>
                      <a:pt x="0" y="370"/>
                    </a:lnTo>
                    <a:close/>
                  </a:path>
                </a:pathLst>
              </a:custGeom>
              <a:noFill/>
              <a:ln w="6350">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3" name="Line 1201">
                <a:extLst>
                  <a:ext uri="{FF2B5EF4-FFF2-40B4-BE49-F238E27FC236}">
                    <a16:creationId xmlns:a16="http://schemas.microsoft.com/office/drawing/2014/main" id="{6089BA2B-9072-43F5-BC39-E81ACAA2454B}"/>
                  </a:ext>
                </a:extLst>
              </p:cNvPr>
              <p:cNvSpPr>
                <a:spLocks noChangeShapeType="1"/>
              </p:cNvSpPr>
              <p:nvPr/>
            </p:nvSpPr>
            <p:spPr bwMode="auto">
              <a:xfrm flipH="1">
                <a:off x="4848940"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4" name="Line 1202">
                <a:extLst>
                  <a:ext uri="{FF2B5EF4-FFF2-40B4-BE49-F238E27FC236}">
                    <a16:creationId xmlns:a16="http://schemas.microsoft.com/office/drawing/2014/main" id="{E96B8A43-29C2-4B11-9BD2-36F5BC730404}"/>
                  </a:ext>
                </a:extLst>
              </p:cNvPr>
              <p:cNvSpPr>
                <a:spLocks noChangeShapeType="1"/>
              </p:cNvSpPr>
              <p:nvPr/>
            </p:nvSpPr>
            <p:spPr bwMode="auto">
              <a:xfrm flipH="1">
                <a:off x="4816914" y="2301663"/>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5" name="Line 1203">
                <a:extLst>
                  <a:ext uri="{FF2B5EF4-FFF2-40B4-BE49-F238E27FC236}">
                    <a16:creationId xmlns:a16="http://schemas.microsoft.com/office/drawing/2014/main" id="{C65DBB33-1072-41A0-8E3C-AFAECE1034E5}"/>
                  </a:ext>
                </a:extLst>
              </p:cNvPr>
              <p:cNvSpPr>
                <a:spLocks noChangeShapeType="1"/>
              </p:cNvSpPr>
              <p:nvPr/>
            </p:nvSpPr>
            <p:spPr bwMode="auto">
              <a:xfrm flipH="1">
                <a:off x="4785633"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6" name="Line 1204">
                <a:extLst>
                  <a:ext uri="{FF2B5EF4-FFF2-40B4-BE49-F238E27FC236}">
                    <a16:creationId xmlns:a16="http://schemas.microsoft.com/office/drawing/2014/main" id="{460855BB-FE03-480F-A9C8-32A80D0B506C}"/>
                  </a:ext>
                </a:extLst>
              </p:cNvPr>
              <p:cNvSpPr>
                <a:spLocks noChangeShapeType="1"/>
              </p:cNvSpPr>
              <p:nvPr/>
            </p:nvSpPr>
            <p:spPr bwMode="auto">
              <a:xfrm flipH="1">
                <a:off x="4754351"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7" name="Line 1205">
                <a:extLst>
                  <a:ext uri="{FF2B5EF4-FFF2-40B4-BE49-F238E27FC236}">
                    <a16:creationId xmlns:a16="http://schemas.microsoft.com/office/drawing/2014/main" id="{B5534015-63D0-4EC8-A0D5-39EF12098982}"/>
                  </a:ext>
                </a:extLst>
              </p:cNvPr>
              <p:cNvSpPr>
                <a:spLocks noChangeShapeType="1"/>
              </p:cNvSpPr>
              <p:nvPr/>
            </p:nvSpPr>
            <p:spPr bwMode="auto">
              <a:xfrm flipH="1">
                <a:off x="4721580" y="2301663"/>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8" name="Line 1206">
                <a:extLst>
                  <a:ext uri="{FF2B5EF4-FFF2-40B4-BE49-F238E27FC236}">
                    <a16:creationId xmlns:a16="http://schemas.microsoft.com/office/drawing/2014/main" id="{07A4AF9C-C0EF-47FA-9458-D8926FE2D15B}"/>
                  </a:ext>
                </a:extLst>
              </p:cNvPr>
              <p:cNvSpPr>
                <a:spLocks noChangeShapeType="1"/>
              </p:cNvSpPr>
              <p:nvPr/>
            </p:nvSpPr>
            <p:spPr bwMode="auto">
              <a:xfrm flipH="1">
                <a:off x="4690299" y="2301663"/>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39" name="Line 1207">
                <a:extLst>
                  <a:ext uri="{FF2B5EF4-FFF2-40B4-BE49-F238E27FC236}">
                    <a16:creationId xmlns:a16="http://schemas.microsoft.com/office/drawing/2014/main" id="{A9160829-300E-4624-8949-0DCB69324EA1}"/>
                  </a:ext>
                </a:extLst>
              </p:cNvPr>
              <p:cNvSpPr>
                <a:spLocks noChangeShapeType="1"/>
              </p:cNvSpPr>
              <p:nvPr/>
            </p:nvSpPr>
            <p:spPr bwMode="auto">
              <a:xfrm flipH="1">
                <a:off x="4659017"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0" name="Line 1208">
                <a:extLst>
                  <a:ext uri="{FF2B5EF4-FFF2-40B4-BE49-F238E27FC236}">
                    <a16:creationId xmlns:a16="http://schemas.microsoft.com/office/drawing/2014/main" id="{5A6276BA-809A-4563-AC25-2EB24A33E286}"/>
                  </a:ext>
                </a:extLst>
              </p:cNvPr>
              <p:cNvSpPr>
                <a:spLocks noChangeShapeType="1"/>
              </p:cNvSpPr>
              <p:nvPr/>
            </p:nvSpPr>
            <p:spPr bwMode="auto">
              <a:xfrm flipH="1">
                <a:off x="4627736" y="2301663"/>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1" name="Line 1209">
                <a:extLst>
                  <a:ext uri="{FF2B5EF4-FFF2-40B4-BE49-F238E27FC236}">
                    <a16:creationId xmlns:a16="http://schemas.microsoft.com/office/drawing/2014/main" id="{BC581B30-1C14-4C4A-9616-501ABF2F3020}"/>
                  </a:ext>
                </a:extLst>
              </p:cNvPr>
              <p:cNvSpPr>
                <a:spLocks noChangeShapeType="1"/>
              </p:cNvSpPr>
              <p:nvPr/>
            </p:nvSpPr>
            <p:spPr bwMode="auto">
              <a:xfrm flipH="1">
                <a:off x="4848940"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2" name="Line 1210">
                <a:extLst>
                  <a:ext uri="{FF2B5EF4-FFF2-40B4-BE49-F238E27FC236}">
                    <a16:creationId xmlns:a16="http://schemas.microsoft.com/office/drawing/2014/main" id="{999D503A-5BEF-40CB-A3CA-D1637E59BF97}"/>
                  </a:ext>
                </a:extLst>
              </p:cNvPr>
              <p:cNvSpPr>
                <a:spLocks noChangeShapeType="1"/>
              </p:cNvSpPr>
              <p:nvPr/>
            </p:nvSpPr>
            <p:spPr bwMode="auto">
              <a:xfrm flipH="1">
                <a:off x="4816914" y="2331455"/>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3" name="Line 1211">
                <a:extLst>
                  <a:ext uri="{FF2B5EF4-FFF2-40B4-BE49-F238E27FC236}">
                    <a16:creationId xmlns:a16="http://schemas.microsoft.com/office/drawing/2014/main" id="{486D437F-3437-41F0-B9F1-DDC701AE8AB0}"/>
                  </a:ext>
                </a:extLst>
              </p:cNvPr>
              <p:cNvSpPr>
                <a:spLocks noChangeShapeType="1"/>
              </p:cNvSpPr>
              <p:nvPr/>
            </p:nvSpPr>
            <p:spPr bwMode="auto">
              <a:xfrm flipH="1">
                <a:off x="4785633"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4" name="Line 1212">
                <a:extLst>
                  <a:ext uri="{FF2B5EF4-FFF2-40B4-BE49-F238E27FC236}">
                    <a16:creationId xmlns:a16="http://schemas.microsoft.com/office/drawing/2014/main" id="{6675726E-19E7-4110-A061-F1867BC81973}"/>
                  </a:ext>
                </a:extLst>
              </p:cNvPr>
              <p:cNvSpPr>
                <a:spLocks noChangeShapeType="1"/>
              </p:cNvSpPr>
              <p:nvPr/>
            </p:nvSpPr>
            <p:spPr bwMode="auto">
              <a:xfrm flipH="1">
                <a:off x="4754351"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5" name="Line 1213">
                <a:extLst>
                  <a:ext uri="{FF2B5EF4-FFF2-40B4-BE49-F238E27FC236}">
                    <a16:creationId xmlns:a16="http://schemas.microsoft.com/office/drawing/2014/main" id="{305BA581-2BCF-4B96-903D-4069B69AC7C6}"/>
                  </a:ext>
                </a:extLst>
              </p:cNvPr>
              <p:cNvSpPr>
                <a:spLocks noChangeShapeType="1"/>
              </p:cNvSpPr>
              <p:nvPr/>
            </p:nvSpPr>
            <p:spPr bwMode="auto">
              <a:xfrm flipH="1">
                <a:off x="4721580" y="2331455"/>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6" name="Line 1214">
                <a:extLst>
                  <a:ext uri="{FF2B5EF4-FFF2-40B4-BE49-F238E27FC236}">
                    <a16:creationId xmlns:a16="http://schemas.microsoft.com/office/drawing/2014/main" id="{CCB9F76E-E379-4646-A88F-EE663714C6F3}"/>
                  </a:ext>
                </a:extLst>
              </p:cNvPr>
              <p:cNvSpPr>
                <a:spLocks noChangeShapeType="1"/>
              </p:cNvSpPr>
              <p:nvPr/>
            </p:nvSpPr>
            <p:spPr bwMode="auto">
              <a:xfrm flipH="1">
                <a:off x="4690299" y="2331455"/>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7" name="Line 1215">
                <a:extLst>
                  <a:ext uri="{FF2B5EF4-FFF2-40B4-BE49-F238E27FC236}">
                    <a16:creationId xmlns:a16="http://schemas.microsoft.com/office/drawing/2014/main" id="{EE6F935E-A495-4161-A2F4-2156226D790A}"/>
                  </a:ext>
                </a:extLst>
              </p:cNvPr>
              <p:cNvSpPr>
                <a:spLocks noChangeShapeType="1"/>
              </p:cNvSpPr>
              <p:nvPr/>
            </p:nvSpPr>
            <p:spPr bwMode="auto">
              <a:xfrm flipH="1">
                <a:off x="4659017"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8" name="Line 1216">
                <a:extLst>
                  <a:ext uri="{FF2B5EF4-FFF2-40B4-BE49-F238E27FC236}">
                    <a16:creationId xmlns:a16="http://schemas.microsoft.com/office/drawing/2014/main" id="{5A403757-A85B-49FE-85AF-BA6BB2F5F762}"/>
                  </a:ext>
                </a:extLst>
              </p:cNvPr>
              <p:cNvSpPr>
                <a:spLocks noChangeShapeType="1"/>
              </p:cNvSpPr>
              <p:nvPr/>
            </p:nvSpPr>
            <p:spPr bwMode="auto">
              <a:xfrm flipH="1">
                <a:off x="4627736" y="2331455"/>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49" name="Line 1217">
                <a:extLst>
                  <a:ext uri="{FF2B5EF4-FFF2-40B4-BE49-F238E27FC236}">
                    <a16:creationId xmlns:a16="http://schemas.microsoft.com/office/drawing/2014/main" id="{A5E38A30-14B1-4346-95BC-336FC473BF33}"/>
                  </a:ext>
                </a:extLst>
              </p:cNvPr>
              <p:cNvSpPr>
                <a:spLocks noChangeShapeType="1"/>
              </p:cNvSpPr>
              <p:nvPr/>
            </p:nvSpPr>
            <p:spPr bwMode="auto">
              <a:xfrm flipH="1">
                <a:off x="4848940"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0" name="Line 1218">
                <a:extLst>
                  <a:ext uri="{FF2B5EF4-FFF2-40B4-BE49-F238E27FC236}">
                    <a16:creationId xmlns:a16="http://schemas.microsoft.com/office/drawing/2014/main" id="{7E10B7F6-8A99-4914-B521-28B1161F00EC}"/>
                  </a:ext>
                </a:extLst>
              </p:cNvPr>
              <p:cNvSpPr>
                <a:spLocks noChangeShapeType="1"/>
              </p:cNvSpPr>
              <p:nvPr/>
            </p:nvSpPr>
            <p:spPr bwMode="auto">
              <a:xfrm flipH="1">
                <a:off x="4816914" y="2359758"/>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1" name="Line 1219">
                <a:extLst>
                  <a:ext uri="{FF2B5EF4-FFF2-40B4-BE49-F238E27FC236}">
                    <a16:creationId xmlns:a16="http://schemas.microsoft.com/office/drawing/2014/main" id="{63BA92ED-AC81-4EBF-AC81-9E7F1300BAA6}"/>
                  </a:ext>
                </a:extLst>
              </p:cNvPr>
              <p:cNvSpPr>
                <a:spLocks noChangeShapeType="1"/>
              </p:cNvSpPr>
              <p:nvPr/>
            </p:nvSpPr>
            <p:spPr bwMode="auto">
              <a:xfrm flipH="1">
                <a:off x="4785633"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2" name="Line 1220">
                <a:extLst>
                  <a:ext uri="{FF2B5EF4-FFF2-40B4-BE49-F238E27FC236}">
                    <a16:creationId xmlns:a16="http://schemas.microsoft.com/office/drawing/2014/main" id="{EDA37749-2673-4456-815D-7E0939EEA17E}"/>
                  </a:ext>
                </a:extLst>
              </p:cNvPr>
              <p:cNvSpPr>
                <a:spLocks noChangeShapeType="1"/>
              </p:cNvSpPr>
              <p:nvPr/>
            </p:nvSpPr>
            <p:spPr bwMode="auto">
              <a:xfrm flipH="1">
                <a:off x="4754351"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3" name="Line 1221">
                <a:extLst>
                  <a:ext uri="{FF2B5EF4-FFF2-40B4-BE49-F238E27FC236}">
                    <a16:creationId xmlns:a16="http://schemas.microsoft.com/office/drawing/2014/main" id="{FB7C1693-2322-45A0-8BC0-2B22DC7221CC}"/>
                  </a:ext>
                </a:extLst>
              </p:cNvPr>
              <p:cNvSpPr>
                <a:spLocks noChangeShapeType="1"/>
              </p:cNvSpPr>
              <p:nvPr/>
            </p:nvSpPr>
            <p:spPr bwMode="auto">
              <a:xfrm flipH="1">
                <a:off x="4721580" y="2359758"/>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4" name="Line 1222">
                <a:extLst>
                  <a:ext uri="{FF2B5EF4-FFF2-40B4-BE49-F238E27FC236}">
                    <a16:creationId xmlns:a16="http://schemas.microsoft.com/office/drawing/2014/main" id="{62C1EE0F-BBCC-4E70-ADE4-4E0D8A03E46F}"/>
                  </a:ext>
                </a:extLst>
              </p:cNvPr>
              <p:cNvSpPr>
                <a:spLocks noChangeShapeType="1"/>
              </p:cNvSpPr>
              <p:nvPr/>
            </p:nvSpPr>
            <p:spPr bwMode="auto">
              <a:xfrm flipH="1">
                <a:off x="4690299" y="2359758"/>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5" name="Line 1223">
                <a:extLst>
                  <a:ext uri="{FF2B5EF4-FFF2-40B4-BE49-F238E27FC236}">
                    <a16:creationId xmlns:a16="http://schemas.microsoft.com/office/drawing/2014/main" id="{7BB33ADB-95D3-423A-8BC1-DF02657534C5}"/>
                  </a:ext>
                </a:extLst>
              </p:cNvPr>
              <p:cNvSpPr>
                <a:spLocks noChangeShapeType="1"/>
              </p:cNvSpPr>
              <p:nvPr/>
            </p:nvSpPr>
            <p:spPr bwMode="auto">
              <a:xfrm flipH="1">
                <a:off x="4659017"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6" name="Line 1224">
                <a:extLst>
                  <a:ext uri="{FF2B5EF4-FFF2-40B4-BE49-F238E27FC236}">
                    <a16:creationId xmlns:a16="http://schemas.microsoft.com/office/drawing/2014/main" id="{13FA2C0B-9F99-43F2-8B8D-4D09A76DD29B}"/>
                  </a:ext>
                </a:extLst>
              </p:cNvPr>
              <p:cNvSpPr>
                <a:spLocks noChangeShapeType="1"/>
              </p:cNvSpPr>
              <p:nvPr/>
            </p:nvSpPr>
            <p:spPr bwMode="auto">
              <a:xfrm flipH="1">
                <a:off x="4627736" y="2359758"/>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7" name="Line 1225">
                <a:extLst>
                  <a:ext uri="{FF2B5EF4-FFF2-40B4-BE49-F238E27FC236}">
                    <a16:creationId xmlns:a16="http://schemas.microsoft.com/office/drawing/2014/main" id="{949A1642-F4F3-4A4C-960C-6B7060FEE230}"/>
                  </a:ext>
                </a:extLst>
              </p:cNvPr>
              <p:cNvSpPr>
                <a:spLocks noChangeShapeType="1"/>
              </p:cNvSpPr>
              <p:nvPr/>
            </p:nvSpPr>
            <p:spPr bwMode="auto">
              <a:xfrm flipH="1">
                <a:off x="4848940" y="2389549"/>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8" name="Line 1226">
                <a:extLst>
                  <a:ext uri="{FF2B5EF4-FFF2-40B4-BE49-F238E27FC236}">
                    <a16:creationId xmlns:a16="http://schemas.microsoft.com/office/drawing/2014/main" id="{A5EEFFD7-EDC7-40C4-ABB8-CBA94E383962}"/>
                  </a:ext>
                </a:extLst>
              </p:cNvPr>
              <p:cNvSpPr>
                <a:spLocks noChangeShapeType="1"/>
              </p:cNvSpPr>
              <p:nvPr/>
            </p:nvSpPr>
            <p:spPr bwMode="auto">
              <a:xfrm flipH="1">
                <a:off x="4816914" y="2389549"/>
                <a:ext cx="22344"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59" name="Line 1227">
                <a:extLst>
                  <a:ext uri="{FF2B5EF4-FFF2-40B4-BE49-F238E27FC236}">
                    <a16:creationId xmlns:a16="http://schemas.microsoft.com/office/drawing/2014/main" id="{5079D3BA-A1D9-4A26-A956-1C9F49549391}"/>
                  </a:ext>
                </a:extLst>
              </p:cNvPr>
              <p:cNvSpPr>
                <a:spLocks noChangeShapeType="1"/>
              </p:cNvSpPr>
              <p:nvPr/>
            </p:nvSpPr>
            <p:spPr bwMode="auto">
              <a:xfrm flipH="1">
                <a:off x="4690299" y="2389549"/>
                <a:ext cx="116933"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0" name="Line 1228">
                <a:extLst>
                  <a:ext uri="{FF2B5EF4-FFF2-40B4-BE49-F238E27FC236}">
                    <a16:creationId xmlns:a16="http://schemas.microsoft.com/office/drawing/2014/main" id="{7A5B0BCC-39F9-46CE-9DEA-010675CA3B0A}"/>
                  </a:ext>
                </a:extLst>
              </p:cNvPr>
              <p:cNvSpPr>
                <a:spLocks noChangeShapeType="1"/>
              </p:cNvSpPr>
              <p:nvPr/>
            </p:nvSpPr>
            <p:spPr bwMode="auto">
              <a:xfrm flipH="1">
                <a:off x="4659017" y="2389549"/>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1" name="Line 1229">
                <a:extLst>
                  <a:ext uri="{FF2B5EF4-FFF2-40B4-BE49-F238E27FC236}">
                    <a16:creationId xmlns:a16="http://schemas.microsoft.com/office/drawing/2014/main" id="{BA8A7907-2335-4E4B-99EB-50AC8CB50A8B}"/>
                  </a:ext>
                </a:extLst>
              </p:cNvPr>
              <p:cNvSpPr>
                <a:spLocks noChangeShapeType="1"/>
              </p:cNvSpPr>
              <p:nvPr/>
            </p:nvSpPr>
            <p:spPr bwMode="auto">
              <a:xfrm flipH="1">
                <a:off x="4627736" y="2389549"/>
                <a:ext cx="21599" cy="0"/>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2" name="Freeform 1551">
                <a:extLst>
                  <a:ext uri="{FF2B5EF4-FFF2-40B4-BE49-F238E27FC236}">
                    <a16:creationId xmlns:a16="http://schemas.microsoft.com/office/drawing/2014/main" id="{637A29F5-64F4-4E4F-B0B6-48BFBB6C8C4B}"/>
                  </a:ext>
                </a:extLst>
              </p:cNvPr>
              <p:cNvSpPr>
                <a:spLocks/>
              </p:cNvSpPr>
              <p:nvPr/>
            </p:nvSpPr>
            <p:spPr bwMode="auto">
              <a:xfrm>
                <a:off x="4660507" y="2437216"/>
                <a:ext cx="127361" cy="126616"/>
              </a:xfrm>
              <a:custGeom>
                <a:avLst/>
                <a:gdLst>
                  <a:gd name="T0" fmla="*/ 342 w 342"/>
                  <a:gd name="T1" fmla="*/ 171 h 341"/>
                  <a:gd name="T2" fmla="*/ 339 w 342"/>
                  <a:gd name="T3" fmla="*/ 136 h 341"/>
                  <a:gd name="T4" fmla="*/ 330 w 342"/>
                  <a:gd name="T5" fmla="*/ 105 h 341"/>
                  <a:gd name="T6" fmla="*/ 313 w 342"/>
                  <a:gd name="T7" fmla="*/ 76 h 341"/>
                  <a:gd name="T8" fmla="*/ 291 w 342"/>
                  <a:gd name="T9" fmla="*/ 50 h 341"/>
                  <a:gd name="T10" fmla="*/ 278 w 342"/>
                  <a:gd name="T11" fmla="*/ 39 h 341"/>
                  <a:gd name="T12" fmla="*/ 250 w 342"/>
                  <a:gd name="T13" fmla="*/ 21 h 341"/>
                  <a:gd name="T14" fmla="*/ 221 w 342"/>
                  <a:gd name="T15" fmla="*/ 8 h 341"/>
                  <a:gd name="T16" fmla="*/ 188 w 342"/>
                  <a:gd name="T17" fmla="*/ 0 h 341"/>
                  <a:gd name="T18" fmla="*/ 171 w 342"/>
                  <a:gd name="T19" fmla="*/ 0 h 341"/>
                  <a:gd name="T20" fmla="*/ 136 w 342"/>
                  <a:gd name="T21" fmla="*/ 4 h 341"/>
                  <a:gd name="T22" fmla="*/ 105 w 342"/>
                  <a:gd name="T23" fmla="*/ 13 h 341"/>
                  <a:gd name="T24" fmla="*/ 78 w 342"/>
                  <a:gd name="T25" fmla="*/ 28 h 341"/>
                  <a:gd name="T26" fmla="*/ 50 w 342"/>
                  <a:gd name="T27" fmla="*/ 50 h 341"/>
                  <a:gd name="T28" fmla="*/ 39 w 342"/>
                  <a:gd name="T29" fmla="*/ 63 h 341"/>
                  <a:gd name="T30" fmla="*/ 21 w 342"/>
                  <a:gd name="T31" fmla="*/ 91 h 341"/>
                  <a:gd name="T32" fmla="*/ 8 w 342"/>
                  <a:gd name="T33" fmla="*/ 120 h 341"/>
                  <a:gd name="T34" fmla="*/ 2 w 342"/>
                  <a:gd name="T35" fmla="*/ 153 h 341"/>
                  <a:gd name="T36" fmla="*/ 0 w 342"/>
                  <a:gd name="T37" fmla="*/ 171 h 341"/>
                  <a:gd name="T38" fmla="*/ 4 w 342"/>
                  <a:gd name="T39" fmla="*/ 205 h 341"/>
                  <a:gd name="T40" fmla="*/ 13 w 342"/>
                  <a:gd name="T41" fmla="*/ 236 h 341"/>
                  <a:gd name="T42" fmla="*/ 28 w 342"/>
                  <a:gd name="T43" fmla="*/ 265 h 341"/>
                  <a:gd name="T44" fmla="*/ 50 w 342"/>
                  <a:gd name="T45" fmla="*/ 291 h 341"/>
                  <a:gd name="T46" fmla="*/ 63 w 342"/>
                  <a:gd name="T47" fmla="*/ 304 h 341"/>
                  <a:gd name="T48" fmla="*/ 90 w 342"/>
                  <a:gd name="T49" fmla="*/ 322 h 341"/>
                  <a:gd name="T50" fmla="*/ 122 w 342"/>
                  <a:gd name="T51" fmla="*/ 335 h 341"/>
                  <a:gd name="T52" fmla="*/ 153 w 342"/>
                  <a:gd name="T53" fmla="*/ 341 h 341"/>
                  <a:gd name="T54" fmla="*/ 171 w 342"/>
                  <a:gd name="T55" fmla="*/ 341 h 341"/>
                  <a:gd name="T56" fmla="*/ 205 w 342"/>
                  <a:gd name="T57" fmla="*/ 339 h 341"/>
                  <a:gd name="T58" fmla="*/ 236 w 342"/>
                  <a:gd name="T59" fmla="*/ 330 h 341"/>
                  <a:gd name="T60" fmla="*/ 265 w 342"/>
                  <a:gd name="T61" fmla="*/ 313 h 341"/>
                  <a:gd name="T62" fmla="*/ 291 w 342"/>
                  <a:gd name="T63" fmla="*/ 291 h 341"/>
                  <a:gd name="T64" fmla="*/ 304 w 342"/>
                  <a:gd name="T65" fmla="*/ 278 h 341"/>
                  <a:gd name="T66" fmla="*/ 322 w 342"/>
                  <a:gd name="T67" fmla="*/ 251 h 341"/>
                  <a:gd name="T68" fmla="*/ 335 w 342"/>
                  <a:gd name="T69" fmla="*/ 221 h 341"/>
                  <a:gd name="T70" fmla="*/ 341 w 342"/>
                  <a:gd name="T71" fmla="*/ 188 h 341"/>
                  <a:gd name="T72" fmla="*/ 342 w 342"/>
                  <a:gd name="T73" fmla="*/ 17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341">
                    <a:moveTo>
                      <a:pt x="342" y="171"/>
                    </a:moveTo>
                    <a:lnTo>
                      <a:pt x="342" y="171"/>
                    </a:lnTo>
                    <a:lnTo>
                      <a:pt x="341" y="153"/>
                    </a:lnTo>
                    <a:lnTo>
                      <a:pt x="339" y="136"/>
                    </a:lnTo>
                    <a:lnTo>
                      <a:pt x="335" y="120"/>
                    </a:lnTo>
                    <a:lnTo>
                      <a:pt x="330" y="105"/>
                    </a:lnTo>
                    <a:lnTo>
                      <a:pt x="322" y="91"/>
                    </a:lnTo>
                    <a:lnTo>
                      <a:pt x="313" y="76"/>
                    </a:lnTo>
                    <a:lnTo>
                      <a:pt x="304" y="63"/>
                    </a:lnTo>
                    <a:lnTo>
                      <a:pt x="291" y="50"/>
                    </a:lnTo>
                    <a:lnTo>
                      <a:pt x="291" y="50"/>
                    </a:lnTo>
                    <a:lnTo>
                      <a:pt x="278" y="39"/>
                    </a:lnTo>
                    <a:lnTo>
                      <a:pt x="265" y="28"/>
                    </a:lnTo>
                    <a:lnTo>
                      <a:pt x="250" y="21"/>
                    </a:lnTo>
                    <a:lnTo>
                      <a:pt x="236" y="13"/>
                    </a:lnTo>
                    <a:lnTo>
                      <a:pt x="221" y="8"/>
                    </a:lnTo>
                    <a:lnTo>
                      <a:pt x="205" y="4"/>
                    </a:lnTo>
                    <a:lnTo>
                      <a:pt x="188" y="0"/>
                    </a:lnTo>
                    <a:lnTo>
                      <a:pt x="171" y="0"/>
                    </a:lnTo>
                    <a:lnTo>
                      <a:pt x="171" y="0"/>
                    </a:lnTo>
                    <a:lnTo>
                      <a:pt x="153" y="0"/>
                    </a:lnTo>
                    <a:lnTo>
                      <a:pt x="136" y="4"/>
                    </a:lnTo>
                    <a:lnTo>
                      <a:pt x="122" y="8"/>
                    </a:lnTo>
                    <a:lnTo>
                      <a:pt x="105" y="13"/>
                    </a:lnTo>
                    <a:lnTo>
                      <a:pt x="90" y="21"/>
                    </a:lnTo>
                    <a:lnTo>
                      <a:pt x="78" y="28"/>
                    </a:lnTo>
                    <a:lnTo>
                      <a:pt x="63" y="39"/>
                    </a:lnTo>
                    <a:lnTo>
                      <a:pt x="50" y="50"/>
                    </a:lnTo>
                    <a:lnTo>
                      <a:pt x="50" y="50"/>
                    </a:lnTo>
                    <a:lnTo>
                      <a:pt x="39" y="63"/>
                    </a:lnTo>
                    <a:lnTo>
                      <a:pt x="28" y="76"/>
                    </a:lnTo>
                    <a:lnTo>
                      <a:pt x="21" y="91"/>
                    </a:lnTo>
                    <a:lnTo>
                      <a:pt x="13" y="105"/>
                    </a:lnTo>
                    <a:lnTo>
                      <a:pt x="8" y="120"/>
                    </a:lnTo>
                    <a:lnTo>
                      <a:pt x="4" y="136"/>
                    </a:lnTo>
                    <a:lnTo>
                      <a:pt x="2" y="153"/>
                    </a:lnTo>
                    <a:lnTo>
                      <a:pt x="0" y="171"/>
                    </a:lnTo>
                    <a:lnTo>
                      <a:pt x="0" y="171"/>
                    </a:lnTo>
                    <a:lnTo>
                      <a:pt x="2" y="188"/>
                    </a:lnTo>
                    <a:lnTo>
                      <a:pt x="4" y="205"/>
                    </a:lnTo>
                    <a:lnTo>
                      <a:pt x="8" y="221"/>
                    </a:lnTo>
                    <a:lnTo>
                      <a:pt x="13" y="236"/>
                    </a:lnTo>
                    <a:lnTo>
                      <a:pt x="21" y="251"/>
                    </a:lnTo>
                    <a:lnTo>
                      <a:pt x="28" y="265"/>
                    </a:lnTo>
                    <a:lnTo>
                      <a:pt x="39" y="278"/>
                    </a:lnTo>
                    <a:lnTo>
                      <a:pt x="50" y="291"/>
                    </a:lnTo>
                    <a:lnTo>
                      <a:pt x="50" y="291"/>
                    </a:lnTo>
                    <a:lnTo>
                      <a:pt x="63" y="304"/>
                    </a:lnTo>
                    <a:lnTo>
                      <a:pt x="78" y="313"/>
                    </a:lnTo>
                    <a:lnTo>
                      <a:pt x="90" y="322"/>
                    </a:lnTo>
                    <a:lnTo>
                      <a:pt x="105" y="330"/>
                    </a:lnTo>
                    <a:lnTo>
                      <a:pt x="122" y="335"/>
                    </a:lnTo>
                    <a:lnTo>
                      <a:pt x="136" y="339"/>
                    </a:lnTo>
                    <a:lnTo>
                      <a:pt x="153" y="341"/>
                    </a:lnTo>
                    <a:lnTo>
                      <a:pt x="171" y="341"/>
                    </a:lnTo>
                    <a:lnTo>
                      <a:pt x="171" y="341"/>
                    </a:lnTo>
                    <a:lnTo>
                      <a:pt x="188" y="341"/>
                    </a:lnTo>
                    <a:lnTo>
                      <a:pt x="205" y="339"/>
                    </a:lnTo>
                    <a:lnTo>
                      <a:pt x="221" y="335"/>
                    </a:lnTo>
                    <a:lnTo>
                      <a:pt x="236" y="330"/>
                    </a:lnTo>
                    <a:lnTo>
                      <a:pt x="250" y="322"/>
                    </a:lnTo>
                    <a:lnTo>
                      <a:pt x="265" y="313"/>
                    </a:lnTo>
                    <a:lnTo>
                      <a:pt x="278" y="304"/>
                    </a:lnTo>
                    <a:lnTo>
                      <a:pt x="291" y="291"/>
                    </a:lnTo>
                    <a:lnTo>
                      <a:pt x="291" y="291"/>
                    </a:lnTo>
                    <a:lnTo>
                      <a:pt x="304" y="278"/>
                    </a:lnTo>
                    <a:lnTo>
                      <a:pt x="313" y="265"/>
                    </a:lnTo>
                    <a:lnTo>
                      <a:pt x="322" y="251"/>
                    </a:lnTo>
                    <a:lnTo>
                      <a:pt x="330" y="236"/>
                    </a:lnTo>
                    <a:lnTo>
                      <a:pt x="335" y="221"/>
                    </a:lnTo>
                    <a:lnTo>
                      <a:pt x="339" y="205"/>
                    </a:lnTo>
                    <a:lnTo>
                      <a:pt x="341" y="188"/>
                    </a:lnTo>
                    <a:lnTo>
                      <a:pt x="342" y="171"/>
                    </a:lnTo>
                    <a:lnTo>
                      <a:pt x="342" y="171"/>
                    </a:lnTo>
                    <a:close/>
                  </a:path>
                </a:pathLst>
              </a:custGeom>
              <a:solidFill>
                <a:srgbClr val="B4EB88"/>
              </a:solidFill>
              <a:ln w="6350">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63" name="Freeform 1552">
                <a:extLst>
                  <a:ext uri="{FF2B5EF4-FFF2-40B4-BE49-F238E27FC236}">
                    <a16:creationId xmlns:a16="http://schemas.microsoft.com/office/drawing/2014/main" id="{A18D9823-B66A-4EB8-81C4-2153B50BF38F}"/>
                  </a:ext>
                </a:extLst>
              </p:cNvPr>
              <p:cNvSpPr>
                <a:spLocks/>
              </p:cNvSpPr>
              <p:nvPr/>
            </p:nvSpPr>
            <p:spPr bwMode="auto">
              <a:xfrm>
                <a:off x="4706684" y="2477436"/>
                <a:ext cx="34261" cy="34261"/>
              </a:xfrm>
              <a:custGeom>
                <a:avLst/>
                <a:gdLst>
                  <a:gd name="T0" fmla="*/ 92 w 92"/>
                  <a:gd name="T1" fmla="*/ 46 h 92"/>
                  <a:gd name="T2" fmla="*/ 92 w 92"/>
                  <a:gd name="T3" fmla="*/ 46 h 92"/>
                  <a:gd name="T4" fmla="*/ 92 w 92"/>
                  <a:gd name="T5" fmla="*/ 55 h 92"/>
                  <a:gd name="T6" fmla="*/ 89 w 92"/>
                  <a:gd name="T7" fmla="*/ 64 h 92"/>
                  <a:gd name="T8" fmla="*/ 85 w 92"/>
                  <a:gd name="T9" fmla="*/ 72 h 92"/>
                  <a:gd name="T10" fmla="*/ 80 w 92"/>
                  <a:gd name="T11" fmla="*/ 79 h 92"/>
                  <a:gd name="T12" fmla="*/ 80 w 92"/>
                  <a:gd name="T13" fmla="*/ 79 h 92"/>
                  <a:gd name="T14" fmla="*/ 72 w 92"/>
                  <a:gd name="T15" fmla="*/ 85 h 92"/>
                  <a:gd name="T16" fmla="*/ 65 w 92"/>
                  <a:gd name="T17" fmla="*/ 90 h 92"/>
                  <a:gd name="T18" fmla="*/ 56 w 92"/>
                  <a:gd name="T19" fmla="*/ 92 h 92"/>
                  <a:gd name="T20" fmla="*/ 46 w 92"/>
                  <a:gd name="T21" fmla="*/ 92 h 92"/>
                  <a:gd name="T22" fmla="*/ 46 w 92"/>
                  <a:gd name="T23" fmla="*/ 92 h 92"/>
                  <a:gd name="T24" fmla="*/ 37 w 92"/>
                  <a:gd name="T25" fmla="*/ 92 h 92"/>
                  <a:gd name="T26" fmla="*/ 28 w 92"/>
                  <a:gd name="T27" fmla="*/ 90 h 92"/>
                  <a:gd name="T28" fmla="*/ 21 w 92"/>
                  <a:gd name="T29" fmla="*/ 85 h 92"/>
                  <a:gd name="T30" fmla="*/ 13 w 92"/>
                  <a:gd name="T31" fmla="*/ 79 h 92"/>
                  <a:gd name="T32" fmla="*/ 13 w 92"/>
                  <a:gd name="T33" fmla="*/ 79 h 92"/>
                  <a:gd name="T34" fmla="*/ 8 w 92"/>
                  <a:gd name="T35" fmla="*/ 72 h 92"/>
                  <a:gd name="T36" fmla="*/ 4 w 92"/>
                  <a:gd name="T37" fmla="*/ 64 h 92"/>
                  <a:gd name="T38" fmla="*/ 0 w 92"/>
                  <a:gd name="T39" fmla="*/ 55 h 92"/>
                  <a:gd name="T40" fmla="*/ 0 w 92"/>
                  <a:gd name="T41" fmla="*/ 46 h 92"/>
                  <a:gd name="T42" fmla="*/ 0 w 92"/>
                  <a:gd name="T43" fmla="*/ 46 h 92"/>
                  <a:gd name="T44" fmla="*/ 0 w 92"/>
                  <a:gd name="T45" fmla="*/ 37 h 92"/>
                  <a:gd name="T46" fmla="*/ 4 w 92"/>
                  <a:gd name="T47" fmla="*/ 29 h 92"/>
                  <a:gd name="T48" fmla="*/ 8 w 92"/>
                  <a:gd name="T49" fmla="*/ 20 h 92"/>
                  <a:gd name="T50" fmla="*/ 13 w 92"/>
                  <a:gd name="T51" fmla="*/ 15 h 92"/>
                  <a:gd name="T52" fmla="*/ 13 w 92"/>
                  <a:gd name="T53" fmla="*/ 15 h 92"/>
                  <a:gd name="T54" fmla="*/ 21 w 92"/>
                  <a:gd name="T55" fmla="*/ 7 h 92"/>
                  <a:gd name="T56" fmla="*/ 28 w 92"/>
                  <a:gd name="T57" fmla="*/ 4 h 92"/>
                  <a:gd name="T58" fmla="*/ 37 w 92"/>
                  <a:gd name="T59" fmla="*/ 2 h 92"/>
                  <a:gd name="T60" fmla="*/ 46 w 92"/>
                  <a:gd name="T61" fmla="*/ 0 h 92"/>
                  <a:gd name="T62" fmla="*/ 46 w 92"/>
                  <a:gd name="T63" fmla="*/ 0 h 92"/>
                  <a:gd name="T64" fmla="*/ 56 w 92"/>
                  <a:gd name="T65" fmla="*/ 2 h 92"/>
                  <a:gd name="T66" fmla="*/ 63 w 92"/>
                  <a:gd name="T67" fmla="*/ 4 h 92"/>
                  <a:gd name="T68" fmla="*/ 72 w 92"/>
                  <a:gd name="T69" fmla="*/ 7 h 92"/>
                  <a:gd name="T70" fmla="*/ 80 w 92"/>
                  <a:gd name="T71" fmla="*/ 15 h 92"/>
                  <a:gd name="T72" fmla="*/ 80 w 92"/>
                  <a:gd name="T73" fmla="*/ 15 h 92"/>
                  <a:gd name="T74" fmla="*/ 85 w 92"/>
                  <a:gd name="T75" fmla="*/ 20 h 92"/>
                  <a:gd name="T76" fmla="*/ 89 w 92"/>
                  <a:gd name="T77" fmla="*/ 29 h 92"/>
                  <a:gd name="T78" fmla="*/ 92 w 92"/>
                  <a:gd name="T79" fmla="*/ 37 h 92"/>
                  <a:gd name="T80" fmla="*/ 92 w 92"/>
                  <a:gd name="T81" fmla="*/ 46 h 92"/>
                  <a:gd name="T82" fmla="*/ 92 w 92"/>
                  <a:gd name="T83"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 h="92">
                    <a:moveTo>
                      <a:pt x="92" y="46"/>
                    </a:moveTo>
                    <a:lnTo>
                      <a:pt x="92" y="46"/>
                    </a:lnTo>
                    <a:lnTo>
                      <a:pt x="92" y="55"/>
                    </a:lnTo>
                    <a:lnTo>
                      <a:pt x="89" y="64"/>
                    </a:lnTo>
                    <a:lnTo>
                      <a:pt x="85" y="72"/>
                    </a:lnTo>
                    <a:lnTo>
                      <a:pt x="80" y="79"/>
                    </a:lnTo>
                    <a:lnTo>
                      <a:pt x="80" y="79"/>
                    </a:lnTo>
                    <a:lnTo>
                      <a:pt x="72" y="85"/>
                    </a:lnTo>
                    <a:lnTo>
                      <a:pt x="65" y="90"/>
                    </a:lnTo>
                    <a:lnTo>
                      <a:pt x="56" y="92"/>
                    </a:lnTo>
                    <a:lnTo>
                      <a:pt x="46" y="92"/>
                    </a:lnTo>
                    <a:lnTo>
                      <a:pt x="46" y="92"/>
                    </a:lnTo>
                    <a:lnTo>
                      <a:pt x="37" y="92"/>
                    </a:lnTo>
                    <a:lnTo>
                      <a:pt x="28" y="90"/>
                    </a:lnTo>
                    <a:lnTo>
                      <a:pt x="21" y="85"/>
                    </a:lnTo>
                    <a:lnTo>
                      <a:pt x="13" y="79"/>
                    </a:lnTo>
                    <a:lnTo>
                      <a:pt x="13" y="79"/>
                    </a:lnTo>
                    <a:lnTo>
                      <a:pt x="8" y="72"/>
                    </a:lnTo>
                    <a:lnTo>
                      <a:pt x="4" y="64"/>
                    </a:lnTo>
                    <a:lnTo>
                      <a:pt x="0" y="55"/>
                    </a:lnTo>
                    <a:lnTo>
                      <a:pt x="0" y="46"/>
                    </a:lnTo>
                    <a:lnTo>
                      <a:pt x="0" y="46"/>
                    </a:lnTo>
                    <a:lnTo>
                      <a:pt x="0" y="37"/>
                    </a:lnTo>
                    <a:lnTo>
                      <a:pt x="4" y="29"/>
                    </a:lnTo>
                    <a:lnTo>
                      <a:pt x="8" y="20"/>
                    </a:lnTo>
                    <a:lnTo>
                      <a:pt x="13" y="15"/>
                    </a:lnTo>
                    <a:lnTo>
                      <a:pt x="13" y="15"/>
                    </a:lnTo>
                    <a:lnTo>
                      <a:pt x="21" y="7"/>
                    </a:lnTo>
                    <a:lnTo>
                      <a:pt x="28" y="4"/>
                    </a:lnTo>
                    <a:lnTo>
                      <a:pt x="37" y="2"/>
                    </a:lnTo>
                    <a:lnTo>
                      <a:pt x="46" y="0"/>
                    </a:lnTo>
                    <a:lnTo>
                      <a:pt x="46" y="0"/>
                    </a:lnTo>
                    <a:lnTo>
                      <a:pt x="56" y="2"/>
                    </a:lnTo>
                    <a:lnTo>
                      <a:pt x="63" y="4"/>
                    </a:lnTo>
                    <a:lnTo>
                      <a:pt x="72" y="7"/>
                    </a:lnTo>
                    <a:lnTo>
                      <a:pt x="80" y="15"/>
                    </a:lnTo>
                    <a:lnTo>
                      <a:pt x="80" y="15"/>
                    </a:lnTo>
                    <a:lnTo>
                      <a:pt x="85" y="20"/>
                    </a:lnTo>
                    <a:lnTo>
                      <a:pt x="89" y="29"/>
                    </a:lnTo>
                    <a:lnTo>
                      <a:pt x="92" y="37"/>
                    </a:lnTo>
                    <a:lnTo>
                      <a:pt x="92" y="46"/>
                    </a:lnTo>
                    <a:lnTo>
                      <a:pt x="92" y="46"/>
                    </a:lnTo>
                    <a:close/>
                  </a:path>
                </a:pathLst>
              </a:custGeom>
              <a:noFill/>
              <a:ln w="317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4" name="Freeform 1553">
                <a:extLst>
                  <a:ext uri="{FF2B5EF4-FFF2-40B4-BE49-F238E27FC236}">
                    <a16:creationId xmlns:a16="http://schemas.microsoft.com/office/drawing/2014/main" id="{F36E6A92-0762-48BA-9B3C-2C9E6E82E2AB}"/>
                  </a:ext>
                </a:extLst>
              </p:cNvPr>
              <p:cNvSpPr>
                <a:spLocks/>
              </p:cNvSpPr>
              <p:nvPr/>
            </p:nvSpPr>
            <p:spPr bwMode="auto">
              <a:xfrm>
                <a:off x="4694022" y="2513931"/>
                <a:ext cx="60329" cy="31281"/>
              </a:xfrm>
              <a:custGeom>
                <a:avLst/>
                <a:gdLst>
                  <a:gd name="T0" fmla="*/ 116 w 162"/>
                  <a:gd name="T1" fmla="*/ 0 h 83"/>
                  <a:gd name="T2" fmla="*/ 46 w 162"/>
                  <a:gd name="T3" fmla="*/ 0 h 83"/>
                  <a:gd name="T4" fmla="*/ 46 w 162"/>
                  <a:gd name="T5" fmla="*/ 0 h 83"/>
                  <a:gd name="T6" fmla="*/ 37 w 162"/>
                  <a:gd name="T7" fmla="*/ 2 h 83"/>
                  <a:gd name="T8" fmla="*/ 28 w 162"/>
                  <a:gd name="T9" fmla="*/ 4 h 83"/>
                  <a:gd name="T10" fmla="*/ 21 w 162"/>
                  <a:gd name="T11" fmla="*/ 8 h 83"/>
                  <a:gd name="T12" fmla="*/ 13 w 162"/>
                  <a:gd name="T13" fmla="*/ 15 h 83"/>
                  <a:gd name="T14" fmla="*/ 13 w 162"/>
                  <a:gd name="T15" fmla="*/ 15 h 83"/>
                  <a:gd name="T16" fmla="*/ 8 w 162"/>
                  <a:gd name="T17" fmla="*/ 21 h 83"/>
                  <a:gd name="T18" fmla="*/ 4 w 162"/>
                  <a:gd name="T19" fmla="*/ 30 h 83"/>
                  <a:gd name="T20" fmla="*/ 0 w 162"/>
                  <a:gd name="T21" fmla="*/ 37 h 83"/>
                  <a:gd name="T22" fmla="*/ 0 w 162"/>
                  <a:gd name="T23" fmla="*/ 46 h 83"/>
                  <a:gd name="T24" fmla="*/ 0 w 162"/>
                  <a:gd name="T25" fmla="*/ 50 h 83"/>
                  <a:gd name="T26" fmla="*/ 0 w 162"/>
                  <a:gd name="T27" fmla="*/ 50 h 83"/>
                  <a:gd name="T28" fmla="*/ 19 w 162"/>
                  <a:gd name="T29" fmla="*/ 65 h 83"/>
                  <a:gd name="T30" fmla="*/ 37 w 162"/>
                  <a:gd name="T31" fmla="*/ 76 h 83"/>
                  <a:gd name="T32" fmla="*/ 59 w 162"/>
                  <a:gd name="T33" fmla="*/ 81 h 83"/>
                  <a:gd name="T34" fmla="*/ 81 w 162"/>
                  <a:gd name="T35" fmla="*/ 83 h 83"/>
                  <a:gd name="T36" fmla="*/ 81 w 162"/>
                  <a:gd name="T37" fmla="*/ 83 h 83"/>
                  <a:gd name="T38" fmla="*/ 103 w 162"/>
                  <a:gd name="T39" fmla="*/ 81 h 83"/>
                  <a:gd name="T40" fmla="*/ 126 w 162"/>
                  <a:gd name="T41" fmla="*/ 76 h 83"/>
                  <a:gd name="T42" fmla="*/ 144 w 162"/>
                  <a:gd name="T43" fmla="*/ 65 h 83"/>
                  <a:gd name="T44" fmla="*/ 162 w 162"/>
                  <a:gd name="T45" fmla="*/ 50 h 83"/>
                  <a:gd name="T46" fmla="*/ 162 w 162"/>
                  <a:gd name="T47" fmla="*/ 46 h 83"/>
                  <a:gd name="T48" fmla="*/ 162 w 162"/>
                  <a:gd name="T49" fmla="*/ 46 h 83"/>
                  <a:gd name="T50" fmla="*/ 162 w 162"/>
                  <a:gd name="T51" fmla="*/ 37 h 83"/>
                  <a:gd name="T52" fmla="*/ 159 w 162"/>
                  <a:gd name="T53" fmla="*/ 30 h 83"/>
                  <a:gd name="T54" fmla="*/ 155 w 162"/>
                  <a:gd name="T55" fmla="*/ 21 h 83"/>
                  <a:gd name="T56" fmla="*/ 149 w 162"/>
                  <a:gd name="T57" fmla="*/ 15 h 83"/>
                  <a:gd name="T58" fmla="*/ 149 w 162"/>
                  <a:gd name="T59" fmla="*/ 15 h 83"/>
                  <a:gd name="T60" fmla="*/ 142 w 162"/>
                  <a:gd name="T61" fmla="*/ 8 h 83"/>
                  <a:gd name="T62" fmla="*/ 133 w 162"/>
                  <a:gd name="T63" fmla="*/ 4 h 83"/>
                  <a:gd name="T64" fmla="*/ 126 w 162"/>
                  <a:gd name="T65" fmla="*/ 2 h 83"/>
                  <a:gd name="T66" fmla="*/ 116 w 162"/>
                  <a:gd name="T67" fmla="*/ 0 h 83"/>
                  <a:gd name="T68" fmla="*/ 116 w 162"/>
                  <a:gd name="T6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83">
                    <a:moveTo>
                      <a:pt x="116" y="0"/>
                    </a:moveTo>
                    <a:lnTo>
                      <a:pt x="46" y="0"/>
                    </a:lnTo>
                    <a:lnTo>
                      <a:pt x="46" y="0"/>
                    </a:lnTo>
                    <a:lnTo>
                      <a:pt x="37" y="2"/>
                    </a:lnTo>
                    <a:lnTo>
                      <a:pt x="28" y="4"/>
                    </a:lnTo>
                    <a:lnTo>
                      <a:pt x="21" y="8"/>
                    </a:lnTo>
                    <a:lnTo>
                      <a:pt x="13" y="15"/>
                    </a:lnTo>
                    <a:lnTo>
                      <a:pt x="13" y="15"/>
                    </a:lnTo>
                    <a:lnTo>
                      <a:pt x="8" y="21"/>
                    </a:lnTo>
                    <a:lnTo>
                      <a:pt x="4" y="30"/>
                    </a:lnTo>
                    <a:lnTo>
                      <a:pt x="0" y="37"/>
                    </a:lnTo>
                    <a:lnTo>
                      <a:pt x="0" y="46"/>
                    </a:lnTo>
                    <a:lnTo>
                      <a:pt x="0" y="50"/>
                    </a:lnTo>
                    <a:lnTo>
                      <a:pt x="0" y="50"/>
                    </a:lnTo>
                    <a:lnTo>
                      <a:pt x="19" y="65"/>
                    </a:lnTo>
                    <a:lnTo>
                      <a:pt x="37" y="76"/>
                    </a:lnTo>
                    <a:lnTo>
                      <a:pt x="59" y="81"/>
                    </a:lnTo>
                    <a:lnTo>
                      <a:pt x="81" y="83"/>
                    </a:lnTo>
                    <a:lnTo>
                      <a:pt x="81" y="83"/>
                    </a:lnTo>
                    <a:lnTo>
                      <a:pt x="103" y="81"/>
                    </a:lnTo>
                    <a:lnTo>
                      <a:pt x="126" y="76"/>
                    </a:lnTo>
                    <a:lnTo>
                      <a:pt x="144" y="65"/>
                    </a:lnTo>
                    <a:lnTo>
                      <a:pt x="162" y="50"/>
                    </a:lnTo>
                    <a:lnTo>
                      <a:pt x="162" y="46"/>
                    </a:lnTo>
                    <a:lnTo>
                      <a:pt x="162" y="46"/>
                    </a:lnTo>
                    <a:lnTo>
                      <a:pt x="162" y="37"/>
                    </a:lnTo>
                    <a:lnTo>
                      <a:pt x="159" y="30"/>
                    </a:lnTo>
                    <a:lnTo>
                      <a:pt x="155" y="21"/>
                    </a:lnTo>
                    <a:lnTo>
                      <a:pt x="149" y="15"/>
                    </a:lnTo>
                    <a:lnTo>
                      <a:pt x="149" y="15"/>
                    </a:lnTo>
                    <a:lnTo>
                      <a:pt x="142" y="8"/>
                    </a:lnTo>
                    <a:lnTo>
                      <a:pt x="133" y="4"/>
                    </a:lnTo>
                    <a:lnTo>
                      <a:pt x="126" y="2"/>
                    </a:lnTo>
                    <a:lnTo>
                      <a:pt x="116" y="0"/>
                    </a:lnTo>
                    <a:lnTo>
                      <a:pt x="116" y="0"/>
                    </a:lnTo>
                    <a:close/>
                  </a:path>
                </a:pathLst>
              </a:custGeom>
              <a:noFill/>
              <a:ln w="317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5" name="Line 1569">
                <a:extLst>
                  <a:ext uri="{FF2B5EF4-FFF2-40B4-BE49-F238E27FC236}">
                    <a16:creationId xmlns:a16="http://schemas.microsoft.com/office/drawing/2014/main" id="{D0036EFE-AC76-4D26-8A44-5A25020A6445}"/>
                  </a:ext>
                </a:extLst>
              </p:cNvPr>
              <p:cNvSpPr>
                <a:spLocks noChangeShapeType="1"/>
              </p:cNvSpPr>
              <p:nvPr/>
            </p:nvSpPr>
            <p:spPr bwMode="auto">
              <a:xfrm>
                <a:off x="4816914" y="1932244"/>
                <a:ext cx="0" cy="14151"/>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6" name="Line 1570">
                <a:extLst>
                  <a:ext uri="{FF2B5EF4-FFF2-40B4-BE49-F238E27FC236}">
                    <a16:creationId xmlns:a16="http://schemas.microsoft.com/office/drawing/2014/main" id="{F5309146-A411-46A6-A496-09B6B0208602}"/>
                  </a:ext>
                </a:extLst>
              </p:cNvPr>
              <p:cNvSpPr>
                <a:spLocks noChangeShapeType="1"/>
              </p:cNvSpPr>
              <p:nvPr/>
            </p:nvSpPr>
            <p:spPr bwMode="auto">
              <a:xfrm>
                <a:off x="4781908" y="1951609"/>
                <a:ext cx="12662" cy="6703"/>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7" name="Line 1571">
                <a:extLst>
                  <a:ext uri="{FF2B5EF4-FFF2-40B4-BE49-F238E27FC236}">
                    <a16:creationId xmlns:a16="http://schemas.microsoft.com/office/drawing/2014/main" id="{8A08FBCC-EE51-4198-8CFE-338B104D0D38}"/>
                  </a:ext>
                </a:extLst>
              </p:cNvPr>
              <p:cNvSpPr>
                <a:spLocks noChangeShapeType="1"/>
              </p:cNvSpPr>
              <p:nvPr/>
            </p:nvSpPr>
            <p:spPr bwMode="auto">
              <a:xfrm flipV="1">
                <a:off x="4781164" y="1984380"/>
                <a:ext cx="12662" cy="6703"/>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8" name="Line 1572">
                <a:extLst>
                  <a:ext uri="{FF2B5EF4-FFF2-40B4-BE49-F238E27FC236}">
                    <a16:creationId xmlns:a16="http://schemas.microsoft.com/office/drawing/2014/main" id="{91BEB854-3CA9-49F3-BCC0-915F2AE41923}"/>
                  </a:ext>
                </a:extLst>
              </p:cNvPr>
              <p:cNvSpPr>
                <a:spLocks noChangeShapeType="1"/>
              </p:cNvSpPr>
              <p:nvPr/>
            </p:nvSpPr>
            <p:spPr bwMode="auto">
              <a:xfrm flipV="1">
                <a:off x="4815425" y="1997786"/>
                <a:ext cx="0" cy="14151"/>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69" name="Line 1573">
                <a:extLst>
                  <a:ext uri="{FF2B5EF4-FFF2-40B4-BE49-F238E27FC236}">
                    <a16:creationId xmlns:a16="http://schemas.microsoft.com/office/drawing/2014/main" id="{67DAC084-5FF3-4B70-9785-D28EBD2851E7}"/>
                  </a:ext>
                </a:extLst>
              </p:cNvPr>
              <p:cNvSpPr>
                <a:spLocks noChangeShapeType="1"/>
              </p:cNvSpPr>
              <p:nvPr/>
            </p:nvSpPr>
            <p:spPr bwMode="auto">
              <a:xfrm flipH="1" flipV="1">
                <a:off x="4838513" y="1985125"/>
                <a:ext cx="11917" cy="7448"/>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70" name="Line 1574">
                <a:extLst>
                  <a:ext uri="{FF2B5EF4-FFF2-40B4-BE49-F238E27FC236}">
                    <a16:creationId xmlns:a16="http://schemas.microsoft.com/office/drawing/2014/main" id="{B86307A5-9248-44DB-81D0-27FF5242404A}"/>
                  </a:ext>
                </a:extLst>
              </p:cNvPr>
              <p:cNvSpPr>
                <a:spLocks noChangeShapeType="1"/>
              </p:cNvSpPr>
              <p:nvPr/>
            </p:nvSpPr>
            <p:spPr bwMode="auto">
              <a:xfrm flipH="1">
                <a:off x="4839258" y="1952354"/>
                <a:ext cx="11917" cy="7448"/>
              </a:xfrm>
              <a:prstGeom prst="line">
                <a:avLst/>
              </a:prstGeom>
              <a:noFill/>
              <a:ln w="6350">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612" name="Rectangle 611">
              <a:extLst>
                <a:ext uri="{FF2B5EF4-FFF2-40B4-BE49-F238E27FC236}">
                  <a16:creationId xmlns:a16="http://schemas.microsoft.com/office/drawing/2014/main" id="{34F33593-6FE9-45F8-B33E-0E642959CD9E}"/>
                </a:ext>
              </a:extLst>
            </p:cNvPr>
            <p:cNvSpPr/>
            <p:nvPr/>
          </p:nvSpPr>
          <p:spPr>
            <a:xfrm>
              <a:off x="478109" y="3091488"/>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print Planning</a:t>
              </a:r>
            </a:p>
          </p:txBody>
        </p:sp>
      </p:grpSp>
      <p:grpSp>
        <p:nvGrpSpPr>
          <p:cNvPr id="671" name="Group 670">
            <a:extLst>
              <a:ext uri="{FF2B5EF4-FFF2-40B4-BE49-F238E27FC236}">
                <a16:creationId xmlns:a16="http://schemas.microsoft.com/office/drawing/2014/main" id="{F16945FC-40F5-4F30-B2FC-61AFFC90E57E}"/>
              </a:ext>
            </a:extLst>
          </p:cNvPr>
          <p:cNvGrpSpPr/>
          <p:nvPr/>
        </p:nvGrpSpPr>
        <p:grpSpPr>
          <a:xfrm>
            <a:off x="1851451" y="3569639"/>
            <a:ext cx="838958" cy="735279"/>
            <a:chOff x="1701958" y="2259861"/>
            <a:chExt cx="1115908" cy="978004"/>
          </a:xfrm>
        </p:grpSpPr>
        <p:grpSp>
          <p:nvGrpSpPr>
            <p:cNvPr id="672" name="Group 671">
              <a:extLst>
                <a:ext uri="{FF2B5EF4-FFF2-40B4-BE49-F238E27FC236}">
                  <a16:creationId xmlns:a16="http://schemas.microsoft.com/office/drawing/2014/main" id="{EFF260D2-49C8-424F-951B-79A36A1AA18E}"/>
                </a:ext>
              </a:extLst>
            </p:cNvPr>
            <p:cNvGrpSpPr/>
            <p:nvPr/>
          </p:nvGrpSpPr>
          <p:grpSpPr>
            <a:xfrm>
              <a:off x="1884148" y="2259861"/>
              <a:ext cx="661806" cy="567204"/>
              <a:chOff x="4404171" y="3636991"/>
              <a:chExt cx="555037" cy="475698"/>
            </a:xfrm>
          </p:grpSpPr>
          <p:sp>
            <p:nvSpPr>
              <p:cNvPr id="674" name="Line 67">
                <a:extLst>
                  <a:ext uri="{FF2B5EF4-FFF2-40B4-BE49-F238E27FC236}">
                    <a16:creationId xmlns:a16="http://schemas.microsoft.com/office/drawing/2014/main" id="{74098E1A-9250-40C9-A42C-CEBA1F0DA4CF}"/>
                  </a:ext>
                </a:extLst>
              </p:cNvPr>
              <p:cNvSpPr>
                <a:spLocks noChangeShapeType="1"/>
              </p:cNvSpPr>
              <p:nvPr/>
            </p:nvSpPr>
            <p:spPr bwMode="auto">
              <a:xfrm rot="8100000">
                <a:off x="4420834" y="387894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75" name="Line 74">
                <a:extLst>
                  <a:ext uri="{FF2B5EF4-FFF2-40B4-BE49-F238E27FC236}">
                    <a16:creationId xmlns:a16="http://schemas.microsoft.com/office/drawing/2014/main" id="{D57C85E1-2956-412E-8555-CE67F8D386A5}"/>
                  </a:ext>
                </a:extLst>
              </p:cNvPr>
              <p:cNvSpPr>
                <a:spLocks noChangeShapeType="1"/>
              </p:cNvSpPr>
              <p:nvPr/>
            </p:nvSpPr>
            <p:spPr bwMode="auto">
              <a:xfrm rot="8100000">
                <a:off x="4404171" y="3895612"/>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nvGrpSpPr>
              <p:cNvPr id="676" name="Group 675">
                <a:extLst>
                  <a:ext uri="{FF2B5EF4-FFF2-40B4-BE49-F238E27FC236}">
                    <a16:creationId xmlns:a16="http://schemas.microsoft.com/office/drawing/2014/main" id="{7BB7C422-F8E4-47E1-9CF4-B71FACE65FBE}"/>
                  </a:ext>
                </a:extLst>
              </p:cNvPr>
              <p:cNvGrpSpPr/>
              <p:nvPr/>
            </p:nvGrpSpPr>
            <p:grpSpPr>
              <a:xfrm>
                <a:off x="4502242" y="3636991"/>
                <a:ext cx="456966" cy="475698"/>
                <a:chOff x="10712002" y="4268231"/>
                <a:chExt cx="483856" cy="503691"/>
              </a:xfrm>
            </p:grpSpPr>
            <p:sp>
              <p:nvSpPr>
                <p:cNvPr id="684" name="Freeform 48">
                  <a:extLst>
                    <a:ext uri="{FF2B5EF4-FFF2-40B4-BE49-F238E27FC236}">
                      <a16:creationId xmlns:a16="http://schemas.microsoft.com/office/drawing/2014/main" id="{A23A5408-2041-4B98-BC1B-1FF234394DC4}"/>
                    </a:ext>
                  </a:extLst>
                </p:cNvPr>
                <p:cNvSpPr>
                  <a:spLocks/>
                </p:cNvSpPr>
                <p:nvPr/>
              </p:nvSpPr>
              <p:spPr bwMode="auto">
                <a:xfrm>
                  <a:off x="10712002" y="4268231"/>
                  <a:ext cx="483856" cy="285505"/>
                </a:xfrm>
                <a:custGeom>
                  <a:avLst/>
                  <a:gdLst>
                    <a:gd name="T0" fmla="*/ 1533 w 1606"/>
                    <a:gd name="T1" fmla="*/ 950 h 950"/>
                    <a:gd name="T2" fmla="*/ 1606 w 1606"/>
                    <a:gd name="T3" fmla="*/ 950 h 950"/>
                    <a:gd name="T4" fmla="*/ 1606 w 1606"/>
                    <a:gd name="T5" fmla="*/ 0 h 950"/>
                    <a:gd name="T6" fmla="*/ 0 w 1606"/>
                    <a:gd name="T7" fmla="*/ 0 h 950"/>
                    <a:gd name="T8" fmla="*/ 0 w 1606"/>
                    <a:gd name="T9" fmla="*/ 950 h 950"/>
                    <a:gd name="T10" fmla="*/ 73 w 1606"/>
                    <a:gd name="T11" fmla="*/ 950 h 950"/>
                  </a:gdLst>
                  <a:ahLst/>
                  <a:cxnLst>
                    <a:cxn ang="0">
                      <a:pos x="T0" y="T1"/>
                    </a:cxn>
                    <a:cxn ang="0">
                      <a:pos x="T2" y="T3"/>
                    </a:cxn>
                    <a:cxn ang="0">
                      <a:pos x="T4" y="T5"/>
                    </a:cxn>
                    <a:cxn ang="0">
                      <a:pos x="T6" y="T7"/>
                    </a:cxn>
                    <a:cxn ang="0">
                      <a:pos x="T8" y="T9"/>
                    </a:cxn>
                    <a:cxn ang="0">
                      <a:pos x="T10" y="T11"/>
                    </a:cxn>
                  </a:cxnLst>
                  <a:rect l="0" t="0" r="r" b="b"/>
                  <a:pathLst>
                    <a:path w="1606" h="950">
                      <a:moveTo>
                        <a:pt x="1533" y="950"/>
                      </a:moveTo>
                      <a:lnTo>
                        <a:pt x="1606" y="950"/>
                      </a:lnTo>
                      <a:lnTo>
                        <a:pt x="1606" y="0"/>
                      </a:lnTo>
                      <a:lnTo>
                        <a:pt x="0" y="0"/>
                      </a:lnTo>
                      <a:lnTo>
                        <a:pt x="0" y="950"/>
                      </a:lnTo>
                      <a:lnTo>
                        <a:pt x="73" y="950"/>
                      </a:lnTo>
                    </a:path>
                  </a:pathLst>
                </a:custGeom>
                <a:noFill/>
                <a:ln w="15875">
                  <a:solidFill>
                    <a:srgbClr val="5151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85" name="Line 60">
                  <a:extLst>
                    <a:ext uri="{FF2B5EF4-FFF2-40B4-BE49-F238E27FC236}">
                      <a16:creationId xmlns:a16="http://schemas.microsoft.com/office/drawing/2014/main" id="{923CBBE4-CF8F-48D5-AAA5-AB9809B1971C}"/>
                    </a:ext>
                  </a:extLst>
                </p:cNvPr>
                <p:cNvSpPr>
                  <a:spLocks noChangeShapeType="1"/>
                </p:cNvSpPr>
                <p:nvPr/>
              </p:nvSpPr>
              <p:spPr bwMode="auto">
                <a:xfrm>
                  <a:off x="10790140" y="4323830"/>
                  <a:ext cx="0" cy="175811"/>
                </a:xfrm>
                <a:prstGeom prst="line">
                  <a:avLst/>
                </a:prstGeom>
                <a:noFill/>
                <a:ln w="19050">
                  <a:solidFill>
                    <a:srgbClr val="00A3E0"/>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86" name="Line 61">
                  <a:extLst>
                    <a:ext uri="{FF2B5EF4-FFF2-40B4-BE49-F238E27FC236}">
                      <a16:creationId xmlns:a16="http://schemas.microsoft.com/office/drawing/2014/main" id="{7FB3CEEE-ADC1-4D4C-9ACF-F275CA9B25BB}"/>
                    </a:ext>
                  </a:extLst>
                </p:cNvPr>
                <p:cNvSpPr>
                  <a:spLocks noChangeShapeType="1"/>
                </p:cNvSpPr>
                <p:nvPr/>
              </p:nvSpPr>
              <p:spPr bwMode="auto">
                <a:xfrm>
                  <a:off x="10844236" y="4421502"/>
                  <a:ext cx="0" cy="78138"/>
                </a:xfrm>
                <a:prstGeom prst="line">
                  <a:avLst/>
                </a:prstGeom>
                <a:noFill/>
                <a:ln w="19050">
                  <a:solidFill>
                    <a:srgbClr val="08AEAE"/>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687" name="Line 62">
                  <a:extLst>
                    <a:ext uri="{FF2B5EF4-FFF2-40B4-BE49-F238E27FC236}">
                      <a16:creationId xmlns:a16="http://schemas.microsoft.com/office/drawing/2014/main" id="{17470CB7-E2C8-4D12-82DE-EED9BB3935F1}"/>
                    </a:ext>
                  </a:extLst>
                </p:cNvPr>
                <p:cNvSpPr>
                  <a:spLocks noChangeShapeType="1"/>
                </p:cNvSpPr>
                <p:nvPr/>
              </p:nvSpPr>
              <p:spPr bwMode="auto">
                <a:xfrm>
                  <a:off x="10898332" y="4367407"/>
                  <a:ext cx="0" cy="132234"/>
                </a:xfrm>
                <a:prstGeom prst="line">
                  <a:avLst/>
                </a:prstGeom>
                <a:noFill/>
                <a:ln w="19050">
                  <a:solidFill>
                    <a:srgbClr val="86BC25"/>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nvGrpSpPr>
                <p:cNvPr id="688" name="Group 687">
                  <a:extLst>
                    <a:ext uri="{FF2B5EF4-FFF2-40B4-BE49-F238E27FC236}">
                      <a16:creationId xmlns:a16="http://schemas.microsoft.com/office/drawing/2014/main" id="{88A81B1D-7A20-41F0-8AD6-A5EDB3C0B644}"/>
                    </a:ext>
                  </a:extLst>
                </p:cNvPr>
                <p:cNvGrpSpPr/>
                <p:nvPr/>
              </p:nvGrpSpPr>
              <p:grpSpPr>
                <a:xfrm>
                  <a:off x="11098383" y="4578916"/>
                  <a:ext cx="87936" cy="190405"/>
                  <a:chOff x="11468790" y="3825525"/>
                  <a:chExt cx="103017" cy="223059"/>
                </a:xfrm>
              </p:grpSpPr>
              <p:sp>
                <p:nvSpPr>
                  <p:cNvPr id="699" name="Freeform 37">
                    <a:extLst>
                      <a:ext uri="{FF2B5EF4-FFF2-40B4-BE49-F238E27FC236}">
                        <a16:creationId xmlns:a16="http://schemas.microsoft.com/office/drawing/2014/main" id="{E577A262-9ABB-4604-8833-55FD1E3B3EE0}"/>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00" name="Freeform 38">
                    <a:extLst>
                      <a:ext uri="{FF2B5EF4-FFF2-40B4-BE49-F238E27FC236}">
                        <a16:creationId xmlns:a16="http://schemas.microsoft.com/office/drawing/2014/main" id="{113E0426-00B2-4C34-9E76-28BDDDD67DBB}"/>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grpSp>
            <p:grpSp>
              <p:nvGrpSpPr>
                <p:cNvPr id="689" name="Group 688">
                  <a:extLst>
                    <a:ext uri="{FF2B5EF4-FFF2-40B4-BE49-F238E27FC236}">
                      <a16:creationId xmlns:a16="http://schemas.microsoft.com/office/drawing/2014/main" id="{C4B0B033-F8B4-490E-8305-44107C1CE3F2}"/>
                    </a:ext>
                  </a:extLst>
                </p:cNvPr>
                <p:cNvGrpSpPr/>
                <p:nvPr/>
              </p:nvGrpSpPr>
              <p:grpSpPr>
                <a:xfrm>
                  <a:off x="10979665" y="4578916"/>
                  <a:ext cx="87936" cy="190405"/>
                  <a:chOff x="11468790" y="3825525"/>
                  <a:chExt cx="103017" cy="223059"/>
                </a:xfrm>
              </p:grpSpPr>
              <p:sp>
                <p:nvSpPr>
                  <p:cNvPr id="697" name="Freeform 37">
                    <a:extLst>
                      <a:ext uri="{FF2B5EF4-FFF2-40B4-BE49-F238E27FC236}">
                        <a16:creationId xmlns:a16="http://schemas.microsoft.com/office/drawing/2014/main" id="{C84E3DF4-97B4-455A-9D55-DF991B97B59D}"/>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98" name="Freeform 38">
                    <a:extLst>
                      <a:ext uri="{FF2B5EF4-FFF2-40B4-BE49-F238E27FC236}">
                        <a16:creationId xmlns:a16="http://schemas.microsoft.com/office/drawing/2014/main" id="{1FEC3342-831A-48A6-9846-E3852E66D768}"/>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grpSp>
            <p:grpSp>
              <p:nvGrpSpPr>
                <p:cNvPr id="690" name="Group 689">
                  <a:extLst>
                    <a:ext uri="{FF2B5EF4-FFF2-40B4-BE49-F238E27FC236}">
                      <a16:creationId xmlns:a16="http://schemas.microsoft.com/office/drawing/2014/main" id="{46E69C96-D317-4F74-B723-D5C2EE9F8AC6}"/>
                    </a:ext>
                  </a:extLst>
                </p:cNvPr>
                <p:cNvGrpSpPr/>
                <p:nvPr/>
              </p:nvGrpSpPr>
              <p:grpSpPr>
                <a:xfrm>
                  <a:off x="10861913" y="4581517"/>
                  <a:ext cx="87936" cy="190405"/>
                  <a:chOff x="11468790" y="3825525"/>
                  <a:chExt cx="103017" cy="223059"/>
                </a:xfrm>
              </p:grpSpPr>
              <p:sp>
                <p:nvSpPr>
                  <p:cNvPr id="695" name="Freeform 37">
                    <a:extLst>
                      <a:ext uri="{FF2B5EF4-FFF2-40B4-BE49-F238E27FC236}">
                        <a16:creationId xmlns:a16="http://schemas.microsoft.com/office/drawing/2014/main" id="{6806FA59-0B72-4E1B-A7C8-C198777F707B}"/>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96" name="Freeform 38">
                    <a:extLst>
                      <a:ext uri="{FF2B5EF4-FFF2-40B4-BE49-F238E27FC236}">
                        <a16:creationId xmlns:a16="http://schemas.microsoft.com/office/drawing/2014/main" id="{E4A3E10A-4F10-470B-B42C-C83A85843CEB}"/>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grpSp>
            <p:grpSp>
              <p:nvGrpSpPr>
                <p:cNvPr id="691" name="Group 690">
                  <a:extLst>
                    <a:ext uri="{FF2B5EF4-FFF2-40B4-BE49-F238E27FC236}">
                      <a16:creationId xmlns:a16="http://schemas.microsoft.com/office/drawing/2014/main" id="{16D3C4FA-C4CA-4F38-A7A7-18EFB1A2A796}"/>
                    </a:ext>
                  </a:extLst>
                </p:cNvPr>
                <p:cNvGrpSpPr/>
                <p:nvPr/>
              </p:nvGrpSpPr>
              <p:grpSpPr>
                <a:xfrm>
                  <a:off x="10745008" y="4581517"/>
                  <a:ext cx="87936" cy="190405"/>
                  <a:chOff x="11468790" y="3825525"/>
                  <a:chExt cx="103017" cy="223059"/>
                </a:xfrm>
              </p:grpSpPr>
              <p:sp>
                <p:nvSpPr>
                  <p:cNvPr id="693" name="Freeform 37">
                    <a:extLst>
                      <a:ext uri="{FF2B5EF4-FFF2-40B4-BE49-F238E27FC236}">
                        <a16:creationId xmlns:a16="http://schemas.microsoft.com/office/drawing/2014/main" id="{3C01B934-8EAE-4122-8F9E-CCBCE749597B}"/>
                      </a:ext>
                    </a:extLst>
                  </p:cNvPr>
                  <p:cNvSpPr>
                    <a:spLocks/>
                  </p:cNvSpPr>
                  <p:nvPr/>
                </p:nvSpPr>
                <p:spPr bwMode="auto">
                  <a:xfrm>
                    <a:off x="11468790" y="3825525"/>
                    <a:ext cx="98529" cy="98146"/>
                  </a:xfrm>
                  <a:prstGeom prst="ellipse">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94" name="Freeform 38">
                    <a:extLst>
                      <a:ext uri="{FF2B5EF4-FFF2-40B4-BE49-F238E27FC236}">
                        <a16:creationId xmlns:a16="http://schemas.microsoft.com/office/drawing/2014/main" id="{CC159587-BA87-475B-A560-D2518628AA93}"/>
                      </a:ext>
                    </a:extLst>
                  </p:cNvPr>
                  <p:cNvSpPr>
                    <a:spLocks/>
                  </p:cNvSpPr>
                  <p:nvPr/>
                </p:nvSpPr>
                <p:spPr bwMode="auto">
                  <a:xfrm rot="16200000">
                    <a:off x="11473661" y="3950438"/>
                    <a:ext cx="98146" cy="98146"/>
                  </a:xfrm>
                  <a:prstGeom prst="flowChartDelay">
                    <a:avLst/>
                  </a:prstGeom>
                  <a:solidFill>
                    <a:srgbClr val="FFD23D"/>
                  </a:solidFill>
                  <a:ln w="19050">
                    <a:solidFill>
                      <a:srgbClr val="53565A"/>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grpSp>
            <p:sp>
              <p:nvSpPr>
                <p:cNvPr id="692" name="Line 61">
                  <a:extLst>
                    <a:ext uri="{FF2B5EF4-FFF2-40B4-BE49-F238E27FC236}">
                      <a16:creationId xmlns:a16="http://schemas.microsoft.com/office/drawing/2014/main" id="{7DD7C548-C3E8-42D3-9F38-355B88A43CDF}"/>
                    </a:ext>
                  </a:extLst>
                </p:cNvPr>
                <p:cNvSpPr>
                  <a:spLocks noChangeShapeType="1"/>
                </p:cNvSpPr>
                <p:nvPr/>
              </p:nvSpPr>
              <p:spPr bwMode="auto">
                <a:xfrm>
                  <a:off x="10955476" y="4417054"/>
                  <a:ext cx="0" cy="78138"/>
                </a:xfrm>
                <a:prstGeom prst="line">
                  <a:avLst/>
                </a:prstGeom>
                <a:noFill/>
                <a:ln w="19050">
                  <a:solidFill>
                    <a:srgbClr val="EAB400"/>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677" name="AutoShape 3">
                <a:extLst>
                  <a:ext uri="{FF2B5EF4-FFF2-40B4-BE49-F238E27FC236}">
                    <a16:creationId xmlns:a16="http://schemas.microsoft.com/office/drawing/2014/main" id="{AB850B9C-20D0-4044-B1AB-654DEEC57F5C}"/>
                  </a:ext>
                </a:extLst>
              </p:cNvPr>
              <p:cNvSpPr>
                <a:spLocks noChangeAspect="1" noChangeArrowheads="1" noTextEdit="1"/>
              </p:cNvSpPr>
              <p:nvPr/>
            </p:nvSpPr>
            <p:spPr bwMode="auto">
              <a:xfrm>
                <a:off x="4765675" y="3697288"/>
                <a:ext cx="157163"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78" name="Freeform 5">
                <a:extLst>
                  <a:ext uri="{FF2B5EF4-FFF2-40B4-BE49-F238E27FC236}">
                    <a16:creationId xmlns:a16="http://schemas.microsoft.com/office/drawing/2014/main" id="{3FB138C2-570A-4265-A916-8DEDB0C3FA49}"/>
                  </a:ext>
                </a:extLst>
              </p:cNvPr>
              <p:cNvSpPr>
                <a:spLocks noEditPoints="1"/>
              </p:cNvSpPr>
              <p:nvPr/>
            </p:nvSpPr>
            <p:spPr bwMode="auto">
              <a:xfrm>
                <a:off x="4765675" y="3708401"/>
                <a:ext cx="146050" cy="144463"/>
              </a:xfrm>
              <a:custGeom>
                <a:avLst/>
                <a:gdLst>
                  <a:gd name="T0" fmla="*/ 643 w 1286"/>
                  <a:gd name="T1" fmla="*/ 0 h 1273"/>
                  <a:gd name="T2" fmla="*/ 577 w 1286"/>
                  <a:gd name="T3" fmla="*/ 3 h 1273"/>
                  <a:gd name="T4" fmla="*/ 513 w 1286"/>
                  <a:gd name="T5" fmla="*/ 14 h 1273"/>
                  <a:gd name="T6" fmla="*/ 452 w 1286"/>
                  <a:gd name="T7" fmla="*/ 29 h 1273"/>
                  <a:gd name="T8" fmla="*/ 392 w 1286"/>
                  <a:gd name="T9" fmla="*/ 50 h 1273"/>
                  <a:gd name="T10" fmla="*/ 336 w 1286"/>
                  <a:gd name="T11" fmla="*/ 77 h 1273"/>
                  <a:gd name="T12" fmla="*/ 284 w 1286"/>
                  <a:gd name="T13" fmla="*/ 109 h 1273"/>
                  <a:gd name="T14" fmla="*/ 234 w 1286"/>
                  <a:gd name="T15" fmla="*/ 146 h 1273"/>
                  <a:gd name="T16" fmla="*/ 188 w 1286"/>
                  <a:gd name="T17" fmla="*/ 186 h 1273"/>
                  <a:gd name="T18" fmla="*/ 147 w 1286"/>
                  <a:gd name="T19" fmla="*/ 232 h 1273"/>
                  <a:gd name="T20" fmla="*/ 110 w 1286"/>
                  <a:gd name="T21" fmla="*/ 281 h 1273"/>
                  <a:gd name="T22" fmla="*/ 77 w 1286"/>
                  <a:gd name="T23" fmla="*/ 333 h 1273"/>
                  <a:gd name="T24" fmla="*/ 50 w 1286"/>
                  <a:gd name="T25" fmla="*/ 389 h 1273"/>
                  <a:gd name="T26" fmla="*/ 29 w 1286"/>
                  <a:gd name="T27" fmla="*/ 448 h 1273"/>
                  <a:gd name="T28" fmla="*/ 14 w 1286"/>
                  <a:gd name="T29" fmla="*/ 508 h 1273"/>
                  <a:gd name="T30" fmla="*/ 3 w 1286"/>
                  <a:gd name="T31" fmla="*/ 572 h 1273"/>
                  <a:gd name="T32" fmla="*/ 0 w 1286"/>
                  <a:gd name="T33" fmla="*/ 637 h 1273"/>
                  <a:gd name="T34" fmla="*/ 1 w 1286"/>
                  <a:gd name="T35" fmla="*/ 670 h 1273"/>
                  <a:gd name="T36" fmla="*/ 7 w 1286"/>
                  <a:gd name="T37" fmla="*/ 734 h 1273"/>
                  <a:gd name="T38" fmla="*/ 20 w 1286"/>
                  <a:gd name="T39" fmla="*/ 796 h 1273"/>
                  <a:gd name="T40" fmla="*/ 39 w 1286"/>
                  <a:gd name="T41" fmla="*/ 856 h 1273"/>
                  <a:gd name="T42" fmla="*/ 64 w 1286"/>
                  <a:gd name="T43" fmla="*/ 912 h 1273"/>
                  <a:gd name="T44" fmla="*/ 93 w 1286"/>
                  <a:gd name="T45" fmla="*/ 966 h 1273"/>
                  <a:gd name="T46" fmla="*/ 127 w 1286"/>
                  <a:gd name="T47" fmla="*/ 1018 h 1273"/>
                  <a:gd name="T48" fmla="*/ 167 w 1286"/>
                  <a:gd name="T49" fmla="*/ 1064 h 1273"/>
                  <a:gd name="T50" fmla="*/ 211 w 1286"/>
                  <a:gd name="T51" fmla="*/ 1108 h 1273"/>
                  <a:gd name="T52" fmla="*/ 258 w 1286"/>
                  <a:gd name="T53" fmla="*/ 1147 h 1273"/>
                  <a:gd name="T54" fmla="*/ 310 w 1286"/>
                  <a:gd name="T55" fmla="*/ 1181 h 1273"/>
                  <a:gd name="T56" fmla="*/ 364 w 1286"/>
                  <a:gd name="T57" fmla="*/ 1210 h 1273"/>
                  <a:gd name="T58" fmla="*/ 422 w 1286"/>
                  <a:gd name="T59" fmla="*/ 1235 h 1273"/>
                  <a:gd name="T60" fmla="*/ 482 w 1286"/>
                  <a:gd name="T61" fmla="*/ 1253 h 1273"/>
                  <a:gd name="T62" fmla="*/ 545 w 1286"/>
                  <a:gd name="T63" fmla="*/ 1266 h 1273"/>
                  <a:gd name="T64" fmla="*/ 610 w 1286"/>
                  <a:gd name="T65" fmla="*/ 1272 h 1273"/>
                  <a:gd name="T66" fmla="*/ 643 w 1286"/>
                  <a:gd name="T67" fmla="*/ 1273 h 1273"/>
                  <a:gd name="T68" fmla="*/ 709 w 1286"/>
                  <a:gd name="T69" fmla="*/ 1270 h 1273"/>
                  <a:gd name="T70" fmla="*/ 772 w 1286"/>
                  <a:gd name="T71" fmla="*/ 1260 h 1273"/>
                  <a:gd name="T72" fmla="*/ 834 w 1286"/>
                  <a:gd name="T73" fmla="*/ 1244 h 1273"/>
                  <a:gd name="T74" fmla="*/ 893 w 1286"/>
                  <a:gd name="T75" fmla="*/ 1223 h 1273"/>
                  <a:gd name="T76" fmla="*/ 950 w 1286"/>
                  <a:gd name="T77" fmla="*/ 1197 h 1273"/>
                  <a:gd name="T78" fmla="*/ 1002 w 1286"/>
                  <a:gd name="T79" fmla="*/ 1165 h 1273"/>
                  <a:gd name="T80" fmla="*/ 1052 w 1286"/>
                  <a:gd name="T81" fmla="*/ 1127 h 1273"/>
                  <a:gd name="T82" fmla="*/ 1098 w 1286"/>
                  <a:gd name="T83" fmla="*/ 1087 h 1273"/>
                  <a:gd name="T84" fmla="*/ 1139 w 1286"/>
                  <a:gd name="T85" fmla="*/ 1042 h 1273"/>
                  <a:gd name="T86" fmla="*/ 1176 w 1286"/>
                  <a:gd name="T87" fmla="*/ 992 h 1273"/>
                  <a:gd name="T88" fmla="*/ 1209 w 1286"/>
                  <a:gd name="T89" fmla="*/ 940 h 1273"/>
                  <a:gd name="T90" fmla="*/ 1236 w 1286"/>
                  <a:gd name="T91" fmla="*/ 885 h 1273"/>
                  <a:gd name="T92" fmla="*/ 1257 w 1286"/>
                  <a:gd name="T93" fmla="*/ 826 h 1273"/>
                  <a:gd name="T94" fmla="*/ 1272 w 1286"/>
                  <a:gd name="T95" fmla="*/ 765 h 1273"/>
                  <a:gd name="T96" fmla="*/ 1283 w 1286"/>
                  <a:gd name="T97" fmla="*/ 702 h 1273"/>
                  <a:gd name="T98" fmla="*/ 1286 w 1286"/>
                  <a:gd name="T99" fmla="*/ 637 h 1273"/>
                  <a:gd name="T100" fmla="*/ 643 w 1286"/>
                  <a:gd name="T101" fmla="*/ 0 h 1273"/>
                  <a:gd name="T102" fmla="*/ 643 w 1286"/>
                  <a:gd name="T103" fmla="*/ 0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6" h="1273">
                    <a:moveTo>
                      <a:pt x="643" y="0"/>
                    </a:moveTo>
                    <a:lnTo>
                      <a:pt x="643" y="0"/>
                    </a:lnTo>
                    <a:lnTo>
                      <a:pt x="610" y="1"/>
                    </a:lnTo>
                    <a:lnTo>
                      <a:pt x="577" y="3"/>
                    </a:lnTo>
                    <a:lnTo>
                      <a:pt x="545" y="7"/>
                    </a:lnTo>
                    <a:lnTo>
                      <a:pt x="513" y="14"/>
                    </a:lnTo>
                    <a:lnTo>
                      <a:pt x="482" y="20"/>
                    </a:lnTo>
                    <a:lnTo>
                      <a:pt x="452" y="29"/>
                    </a:lnTo>
                    <a:lnTo>
                      <a:pt x="422" y="38"/>
                    </a:lnTo>
                    <a:lnTo>
                      <a:pt x="392" y="50"/>
                    </a:lnTo>
                    <a:lnTo>
                      <a:pt x="364" y="63"/>
                    </a:lnTo>
                    <a:lnTo>
                      <a:pt x="336" y="77"/>
                    </a:lnTo>
                    <a:lnTo>
                      <a:pt x="310" y="92"/>
                    </a:lnTo>
                    <a:lnTo>
                      <a:pt x="284" y="109"/>
                    </a:lnTo>
                    <a:lnTo>
                      <a:pt x="258" y="126"/>
                    </a:lnTo>
                    <a:lnTo>
                      <a:pt x="234" y="146"/>
                    </a:lnTo>
                    <a:lnTo>
                      <a:pt x="211" y="165"/>
                    </a:lnTo>
                    <a:lnTo>
                      <a:pt x="188" y="186"/>
                    </a:lnTo>
                    <a:lnTo>
                      <a:pt x="167" y="209"/>
                    </a:lnTo>
                    <a:lnTo>
                      <a:pt x="147" y="232"/>
                    </a:lnTo>
                    <a:lnTo>
                      <a:pt x="127" y="255"/>
                    </a:lnTo>
                    <a:lnTo>
                      <a:pt x="110" y="281"/>
                    </a:lnTo>
                    <a:lnTo>
                      <a:pt x="93" y="307"/>
                    </a:lnTo>
                    <a:lnTo>
                      <a:pt x="77" y="333"/>
                    </a:lnTo>
                    <a:lnTo>
                      <a:pt x="64" y="361"/>
                    </a:lnTo>
                    <a:lnTo>
                      <a:pt x="50" y="389"/>
                    </a:lnTo>
                    <a:lnTo>
                      <a:pt x="39" y="418"/>
                    </a:lnTo>
                    <a:lnTo>
                      <a:pt x="29" y="448"/>
                    </a:lnTo>
                    <a:lnTo>
                      <a:pt x="20" y="477"/>
                    </a:lnTo>
                    <a:lnTo>
                      <a:pt x="14" y="508"/>
                    </a:lnTo>
                    <a:lnTo>
                      <a:pt x="7" y="539"/>
                    </a:lnTo>
                    <a:lnTo>
                      <a:pt x="3" y="572"/>
                    </a:lnTo>
                    <a:lnTo>
                      <a:pt x="1" y="604"/>
                    </a:lnTo>
                    <a:lnTo>
                      <a:pt x="0" y="637"/>
                    </a:lnTo>
                    <a:lnTo>
                      <a:pt x="0" y="637"/>
                    </a:lnTo>
                    <a:lnTo>
                      <a:pt x="1" y="670"/>
                    </a:lnTo>
                    <a:lnTo>
                      <a:pt x="3" y="702"/>
                    </a:lnTo>
                    <a:lnTo>
                      <a:pt x="7" y="734"/>
                    </a:lnTo>
                    <a:lnTo>
                      <a:pt x="14" y="765"/>
                    </a:lnTo>
                    <a:lnTo>
                      <a:pt x="20" y="796"/>
                    </a:lnTo>
                    <a:lnTo>
                      <a:pt x="29" y="826"/>
                    </a:lnTo>
                    <a:lnTo>
                      <a:pt x="39" y="856"/>
                    </a:lnTo>
                    <a:lnTo>
                      <a:pt x="50" y="885"/>
                    </a:lnTo>
                    <a:lnTo>
                      <a:pt x="64" y="912"/>
                    </a:lnTo>
                    <a:lnTo>
                      <a:pt x="77" y="940"/>
                    </a:lnTo>
                    <a:lnTo>
                      <a:pt x="93" y="966"/>
                    </a:lnTo>
                    <a:lnTo>
                      <a:pt x="110" y="992"/>
                    </a:lnTo>
                    <a:lnTo>
                      <a:pt x="127" y="1018"/>
                    </a:lnTo>
                    <a:lnTo>
                      <a:pt x="147" y="1042"/>
                    </a:lnTo>
                    <a:lnTo>
                      <a:pt x="167" y="1064"/>
                    </a:lnTo>
                    <a:lnTo>
                      <a:pt x="188" y="1087"/>
                    </a:lnTo>
                    <a:lnTo>
                      <a:pt x="211" y="1108"/>
                    </a:lnTo>
                    <a:lnTo>
                      <a:pt x="234" y="1127"/>
                    </a:lnTo>
                    <a:lnTo>
                      <a:pt x="258" y="1147"/>
                    </a:lnTo>
                    <a:lnTo>
                      <a:pt x="284" y="1165"/>
                    </a:lnTo>
                    <a:lnTo>
                      <a:pt x="310" y="1181"/>
                    </a:lnTo>
                    <a:lnTo>
                      <a:pt x="336" y="1197"/>
                    </a:lnTo>
                    <a:lnTo>
                      <a:pt x="364" y="1210"/>
                    </a:lnTo>
                    <a:lnTo>
                      <a:pt x="392" y="1223"/>
                    </a:lnTo>
                    <a:lnTo>
                      <a:pt x="422" y="1235"/>
                    </a:lnTo>
                    <a:lnTo>
                      <a:pt x="452" y="1244"/>
                    </a:lnTo>
                    <a:lnTo>
                      <a:pt x="482" y="1253"/>
                    </a:lnTo>
                    <a:lnTo>
                      <a:pt x="513" y="1260"/>
                    </a:lnTo>
                    <a:lnTo>
                      <a:pt x="545" y="1266"/>
                    </a:lnTo>
                    <a:lnTo>
                      <a:pt x="577" y="1270"/>
                    </a:lnTo>
                    <a:lnTo>
                      <a:pt x="610" y="1272"/>
                    </a:lnTo>
                    <a:lnTo>
                      <a:pt x="643" y="1273"/>
                    </a:lnTo>
                    <a:lnTo>
                      <a:pt x="643" y="1273"/>
                    </a:lnTo>
                    <a:lnTo>
                      <a:pt x="676" y="1272"/>
                    </a:lnTo>
                    <a:lnTo>
                      <a:pt x="709" y="1270"/>
                    </a:lnTo>
                    <a:lnTo>
                      <a:pt x="741" y="1266"/>
                    </a:lnTo>
                    <a:lnTo>
                      <a:pt x="772" y="1260"/>
                    </a:lnTo>
                    <a:lnTo>
                      <a:pt x="804" y="1253"/>
                    </a:lnTo>
                    <a:lnTo>
                      <a:pt x="834" y="1244"/>
                    </a:lnTo>
                    <a:lnTo>
                      <a:pt x="864" y="1235"/>
                    </a:lnTo>
                    <a:lnTo>
                      <a:pt x="893" y="1223"/>
                    </a:lnTo>
                    <a:lnTo>
                      <a:pt x="922" y="1210"/>
                    </a:lnTo>
                    <a:lnTo>
                      <a:pt x="950" y="1197"/>
                    </a:lnTo>
                    <a:lnTo>
                      <a:pt x="976" y="1181"/>
                    </a:lnTo>
                    <a:lnTo>
                      <a:pt x="1002" y="1165"/>
                    </a:lnTo>
                    <a:lnTo>
                      <a:pt x="1028" y="1147"/>
                    </a:lnTo>
                    <a:lnTo>
                      <a:pt x="1052" y="1127"/>
                    </a:lnTo>
                    <a:lnTo>
                      <a:pt x="1075" y="1108"/>
                    </a:lnTo>
                    <a:lnTo>
                      <a:pt x="1098" y="1087"/>
                    </a:lnTo>
                    <a:lnTo>
                      <a:pt x="1119" y="1064"/>
                    </a:lnTo>
                    <a:lnTo>
                      <a:pt x="1139" y="1042"/>
                    </a:lnTo>
                    <a:lnTo>
                      <a:pt x="1158" y="1018"/>
                    </a:lnTo>
                    <a:lnTo>
                      <a:pt x="1176" y="992"/>
                    </a:lnTo>
                    <a:lnTo>
                      <a:pt x="1193" y="966"/>
                    </a:lnTo>
                    <a:lnTo>
                      <a:pt x="1209" y="940"/>
                    </a:lnTo>
                    <a:lnTo>
                      <a:pt x="1222" y="912"/>
                    </a:lnTo>
                    <a:lnTo>
                      <a:pt x="1236" y="885"/>
                    </a:lnTo>
                    <a:lnTo>
                      <a:pt x="1247" y="856"/>
                    </a:lnTo>
                    <a:lnTo>
                      <a:pt x="1257" y="826"/>
                    </a:lnTo>
                    <a:lnTo>
                      <a:pt x="1266" y="796"/>
                    </a:lnTo>
                    <a:lnTo>
                      <a:pt x="1272" y="765"/>
                    </a:lnTo>
                    <a:lnTo>
                      <a:pt x="1279" y="734"/>
                    </a:lnTo>
                    <a:lnTo>
                      <a:pt x="1283" y="702"/>
                    </a:lnTo>
                    <a:lnTo>
                      <a:pt x="1285" y="670"/>
                    </a:lnTo>
                    <a:lnTo>
                      <a:pt x="1286" y="637"/>
                    </a:lnTo>
                    <a:lnTo>
                      <a:pt x="643" y="637"/>
                    </a:lnTo>
                    <a:lnTo>
                      <a:pt x="643" y="0"/>
                    </a:lnTo>
                    <a:close/>
                    <a:moveTo>
                      <a:pt x="643" y="0"/>
                    </a:moveTo>
                    <a:lnTo>
                      <a:pt x="643" y="0"/>
                    </a:lnTo>
                    <a:close/>
                  </a:path>
                </a:pathLst>
              </a:custGeom>
              <a:solidFill>
                <a:srgbClr val="43B02A"/>
              </a:solidFill>
              <a:ln>
                <a:noFill/>
              </a:ln>
            </p:spPr>
            <p:txBody>
              <a:bodyPr vert="horz" wrap="square" lIns="68746" tIns="34374" rIns="68746" bIns="34374" numCol="1" anchor="t" anchorCtr="0" compatLnSpc="1">
                <a:prstTxWarp prst="textNoShape">
                  <a:avLst/>
                </a:prstTxWarp>
              </a:bodyPr>
              <a:lstStyle/>
              <a:p>
                <a:endParaRPr lang="en-US" sz="1354" dirty="0"/>
              </a:p>
            </p:txBody>
          </p:sp>
          <p:sp>
            <p:nvSpPr>
              <p:cNvPr id="679" name="Freeform 6">
                <a:extLst>
                  <a:ext uri="{FF2B5EF4-FFF2-40B4-BE49-F238E27FC236}">
                    <a16:creationId xmlns:a16="http://schemas.microsoft.com/office/drawing/2014/main" id="{76F92BC4-505D-42C3-BE05-8499AF8F87A7}"/>
                  </a:ext>
                </a:extLst>
              </p:cNvPr>
              <p:cNvSpPr>
                <a:spLocks/>
              </p:cNvSpPr>
              <p:nvPr/>
            </p:nvSpPr>
            <p:spPr bwMode="auto">
              <a:xfrm>
                <a:off x="4765675" y="3708401"/>
                <a:ext cx="146050" cy="144463"/>
              </a:xfrm>
              <a:custGeom>
                <a:avLst/>
                <a:gdLst>
                  <a:gd name="T0" fmla="*/ 643 w 1286"/>
                  <a:gd name="T1" fmla="*/ 0 h 1273"/>
                  <a:gd name="T2" fmla="*/ 577 w 1286"/>
                  <a:gd name="T3" fmla="*/ 3 h 1273"/>
                  <a:gd name="T4" fmla="*/ 513 w 1286"/>
                  <a:gd name="T5" fmla="*/ 14 h 1273"/>
                  <a:gd name="T6" fmla="*/ 452 w 1286"/>
                  <a:gd name="T7" fmla="*/ 29 h 1273"/>
                  <a:gd name="T8" fmla="*/ 392 w 1286"/>
                  <a:gd name="T9" fmla="*/ 50 h 1273"/>
                  <a:gd name="T10" fmla="*/ 336 w 1286"/>
                  <a:gd name="T11" fmla="*/ 77 h 1273"/>
                  <a:gd name="T12" fmla="*/ 284 w 1286"/>
                  <a:gd name="T13" fmla="*/ 109 h 1273"/>
                  <a:gd name="T14" fmla="*/ 234 w 1286"/>
                  <a:gd name="T15" fmla="*/ 146 h 1273"/>
                  <a:gd name="T16" fmla="*/ 188 w 1286"/>
                  <a:gd name="T17" fmla="*/ 186 h 1273"/>
                  <a:gd name="T18" fmla="*/ 147 w 1286"/>
                  <a:gd name="T19" fmla="*/ 232 h 1273"/>
                  <a:gd name="T20" fmla="*/ 110 w 1286"/>
                  <a:gd name="T21" fmla="*/ 281 h 1273"/>
                  <a:gd name="T22" fmla="*/ 77 w 1286"/>
                  <a:gd name="T23" fmla="*/ 333 h 1273"/>
                  <a:gd name="T24" fmla="*/ 50 w 1286"/>
                  <a:gd name="T25" fmla="*/ 389 h 1273"/>
                  <a:gd name="T26" fmla="*/ 29 w 1286"/>
                  <a:gd name="T27" fmla="*/ 448 h 1273"/>
                  <a:gd name="T28" fmla="*/ 14 w 1286"/>
                  <a:gd name="T29" fmla="*/ 508 h 1273"/>
                  <a:gd name="T30" fmla="*/ 3 w 1286"/>
                  <a:gd name="T31" fmla="*/ 572 h 1273"/>
                  <a:gd name="T32" fmla="*/ 0 w 1286"/>
                  <a:gd name="T33" fmla="*/ 637 h 1273"/>
                  <a:gd name="T34" fmla="*/ 1 w 1286"/>
                  <a:gd name="T35" fmla="*/ 670 h 1273"/>
                  <a:gd name="T36" fmla="*/ 7 w 1286"/>
                  <a:gd name="T37" fmla="*/ 734 h 1273"/>
                  <a:gd name="T38" fmla="*/ 20 w 1286"/>
                  <a:gd name="T39" fmla="*/ 796 h 1273"/>
                  <a:gd name="T40" fmla="*/ 39 w 1286"/>
                  <a:gd name="T41" fmla="*/ 856 h 1273"/>
                  <a:gd name="T42" fmla="*/ 64 w 1286"/>
                  <a:gd name="T43" fmla="*/ 912 h 1273"/>
                  <a:gd name="T44" fmla="*/ 93 w 1286"/>
                  <a:gd name="T45" fmla="*/ 966 h 1273"/>
                  <a:gd name="T46" fmla="*/ 127 w 1286"/>
                  <a:gd name="T47" fmla="*/ 1018 h 1273"/>
                  <a:gd name="T48" fmla="*/ 167 w 1286"/>
                  <a:gd name="T49" fmla="*/ 1064 h 1273"/>
                  <a:gd name="T50" fmla="*/ 211 w 1286"/>
                  <a:gd name="T51" fmla="*/ 1108 h 1273"/>
                  <a:gd name="T52" fmla="*/ 258 w 1286"/>
                  <a:gd name="T53" fmla="*/ 1147 h 1273"/>
                  <a:gd name="T54" fmla="*/ 310 w 1286"/>
                  <a:gd name="T55" fmla="*/ 1181 h 1273"/>
                  <a:gd name="T56" fmla="*/ 364 w 1286"/>
                  <a:gd name="T57" fmla="*/ 1210 h 1273"/>
                  <a:gd name="T58" fmla="*/ 422 w 1286"/>
                  <a:gd name="T59" fmla="*/ 1235 h 1273"/>
                  <a:gd name="T60" fmla="*/ 482 w 1286"/>
                  <a:gd name="T61" fmla="*/ 1253 h 1273"/>
                  <a:gd name="T62" fmla="*/ 545 w 1286"/>
                  <a:gd name="T63" fmla="*/ 1266 h 1273"/>
                  <a:gd name="T64" fmla="*/ 610 w 1286"/>
                  <a:gd name="T65" fmla="*/ 1272 h 1273"/>
                  <a:gd name="T66" fmla="*/ 643 w 1286"/>
                  <a:gd name="T67" fmla="*/ 1273 h 1273"/>
                  <a:gd name="T68" fmla="*/ 709 w 1286"/>
                  <a:gd name="T69" fmla="*/ 1270 h 1273"/>
                  <a:gd name="T70" fmla="*/ 772 w 1286"/>
                  <a:gd name="T71" fmla="*/ 1260 h 1273"/>
                  <a:gd name="T72" fmla="*/ 834 w 1286"/>
                  <a:gd name="T73" fmla="*/ 1244 h 1273"/>
                  <a:gd name="T74" fmla="*/ 893 w 1286"/>
                  <a:gd name="T75" fmla="*/ 1223 h 1273"/>
                  <a:gd name="T76" fmla="*/ 950 w 1286"/>
                  <a:gd name="T77" fmla="*/ 1197 h 1273"/>
                  <a:gd name="T78" fmla="*/ 1002 w 1286"/>
                  <a:gd name="T79" fmla="*/ 1165 h 1273"/>
                  <a:gd name="T80" fmla="*/ 1052 w 1286"/>
                  <a:gd name="T81" fmla="*/ 1127 h 1273"/>
                  <a:gd name="T82" fmla="*/ 1098 w 1286"/>
                  <a:gd name="T83" fmla="*/ 1087 h 1273"/>
                  <a:gd name="T84" fmla="*/ 1139 w 1286"/>
                  <a:gd name="T85" fmla="*/ 1042 h 1273"/>
                  <a:gd name="T86" fmla="*/ 1176 w 1286"/>
                  <a:gd name="T87" fmla="*/ 992 h 1273"/>
                  <a:gd name="T88" fmla="*/ 1209 w 1286"/>
                  <a:gd name="T89" fmla="*/ 940 h 1273"/>
                  <a:gd name="T90" fmla="*/ 1236 w 1286"/>
                  <a:gd name="T91" fmla="*/ 885 h 1273"/>
                  <a:gd name="T92" fmla="*/ 1257 w 1286"/>
                  <a:gd name="T93" fmla="*/ 826 h 1273"/>
                  <a:gd name="T94" fmla="*/ 1272 w 1286"/>
                  <a:gd name="T95" fmla="*/ 765 h 1273"/>
                  <a:gd name="T96" fmla="*/ 1283 w 1286"/>
                  <a:gd name="T97" fmla="*/ 702 h 1273"/>
                  <a:gd name="T98" fmla="*/ 1286 w 1286"/>
                  <a:gd name="T99" fmla="*/ 637 h 1273"/>
                  <a:gd name="T100" fmla="*/ 643 w 1286"/>
                  <a:gd name="T101" fmla="*/ 0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6" h="1273">
                    <a:moveTo>
                      <a:pt x="643" y="0"/>
                    </a:moveTo>
                    <a:lnTo>
                      <a:pt x="643" y="0"/>
                    </a:lnTo>
                    <a:lnTo>
                      <a:pt x="610" y="1"/>
                    </a:lnTo>
                    <a:lnTo>
                      <a:pt x="577" y="3"/>
                    </a:lnTo>
                    <a:lnTo>
                      <a:pt x="545" y="7"/>
                    </a:lnTo>
                    <a:lnTo>
                      <a:pt x="513" y="14"/>
                    </a:lnTo>
                    <a:lnTo>
                      <a:pt x="482" y="20"/>
                    </a:lnTo>
                    <a:lnTo>
                      <a:pt x="452" y="29"/>
                    </a:lnTo>
                    <a:lnTo>
                      <a:pt x="422" y="38"/>
                    </a:lnTo>
                    <a:lnTo>
                      <a:pt x="392" y="50"/>
                    </a:lnTo>
                    <a:lnTo>
                      <a:pt x="364" y="63"/>
                    </a:lnTo>
                    <a:lnTo>
                      <a:pt x="336" y="77"/>
                    </a:lnTo>
                    <a:lnTo>
                      <a:pt x="310" y="92"/>
                    </a:lnTo>
                    <a:lnTo>
                      <a:pt x="284" y="109"/>
                    </a:lnTo>
                    <a:lnTo>
                      <a:pt x="258" y="126"/>
                    </a:lnTo>
                    <a:lnTo>
                      <a:pt x="234" y="146"/>
                    </a:lnTo>
                    <a:lnTo>
                      <a:pt x="211" y="165"/>
                    </a:lnTo>
                    <a:lnTo>
                      <a:pt x="188" y="186"/>
                    </a:lnTo>
                    <a:lnTo>
                      <a:pt x="167" y="209"/>
                    </a:lnTo>
                    <a:lnTo>
                      <a:pt x="147" y="232"/>
                    </a:lnTo>
                    <a:lnTo>
                      <a:pt x="127" y="255"/>
                    </a:lnTo>
                    <a:lnTo>
                      <a:pt x="110" y="281"/>
                    </a:lnTo>
                    <a:lnTo>
                      <a:pt x="93" y="307"/>
                    </a:lnTo>
                    <a:lnTo>
                      <a:pt x="77" y="333"/>
                    </a:lnTo>
                    <a:lnTo>
                      <a:pt x="64" y="361"/>
                    </a:lnTo>
                    <a:lnTo>
                      <a:pt x="50" y="389"/>
                    </a:lnTo>
                    <a:lnTo>
                      <a:pt x="39" y="418"/>
                    </a:lnTo>
                    <a:lnTo>
                      <a:pt x="29" y="448"/>
                    </a:lnTo>
                    <a:lnTo>
                      <a:pt x="20" y="477"/>
                    </a:lnTo>
                    <a:lnTo>
                      <a:pt x="14" y="508"/>
                    </a:lnTo>
                    <a:lnTo>
                      <a:pt x="7" y="539"/>
                    </a:lnTo>
                    <a:lnTo>
                      <a:pt x="3" y="572"/>
                    </a:lnTo>
                    <a:lnTo>
                      <a:pt x="1" y="604"/>
                    </a:lnTo>
                    <a:lnTo>
                      <a:pt x="0" y="637"/>
                    </a:lnTo>
                    <a:lnTo>
                      <a:pt x="0" y="637"/>
                    </a:lnTo>
                    <a:lnTo>
                      <a:pt x="1" y="670"/>
                    </a:lnTo>
                    <a:lnTo>
                      <a:pt x="3" y="702"/>
                    </a:lnTo>
                    <a:lnTo>
                      <a:pt x="7" y="734"/>
                    </a:lnTo>
                    <a:lnTo>
                      <a:pt x="14" y="765"/>
                    </a:lnTo>
                    <a:lnTo>
                      <a:pt x="20" y="796"/>
                    </a:lnTo>
                    <a:lnTo>
                      <a:pt x="29" y="826"/>
                    </a:lnTo>
                    <a:lnTo>
                      <a:pt x="39" y="856"/>
                    </a:lnTo>
                    <a:lnTo>
                      <a:pt x="50" y="885"/>
                    </a:lnTo>
                    <a:lnTo>
                      <a:pt x="64" y="912"/>
                    </a:lnTo>
                    <a:lnTo>
                      <a:pt x="77" y="940"/>
                    </a:lnTo>
                    <a:lnTo>
                      <a:pt x="93" y="966"/>
                    </a:lnTo>
                    <a:lnTo>
                      <a:pt x="110" y="992"/>
                    </a:lnTo>
                    <a:lnTo>
                      <a:pt x="127" y="1018"/>
                    </a:lnTo>
                    <a:lnTo>
                      <a:pt x="147" y="1042"/>
                    </a:lnTo>
                    <a:lnTo>
                      <a:pt x="167" y="1064"/>
                    </a:lnTo>
                    <a:lnTo>
                      <a:pt x="188" y="1087"/>
                    </a:lnTo>
                    <a:lnTo>
                      <a:pt x="211" y="1108"/>
                    </a:lnTo>
                    <a:lnTo>
                      <a:pt x="234" y="1127"/>
                    </a:lnTo>
                    <a:lnTo>
                      <a:pt x="258" y="1147"/>
                    </a:lnTo>
                    <a:lnTo>
                      <a:pt x="284" y="1165"/>
                    </a:lnTo>
                    <a:lnTo>
                      <a:pt x="310" y="1181"/>
                    </a:lnTo>
                    <a:lnTo>
                      <a:pt x="336" y="1197"/>
                    </a:lnTo>
                    <a:lnTo>
                      <a:pt x="364" y="1210"/>
                    </a:lnTo>
                    <a:lnTo>
                      <a:pt x="392" y="1223"/>
                    </a:lnTo>
                    <a:lnTo>
                      <a:pt x="422" y="1235"/>
                    </a:lnTo>
                    <a:lnTo>
                      <a:pt x="452" y="1244"/>
                    </a:lnTo>
                    <a:lnTo>
                      <a:pt x="482" y="1253"/>
                    </a:lnTo>
                    <a:lnTo>
                      <a:pt x="513" y="1260"/>
                    </a:lnTo>
                    <a:lnTo>
                      <a:pt x="545" y="1266"/>
                    </a:lnTo>
                    <a:lnTo>
                      <a:pt x="577" y="1270"/>
                    </a:lnTo>
                    <a:lnTo>
                      <a:pt x="610" y="1272"/>
                    </a:lnTo>
                    <a:lnTo>
                      <a:pt x="643" y="1273"/>
                    </a:lnTo>
                    <a:lnTo>
                      <a:pt x="643" y="1273"/>
                    </a:lnTo>
                    <a:lnTo>
                      <a:pt x="676" y="1272"/>
                    </a:lnTo>
                    <a:lnTo>
                      <a:pt x="709" y="1270"/>
                    </a:lnTo>
                    <a:lnTo>
                      <a:pt x="741" y="1266"/>
                    </a:lnTo>
                    <a:lnTo>
                      <a:pt x="772" y="1260"/>
                    </a:lnTo>
                    <a:lnTo>
                      <a:pt x="804" y="1253"/>
                    </a:lnTo>
                    <a:lnTo>
                      <a:pt x="834" y="1244"/>
                    </a:lnTo>
                    <a:lnTo>
                      <a:pt x="864" y="1235"/>
                    </a:lnTo>
                    <a:lnTo>
                      <a:pt x="893" y="1223"/>
                    </a:lnTo>
                    <a:lnTo>
                      <a:pt x="922" y="1210"/>
                    </a:lnTo>
                    <a:lnTo>
                      <a:pt x="950" y="1197"/>
                    </a:lnTo>
                    <a:lnTo>
                      <a:pt x="976" y="1181"/>
                    </a:lnTo>
                    <a:lnTo>
                      <a:pt x="1002" y="1165"/>
                    </a:lnTo>
                    <a:lnTo>
                      <a:pt x="1028" y="1147"/>
                    </a:lnTo>
                    <a:lnTo>
                      <a:pt x="1052" y="1127"/>
                    </a:lnTo>
                    <a:lnTo>
                      <a:pt x="1075" y="1108"/>
                    </a:lnTo>
                    <a:lnTo>
                      <a:pt x="1098" y="1087"/>
                    </a:lnTo>
                    <a:lnTo>
                      <a:pt x="1119" y="1064"/>
                    </a:lnTo>
                    <a:lnTo>
                      <a:pt x="1139" y="1042"/>
                    </a:lnTo>
                    <a:lnTo>
                      <a:pt x="1158" y="1018"/>
                    </a:lnTo>
                    <a:lnTo>
                      <a:pt x="1176" y="992"/>
                    </a:lnTo>
                    <a:lnTo>
                      <a:pt x="1193" y="966"/>
                    </a:lnTo>
                    <a:lnTo>
                      <a:pt x="1209" y="940"/>
                    </a:lnTo>
                    <a:lnTo>
                      <a:pt x="1222" y="912"/>
                    </a:lnTo>
                    <a:lnTo>
                      <a:pt x="1236" y="885"/>
                    </a:lnTo>
                    <a:lnTo>
                      <a:pt x="1247" y="856"/>
                    </a:lnTo>
                    <a:lnTo>
                      <a:pt x="1257" y="826"/>
                    </a:lnTo>
                    <a:lnTo>
                      <a:pt x="1266" y="796"/>
                    </a:lnTo>
                    <a:lnTo>
                      <a:pt x="1272" y="765"/>
                    </a:lnTo>
                    <a:lnTo>
                      <a:pt x="1279" y="734"/>
                    </a:lnTo>
                    <a:lnTo>
                      <a:pt x="1283" y="702"/>
                    </a:lnTo>
                    <a:lnTo>
                      <a:pt x="1285" y="670"/>
                    </a:lnTo>
                    <a:lnTo>
                      <a:pt x="1286" y="637"/>
                    </a:lnTo>
                    <a:lnTo>
                      <a:pt x="643" y="637"/>
                    </a:lnTo>
                    <a:lnTo>
                      <a:pt x="6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80" name="Line 7">
                <a:extLst>
                  <a:ext uri="{FF2B5EF4-FFF2-40B4-BE49-F238E27FC236}">
                    <a16:creationId xmlns:a16="http://schemas.microsoft.com/office/drawing/2014/main" id="{81F7B100-067D-4887-A34C-B342638504D4}"/>
                  </a:ext>
                </a:extLst>
              </p:cNvPr>
              <p:cNvSpPr>
                <a:spLocks noChangeShapeType="1"/>
              </p:cNvSpPr>
              <p:nvPr/>
            </p:nvSpPr>
            <p:spPr bwMode="auto">
              <a:xfrm>
                <a:off x="4838700" y="370840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81" name="Freeform 8">
                <a:extLst>
                  <a:ext uri="{FF2B5EF4-FFF2-40B4-BE49-F238E27FC236}">
                    <a16:creationId xmlns:a16="http://schemas.microsoft.com/office/drawing/2014/main" id="{91C2A800-138A-47F2-BC3E-6E14928BBC32}"/>
                  </a:ext>
                </a:extLst>
              </p:cNvPr>
              <p:cNvSpPr>
                <a:spLocks noEditPoints="1"/>
              </p:cNvSpPr>
              <p:nvPr/>
            </p:nvSpPr>
            <p:spPr bwMode="auto">
              <a:xfrm>
                <a:off x="4849813" y="3697288"/>
                <a:ext cx="73025" cy="71438"/>
              </a:xfrm>
              <a:custGeom>
                <a:avLst/>
                <a:gdLst>
                  <a:gd name="T0" fmla="*/ 0 w 643"/>
                  <a:gd name="T1" fmla="*/ 0 h 636"/>
                  <a:gd name="T2" fmla="*/ 0 w 643"/>
                  <a:gd name="T3" fmla="*/ 636 h 636"/>
                  <a:gd name="T4" fmla="*/ 643 w 643"/>
                  <a:gd name="T5" fmla="*/ 636 h 636"/>
                  <a:gd name="T6" fmla="*/ 643 w 643"/>
                  <a:gd name="T7" fmla="*/ 636 h 636"/>
                  <a:gd name="T8" fmla="*/ 642 w 643"/>
                  <a:gd name="T9" fmla="*/ 603 h 636"/>
                  <a:gd name="T10" fmla="*/ 640 w 643"/>
                  <a:gd name="T11" fmla="*/ 571 h 636"/>
                  <a:gd name="T12" fmla="*/ 636 w 643"/>
                  <a:gd name="T13" fmla="*/ 539 h 636"/>
                  <a:gd name="T14" fmla="*/ 629 w 643"/>
                  <a:gd name="T15" fmla="*/ 508 h 636"/>
                  <a:gd name="T16" fmla="*/ 623 w 643"/>
                  <a:gd name="T17" fmla="*/ 477 h 636"/>
                  <a:gd name="T18" fmla="*/ 614 w 643"/>
                  <a:gd name="T19" fmla="*/ 447 h 636"/>
                  <a:gd name="T20" fmla="*/ 604 w 643"/>
                  <a:gd name="T21" fmla="*/ 417 h 636"/>
                  <a:gd name="T22" fmla="*/ 593 w 643"/>
                  <a:gd name="T23" fmla="*/ 388 h 636"/>
                  <a:gd name="T24" fmla="*/ 579 w 643"/>
                  <a:gd name="T25" fmla="*/ 361 h 636"/>
                  <a:gd name="T26" fmla="*/ 566 w 643"/>
                  <a:gd name="T27" fmla="*/ 333 h 636"/>
                  <a:gd name="T28" fmla="*/ 550 w 643"/>
                  <a:gd name="T29" fmla="*/ 307 h 636"/>
                  <a:gd name="T30" fmla="*/ 533 w 643"/>
                  <a:gd name="T31" fmla="*/ 281 h 636"/>
                  <a:gd name="T32" fmla="*/ 516 w 643"/>
                  <a:gd name="T33" fmla="*/ 255 h 636"/>
                  <a:gd name="T34" fmla="*/ 496 w 643"/>
                  <a:gd name="T35" fmla="*/ 231 h 636"/>
                  <a:gd name="T36" fmla="*/ 476 w 643"/>
                  <a:gd name="T37" fmla="*/ 209 h 636"/>
                  <a:gd name="T38" fmla="*/ 455 w 643"/>
                  <a:gd name="T39" fmla="*/ 186 h 636"/>
                  <a:gd name="T40" fmla="*/ 432 w 643"/>
                  <a:gd name="T41" fmla="*/ 165 h 636"/>
                  <a:gd name="T42" fmla="*/ 409 w 643"/>
                  <a:gd name="T43" fmla="*/ 146 h 636"/>
                  <a:gd name="T44" fmla="*/ 385 w 643"/>
                  <a:gd name="T45" fmla="*/ 126 h 636"/>
                  <a:gd name="T46" fmla="*/ 359 w 643"/>
                  <a:gd name="T47" fmla="*/ 108 h 636"/>
                  <a:gd name="T48" fmla="*/ 333 w 643"/>
                  <a:gd name="T49" fmla="*/ 92 h 636"/>
                  <a:gd name="T50" fmla="*/ 307 w 643"/>
                  <a:gd name="T51" fmla="*/ 76 h 636"/>
                  <a:gd name="T52" fmla="*/ 279 w 643"/>
                  <a:gd name="T53" fmla="*/ 63 h 636"/>
                  <a:gd name="T54" fmla="*/ 251 w 643"/>
                  <a:gd name="T55" fmla="*/ 50 h 636"/>
                  <a:gd name="T56" fmla="*/ 221 w 643"/>
                  <a:gd name="T57" fmla="*/ 38 h 636"/>
                  <a:gd name="T58" fmla="*/ 191 w 643"/>
                  <a:gd name="T59" fmla="*/ 29 h 636"/>
                  <a:gd name="T60" fmla="*/ 161 w 643"/>
                  <a:gd name="T61" fmla="*/ 20 h 636"/>
                  <a:gd name="T62" fmla="*/ 130 w 643"/>
                  <a:gd name="T63" fmla="*/ 13 h 636"/>
                  <a:gd name="T64" fmla="*/ 98 w 643"/>
                  <a:gd name="T65" fmla="*/ 7 h 636"/>
                  <a:gd name="T66" fmla="*/ 66 w 643"/>
                  <a:gd name="T67" fmla="*/ 3 h 636"/>
                  <a:gd name="T68" fmla="*/ 33 w 643"/>
                  <a:gd name="T69" fmla="*/ 1 h 636"/>
                  <a:gd name="T70" fmla="*/ 0 w 643"/>
                  <a:gd name="T71" fmla="*/ 0 h 636"/>
                  <a:gd name="T72" fmla="*/ 0 w 643"/>
                  <a:gd name="T73" fmla="*/ 0 h 636"/>
                  <a:gd name="T74" fmla="*/ 0 w 643"/>
                  <a:gd name="T75" fmla="*/ 0 h 636"/>
                  <a:gd name="T76" fmla="*/ 0 w 643"/>
                  <a:gd name="T77"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3" h="636">
                    <a:moveTo>
                      <a:pt x="0" y="0"/>
                    </a:moveTo>
                    <a:lnTo>
                      <a:pt x="0" y="636"/>
                    </a:lnTo>
                    <a:lnTo>
                      <a:pt x="643" y="636"/>
                    </a:lnTo>
                    <a:lnTo>
                      <a:pt x="643" y="636"/>
                    </a:lnTo>
                    <a:lnTo>
                      <a:pt x="642" y="603"/>
                    </a:lnTo>
                    <a:lnTo>
                      <a:pt x="640" y="571"/>
                    </a:lnTo>
                    <a:lnTo>
                      <a:pt x="636" y="539"/>
                    </a:lnTo>
                    <a:lnTo>
                      <a:pt x="629" y="508"/>
                    </a:lnTo>
                    <a:lnTo>
                      <a:pt x="623" y="477"/>
                    </a:lnTo>
                    <a:lnTo>
                      <a:pt x="614" y="447"/>
                    </a:lnTo>
                    <a:lnTo>
                      <a:pt x="604" y="417"/>
                    </a:lnTo>
                    <a:lnTo>
                      <a:pt x="593" y="388"/>
                    </a:lnTo>
                    <a:lnTo>
                      <a:pt x="579" y="361"/>
                    </a:lnTo>
                    <a:lnTo>
                      <a:pt x="566" y="333"/>
                    </a:lnTo>
                    <a:lnTo>
                      <a:pt x="550" y="307"/>
                    </a:lnTo>
                    <a:lnTo>
                      <a:pt x="533" y="281"/>
                    </a:lnTo>
                    <a:lnTo>
                      <a:pt x="516" y="255"/>
                    </a:lnTo>
                    <a:lnTo>
                      <a:pt x="496" y="231"/>
                    </a:lnTo>
                    <a:lnTo>
                      <a:pt x="476" y="209"/>
                    </a:lnTo>
                    <a:lnTo>
                      <a:pt x="455" y="186"/>
                    </a:lnTo>
                    <a:lnTo>
                      <a:pt x="432" y="165"/>
                    </a:lnTo>
                    <a:lnTo>
                      <a:pt x="409" y="146"/>
                    </a:lnTo>
                    <a:lnTo>
                      <a:pt x="385" y="126"/>
                    </a:lnTo>
                    <a:lnTo>
                      <a:pt x="359" y="108"/>
                    </a:lnTo>
                    <a:lnTo>
                      <a:pt x="333" y="92"/>
                    </a:lnTo>
                    <a:lnTo>
                      <a:pt x="307" y="76"/>
                    </a:lnTo>
                    <a:lnTo>
                      <a:pt x="279" y="63"/>
                    </a:lnTo>
                    <a:lnTo>
                      <a:pt x="251" y="50"/>
                    </a:lnTo>
                    <a:lnTo>
                      <a:pt x="221" y="38"/>
                    </a:lnTo>
                    <a:lnTo>
                      <a:pt x="191" y="29"/>
                    </a:lnTo>
                    <a:lnTo>
                      <a:pt x="161" y="20"/>
                    </a:lnTo>
                    <a:lnTo>
                      <a:pt x="130" y="13"/>
                    </a:lnTo>
                    <a:lnTo>
                      <a:pt x="98" y="7"/>
                    </a:lnTo>
                    <a:lnTo>
                      <a:pt x="66" y="3"/>
                    </a:lnTo>
                    <a:lnTo>
                      <a:pt x="33" y="1"/>
                    </a:lnTo>
                    <a:lnTo>
                      <a:pt x="0" y="0"/>
                    </a:lnTo>
                    <a:lnTo>
                      <a:pt x="0" y="0"/>
                    </a:lnTo>
                    <a:close/>
                    <a:moveTo>
                      <a:pt x="0" y="0"/>
                    </a:moveTo>
                    <a:lnTo>
                      <a:pt x="0" y="0"/>
                    </a:lnTo>
                    <a:close/>
                  </a:path>
                </a:pathLst>
              </a:custGeom>
              <a:solidFill>
                <a:srgbClr val="C4D600"/>
              </a:solidFill>
              <a:ln>
                <a:noFill/>
              </a:ln>
            </p:spPr>
            <p:txBody>
              <a:bodyPr vert="horz" wrap="square" lIns="68746" tIns="34374" rIns="68746" bIns="34374" numCol="1" anchor="t" anchorCtr="0" compatLnSpc="1">
                <a:prstTxWarp prst="textNoShape">
                  <a:avLst/>
                </a:prstTxWarp>
              </a:bodyPr>
              <a:lstStyle/>
              <a:p>
                <a:endParaRPr lang="en-US" sz="1354" dirty="0"/>
              </a:p>
            </p:txBody>
          </p:sp>
          <p:sp>
            <p:nvSpPr>
              <p:cNvPr id="682" name="Freeform 9">
                <a:extLst>
                  <a:ext uri="{FF2B5EF4-FFF2-40B4-BE49-F238E27FC236}">
                    <a16:creationId xmlns:a16="http://schemas.microsoft.com/office/drawing/2014/main" id="{68B25732-2709-4D4A-887A-6C6625109AE7}"/>
                  </a:ext>
                </a:extLst>
              </p:cNvPr>
              <p:cNvSpPr>
                <a:spLocks/>
              </p:cNvSpPr>
              <p:nvPr/>
            </p:nvSpPr>
            <p:spPr bwMode="auto">
              <a:xfrm>
                <a:off x="4849813" y="3697288"/>
                <a:ext cx="73025" cy="71438"/>
              </a:xfrm>
              <a:custGeom>
                <a:avLst/>
                <a:gdLst>
                  <a:gd name="T0" fmla="*/ 0 w 643"/>
                  <a:gd name="T1" fmla="*/ 0 h 636"/>
                  <a:gd name="T2" fmla="*/ 0 w 643"/>
                  <a:gd name="T3" fmla="*/ 636 h 636"/>
                  <a:gd name="T4" fmla="*/ 643 w 643"/>
                  <a:gd name="T5" fmla="*/ 636 h 636"/>
                  <a:gd name="T6" fmla="*/ 643 w 643"/>
                  <a:gd name="T7" fmla="*/ 636 h 636"/>
                  <a:gd name="T8" fmla="*/ 642 w 643"/>
                  <a:gd name="T9" fmla="*/ 603 h 636"/>
                  <a:gd name="T10" fmla="*/ 640 w 643"/>
                  <a:gd name="T11" fmla="*/ 571 h 636"/>
                  <a:gd name="T12" fmla="*/ 636 w 643"/>
                  <a:gd name="T13" fmla="*/ 539 h 636"/>
                  <a:gd name="T14" fmla="*/ 629 w 643"/>
                  <a:gd name="T15" fmla="*/ 508 h 636"/>
                  <a:gd name="T16" fmla="*/ 623 w 643"/>
                  <a:gd name="T17" fmla="*/ 477 h 636"/>
                  <a:gd name="T18" fmla="*/ 614 w 643"/>
                  <a:gd name="T19" fmla="*/ 447 h 636"/>
                  <a:gd name="T20" fmla="*/ 604 w 643"/>
                  <a:gd name="T21" fmla="*/ 417 h 636"/>
                  <a:gd name="T22" fmla="*/ 593 w 643"/>
                  <a:gd name="T23" fmla="*/ 388 h 636"/>
                  <a:gd name="T24" fmla="*/ 579 w 643"/>
                  <a:gd name="T25" fmla="*/ 361 h 636"/>
                  <a:gd name="T26" fmla="*/ 566 w 643"/>
                  <a:gd name="T27" fmla="*/ 333 h 636"/>
                  <a:gd name="T28" fmla="*/ 550 w 643"/>
                  <a:gd name="T29" fmla="*/ 307 h 636"/>
                  <a:gd name="T30" fmla="*/ 533 w 643"/>
                  <a:gd name="T31" fmla="*/ 281 h 636"/>
                  <a:gd name="T32" fmla="*/ 516 w 643"/>
                  <a:gd name="T33" fmla="*/ 255 h 636"/>
                  <a:gd name="T34" fmla="*/ 496 w 643"/>
                  <a:gd name="T35" fmla="*/ 231 h 636"/>
                  <a:gd name="T36" fmla="*/ 476 w 643"/>
                  <a:gd name="T37" fmla="*/ 209 h 636"/>
                  <a:gd name="T38" fmla="*/ 455 w 643"/>
                  <a:gd name="T39" fmla="*/ 186 h 636"/>
                  <a:gd name="T40" fmla="*/ 432 w 643"/>
                  <a:gd name="T41" fmla="*/ 165 h 636"/>
                  <a:gd name="T42" fmla="*/ 409 w 643"/>
                  <a:gd name="T43" fmla="*/ 146 h 636"/>
                  <a:gd name="T44" fmla="*/ 385 w 643"/>
                  <a:gd name="T45" fmla="*/ 126 h 636"/>
                  <a:gd name="T46" fmla="*/ 359 w 643"/>
                  <a:gd name="T47" fmla="*/ 108 h 636"/>
                  <a:gd name="T48" fmla="*/ 333 w 643"/>
                  <a:gd name="T49" fmla="*/ 92 h 636"/>
                  <a:gd name="T50" fmla="*/ 307 w 643"/>
                  <a:gd name="T51" fmla="*/ 76 h 636"/>
                  <a:gd name="T52" fmla="*/ 279 w 643"/>
                  <a:gd name="T53" fmla="*/ 63 h 636"/>
                  <a:gd name="T54" fmla="*/ 251 w 643"/>
                  <a:gd name="T55" fmla="*/ 50 h 636"/>
                  <a:gd name="T56" fmla="*/ 221 w 643"/>
                  <a:gd name="T57" fmla="*/ 38 h 636"/>
                  <a:gd name="T58" fmla="*/ 191 w 643"/>
                  <a:gd name="T59" fmla="*/ 29 h 636"/>
                  <a:gd name="T60" fmla="*/ 161 w 643"/>
                  <a:gd name="T61" fmla="*/ 20 h 636"/>
                  <a:gd name="T62" fmla="*/ 130 w 643"/>
                  <a:gd name="T63" fmla="*/ 13 h 636"/>
                  <a:gd name="T64" fmla="*/ 98 w 643"/>
                  <a:gd name="T65" fmla="*/ 7 h 636"/>
                  <a:gd name="T66" fmla="*/ 66 w 643"/>
                  <a:gd name="T67" fmla="*/ 3 h 636"/>
                  <a:gd name="T68" fmla="*/ 33 w 643"/>
                  <a:gd name="T69" fmla="*/ 1 h 636"/>
                  <a:gd name="T70" fmla="*/ 0 w 643"/>
                  <a:gd name="T71" fmla="*/ 0 h 636"/>
                  <a:gd name="T72" fmla="*/ 0 w 643"/>
                  <a:gd name="T73"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3" h="636">
                    <a:moveTo>
                      <a:pt x="0" y="0"/>
                    </a:moveTo>
                    <a:lnTo>
                      <a:pt x="0" y="636"/>
                    </a:lnTo>
                    <a:lnTo>
                      <a:pt x="643" y="636"/>
                    </a:lnTo>
                    <a:lnTo>
                      <a:pt x="643" y="636"/>
                    </a:lnTo>
                    <a:lnTo>
                      <a:pt x="642" y="603"/>
                    </a:lnTo>
                    <a:lnTo>
                      <a:pt x="640" y="571"/>
                    </a:lnTo>
                    <a:lnTo>
                      <a:pt x="636" y="539"/>
                    </a:lnTo>
                    <a:lnTo>
                      <a:pt x="629" y="508"/>
                    </a:lnTo>
                    <a:lnTo>
                      <a:pt x="623" y="477"/>
                    </a:lnTo>
                    <a:lnTo>
                      <a:pt x="614" y="447"/>
                    </a:lnTo>
                    <a:lnTo>
                      <a:pt x="604" y="417"/>
                    </a:lnTo>
                    <a:lnTo>
                      <a:pt x="593" y="388"/>
                    </a:lnTo>
                    <a:lnTo>
                      <a:pt x="579" y="361"/>
                    </a:lnTo>
                    <a:lnTo>
                      <a:pt x="566" y="333"/>
                    </a:lnTo>
                    <a:lnTo>
                      <a:pt x="550" y="307"/>
                    </a:lnTo>
                    <a:lnTo>
                      <a:pt x="533" y="281"/>
                    </a:lnTo>
                    <a:lnTo>
                      <a:pt x="516" y="255"/>
                    </a:lnTo>
                    <a:lnTo>
                      <a:pt x="496" y="231"/>
                    </a:lnTo>
                    <a:lnTo>
                      <a:pt x="476" y="209"/>
                    </a:lnTo>
                    <a:lnTo>
                      <a:pt x="455" y="186"/>
                    </a:lnTo>
                    <a:lnTo>
                      <a:pt x="432" y="165"/>
                    </a:lnTo>
                    <a:lnTo>
                      <a:pt x="409" y="146"/>
                    </a:lnTo>
                    <a:lnTo>
                      <a:pt x="385" y="126"/>
                    </a:lnTo>
                    <a:lnTo>
                      <a:pt x="359" y="108"/>
                    </a:lnTo>
                    <a:lnTo>
                      <a:pt x="333" y="92"/>
                    </a:lnTo>
                    <a:lnTo>
                      <a:pt x="307" y="76"/>
                    </a:lnTo>
                    <a:lnTo>
                      <a:pt x="279" y="63"/>
                    </a:lnTo>
                    <a:lnTo>
                      <a:pt x="251" y="50"/>
                    </a:lnTo>
                    <a:lnTo>
                      <a:pt x="221" y="38"/>
                    </a:lnTo>
                    <a:lnTo>
                      <a:pt x="191" y="29"/>
                    </a:lnTo>
                    <a:lnTo>
                      <a:pt x="161" y="20"/>
                    </a:lnTo>
                    <a:lnTo>
                      <a:pt x="130" y="13"/>
                    </a:lnTo>
                    <a:lnTo>
                      <a:pt x="98" y="7"/>
                    </a:lnTo>
                    <a:lnTo>
                      <a:pt x="66" y="3"/>
                    </a:lnTo>
                    <a:lnTo>
                      <a:pt x="33" y="1"/>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683" name="Line 10">
                <a:extLst>
                  <a:ext uri="{FF2B5EF4-FFF2-40B4-BE49-F238E27FC236}">
                    <a16:creationId xmlns:a16="http://schemas.microsoft.com/office/drawing/2014/main" id="{1F0CC0B9-09FA-4F67-86A6-280CFD187826}"/>
                  </a:ext>
                </a:extLst>
              </p:cNvPr>
              <p:cNvSpPr>
                <a:spLocks noChangeShapeType="1"/>
              </p:cNvSpPr>
              <p:nvPr/>
            </p:nvSpPr>
            <p:spPr bwMode="auto">
              <a:xfrm>
                <a:off x="4849813" y="36972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673" name="Rectangle 672">
              <a:extLst>
                <a:ext uri="{FF2B5EF4-FFF2-40B4-BE49-F238E27FC236}">
                  <a16:creationId xmlns:a16="http://schemas.microsoft.com/office/drawing/2014/main" id="{A8268C99-1405-4DD0-AD51-018C984A7ED3}"/>
                </a:ext>
              </a:extLst>
            </p:cNvPr>
            <p:cNvSpPr/>
            <p:nvPr/>
          </p:nvSpPr>
          <p:spPr>
            <a:xfrm>
              <a:off x="1701958" y="2960402"/>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print Review</a:t>
              </a:r>
            </a:p>
          </p:txBody>
        </p:sp>
      </p:grpSp>
      <p:grpSp>
        <p:nvGrpSpPr>
          <p:cNvPr id="701" name="Group 700">
            <a:extLst>
              <a:ext uri="{FF2B5EF4-FFF2-40B4-BE49-F238E27FC236}">
                <a16:creationId xmlns:a16="http://schemas.microsoft.com/office/drawing/2014/main" id="{95D6E1ED-C6EA-4515-AAFC-1B4EFC9D0CFA}"/>
              </a:ext>
            </a:extLst>
          </p:cNvPr>
          <p:cNvGrpSpPr/>
          <p:nvPr/>
        </p:nvGrpSpPr>
        <p:grpSpPr>
          <a:xfrm>
            <a:off x="2874737" y="2599049"/>
            <a:ext cx="838958" cy="702552"/>
            <a:chOff x="2900858" y="2316341"/>
            <a:chExt cx="1115908" cy="934472"/>
          </a:xfrm>
        </p:grpSpPr>
        <p:grpSp>
          <p:nvGrpSpPr>
            <p:cNvPr id="702" name="Group 701">
              <a:extLst>
                <a:ext uri="{FF2B5EF4-FFF2-40B4-BE49-F238E27FC236}">
                  <a16:creationId xmlns:a16="http://schemas.microsoft.com/office/drawing/2014/main" id="{B1058314-D8D2-4090-85D6-D195E5FD3FCD}"/>
                </a:ext>
              </a:extLst>
            </p:cNvPr>
            <p:cNvGrpSpPr/>
            <p:nvPr/>
          </p:nvGrpSpPr>
          <p:grpSpPr>
            <a:xfrm>
              <a:off x="3269815" y="2316341"/>
              <a:ext cx="492410" cy="469846"/>
              <a:chOff x="4480341" y="1157481"/>
              <a:chExt cx="481968" cy="459883"/>
            </a:xfrm>
          </p:grpSpPr>
          <p:sp>
            <p:nvSpPr>
              <p:cNvPr id="704" name="Freeform 9">
                <a:extLst>
                  <a:ext uri="{FF2B5EF4-FFF2-40B4-BE49-F238E27FC236}">
                    <a16:creationId xmlns:a16="http://schemas.microsoft.com/office/drawing/2014/main" id="{F629747D-CB18-4762-B081-333159810D96}"/>
                  </a:ext>
                </a:extLst>
              </p:cNvPr>
              <p:cNvSpPr>
                <a:spLocks noEditPoints="1"/>
              </p:cNvSpPr>
              <p:nvPr/>
            </p:nvSpPr>
            <p:spPr bwMode="auto">
              <a:xfrm>
                <a:off x="4869388" y="1177003"/>
                <a:ext cx="89243" cy="89243"/>
              </a:xfrm>
              <a:custGeom>
                <a:avLst/>
                <a:gdLst>
                  <a:gd name="T0" fmla="*/ 779 w 780"/>
                  <a:gd name="T1" fmla="*/ 410 h 781"/>
                  <a:gd name="T2" fmla="*/ 772 w 780"/>
                  <a:gd name="T3" fmla="*/ 470 h 781"/>
                  <a:gd name="T4" fmla="*/ 756 w 780"/>
                  <a:gd name="T5" fmla="*/ 525 h 781"/>
                  <a:gd name="T6" fmla="*/ 733 w 780"/>
                  <a:gd name="T7" fmla="*/ 576 h 781"/>
                  <a:gd name="T8" fmla="*/ 702 w 780"/>
                  <a:gd name="T9" fmla="*/ 624 h 781"/>
                  <a:gd name="T10" fmla="*/ 665 w 780"/>
                  <a:gd name="T11" fmla="*/ 667 h 781"/>
                  <a:gd name="T12" fmla="*/ 623 w 780"/>
                  <a:gd name="T13" fmla="*/ 703 h 781"/>
                  <a:gd name="T14" fmla="*/ 575 w 780"/>
                  <a:gd name="T15" fmla="*/ 734 h 781"/>
                  <a:gd name="T16" fmla="*/ 523 w 780"/>
                  <a:gd name="T17" fmla="*/ 757 h 781"/>
                  <a:gd name="T18" fmla="*/ 469 w 780"/>
                  <a:gd name="T19" fmla="*/ 773 h 781"/>
                  <a:gd name="T20" fmla="*/ 409 w 780"/>
                  <a:gd name="T21" fmla="*/ 780 h 781"/>
                  <a:gd name="T22" fmla="*/ 369 w 780"/>
                  <a:gd name="T23" fmla="*/ 780 h 781"/>
                  <a:gd name="T24" fmla="*/ 311 w 780"/>
                  <a:gd name="T25" fmla="*/ 773 h 781"/>
                  <a:gd name="T26" fmla="*/ 256 w 780"/>
                  <a:gd name="T27" fmla="*/ 757 h 781"/>
                  <a:gd name="T28" fmla="*/ 203 w 780"/>
                  <a:gd name="T29" fmla="*/ 734 h 781"/>
                  <a:gd name="T30" fmla="*/ 156 w 780"/>
                  <a:gd name="T31" fmla="*/ 703 h 781"/>
                  <a:gd name="T32" fmla="*/ 114 w 780"/>
                  <a:gd name="T33" fmla="*/ 667 h 781"/>
                  <a:gd name="T34" fmla="*/ 77 w 780"/>
                  <a:gd name="T35" fmla="*/ 624 h 781"/>
                  <a:gd name="T36" fmla="*/ 46 w 780"/>
                  <a:gd name="T37" fmla="*/ 576 h 781"/>
                  <a:gd name="T38" fmla="*/ 24 w 780"/>
                  <a:gd name="T39" fmla="*/ 525 h 781"/>
                  <a:gd name="T40" fmla="*/ 8 w 780"/>
                  <a:gd name="T41" fmla="*/ 470 h 781"/>
                  <a:gd name="T42" fmla="*/ 0 w 780"/>
                  <a:gd name="T43" fmla="*/ 410 h 781"/>
                  <a:gd name="T44" fmla="*/ 0 w 780"/>
                  <a:gd name="T45" fmla="*/ 370 h 781"/>
                  <a:gd name="T46" fmla="*/ 8 w 780"/>
                  <a:gd name="T47" fmla="*/ 312 h 781"/>
                  <a:gd name="T48" fmla="*/ 24 w 780"/>
                  <a:gd name="T49" fmla="*/ 257 h 781"/>
                  <a:gd name="T50" fmla="*/ 46 w 780"/>
                  <a:gd name="T51" fmla="*/ 204 h 781"/>
                  <a:gd name="T52" fmla="*/ 77 w 780"/>
                  <a:gd name="T53" fmla="*/ 157 h 781"/>
                  <a:gd name="T54" fmla="*/ 114 w 780"/>
                  <a:gd name="T55" fmla="*/ 114 h 781"/>
                  <a:gd name="T56" fmla="*/ 156 w 780"/>
                  <a:gd name="T57" fmla="*/ 78 h 781"/>
                  <a:gd name="T58" fmla="*/ 203 w 780"/>
                  <a:gd name="T59" fmla="*/ 47 h 781"/>
                  <a:gd name="T60" fmla="*/ 256 w 780"/>
                  <a:gd name="T61" fmla="*/ 24 h 781"/>
                  <a:gd name="T62" fmla="*/ 311 w 780"/>
                  <a:gd name="T63" fmla="*/ 8 h 781"/>
                  <a:gd name="T64" fmla="*/ 369 w 780"/>
                  <a:gd name="T65" fmla="*/ 0 h 781"/>
                  <a:gd name="T66" fmla="*/ 409 w 780"/>
                  <a:gd name="T67" fmla="*/ 0 h 781"/>
                  <a:gd name="T68" fmla="*/ 469 w 780"/>
                  <a:gd name="T69" fmla="*/ 8 h 781"/>
                  <a:gd name="T70" fmla="*/ 523 w 780"/>
                  <a:gd name="T71" fmla="*/ 24 h 781"/>
                  <a:gd name="T72" fmla="*/ 575 w 780"/>
                  <a:gd name="T73" fmla="*/ 47 h 781"/>
                  <a:gd name="T74" fmla="*/ 623 w 780"/>
                  <a:gd name="T75" fmla="*/ 78 h 781"/>
                  <a:gd name="T76" fmla="*/ 665 w 780"/>
                  <a:gd name="T77" fmla="*/ 114 h 781"/>
                  <a:gd name="T78" fmla="*/ 702 w 780"/>
                  <a:gd name="T79" fmla="*/ 157 h 781"/>
                  <a:gd name="T80" fmla="*/ 733 w 780"/>
                  <a:gd name="T81" fmla="*/ 204 h 781"/>
                  <a:gd name="T82" fmla="*/ 756 w 780"/>
                  <a:gd name="T83" fmla="*/ 257 h 781"/>
                  <a:gd name="T84" fmla="*/ 772 w 780"/>
                  <a:gd name="T85" fmla="*/ 312 h 781"/>
                  <a:gd name="T86" fmla="*/ 779 w 780"/>
                  <a:gd name="T87" fmla="*/ 370 h 781"/>
                  <a:gd name="T88" fmla="*/ 780 w 780"/>
                  <a:gd name="T89" fmla="*/ 39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0" h="781">
                    <a:moveTo>
                      <a:pt x="780" y="391"/>
                    </a:moveTo>
                    <a:lnTo>
                      <a:pt x="780" y="391"/>
                    </a:lnTo>
                    <a:lnTo>
                      <a:pt x="779" y="410"/>
                    </a:lnTo>
                    <a:lnTo>
                      <a:pt x="777" y="431"/>
                    </a:lnTo>
                    <a:lnTo>
                      <a:pt x="775" y="450"/>
                    </a:lnTo>
                    <a:lnTo>
                      <a:pt x="772" y="470"/>
                    </a:lnTo>
                    <a:lnTo>
                      <a:pt x="767" y="488"/>
                    </a:lnTo>
                    <a:lnTo>
                      <a:pt x="761" y="506"/>
                    </a:lnTo>
                    <a:lnTo>
                      <a:pt x="756" y="525"/>
                    </a:lnTo>
                    <a:lnTo>
                      <a:pt x="749" y="543"/>
                    </a:lnTo>
                    <a:lnTo>
                      <a:pt x="741" y="560"/>
                    </a:lnTo>
                    <a:lnTo>
                      <a:pt x="733" y="576"/>
                    </a:lnTo>
                    <a:lnTo>
                      <a:pt x="722" y="593"/>
                    </a:lnTo>
                    <a:lnTo>
                      <a:pt x="712" y="608"/>
                    </a:lnTo>
                    <a:lnTo>
                      <a:pt x="702" y="624"/>
                    </a:lnTo>
                    <a:lnTo>
                      <a:pt x="690" y="639"/>
                    </a:lnTo>
                    <a:lnTo>
                      <a:pt x="678" y="653"/>
                    </a:lnTo>
                    <a:lnTo>
                      <a:pt x="665" y="667"/>
                    </a:lnTo>
                    <a:lnTo>
                      <a:pt x="652" y="679"/>
                    </a:lnTo>
                    <a:lnTo>
                      <a:pt x="638" y="692"/>
                    </a:lnTo>
                    <a:lnTo>
                      <a:pt x="623" y="703"/>
                    </a:lnTo>
                    <a:lnTo>
                      <a:pt x="607" y="715"/>
                    </a:lnTo>
                    <a:lnTo>
                      <a:pt x="592" y="724"/>
                    </a:lnTo>
                    <a:lnTo>
                      <a:pt x="575" y="734"/>
                    </a:lnTo>
                    <a:lnTo>
                      <a:pt x="559" y="742"/>
                    </a:lnTo>
                    <a:lnTo>
                      <a:pt x="542" y="750"/>
                    </a:lnTo>
                    <a:lnTo>
                      <a:pt x="523" y="757"/>
                    </a:lnTo>
                    <a:lnTo>
                      <a:pt x="505" y="763"/>
                    </a:lnTo>
                    <a:lnTo>
                      <a:pt x="487" y="769"/>
                    </a:lnTo>
                    <a:lnTo>
                      <a:pt x="469" y="773"/>
                    </a:lnTo>
                    <a:lnTo>
                      <a:pt x="449" y="777"/>
                    </a:lnTo>
                    <a:lnTo>
                      <a:pt x="430" y="779"/>
                    </a:lnTo>
                    <a:lnTo>
                      <a:pt x="409" y="780"/>
                    </a:lnTo>
                    <a:lnTo>
                      <a:pt x="390" y="781"/>
                    </a:lnTo>
                    <a:lnTo>
                      <a:pt x="390" y="781"/>
                    </a:lnTo>
                    <a:lnTo>
                      <a:pt x="369" y="780"/>
                    </a:lnTo>
                    <a:lnTo>
                      <a:pt x="350" y="779"/>
                    </a:lnTo>
                    <a:lnTo>
                      <a:pt x="330" y="777"/>
                    </a:lnTo>
                    <a:lnTo>
                      <a:pt x="311" y="773"/>
                    </a:lnTo>
                    <a:lnTo>
                      <a:pt x="292" y="769"/>
                    </a:lnTo>
                    <a:lnTo>
                      <a:pt x="273" y="763"/>
                    </a:lnTo>
                    <a:lnTo>
                      <a:pt x="256" y="757"/>
                    </a:lnTo>
                    <a:lnTo>
                      <a:pt x="237" y="750"/>
                    </a:lnTo>
                    <a:lnTo>
                      <a:pt x="220" y="742"/>
                    </a:lnTo>
                    <a:lnTo>
                      <a:pt x="203" y="734"/>
                    </a:lnTo>
                    <a:lnTo>
                      <a:pt x="187" y="724"/>
                    </a:lnTo>
                    <a:lnTo>
                      <a:pt x="171" y="715"/>
                    </a:lnTo>
                    <a:lnTo>
                      <a:pt x="156" y="703"/>
                    </a:lnTo>
                    <a:lnTo>
                      <a:pt x="141" y="692"/>
                    </a:lnTo>
                    <a:lnTo>
                      <a:pt x="128" y="679"/>
                    </a:lnTo>
                    <a:lnTo>
                      <a:pt x="114" y="667"/>
                    </a:lnTo>
                    <a:lnTo>
                      <a:pt x="100" y="653"/>
                    </a:lnTo>
                    <a:lnTo>
                      <a:pt x="89" y="639"/>
                    </a:lnTo>
                    <a:lnTo>
                      <a:pt x="77" y="624"/>
                    </a:lnTo>
                    <a:lnTo>
                      <a:pt x="66" y="608"/>
                    </a:lnTo>
                    <a:lnTo>
                      <a:pt x="56" y="593"/>
                    </a:lnTo>
                    <a:lnTo>
                      <a:pt x="46" y="576"/>
                    </a:lnTo>
                    <a:lnTo>
                      <a:pt x="37" y="560"/>
                    </a:lnTo>
                    <a:lnTo>
                      <a:pt x="30" y="543"/>
                    </a:lnTo>
                    <a:lnTo>
                      <a:pt x="24" y="525"/>
                    </a:lnTo>
                    <a:lnTo>
                      <a:pt x="17" y="506"/>
                    </a:lnTo>
                    <a:lnTo>
                      <a:pt x="12" y="488"/>
                    </a:lnTo>
                    <a:lnTo>
                      <a:pt x="8" y="470"/>
                    </a:lnTo>
                    <a:lnTo>
                      <a:pt x="4" y="450"/>
                    </a:lnTo>
                    <a:lnTo>
                      <a:pt x="2" y="431"/>
                    </a:lnTo>
                    <a:lnTo>
                      <a:pt x="0" y="410"/>
                    </a:lnTo>
                    <a:lnTo>
                      <a:pt x="0" y="391"/>
                    </a:lnTo>
                    <a:lnTo>
                      <a:pt x="0" y="391"/>
                    </a:lnTo>
                    <a:lnTo>
                      <a:pt x="0" y="370"/>
                    </a:lnTo>
                    <a:lnTo>
                      <a:pt x="2" y="350"/>
                    </a:lnTo>
                    <a:lnTo>
                      <a:pt x="4" y="331"/>
                    </a:lnTo>
                    <a:lnTo>
                      <a:pt x="8" y="312"/>
                    </a:lnTo>
                    <a:lnTo>
                      <a:pt x="12" y="293"/>
                    </a:lnTo>
                    <a:lnTo>
                      <a:pt x="17" y="274"/>
                    </a:lnTo>
                    <a:lnTo>
                      <a:pt x="24" y="257"/>
                    </a:lnTo>
                    <a:lnTo>
                      <a:pt x="30" y="238"/>
                    </a:lnTo>
                    <a:lnTo>
                      <a:pt x="37" y="221"/>
                    </a:lnTo>
                    <a:lnTo>
                      <a:pt x="46" y="204"/>
                    </a:lnTo>
                    <a:lnTo>
                      <a:pt x="56" y="188"/>
                    </a:lnTo>
                    <a:lnTo>
                      <a:pt x="66" y="172"/>
                    </a:lnTo>
                    <a:lnTo>
                      <a:pt x="77" y="157"/>
                    </a:lnTo>
                    <a:lnTo>
                      <a:pt x="89" y="142"/>
                    </a:lnTo>
                    <a:lnTo>
                      <a:pt x="100" y="128"/>
                    </a:lnTo>
                    <a:lnTo>
                      <a:pt x="114" y="114"/>
                    </a:lnTo>
                    <a:lnTo>
                      <a:pt x="128" y="101"/>
                    </a:lnTo>
                    <a:lnTo>
                      <a:pt x="141" y="89"/>
                    </a:lnTo>
                    <a:lnTo>
                      <a:pt x="156" y="78"/>
                    </a:lnTo>
                    <a:lnTo>
                      <a:pt x="171" y="66"/>
                    </a:lnTo>
                    <a:lnTo>
                      <a:pt x="187" y="56"/>
                    </a:lnTo>
                    <a:lnTo>
                      <a:pt x="203" y="47"/>
                    </a:lnTo>
                    <a:lnTo>
                      <a:pt x="220" y="39"/>
                    </a:lnTo>
                    <a:lnTo>
                      <a:pt x="237" y="31"/>
                    </a:lnTo>
                    <a:lnTo>
                      <a:pt x="256" y="24"/>
                    </a:lnTo>
                    <a:lnTo>
                      <a:pt x="273" y="17"/>
                    </a:lnTo>
                    <a:lnTo>
                      <a:pt x="292" y="13"/>
                    </a:lnTo>
                    <a:lnTo>
                      <a:pt x="311" y="8"/>
                    </a:lnTo>
                    <a:lnTo>
                      <a:pt x="330" y="4"/>
                    </a:lnTo>
                    <a:lnTo>
                      <a:pt x="350" y="2"/>
                    </a:lnTo>
                    <a:lnTo>
                      <a:pt x="369" y="0"/>
                    </a:lnTo>
                    <a:lnTo>
                      <a:pt x="390" y="0"/>
                    </a:lnTo>
                    <a:lnTo>
                      <a:pt x="390" y="0"/>
                    </a:lnTo>
                    <a:lnTo>
                      <a:pt x="409" y="0"/>
                    </a:lnTo>
                    <a:lnTo>
                      <a:pt x="430" y="2"/>
                    </a:lnTo>
                    <a:lnTo>
                      <a:pt x="449" y="4"/>
                    </a:lnTo>
                    <a:lnTo>
                      <a:pt x="469" y="8"/>
                    </a:lnTo>
                    <a:lnTo>
                      <a:pt x="487" y="13"/>
                    </a:lnTo>
                    <a:lnTo>
                      <a:pt x="505" y="17"/>
                    </a:lnTo>
                    <a:lnTo>
                      <a:pt x="523" y="24"/>
                    </a:lnTo>
                    <a:lnTo>
                      <a:pt x="542" y="31"/>
                    </a:lnTo>
                    <a:lnTo>
                      <a:pt x="559" y="39"/>
                    </a:lnTo>
                    <a:lnTo>
                      <a:pt x="575" y="47"/>
                    </a:lnTo>
                    <a:lnTo>
                      <a:pt x="592" y="56"/>
                    </a:lnTo>
                    <a:lnTo>
                      <a:pt x="607" y="66"/>
                    </a:lnTo>
                    <a:lnTo>
                      <a:pt x="623" y="78"/>
                    </a:lnTo>
                    <a:lnTo>
                      <a:pt x="638" y="89"/>
                    </a:lnTo>
                    <a:lnTo>
                      <a:pt x="652" y="101"/>
                    </a:lnTo>
                    <a:lnTo>
                      <a:pt x="665" y="114"/>
                    </a:lnTo>
                    <a:lnTo>
                      <a:pt x="678" y="128"/>
                    </a:lnTo>
                    <a:lnTo>
                      <a:pt x="690" y="142"/>
                    </a:lnTo>
                    <a:lnTo>
                      <a:pt x="702" y="157"/>
                    </a:lnTo>
                    <a:lnTo>
                      <a:pt x="712" y="172"/>
                    </a:lnTo>
                    <a:lnTo>
                      <a:pt x="722" y="188"/>
                    </a:lnTo>
                    <a:lnTo>
                      <a:pt x="733" y="204"/>
                    </a:lnTo>
                    <a:lnTo>
                      <a:pt x="741" y="221"/>
                    </a:lnTo>
                    <a:lnTo>
                      <a:pt x="749" y="238"/>
                    </a:lnTo>
                    <a:lnTo>
                      <a:pt x="756" y="257"/>
                    </a:lnTo>
                    <a:lnTo>
                      <a:pt x="761" y="274"/>
                    </a:lnTo>
                    <a:lnTo>
                      <a:pt x="767" y="293"/>
                    </a:lnTo>
                    <a:lnTo>
                      <a:pt x="772" y="312"/>
                    </a:lnTo>
                    <a:lnTo>
                      <a:pt x="775" y="331"/>
                    </a:lnTo>
                    <a:lnTo>
                      <a:pt x="777" y="350"/>
                    </a:lnTo>
                    <a:lnTo>
                      <a:pt x="779" y="370"/>
                    </a:lnTo>
                    <a:lnTo>
                      <a:pt x="780" y="391"/>
                    </a:lnTo>
                    <a:lnTo>
                      <a:pt x="780" y="391"/>
                    </a:lnTo>
                    <a:close/>
                    <a:moveTo>
                      <a:pt x="780" y="391"/>
                    </a:moveTo>
                    <a:lnTo>
                      <a:pt x="780" y="391"/>
                    </a:lnTo>
                    <a:close/>
                  </a:path>
                </a:pathLst>
              </a:custGeom>
              <a:solidFill>
                <a:srgbClr val="D9D9D9"/>
              </a:solidFill>
              <a:ln w="19050">
                <a:solidFill>
                  <a:schemeClr val="tx1">
                    <a:lumMod val="75000"/>
                    <a:lumOff val="25000"/>
                  </a:schemeClr>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05" name="Freeform 5">
                <a:extLst>
                  <a:ext uri="{FF2B5EF4-FFF2-40B4-BE49-F238E27FC236}">
                    <a16:creationId xmlns:a16="http://schemas.microsoft.com/office/drawing/2014/main" id="{F4302CE6-2926-4D0C-AFC1-2710BD82A3EA}"/>
                  </a:ext>
                </a:extLst>
              </p:cNvPr>
              <p:cNvSpPr>
                <a:spLocks noEditPoints="1"/>
              </p:cNvSpPr>
              <p:nvPr/>
            </p:nvSpPr>
            <p:spPr bwMode="auto">
              <a:xfrm>
                <a:off x="4480341" y="1177003"/>
                <a:ext cx="89243" cy="89243"/>
              </a:xfrm>
              <a:custGeom>
                <a:avLst/>
                <a:gdLst>
                  <a:gd name="T0" fmla="*/ 779 w 780"/>
                  <a:gd name="T1" fmla="*/ 410 h 781"/>
                  <a:gd name="T2" fmla="*/ 772 w 780"/>
                  <a:gd name="T3" fmla="*/ 470 h 781"/>
                  <a:gd name="T4" fmla="*/ 756 w 780"/>
                  <a:gd name="T5" fmla="*/ 525 h 781"/>
                  <a:gd name="T6" fmla="*/ 734 w 780"/>
                  <a:gd name="T7" fmla="*/ 576 h 781"/>
                  <a:gd name="T8" fmla="*/ 703 w 780"/>
                  <a:gd name="T9" fmla="*/ 624 h 781"/>
                  <a:gd name="T10" fmla="*/ 666 w 780"/>
                  <a:gd name="T11" fmla="*/ 667 h 781"/>
                  <a:gd name="T12" fmla="*/ 624 w 780"/>
                  <a:gd name="T13" fmla="*/ 703 h 781"/>
                  <a:gd name="T14" fmla="*/ 576 w 780"/>
                  <a:gd name="T15" fmla="*/ 734 h 781"/>
                  <a:gd name="T16" fmla="*/ 524 w 780"/>
                  <a:gd name="T17" fmla="*/ 757 h 781"/>
                  <a:gd name="T18" fmla="*/ 469 w 780"/>
                  <a:gd name="T19" fmla="*/ 773 h 781"/>
                  <a:gd name="T20" fmla="*/ 411 w 780"/>
                  <a:gd name="T21" fmla="*/ 780 h 781"/>
                  <a:gd name="T22" fmla="*/ 370 w 780"/>
                  <a:gd name="T23" fmla="*/ 780 h 781"/>
                  <a:gd name="T24" fmla="*/ 311 w 780"/>
                  <a:gd name="T25" fmla="*/ 773 h 781"/>
                  <a:gd name="T26" fmla="*/ 257 w 780"/>
                  <a:gd name="T27" fmla="*/ 757 h 781"/>
                  <a:gd name="T28" fmla="*/ 204 w 780"/>
                  <a:gd name="T29" fmla="*/ 734 h 781"/>
                  <a:gd name="T30" fmla="*/ 157 w 780"/>
                  <a:gd name="T31" fmla="*/ 703 h 781"/>
                  <a:gd name="T32" fmla="*/ 115 w 780"/>
                  <a:gd name="T33" fmla="*/ 667 h 781"/>
                  <a:gd name="T34" fmla="*/ 78 w 780"/>
                  <a:gd name="T35" fmla="*/ 624 h 781"/>
                  <a:gd name="T36" fmla="*/ 47 w 780"/>
                  <a:gd name="T37" fmla="*/ 576 h 781"/>
                  <a:gd name="T38" fmla="*/ 24 w 780"/>
                  <a:gd name="T39" fmla="*/ 525 h 781"/>
                  <a:gd name="T40" fmla="*/ 8 w 780"/>
                  <a:gd name="T41" fmla="*/ 470 h 781"/>
                  <a:gd name="T42" fmla="*/ 0 w 780"/>
                  <a:gd name="T43" fmla="*/ 410 h 781"/>
                  <a:gd name="T44" fmla="*/ 0 w 780"/>
                  <a:gd name="T45" fmla="*/ 370 h 781"/>
                  <a:gd name="T46" fmla="*/ 8 w 780"/>
                  <a:gd name="T47" fmla="*/ 312 h 781"/>
                  <a:gd name="T48" fmla="*/ 24 w 780"/>
                  <a:gd name="T49" fmla="*/ 257 h 781"/>
                  <a:gd name="T50" fmla="*/ 47 w 780"/>
                  <a:gd name="T51" fmla="*/ 204 h 781"/>
                  <a:gd name="T52" fmla="*/ 78 w 780"/>
                  <a:gd name="T53" fmla="*/ 157 h 781"/>
                  <a:gd name="T54" fmla="*/ 115 w 780"/>
                  <a:gd name="T55" fmla="*/ 114 h 781"/>
                  <a:gd name="T56" fmla="*/ 157 w 780"/>
                  <a:gd name="T57" fmla="*/ 78 h 781"/>
                  <a:gd name="T58" fmla="*/ 204 w 780"/>
                  <a:gd name="T59" fmla="*/ 47 h 781"/>
                  <a:gd name="T60" fmla="*/ 257 w 780"/>
                  <a:gd name="T61" fmla="*/ 24 h 781"/>
                  <a:gd name="T62" fmla="*/ 311 w 780"/>
                  <a:gd name="T63" fmla="*/ 8 h 781"/>
                  <a:gd name="T64" fmla="*/ 370 w 780"/>
                  <a:gd name="T65" fmla="*/ 0 h 781"/>
                  <a:gd name="T66" fmla="*/ 411 w 780"/>
                  <a:gd name="T67" fmla="*/ 0 h 781"/>
                  <a:gd name="T68" fmla="*/ 469 w 780"/>
                  <a:gd name="T69" fmla="*/ 8 h 781"/>
                  <a:gd name="T70" fmla="*/ 524 w 780"/>
                  <a:gd name="T71" fmla="*/ 24 h 781"/>
                  <a:gd name="T72" fmla="*/ 576 w 780"/>
                  <a:gd name="T73" fmla="*/ 47 h 781"/>
                  <a:gd name="T74" fmla="*/ 624 w 780"/>
                  <a:gd name="T75" fmla="*/ 78 h 781"/>
                  <a:gd name="T76" fmla="*/ 666 w 780"/>
                  <a:gd name="T77" fmla="*/ 114 h 781"/>
                  <a:gd name="T78" fmla="*/ 703 w 780"/>
                  <a:gd name="T79" fmla="*/ 157 h 781"/>
                  <a:gd name="T80" fmla="*/ 734 w 780"/>
                  <a:gd name="T81" fmla="*/ 204 h 781"/>
                  <a:gd name="T82" fmla="*/ 756 w 780"/>
                  <a:gd name="T83" fmla="*/ 257 h 781"/>
                  <a:gd name="T84" fmla="*/ 772 w 780"/>
                  <a:gd name="T85" fmla="*/ 312 h 781"/>
                  <a:gd name="T86" fmla="*/ 779 w 780"/>
                  <a:gd name="T87" fmla="*/ 370 h 781"/>
                  <a:gd name="T88" fmla="*/ 780 w 780"/>
                  <a:gd name="T89" fmla="*/ 39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0" h="781">
                    <a:moveTo>
                      <a:pt x="780" y="391"/>
                    </a:moveTo>
                    <a:lnTo>
                      <a:pt x="780" y="391"/>
                    </a:lnTo>
                    <a:lnTo>
                      <a:pt x="779" y="410"/>
                    </a:lnTo>
                    <a:lnTo>
                      <a:pt x="778" y="431"/>
                    </a:lnTo>
                    <a:lnTo>
                      <a:pt x="776" y="450"/>
                    </a:lnTo>
                    <a:lnTo>
                      <a:pt x="772" y="470"/>
                    </a:lnTo>
                    <a:lnTo>
                      <a:pt x="768" y="488"/>
                    </a:lnTo>
                    <a:lnTo>
                      <a:pt x="762" y="506"/>
                    </a:lnTo>
                    <a:lnTo>
                      <a:pt x="756" y="525"/>
                    </a:lnTo>
                    <a:lnTo>
                      <a:pt x="750" y="543"/>
                    </a:lnTo>
                    <a:lnTo>
                      <a:pt x="742" y="560"/>
                    </a:lnTo>
                    <a:lnTo>
                      <a:pt x="734" y="576"/>
                    </a:lnTo>
                    <a:lnTo>
                      <a:pt x="723" y="593"/>
                    </a:lnTo>
                    <a:lnTo>
                      <a:pt x="714" y="608"/>
                    </a:lnTo>
                    <a:lnTo>
                      <a:pt x="703" y="624"/>
                    </a:lnTo>
                    <a:lnTo>
                      <a:pt x="691" y="639"/>
                    </a:lnTo>
                    <a:lnTo>
                      <a:pt x="679" y="653"/>
                    </a:lnTo>
                    <a:lnTo>
                      <a:pt x="666" y="667"/>
                    </a:lnTo>
                    <a:lnTo>
                      <a:pt x="652" y="679"/>
                    </a:lnTo>
                    <a:lnTo>
                      <a:pt x="639" y="692"/>
                    </a:lnTo>
                    <a:lnTo>
                      <a:pt x="624" y="703"/>
                    </a:lnTo>
                    <a:lnTo>
                      <a:pt x="609" y="715"/>
                    </a:lnTo>
                    <a:lnTo>
                      <a:pt x="593" y="724"/>
                    </a:lnTo>
                    <a:lnTo>
                      <a:pt x="576" y="734"/>
                    </a:lnTo>
                    <a:lnTo>
                      <a:pt x="560" y="742"/>
                    </a:lnTo>
                    <a:lnTo>
                      <a:pt x="543" y="750"/>
                    </a:lnTo>
                    <a:lnTo>
                      <a:pt x="524" y="757"/>
                    </a:lnTo>
                    <a:lnTo>
                      <a:pt x="506" y="763"/>
                    </a:lnTo>
                    <a:lnTo>
                      <a:pt x="488" y="769"/>
                    </a:lnTo>
                    <a:lnTo>
                      <a:pt x="469" y="773"/>
                    </a:lnTo>
                    <a:lnTo>
                      <a:pt x="450" y="777"/>
                    </a:lnTo>
                    <a:lnTo>
                      <a:pt x="430" y="779"/>
                    </a:lnTo>
                    <a:lnTo>
                      <a:pt x="411" y="780"/>
                    </a:lnTo>
                    <a:lnTo>
                      <a:pt x="390" y="781"/>
                    </a:lnTo>
                    <a:lnTo>
                      <a:pt x="390" y="781"/>
                    </a:lnTo>
                    <a:lnTo>
                      <a:pt x="370" y="780"/>
                    </a:lnTo>
                    <a:lnTo>
                      <a:pt x="350" y="779"/>
                    </a:lnTo>
                    <a:lnTo>
                      <a:pt x="331" y="777"/>
                    </a:lnTo>
                    <a:lnTo>
                      <a:pt x="311" y="773"/>
                    </a:lnTo>
                    <a:lnTo>
                      <a:pt x="293" y="769"/>
                    </a:lnTo>
                    <a:lnTo>
                      <a:pt x="275" y="763"/>
                    </a:lnTo>
                    <a:lnTo>
                      <a:pt x="257" y="757"/>
                    </a:lnTo>
                    <a:lnTo>
                      <a:pt x="238" y="750"/>
                    </a:lnTo>
                    <a:lnTo>
                      <a:pt x="221" y="742"/>
                    </a:lnTo>
                    <a:lnTo>
                      <a:pt x="204" y="734"/>
                    </a:lnTo>
                    <a:lnTo>
                      <a:pt x="188" y="724"/>
                    </a:lnTo>
                    <a:lnTo>
                      <a:pt x="172" y="715"/>
                    </a:lnTo>
                    <a:lnTo>
                      <a:pt x="157" y="703"/>
                    </a:lnTo>
                    <a:lnTo>
                      <a:pt x="142" y="692"/>
                    </a:lnTo>
                    <a:lnTo>
                      <a:pt x="128" y="679"/>
                    </a:lnTo>
                    <a:lnTo>
                      <a:pt x="115" y="667"/>
                    </a:lnTo>
                    <a:lnTo>
                      <a:pt x="102" y="653"/>
                    </a:lnTo>
                    <a:lnTo>
                      <a:pt x="90" y="639"/>
                    </a:lnTo>
                    <a:lnTo>
                      <a:pt x="78" y="624"/>
                    </a:lnTo>
                    <a:lnTo>
                      <a:pt x="67" y="608"/>
                    </a:lnTo>
                    <a:lnTo>
                      <a:pt x="56" y="593"/>
                    </a:lnTo>
                    <a:lnTo>
                      <a:pt x="47" y="576"/>
                    </a:lnTo>
                    <a:lnTo>
                      <a:pt x="39" y="560"/>
                    </a:lnTo>
                    <a:lnTo>
                      <a:pt x="31" y="543"/>
                    </a:lnTo>
                    <a:lnTo>
                      <a:pt x="24" y="525"/>
                    </a:lnTo>
                    <a:lnTo>
                      <a:pt x="17" y="506"/>
                    </a:lnTo>
                    <a:lnTo>
                      <a:pt x="13" y="488"/>
                    </a:lnTo>
                    <a:lnTo>
                      <a:pt x="8" y="470"/>
                    </a:lnTo>
                    <a:lnTo>
                      <a:pt x="5" y="450"/>
                    </a:lnTo>
                    <a:lnTo>
                      <a:pt x="3" y="431"/>
                    </a:lnTo>
                    <a:lnTo>
                      <a:pt x="0" y="410"/>
                    </a:lnTo>
                    <a:lnTo>
                      <a:pt x="0" y="391"/>
                    </a:lnTo>
                    <a:lnTo>
                      <a:pt x="0" y="391"/>
                    </a:lnTo>
                    <a:lnTo>
                      <a:pt x="0" y="370"/>
                    </a:lnTo>
                    <a:lnTo>
                      <a:pt x="3" y="350"/>
                    </a:lnTo>
                    <a:lnTo>
                      <a:pt x="5" y="331"/>
                    </a:lnTo>
                    <a:lnTo>
                      <a:pt x="8" y="312"/>
                    </a:lnTo>
                    <a:lnTo>
                      <a:pt x="13" y="293"/>
                    </a:lnTo>
                    <a:lnTo>
                      <a:pt x="17" y="274"/>
                    </a:lnTo>
                    <a:lnTo>
                      <a:pt x="24" y="257"/>
                    </a:lnTo>
                    <a:lnTo>
                      <a:pt x="31" y="238"/>
                    </a:lnTo>
                    <a:lnTo>
                      <a:pt x="39" y="221"/>
                    </a:lnTo>
                    <a:lnTo>
                      <a:pt x="47" y="204"/>
                    </a:lnTo>
                    <a:lnTo>
                      <a:pt x="56" y="188"/>
                    </a:lnTo>
                    <a:lnTo>
                      <a:pt x="67" y="172"/>
                    </a:lnTo>
                    <a:lnTo>
                      <a:pt x="78" y="157"/>
                    </a:lnTo>
                    <a:lnTo>
                      <a:pt x="90" y="142"/>
                    </a:lnTo>
                    <a:lnTo>
                      <a:pt x="102" y="128"/>
                    </a:lnTo>
                    <a:lnTo>
                      <a:pt x="115" y="114"/>
                    </a:lnTo>
                    <a:lnTo>
                      <a:pt x="128" y="101"/>
                    </a:lnTo>
                    <a:lnTo>
                      <a:pt x="142" y="89"/>
                    </a:lnTo>
                    <a:lnTo>
                      <a:pt x="157" y="78"/>
                    </a:lnTo>
                    <a:lnTo>
                      <a:pt x="172" y="66"/>
                    </a:lnTo>
                    <a:lnTo>
                      <a:pt x="188" y="56"/>
                    </a:lnTo>
                    <a:lnTo>
                      <a:pt x="204" y="47"/>
                    </a:lnTo>
                    <a:lnTo>
                      <a:pt x="221" y="39"/>
                    </a:lnTo>
                    <a:lnTo>
                      <a:pt x="238" y="31"/>
                    </a:lnTo>
                    <a:lnTo>
                      <a:pt x="257" y="24"/>
                    </a:lnTo>
                    <a:lnTo>
                      <a:pt x="275" y="17"/>
                    </a:lnTo>
                    <a:lnTo>
                      <a:pt x="293" y="13"/>
                    </a:lnTo>
                    <a:lnTo>
                      <a:pt x="311" y="8"/>
                    </a:lnTo>
                    <a:lnTo>
                      <a:pt x="331" y="4"/>
                    </a:lnTo>
                    <a:lnTo>
                      <a:pt x="350" y="2"/>
                    </a:lnTo>
                    <a:lnTo>
                      <a:pt x="370" y="0"/>
                    </a:lnTo>
                    <a:lnTo>
                      <a:pt x="390" y="0"/>
                    </a:lnTo>
                    <a:lnTo>
                      <a:pt x="390" y="0"/>
                    </a:lnTo>
                    <a:lnTo>
                      <a:pt x="411" y="0"/>
                    </a:lnTo>
                    <a:lnTo>
                      <a:pt x="430" y="2"/>
                    </a:lnTo>
                    <a:lnTo>
                      <a:pt x="450" y="4"/>
                    </a:lnTo>
                    <a:lnTo>
                      <a:pt x="469" y="8"/>
                    </a:lnTo>
                    <a:lnTo>
                      <a:pt x="488" y="13"/>
                    </a:lnTo>
                    <a:lnTo>
                      <a:pt x="506" y="17"/>
                    </a:lnTo>
                    <a:lnTo>
                      <a:pt x="524" y="24"/>
                    </a:lnTo>
                    <a:lnTo>
                      <a:pt x="543" y="31"/>
                    </a:lnTo>
                    <a:lnTo>
                      <a:pt x="560" y="39"/>
                    </a:lnTo>
                    <a:lnTo>
                      <a:pt x="576" y="47"/>
                    </a:lnTo>
                    <a:lnTo>
                      <a:pt x="593" y="56"/>
                    </a:lnTo>
                    <a:lnTo>
                      <a:pt x="609" y="66"/>
                    </a:lnTo>
                    <a:lnTo>
                      <a:pt x="624" y="78"/>
                    </a:lnTo>
                    <a:lnTo>
                      <a:pt x="639" y="89"/>
                    </a:lnTo>
                    <a:lnTo>
                      <a:pt x="652" y="101"/>
                    </a:lnTo>
                    <a:lnTo>
                      <a:pt x="666" y="114"/>
                    </a:lnTo>
                    <a:lnTo>
                      <a:pt x="679" y="128"/>
                    </a:lnTo>
                    <a:lnTo>
                      <a:pt x="691" y="142"/>
                    </a:lnTo>
                    <a:lnTo>
                      <a:pt x="703" y="157"/>
                    </a:lnTo>
                    <a:lnTo>
                      <a:pt x="714" y="172"/>
                    </a:lnTo>
                    <a:lnTo>
                      <a:pt x="723" y="188"/>
                    </a:lnTo>
                    <a:lnTo>
                      <a:pt x="734" y="204"/>
                    </a:lnTo>
                    <a:lnTo>
                      <a:pt x="742" y="221"/>
                    </a:lnTo>
                    <a:lnTo>
                      <a:pt x="750" y="238"/>
                    </a:lnTo>
                    <a:lnTo>
                      <a:pt x="756" y="257"/>
                    </a:lnTo>
                    <a:lnTo>
                      <a:pt x="762" y="274"/>
                    </a:lnTo>
                    <a:lnTo>
                      <a:pt x="768" y="293"/>
                    </a:lnTo>
                    <a:lnTo>
                      <a:pt x="772" y="312"/>
                    </a:lnTo>
                    <a:lnTo>
                      <a:pt x="776" y="331"/>
                    </a:lnTo>
                    <a:lnTo>
                      <a:pt x="778" y="350"/>
                    </a:lnTo>
                    <a:lnTo>
                      <a:pt x="779" y="370"/>
                    </a:lnTo>
                    <a:lnTo>
                      <a:pt x="780" y="391"/>
                    </a:lnTo>
                    <a:lnTo>
                      <a:pt x="780" y="391"/>
                    </a:lnTo>
                    <a:close/>
                    <a:moveTo>
                      <a:pt x="780" y="391"/>
                    </a:moveTo>
                    <a:lnTo>
                      <a:pt x="780" y="391"/>
                    </a:lnTo>
                    <a:close/>
                  </a:path>
                </a:pathLst>
              </a:custGeom>
              <a:solidFill>
                <a:srgbClr val="D9D9D9"/>
              </a:solidFill>
              <a:ln w="19050">
                <a:solidFill>
                  <a:schemeClr val="tx1">
                    <a:lumMod val="75000"/>
                    <a:lumOff val="25000"/>
                  </a:schemeClr>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06" name="Line 7">
                <a:extLst>
                  <a:ext uri="{FF2B5EF4-FFF2-40B4-BE49-F238E27FC236}">
                    <a16:creationId xmlns:a16="http://schemas.microsoft.com/office/drawing/2014/main" id="{89194AEE-1DE2-442B-8F6A-E60ECEF7EA98}"/>
                  </a:ext>
                </a:extLst>
              </p:cNvPr>
              <p:cNvSpPr>
                <a:spLocks noChangeShapeType="1"/>
              </p:cNvSpPr>
              <p:nvPr/>
            </p:nvSpPr>
            <p:spPr bwMode="auto">
              <a:xfrm>
                <a:off x="4573982" y="1227428"/>
                <a:ext cx="0" cy="0"/>
              </a:xfrm>
              <a:prstGeom prst="line">
                <a:avLst/>
              </a:prstGeom>
              <a:noFill/>
              <a:ln w="15875">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07" name="Freeform 8">
                <a:extLst>
                  <a:ext uri="{FF2B5EF4-FFF2-40B4-BE49-F238E27FC236}">
                    <a16:creationId xmlns:a16="http://schemas.microsoft.com/office/drawing/2014/main" id="{7CA7C1F3-562E-495A-983E-8B0CADA3E922}"/>
                  </a:ext>
                </a:extLst>
              </p:cNvPr>
              <p:cNvSpPr>
                <a:spLocks/>
              </p:cNvSpPr>
              <p:nvPr/>
            </p:nvSpPr>
            <p:spPr bwMode="auto">
              <a:xfrm>
                <a:off x="4490367" y="1287728"/>
                <a:ext cx="82811" cy="329636"/>
              </a:xfrm>
              <a:custGeom>
                <a:avLst/>
                <a:gdLst>
                  <a:gd name="T0" fmla="*/ 702 w 721"/>
                  <a:gd name="T1" fmla="*/ 204 h 2869"/>
                  <a:gd name="T2" fmla="*/ 674 w 721"/>
                  <a:gd name="T3" fmla="*/ 147 h 2869"/>
                  <a:gd name="T4" fmla="*/ 629 w 721"/>
                  <a:gd name="T5" fmla="*/ 98 h 2869"/>
                  <a:gd name="T6" fmla="*/ 574 w 721"/>
                  <a:gd name="T7" fmla="*/ 59 h 2869"/>
                  <a:gd name="T8" fmla="*/ 514 w 721"/>
                  <a:gd name="T9" fmla="*/ 31 h 2869"/>
                  <a:gd name="T10" fmla="*/ 453 w 721"/>
                  <a:gd name="T11" fmla="*/ 11 h 2869"/>
                  <a:gd name="T12" fmla="*/ 427 w 721"/>
                  <a:gd name="T13" fmla="*/ 4 h 2869"/>
                  <a:gd name="T14" fmla="*/ 368 w 721"/>
                  <a:gd name="T15" fmla="*/ 0 h 2869"/>
                  <a:gd name="T16" fmla="*/ 308 w 721"/>
                  <a:gd name="T17" fmla="*/ 4 h 2869"/>
                  <a:gd name="T18" fmla="*/ 278 w 721"/>
                  <a:gd name="T19" fmla="*/ 9 h 2869"/>
                  <a:gd name="T20" fmla="*/ 205 w 721"/>
                  <a:gd name="T21" fmla="*/ 35 h 2869"/>
                  <a:gd name="T22" fmla="*/ 135 w 721"/>
                  <a:gd name="T23" fmla="*/ 75 h 2869"/>
                  <a:gd name="T24" fmla="*/ 74 w 721"/>
                  <a:gd name="T25" fmla="*/ 129 h 2869"/>
                  <a:gd name="T26" fmla="*/ 30 w 721"/>
                  <a:gd name="T27" fmla="*/ 198 h 2869"/>
                  <a:gd name="T28" fmla="*/ 16 w 721"/>
                  <a:gd name="T29" fmla="*/ 237 h 2869"/>
                  <a:gd name="T30" fmla="*/ 8 w 721"/>
                  <a:gd name="T31" fmla="*/ 278 h 2869"/>
                  <a:gd name="T32" fmla="*/ 0 w 721"/>
                  <a:gd name="T33" fmla="*/ 1170 h 2869"/>
                  <a:gd name="T34" fmla="*/ 2 w 721"/>
                  <a:gd name="T35" fmla="*/ 1205 h 2869"/>
                  <a:gd name="T36" fmla="*/ 14 w 721"/>
                  <a:gd name="T37" fmla="*/ 1254 h 2869"/>
                  <a:gd name="T38" fmla="*/ 33 w 721"/>
                  <a:gd name="T39" fmla="*/ 1300 h 2869"/>
                  <a:gd name="T40" fmla="*/ 61 w 721"/>
                  <a:gd name="T41" fmla="*/ 1340 h 2869"/>
                  <a:gd name="T42" fmla="*/ 95 w 721"/>
                  <a:gd name="T43" fmla="*/ 1377 h 2869"/>
                  <a:gd name="T44" fmla="*/ 121 w 721"/>
                  <a:gd name="T45" fmla="*/ 2639 h 2869"/>
                  <a:gd name="T46" fmla="*/ 121 w 721"/>
                  <a:gd name="T47" fmla="*/ 2682 h 2869"/>
                  <a:gd name="T48" fmla="*/ 136 w 721"/>
                  <a:gd name="T49" fmla="*/ 2740 h 2869"/>
                  <a:gd name="T50" fmla="*/ 166 w 721"/>
                  <a:gd name="T51" fmla="*/ 2792 h 2869"/>
                  <a:gd name="T52" fmla="*/ 209 w 721"/>
                  <a:gd name="T53" fmla="*/ 2832 h 2869"/>
                  <a:gd name="T54" fmla="*/ 263 w 721"/>
                  <a:gd name="T55" fmla="*/ 2859 h 2869"/>
                  <a:gd name="T56" fmla="*/ 304 w 721"/>
                  <a:gd name="T57" fmla="*/ 2867 h 2869"/>
                  <a:gd name="T58" fmla="*/ 347 w 721"/>
                  <a:gd name="T59" fmla="*/ 2869 h 2869"/>
                  <a:gd name="T60" fmla="*/ 405 w 721"/>
                  <a:gd name="T61" fmla="*/ 2854 h 2869"/>
                  <a:gd name="T62" fmla="*/ 456 w 721"/>
                  <a:gd name="T63" fmla="*/ 2824 h 2869"/>
                  <a:gd name="T64" fmla="*/ 496 w 721"/>
                  <a:gd name="T65" fmla="*/ 2780 h 2869"/>
                  <a:gd name="T66" fmla="*/ 524 w 721"/>
                  <a:gd name="T67" fmla="*/ 2725 h 2869"/>
                  <a:gd name="T68" fmla="*/ 532 w 721"/>
                  <a:gd name="T69" fmla="*/ 1438 h 2869"/>
                  <a:gd name="T70" fmla="*/ 568 w 721"/>
                  <a:gd name="T71" fmla="*/ 1418 h 2869"/>
                  <a:gd name="T72" fmla="*/ 619 w 721"/>
                  <a:gd name="T73" fmla="*/ 1382 h 2869"/>
                  <a:gd name="T74" fmla="*/ 661 w 721"/>
                  <a:gd name="T75" fmla="*/ 1336 h 2869"/>
                  <a:gd name="T76" fmla="*/ 693 w 721"/>
                  <a:gd name="T77" fmla="*/ 1282 h 2869"/>
                  <a:gd name="T78" fmla="*/ 711 w 721"/>
                  <a:gd name="T79" fmla="*/ 1220 h 2869"/>
                  <a:gd name="T80" fmla="*/ 716 w 721"/>
                  <a:gd name="T81" fmla="*/ 1174 h 2869"/>
                  <a:gd name="T82" fmla="*/ 721 w 721"/>
                  <a:gd name="T83" fmla="*/ 609 h 2869"/>
                  <a:gd name="T84" fmla="*/ 719 w 721"/>
                  <a:gd name="T85" fmla="*/ 498 h 2869"/>
                  <a:gd name="T86" fmla="*/ 714 w 721"/>
                  <a:gd name="T87" fmla="*/ 306 h 2869"/>
                  <a:gd name="T88" fmla="*/ 707 w 721"/>
                  <a:gd name="T89" fmla="*/ 226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1" h="2869">
                    <a:moveTo>
                      <a:pt x="707" y="226"/>
                    </a:moveTo>
                    <a:lnTo>
                      <a:pt x="707" y="226"/>
                    </a:lnTo>
                    <a:lnTo>
                      <a:pt x="702" y="204"/>
                    </a:lnTo>
                    <a:lnTo>
                      <a:pt x="694" y="183"/>
                    </a:lnTo>
                    <a:lnTo>
                      <a:pt x="685" y="164"/>
                    </a:lnTo>
                    <a:lnTo>
                      <a:pt x="674" y="147"/>
                    </a:lnTo>
                    <a:lnTo>
                      <a:pt x="661" y="129"/>
                    </a:lnTo>
                    <a:lnTo>
                      <a:pt x="646" y="113"/>
                    </a:lnTo>
                    <a:lnTo>
                      <a:pt x="629" y="98"/>
                    </a:lnTo>
                    <a:lnTo>
                      <a:pt x="612" y="85"/>
                    </a:lnTo>
                    <a:lnTo>
                      <a:pt x="594" y="71"/>
                    </a:lnTo>
                    <a:lnTo>
                      <a:pt x="574" y="59"/>
                    </a:lnTo>
                    <a:lnTo>
                      <a:pt x="555" y="49"/>
                    </a:lnTo>
                    <a:lnTo>
                      <a:pt x="534" y="39"/>
                    </a:lnTo>
                    <a:lnTo>
                      <a:pt x="514" y="31"/>
                    </a:lnTo>
                    <a:lnTo>
                      <a:pt x="493" y="23"/>
                    </a:lnTo>
                    <a:lnTo>
                      <a:pt x="472" y="17"/>
                    </a:lnTo>
                    <a:lnTo>
                      <a:pt x="453" y="11"/>
                    </a:lnTo>
                    <a:lnTo>
                      <a:pt x="453" y="11"/>
                    </a:lnTo>
                    <a:lnTo>
                      <a:pt x="445" y="9"/>
                    </a:lnTo>
                    <a:lnTo>
                      <a:pt x="427" y="4"/>
                    </a:lnTo>
                    <a:lnTo>
                      <a:pt x="399" y="1"/>
                    </a:lnTo>
                    <a:lnTo>
                      <a:pt x="384" y="0"/>
                    </a:lnTo>
                    <a:lnTo>
                      <a:pt x="368" y="0"/>
                    </a:lnTo>
                    <a:lnTo>
                      <a:pt x="368" y="0"/>
                    </a:lnTo>
                    <a:lnTo>
                      <a:pt x="336" y="1"/>
                    </a:lnTo>
                    <a:lnTo>
                      <a:pt x="308" y="4"/>
                    </a:lnTo>
                    <a:lnTo>
                      <a:pt x="279" y="9"/>
                    </a:lnTo>
                    <a:lnTo>
                      <a:pt x="278" y="9"/>
                    </a:lnTo>
                    <a:lnTo>
                      <a:pt x="278" y="9"/>
                    </a:lnTo>
                    <a:lnTo>
                      <a:pt x="254" y="16"/>
                    </a:lnTo>
                    <a:lnTo>
                      <a:pt x="229" y="25"/>
                    </a:lnTo>
                    <a:lnTo>
                      <a:pt x="205" y="35"/>
                    </a:lnTo>
                    <a:lnTo>
                      <a:pt x="181" y="47"/>
                    </a:lnTo>
                    <a:lnTo>
                      <a:pt x="157" y="61"/>
                    </a:lnTo>
                    <a:lnTo>
                      <a:pt x="135" y="75"/>
                    </a:lnTo>
                    <a:lnTo>
                      <a:pt x="113" y="92"/>
                    </a:lnTo>
                    <a:lnTo>
                      <a:pt x="93" y="110"/>
                    </a:lnTo>
                    <a:lnTo>
                      <a:pt x="74" y="129"/>
                    </a:lnTo>
                    <a:lnTo>
                      <a:pt x="57" y="151"/>
                    </a:lnTo>
                    <a:lnTo>
                      <a:pt x="42" y="174"/>
                    </a:lnTo>
                    <a:lnTo>
                      <a:pt x="30" y="198"/>
                    </a:lnTo>
                    <a:lnTo>
                      <a:pt x="25" y="211"/>
                    </a:lnTo>
                    <a:lnTo>
                      <a:pt x="19" y="223"/>
                    </a:lnTo>
                    <a:lnTo>
                      <a:pt x="16" y="237"/>
                    </a:lnTo>
                    <a:lnTo>
                      <a:pt x="13" y="250"/>
                    </a:lnTo>
                    <a:lnTo>
                      <a:pt x="9" y="265"/>
                    </a:lnTo>
                    <a:lnTo>
                      <a:pt x="8" y="278"/>
                    </a:lnTo>
                    <a:lnTo>
                      <a:pt x="6" y="293"/>
                    </a:lnTo>
                    <a:lnTo>
                      <a:pt x="6" y="308"/>
                    </a:lnTo>
                    <a:lnTo>
                      <a:pt x="0" y="1170"/>
                    </a:lnTo>
                    <a:lnTo>
                      <a:pt x="0" y="1170"/>
                    </a:lnTo>
                    <a:lnTo>
                      <a:pt x="1" y="1188"/>
                    </a:lnTo>
                    <a:lnTo>
                      <a:pt x="2" y="1205"/>
                    </a:lnTo>
                    <a:lnTo>
                      <a:pt x="5" y="1222"/>
                    </a:lnTo>
                    <a:lnTo>
                      <a:pt x="9" y="1238"/>
                    </a:lnTo>
                    <a:lnTo>
                      <a:pt x="14" y="1254"/>
                    </a:lnTo>
                    <a:lnTo>
                      <a:pt x="19" y="1270"/>
                    </a:lnTo>
                    <a:lnTo>
                      <a:pt x="26" y="1285"/>
                    </a:lnTo>
                    <a:lnTo>
                      <a:pt x="33" y="1300"/>
                    </a:lnTo>
                    <a:lnTo>
                      <a:pt x="42" y="1314"/>
                    </a:lnTo>
                    <a:lnTo>
                      <a:pt x="51" y="1328"/>
                    </a:lnTo>
                    <a:lnTo>
                      <a:pt x="61" y="1340"/>
                    </a:lnTo>
                    <a:lnTo>
                      <a:pt x="71" y="1353"/>
                    </a:lnTo>
                    <a:lnTo>
                      <a:pt x="82" y="1366"/>
                    </a:lnTo>
                    <a:lnTo>
                      <a:pt x="95" y="1377"/>
                    </a:lnTo>
                    <a:lnTo>
                      <a:pt x="107" y="1387"/>
                    </a:lnTo>
                    <a:lnTo>
                      <a:pt x="120" y="1398"/>
                    </a:lnTo>
                    <a:lnTo>
                      <a:pt x="121" y="2639"/>
                    </a:lnTo>
                    <a:lnTo>
                      <a:pt x="121" y="2639"/>
                    </a:lnTo>
                    <a:lnTo>
                      <a:pt x="120" y="2661"/>
                    </a:lnTo>
                    <a:lnTo>
                      <a:pt x="121" y="2682"/>
                    </a:lnTo>
                    <a:lnTo>
                      <a:pt x="123" y="2701"/>
                    </a:lnTo>
                    <a:lnTo>
                      <a:pt x="129" y="2722"/>
                    </a:lnTo>
                    <a:lnTo>
                      <a:pt x="136" y="2740"/>
                    </a:lnTo>
                    <a:lnTo>
                      <a:pt x="144" y="2759"/>
                    </a:lnTo>
                    <a:lnTo>
                      <a:pt x="154" y="2776"/>
                    </a:lnTo>
                    <a:lnTo>
                      <a:pt x="166" y="2792"/>
                    </a:lnTo>
                    <a:lnTo>
                      <a:pt x="178" y="2807"/>
                    </a:lnTo>
                    <a:lnTo>
                      <a:pt x="193" y="2821"/>
                    </a:lnTo>
                    <a:lnTo>
                      <a:pt x="209" y="2832"/>
                    </a:lnTo>
                    <a:lnTo>
                      <a:pt x="226" y="2842"/>
                    </a:lnTo>
                    <a:lnTo>
                      <a:pt x="245" y="2851"/>
                    </a:lnTo>
                    <a:lnTo>
                      <a:pt x="263" y="2859"/>
                    </a:lnTo>
                    <a:lnTo>
                      <a:pt x="284" y="2864"/>
                    </a:lnTo>
                    <a:lnTo>
                      <a:pt x="304" y="2867"/>
                    </a:lnTo>
                    <a:lnTo>
                      <a:pt x="304" y="2867"/>
                    </a:lnTo>
                    <a:lnTo>
                      <a:pt x="304" y="2867"/>
                    </a:lnTo>
                    <a:lnTo>
                      <a:pt x="326" y="2869"/>
                    </a:lnTo>
                    <a:lnTo>
                      <a:pt x="347" y="2869"/>
                    </a:lnTo>
                    <a:lnTo>
                      <a:pt x="366" y="2865"/>
                    </a:lnTo>
                    <a:lnTo>
                      <a:pt x="387" y="2861"/>
                    </a:lnTo>
                    <a:lnTo>
                      <a:pt x="405" y="2854"/>
                    </a:lnTo>
                    <a:lnTo>
                      <a:pt x="423" y="2846"/>
                    </a:lnTo>
                    <a:lnTo>
                      <a:pt x="440" y="2835"/>
                    </a:lnTo>
                    <a:lnTo>
                      <a:pt x="456" y="2824"/>
                    </a:lnTo>
                    <a:lnTo>
                      <a:pt x="471" y="2810"/>
                    </a:lnTo>
                    <a:lnTo>
                      <a:pt x="485" y="2795"/>
                    </a:lnTo>
                    <a:lnTo>
                      <a:pt x="496" y="2780"/>
                    </a:lnTo>
                    <a:lnTo>
                      <a:pt x="507" y="2763"/>
                    </a:lnTo>
                    <a:lnTo>
                      <a:pt x="516" y="2745"/>
                    </a:lnTo>
                    <a:lnTo>
                      <a:pt x="524" y="2725"/>
                    </a:lnTo>
                    <a:lnTo>
                      <a:pt x="528" y="2706"/>
                    </a:lnTo>
                    <a:lnTo>
                      <a:pt x="532" y="2685"/>
                    </a:lnTo>
                    <a:lnTo>
                      <a:pt x="532" y="1438"/>
                    </a:lnTo>
                    <a:lnTo>
                      <a:pt x="532" y="1438"/>
                    </a:lnTo>
                    <a:lnTo>
                      <a:pt x="550" y="1429"/>
                    </a:lnTo>
                    <a:lnTo>
                      <a:pt x="568" y="1418"/>
                    </a:lnTo>
                    <a:lnTo>
                      <a:pt x="586" y="1407"/>
                    </a:lnTo>
                    <a:lnTo>
                      <a:pt x="603" y="1394"/>
                    </a:lnTo>
                    <a:lnTo>
                      <a:pt x="619" y="1382"/>
                    </a:lnTo>
                    <a:lnTo>
                      <a:pt x="634" y="1368"/>
                    </a:lnTo>
                    <a:lnTo>
                      <a:pt x="647" y="1352"/>
                    </a:lnTo>
                    <a:lnTo>
                      <a:pt x="661" y="1336"/>
                    </a:lnTo>
                    <a:lnTo>
                      <a:pt x="673" y="1320"/>
                    </a:lnTo>
                    <a:lnTo>
                      <a:pt x="684" y="1301"/>
                    </a:lnTo>
                    <a:lnTo>
                      <a:pt x="693" y="1282"/>
                    </a:lnTo>
                    <a:lnTo>
                      <a:pt x="701" y="1262"/>
                    </a:lnTo>
                    <a:lnTo>
                      <a:pt x="707" y="1242"/>
                    </a:lnTo>
                    <a:lnTo>
                      <a:pt x="711" y="1220"/>
                    </a:lnTo>
                    <a:lnTo>
                      <a:pt x="715" y="1198"/>
                    </a:lnTo>
                    <a:lnTo>
                      <a:pt x="716" y="1174"/>
                    </a:lnTo>
                    <a:lnTo>
                      <a:pt x="716" y="1174"/>
                    </a:lnTo>
                    <a:lnTo>
                      <a:pt x="719" y="915"/>
                    </a:lnTo>
                    <a:lnTo>
                      <a:pt x="721" y="703"/>
                    </a:lnTo>
                    <a:lnTo>
                      <a:pt x="721" y="609"/>
                    </a:lnTo>
                    <a:lnTo>
                      <a:pt x="719" y="536"/>
                    </a:lnTo>
                    <a:lnTo>
                      <a:pt x="719" y="536"/>
                    </a:lnTo>
                    <a:lnTo>
                      <a:pt x="719" y="498"/>
                    </a:lnTo>
                    <a:lnTo>
                      <a:pt x="718" y="409"/>
                    </a:lnTo>
                    <a:lnTo>
                      <a:pt x="716" y="357"/>
                    </a:lnTo>
                    <a:lnTo>
                      <a:pt x="714" y="306"/>
                    </a:lnTo>
                    <a:lnTo>
                      <a:pt x="711" y="261"/>
                    </a:lnTo>
                    <a:lnTo>
                      <a:pt x="707" y="226"/>
                    </a:lnTo>
                    <a:lnTo>
                      <a:pt x="707" y="226"/>
                    </a:lnTo>
                    <a:close/>
                  </a:path>
                </a:pathLst>
              </a:custGeom>
              <a:solidFill>
                <a:srgbClr val="D9D9D9"/>
              </a:solidFill>
              <a:ln w="19050">
                <a:solidFill>
                  <a:schemeClr val="tx1">
                    <a:lumMod val="75000"/>
                    <a:lumOff val="25000"/>
                  </a:schemeClr>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08" name="Line 11">
                <a:extLst>
                  <a:ext uri="{FF2B5EF4-FFF2-40B4-BE49-F238E27FC236}">
                    <a16:creationId xmlns:a16="http://schemas.microsoft.com/office/drawing/2014/main" id="{B436F48C-5003-441D-93F6-0C7FA22A3A85}"/>
                  </a:ext>
                </a:extLst>
              </p:cNvPr>
              <p:cNvSpPr>
                <a:spLocks noChangeShapeType="1"/>
              </p:cNvSpPr>
              <p:nvPr/>
            </p:nvSpPr>
            <p:spPr bwMode="auto">
              <a:xfrm>
                <a:off x="4962309" y="1227428"/>
                <a:ext cx="0" cy="0"/>
              </a:xfrm>
              <a:prstGeom prst="line">
                <a:avLst/>
              </a:prstGeom>
              <a:noFill/>
              <a:ln w="15875">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09" name="Freeform 12">
                <a:extLst>
                  <a:ext uri="{FF2B5EF4-FFF2-40B4-BE49-F238E27FC236}">
                    <a16:creationId xmlns:a16="http://schemas.microsoft.com/office/drawing/2014/main" id="{69A73D5F-7E82-448D-B8AD-44FC0BDDC754}"/>
                  </a:ext>
                </a:extLst>
              </p:cNvPr>
              <p:cNvSpPr>
                <a:spLocks/>
              </p:cNvSpPr>
              <p:nvPr/>
            </p:nvSpPr>
            <p:spPr bwMode="auto">
              <a:xfrm>
                <a:off x="4878694" y="1287728"/>
                <a:ext cx="82811" cy="329636"/>
              </a:xfrm>
              <a:custGeom>
                <a:avLst/>
                <a:gdLst>
                  <a:gd name="T0" fmla="*/ 703 w 721"/>
                  <a:gd name="T1" fmla="*/ 204 h 2869"/>
                  <a:gd name="T2" fmla="*/ 674 w 721"/>
                  <a:gd name="T3" fmla="*/ 147 h 2869"/>
                  <a:gd name="T4" fmla="*/ 629 w 721"/>
                  <a:gd name="T5" fmla="*/ 98 h 2869"/>
                  <a:gd name="T6" fmla="*/ 574 w 721"/>
                  <a:gd name="T7" fmla="*/ 59 h 2869"/>
                  <a:gd name="T8" fmla="*/ 514 w 721"/>
                  <a:gd name="T9" fmla="*/ 31 h 2869"/>
                  <a:gd name="T10" fmla="*/ 453 w 721"/>
                  <a:gd name="T11" fmla="*/ 11 h 2869"/>
                  <a:gd name="T12" fmla="*/ 427 w 721"/>
                  <a:gd name="T13" fmla="*/ 4 h 2869"/>
                  <a:gd name="T14" fmla="*/ 368 w 721"/>
                  <a:gd name="T15" fmla="*/ 0 h 2869"/>
                  <a:gd name="T16" fmla="*/ 308 w 721"/>
                  <a:gd name="T17" fmla="*/ 4 h 2869"/>
                  <a:gd name="T18" fmla="*/ 278 w 721"/>
                  <a:gd name="T19" fmla="*/ 9 h 2869"/>
                  <a:gd name="T20" fmla="*/ 205 w 721"/>
                  <a:gd name="T21" fmla="*/ 35 h 2869"/>
                  <a:gd name="T22" fmla="*/ 135 w 721"/>
                  <a:gd name="T23" fmla="*/ 75 h 2869"/>
                  <a:gd name="T24" fmla="*/ 74 w 721"/>
                  <a:gd name="T25" fmla="*/ 129 h 2869"/>
                  <a:gd name="T26" fmla="*/ 30 w 721"/>
                  <a:gd name="T27" fmla="*/ 198 h 2869"/>
                  <a:gd name="T28" fmla="*/ 16 w 721"/>
                  <a:gd name="T29" fmla="*/ 237 h 2869"/>
                  <a:gd name="T30" fmla="*/ 7 w 721"/>
                  <a:gd name="T31" fmla="*/ 278 h 2869"/>
                  <a:gd name="T32" fmla="*/ 0 w 721"/>
                  <a:gd name="T33" fmla="*/ 1170 h 2869"/>
                  <a:gd name="T34" fmla="*/ 2 w 721"/>
                  <a:gd name="T35" fmla="*/ 1205 h 2869"/>
                  <a:gd name="T36" fmla="*/ 14 w 721"/>
                  <a:gd name="T37" fmla="*/ 1254 h 2869"/>
                  <a:gd name="T38" fmla="*/ 33 w 721"/>
                  <a:gd name="T39" fmla="*/ 1300 h 2869"/>
                  <a:gd name="T40" fmla="*/ 61 w 721"/>
                  <a:gd name="T41" fmla="*/ 1340 h 2869"/>
                  <a:gd name="T42" fmla="*/ 95 w 721"/>
                  <a:gd name="T43" fmla="*/ 1377 h 2869"/>
                  <a:gd name="T44" fmla="*/ 121 w 721"/>
                  <a:gd name="T45" fmla="*/ 2639 h 2869"/>
                  <a:gd name="T46" fmla="*/ 121 w 721"/>
                  <a:gd name="T47" fmla="*/ 2682 h 2869"/>
                  <a:gd name="T48" fmla="*/ 135 w 721"/>
                  <a:gd name="T49" fmla="*/ 2740 h 2869"/>
                  <a:gd name="T50" fmla="*/ 166 w 721"/>
                  <a:gd name="T51" fmla="*/ 2792 h 2869"/>
                  <a:gd name="T52" fmla="*/ 209 w 721"/>
                  <a:gd name="T53" fmla="*/ 2832 h 2869"/>
                  <a:gd name="T54" fmla="*/ 263 w 721"/>
                  <a:gd name="T55" fmla="*/ 2859 h 2869"/>
                  <a:gd name="T56" fmla="*/ 304 w 721"/>
                  <a:gd name="T57" fmla="*/ 2867 h 2869"/>
                  <a:gd name="T58" fmla="*/ 347 w 721"/>
                  <a:gd name="T59" fmla="*/ 2869 h 2869"/>
                  <a:gd name="T60" fmla="*/ 405 w 721"/>
                  <a:gd name="T61" fmla="*/ 2854 h 2869"/>
                  <a:gd name="T62" fmla="*/ 457 w 721"/>
                  <a:gd name="T63" fmla="*/ 2824 h 2869"/>
                  <a:gd name="T64" fmla="*/ 497 w 721"/>
                  <a:gd name="T65" fmla="*/ 2780 h 2869"/>
                  <a:gd name="T66" fmla="*/ 523 w 721"/>
                  <a:gd name="T67" fmla="*/ 2725 h 2869"/>
                  <a:gd name="T68" fmla="*/ 532 w 721"/>
                  <a:gd name="T69" fmla="*/ 1438 h 2869"/>
                  <a:gd name="T70" fmla="*/ 569 w 721"/>
                  <a:gd name="T71" fmla="*/ 1418 h 2869"/>
                  <a:gd name="T72" fmla="*/ 619 w 721"/>
                  <a:gd name="T73" fmla="*/ 1382 h 2869"/>
                  <a:gd name="T74" fmla="*/ 661 w 721"/>
                  <a:gd name="T75" fmla="*/ 1336 h 2869"/>
                  <a:gd name="T76" fmla="*/ 693 w 721"/>
                  <a:gd name="T77" fmla="*/ 1282 h 2869"/>
                  <a:gd name="T78" fmla="*/ 712 w 721"/>
                  <a:gd name="T79" fmla="*/ 1220 h 2869"/>
                  <a:gd name="T80" fmla="*/ 716 w 721"/>
                  <a:gd name="T81" fmla="*/ 1174 h 2869"/>
                  <a:gd name="T82" fmla="*/ 721 w 721"/>
                  <a:gd name="T83" fmla="*/ 609 h 2869"/>
                  <a:gd name="T84" fmla="*/ 720 w 721"/>
                  <a:gd name="T85" fmla="*/ 498 h 2869"/>
                  <a:gd name="T86" fmla="*/ 714 w 721"/>
                  <a:gd name="T87" fmla="*/ 306 h 2869"/>
                  <a:gd name="T88" fmla="*/ 707 w 721"/>
                  <a:gd name="T89" fmla="*/ 226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1" h="2869">
                    <a:moveTo>
                      <a:pt x="707" y="226"/>
                    </a:moveTo>
                    <a:lnTo>
                      <a:pt x="707" y="226"/>
                    </a:lnTo>
                    <a:lnTo>
                      <a:pt x="703" y="204"/>
                    </a:lnTo>
                    <a:lnTo>
                      <a:pt x="695" y="183"/>
                    </a:lnTo>
                    <a:lnTo>
                      <a:pt x="685" y="164"/>
                    </a:lnTo>
                    <a:lnTo>
                      <a:pt x="674" y="147"/>
                    </a:lnTo>
                    <a:lnTo>
                      <a:pt x="660" y="129"/>
                    </a:lnTo>
                    <a:lnTo>
                      <a:pt x="645" y="113"/>
                    </a:lnTo>
                    <a:lnTo>
                      <a:pt x="629" y="98"/>
                    </a:lnTo>
                    <a:lnTo>
                      <a:pt x="612" y="85"/>
                    </a:lnTo>
                    <a:lnTo>
                      <a:pt x="594" y="71"/>
                    </a:lnTo>
                    <a:lnTo>
                      <a:pt x="574" y="59"/>
                    </a:lnTo>
                    <a:lnTo>
                      <a:pt x="554" y="49"/>
                    </a:lnTo>
                    <a:lnTo>
                      <a:pt x="534" y="39"/>
                    </a:lnTo>
                    <a:lnTo>
                      <a:pt x="514" y="31"/>
                    </a:lnTo>
                    <a:lnTo>
                      <a:pt x="493" y="23"/>
                    </a:lnTo>
                    <a:lnTo>
                      <a:pt x="473" y="17"/>
                    </a:lnTo>
                    <a:lnTo>
                      <a:pt x="453" y="11"/>
                    </a:lnTo>
                    <a:lnTo>
                      <a:pt x="453" y="11"/>
                    </a:lnTo>
                    <a:lnTo>
                      <a:pt x="445" y="9"/>
                    </a:lnTo>
                    <a:lnTo>
                      <a:pt x="427" y="4"/>
                    </a:lnTo>
                    <a:lnTo>
                      <a:pt x="399" y="1"/>
                    </a:lnTo>
                    <a:lnTo>
                      <a:pt x="385" y="0"/>
                    </a:lnTo>
                    <a:lnTo>
                      <a:pt x="368" y="0"/>
                    </a:lnTo>
                    <a:lnTo>
                      <a:pt x="368" y="0"/>
                    </a:lnTo>
                    <a:lnTo>
                      <a:pt x="336" y="1"/>
                    </a:lnTo>
                    <a:lnTo>
                      <a:pt x="308" y="4"/>
                    </a:lnTo>
                    <a:lnTo>
                      <a:pt x="279" y="9"/>
                    </a:lnTo>
                    <a:lnTo>
                      <a:pt x="278" y="9"/>
                    </a:lnTo>
                    <a:lnTo>
                      <a:pt x="278" y="9"/>
                    </a:lnTo>
                    <a:lnTo>
                      <a:pt x="254" y="16"/>
                    </a:lnTo>
                    <a:lnTo>
                      <a:pt x="229" y="25"/>
                    </a:lnTo>
                    <a:lnTo>
                      <a:pt x="205" y="35"/>
                    </a:lnTo>
                    <a:lnTo>
                      <a:pt x="181" y="47"/>
                    </a:lnTo>
                    <a:lnTo>
                      <a:pt x="157" y="61"/>
                    </a:lnTo>
                    <a:lnTo>
                      <a:pt x="135" y="75"/>
                    </a:lnTo>
                    <a:lnTo>
                      <a:pt x="113" y="92"/>
                    </a:lnTo>
                    <a:lnTo>
                      <a:pt x="93" y="110"/>
                    </a:lnTo>
                    <a:lnTo>
                      <a:pt x="74" y="129"/>
                    </a:lnTo>
                    <a:lnTo>
                      <a:pt x="57" y="151"/>
                    </a:lnTo>
                    <a:lnTo>
                      <a:pt x="42" y="174"/>
                    </a:lnTo>
                    <a:lnTo>
                      <a:pt x="30" y="198"/>
                    </a:lnTo>
                    <a:lnTo>
                      <a:pt x="24" y="211"/>
                    </a:lnTo>
                    <a:lnTo>
                      <a:pt x="20" y="223"/>
                    </a:lnTo>
                    <a:lnTo>
                      <a:pt x="16" y="237"/>
                    </a:lnTo>
                    <a:lnTo>
                      <a:pt x="13" y="250"/>
                    </a:lnTo>
                    <a:lnTo>
                      <a:pt x="9" y="265"/>
                    </a:lnTo>
                    <a:lnTo>
                      <a:pt x="7" y="278"/>
                    </a:lnTo>
                    <a:lnTo>
                      <a:pt x="6" y="293"/>
                    </a:lnTo>
                    <a:lnTo>
                      <a:pt x="6" y="308"/>
                    </a:lnTo>
                    <a:lnTo>
                      <a:pt x="0" y="1170"/>
                    </a:lnTo>
                    <a:lnTo>
                      <a:pt x="0" y="1170"/>
                    </a:lnTo>
                    <a:lnTo>
                      <a:pt x="1" y="1188"/>
                    </a:lnTo>
                    <a:lnTo>
                      <a:pt x="2" y="1205"/>
                    </a:lnTo>
                    <a:lnTo>
                      <a:pt x="5" y="1222"/>
                    </a:lnTo>
                    <a:lnTo>
                      <a:pt x="9" y="1238"/>
                    </a:lnTo>
                    <a:lnTo>
                      <a:pt x="14" y="1254"/>
                    </a:lnTo>
                    <a:lnTo>
                      <a:pt x="20" y="1270"/>
                    </a:lnTo>
                    <a:lnTo>
                      <a:pt x="26" y="1285"/>
                    </a:lnTo>
                    <a:lnTo>
                      <a:pt x="33" y="1300"/>
                    </a:lnTo>
                    <a:lnTo>
                      <a:pt x="41" y="1314"/>
                    </a:lnTo>
                    <a:lnTo>
                      <a:pt x="50" y="1328"/>
                    </a:lnTo>
                    <a:lnTo>
                      <a:pt x="61" y="1340"/>
                    </a:lnTo>
                    <a:lnTo>
                      <a:pt x="71" y="1353"/>
                    </a:lnTo>
                    <a:lnTo>
                      <a:pt x="83" y="1366"/>
                    </a:lnTo>
                    <a:lnTo>
                      <a:pt x="95" y="1377"/>
                    </a:lnTo>
                    <a:lnTo>
                      <a:pt x="108" y="1387"/>
                    </a:lnTo>
                    <a:lnTo>
                      <a:pt x="120" y="1398"/>
                    </a:lnTo>
                    <a:lnTo>
                      <a:pt x="121" y="2639"/>
                    </a:lnTo>
                    <a:lnTo>
                      <a:pt x="121" y="2639"/>
                    </a:lnTo>
                    <a:lnTo>
                      <a:pt x="120" y="2661"/>
                    </a:lnTo>
                    <a:lnTo>
                      <a:pt x="121" y="2682"/>
                    </a:lnTo>
                    <a:lnTo>
                      <a:pt x="124" y="2701"/>
                    </a:lnTo>
                    <a:lnTo>
                      <a:pt x="129" y="2722"/>
                    </a:lnTo>
                    <a:lnTo>
                      <a:pt x="135" y="2740"/>
                    </a:lnTo>
                    <a:lnTo>
                      <a:pt x="144" y="2759"/>
                    </a:lnTo>
                    <a:lnTo>
                      <a:pt x="155" y="2776"/>
                    </a:lnTo>
                    <a:lnTo>
                      <a:pt x="166" y="2792"/>
                    </a:lnTo>
                    <a:lnTo>
                      <a:pt x="179" y="2807"/>
                    </a:lnTo>
                    <a:lnTo>
                      <a:pt x="193" y="2821"/>
                    </a:lnTo>
                    <a:lnTo>
                      <a:pt x="209" y="2832"/>
                    </a:lnTo>
                    <a:lnTo>
                      <a:pt x="227" y="2842"/>
                    </a:lnTo>
                    <a:lnTo>
                      <a:pt x="244" y="2851"/>
                    </a:lnTo>
                    <a:lnTo>
                      <a:pt x="263" y="2859"/>
                    </a:lnTo>
                    <a:lnTo>
                      <a:pt x="284" y="2864"/>
                    </a:lnTo>
                    <a:lnTo>
                      <a:pt x="304" y="2867"/>
                    </a:lnTo>
                    <a:lnTo>
                      <a:pt x="304" y="2867"/>
                    </a:lnTo>
                    <a:lnTo>
                      <a:pt x="304" y="2867"/>
                    </a:lnTo>
                    <a:lnTo>
                      <a:pt x="326" y="2869"/>
                    </a:lnTo>
                    <a:lnTo>
                      <a:pt x="347" y="2869"/>
                    </a:lnTo>
                    <a:lnTo>
                      <a:pt x="366" y="2865"/>
                    </a:lnTo>
                    <a:lnTo>
                      <a:pt x="386" y="2861"/>
                    </a:lnTo>
                    <a:lnTo>
                      <a:pt x="405" y="2854"/>
                    </a:lnTo>
                    <a:lnTo>
                      <a:pt x="423" y="2846"/>
                    </a:lnTo>
                    <a:lnTo>
                      <a:pt x="441" y="2835"/>
                    </a:lnTo>
                    <a:lnTo>
                      <a:pt x="457" y="2824"/>
                    </a:lnTo>
                    <a:lnTo>
                      <a:pt x="471" y="2810"/>
                    </a:lnTo>
                    <a:lnTo>
                      <a:pt x="484" y="2795"/>
                    </a:lnTo>
                    <a:lnTo>
                      <a:pt x="497" y="2780"/>
                    </a:lnTo>
                    <a:lnTo>
                      <a:pt x="507" y="2763"/>
                    </a:lnTo>
                    <a:lnTo>
                      <a:pt x="516" y="2745"/>
                    </a:lnTo>
                    <a:lnTo>
                      <a:pt x="523" y="2725"/>
                    </a:lnTo>
                    <a:lnTo>
                      <a:pt x="529" y="2706"/>
                    </a:lnTo>
                    <a:lnTo>
                      <a:pt x="532" y="2685"/>
                    </a:lnTo>
                    <a:lnTo>
                      <a:pt x="532" y="1438"/>
                    </a:lnTo>
                    <a:lnTo>
                      <a:pt x="532" y="1438"/>
                    </a:lnTo>
                    <a:lnTo>
                      <a:pt x="550" y="1429"/>
                    </a:lnTo>
                    <a:lnTo>
                      <a:pt x="569" y="1418"/>
                    </a:lnTo>
                    <a:lnTo>
                      <a:pt x="586" y="1407"/>
                    </a:lnTo>
                    <a:lnTo>
                      <a:pt x="603" y="1394"/>
                    </a:lnTo>
                    <a:lnTo>
                      <a:pt x="619" y="1382"/>
                    </a:lnTo>
                    <a:lnTo>
                      <a:pt x="634" y="1368"/>
                    </a:lnTo>
                    <a:lnTo>
                      <a:pt x="648" y="1352"/>
                    </a:lnTo>
                    <a:lnTo>
                      <a:pt x="661" y="1336"/>
                    </a:lnTo>
                    <a:lnTo>
                      <a:pt x="673" y="1320"/>
                    </a:lnTo>
                    <a:lnTo>
                      <a:pt x="684" y="1301"/>
                    </a:lnTo>
                    <a:lnTo>
                      <a:pt x="693" y="1282"/>
                    </a:lnTo>
                    <a:lnTo>
                      <a:pt x="701" y="1262"/>
                    </a:lnTo>
                    <a:lnTo>
                      <a:pt x="707" y="1242"/>
                    </a:lnTo>
                    <a:lnTo>
                      <a:pt x="712" y="1220"/>
                    </a:lnTo>
                    <a:lnTo>
                      <a:pt x="715" y="1198"/>
                    </a:lnTo>
                    <a:lnTo>
                      <a:pt x="716" y="1174"/>
                    </a:lnTo>
                    <a:lnTo>
                      <a:pt x="716" y="1174"/>
                    </a:lnTo>
                    <a:lnTo>
                      <a:pt x="719" y="915"/>
                    </a:lnTo>
                    <a:lnTo>
                      <a:pt x="721" y="703"/>
                    </a:lnTo>
                    <a:lnTo>
                      <a:pt x="721" y="609"/>
                    </a:lnTo>
                    <a:lnTo>
                      <a:pt x="720" y="536"/>
                    </a:lnTo>
                    <a:lnTo>
                      <a:pt x="720" y="536"/>
                    </a:lnTo>
                    <a:lnTo>
                      <a:pt x="720" y="498"/>
                    </a:lnTo>
                    <a:lnTo>
                      <a:pt x="719" y="409"/>
                    </a:lnTo>
                    <a:lnTo>
                      <a:pt x="716" y="357"/>
                    </a:lnTo>
                    <a:lnTo>
                      <a:pt x="714" y="306"/>
                    </a:lnTo>
                    <a:lnTo>
                      <a:pt x="712" y="261"/>
                    </a:lnTo>
                    <a:lnTo>
                      <a:pt x="707" y="226"/>
                    </a:lnTo>
                    <a:lnTo>
                      <a:pt x="707" y="226"/>
                    </a:lnTo>
                    <a:close/>
                  </a:path>
                </a:pathLst>
              </a:custGeom>
              <a:solidFill>
                <a:srgbClr val="D9D9D9"/>
              </a:solidFill>
              <a:ln w="19050">
                <a:solidFill>
                  <a:schemeClr val="tx1">
                    <a:lumMod val="75000"/>
                    <a:lumOff val="25000"/>
                  </a:schemeClr>
                </a:solidFill>
                <a:prstDash val="solid"/>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10" name="Freeform 13">
                <a:extLst>
                  <a:ext uri="{FF2B5EF4-FFF2-40B4-BE49-F238E27FC236}">
                    <a16:creationId xmlns:a16="http://schemas.microsoft.com/office/drawing/2014/main" id="{8DD732FE-0385-4340-9065-461231D67B7A}"/>
                  </a:ext>
                </a:extLst>
              </p:cNvPr>
              <p:cNvSpPr>
                <a:spLocks noEditPoints="1"/>
              </p:cNvSpPr>
              <p:nvPr/>
            </p:nvSpPr>
            <p:spPr bwMode="auto">
              <a:xfrm>
                <a:off x="4694580" y="1157481"/>
                <a:ext cx="81203" cy="82007"/>
              </a:xfrm>
              <a:custGeom>
                <a:avLst/>
                <a:gdLst>
                  <a:gd name="T0" fmla="*/ 709 w 709"/>
                  <a:gd name="T1" fmla="*/ 375 h 712"/>
                  <a:gd name="T2" fmla="*/ 702 w 709"/>
                  <a:gd name="T3" fmla="*/ 428 h 712"/>
                  <a:gd name="T4" fmla="*/ 687 w 709"/>
                  <a:gd name="T5" fmla="*/ 478 h 712"/>
                  <a:gd name="T6" fmla="*/ 667 w 709"/>
                  <a:gd name="T7" fmla="*/ 525 h 712"/>
                  <a:gd name="T8" fmla="*/ 639 w 709"/>
                  <a:gd name="T9" fmla="*/ 569 h 712"/>
                  <a:gd name="T10" fmla="*/ 605 w 709"/>
                  <a:gd name="T11" fmla="*/ 608 h 712"/>
                  <a:gd name="T12" fmla="*/ 567 w 709"/>
                  <a:gd name="T13" fmla="*/ 641 h 712"/>
                  <a:gd name="T14" fmla="*/ 524 w 709"/>
                  <a:gd name="T15" fmla="*/ 668 h 712"/>
                  <a:gd name="T16" fmla="*/ 477 w 709"/>
                  <a:gd name="T17" fmla="*/ 690 h 712"/>
                  <a:gd name="T18" fmla="*/ 427 w 709"/>
                  <a:gd name="T19" fmla="*/ 704 h 712"/>
                  <a:gd name="T20" fmla="*/ 373 w 709"/>
                  <a:gd name="T21" fmla="*/ 711 h 712"/>
                  <a:gd name="T22" fmla="*/ 336 w 709"/>
                  <a:gd name="T23" fmla="*/ 711 h 712"/>
                  <a:gd name="T24" fmla="*/ 284 w 709"/>
                  <a:gd name="T25" fmla="*/ 704 h 712"/>
                  <a:gd name="T26" fmla="*/ 232 w 709"/>
                  <a:gd name="T27" fmla="*/ 690 h 712"/>
                  <a:gd name="T28" fmla="*/ 185 w 709"/>
                  <a:gd name="T29" fmla="*/ 668 h 712"/>
                  <a:gd name="T30" fmla="*/ 143 w 709"/>
                  <a:gd name="T31" fmla="*/ 641 h 712"/>
                  <a:gd name="T32" fmla="*/ 104 w 709"/>
                  <a:gd name="T33" fmla="*/ 608 h 712"/>
                  <a:gd name="T34" fmla="*/ 71 w 709"/>
                  <a:gd name="T35" fmla="*/ 569 h 712"/>
                  <a:gd name="T36" fmla="*/ 42 w 709"/>
                  <a:gd name="T37" fmla="*/ 525 h 712"/>
                  <a:gd name="T38" fmla="*/ 22 w 709"/>
                  <a:gd name="T39" fmla="*/ 478 h 712"/>
                  <a:gd name="T40" fmla="*/ 7 w 709"/>
                  <a:gd name="T41" fmla="*/ 428 h 712"/>
                  <a:gd name="T42" fmla="*/ 0 w 709"/>
                  <a:gd name="T43" fmla="*/ 375 h 712"/>
                  <a:gd name="T44" fmla="*/ 0 w 709"/>
                  <a:gd name="T45" fmla="*/ 338 h 712"/>
                  <a:gd name="T46" fmla="*/ 7 w 709"/>
                  <a:gd name="T47" fmla="*/ 284 h 712"/>
                  <a:gd name="T48" fmla="*/ 22 w 709"/>
                  <a:gd name="T49" fmla="*/ 234 h 712"/>
                  <a:gd name="T50" fmla="*/ 42 w 709"/>
                  <a:gd name="T51" fmla="*/ 187 h 712"/>
                  <a:gd name="T52" fmla="*/ 71 w 709"/>
                  <a:gd name="T53" fmla="*/ 144 h 712"/>
                  <a:gd name="T54" fmla="*/ 104 w 709"/>
                  <a:gd name="T55" fmla="*/ 105 h 712"/>
                  <a:gd name="T56" fmla="*/ 143 w 709"/>
                  <a:gd name="T57" fmla="*/ 71 h 712"/>
                  <a:gd name="T58" fmla="*/ 185 w 709"/>
                  <a:gd name="T59" fmla="*/ 44 h 712"/>
                  <a:gd name="T60" fmla="*/ 232 w 709"/>
                  <a:gd name="T61" fmla="*/ 22 h 712"/>
                  <a:gd name="T62" fmla="*/ 284 w 709"/>
                  <a:gd name="T63" fmla="*/ 8 h 712"/>
                  <a:gd name="T64" fmla="*/ 336 w 709"/>
                  <a:gd name="T65" fmla="*/ 2 h 712"/>
                  <a:gd name="T66" fmla="*/ 373 w 709"/>
                  <a:gd name="T67" fmla="*/ 2 h 712"/>
                  <a:gd name="T68" fmla="*/ 427 w 709"/>
                  <a:gd name="T69" fmla="*/ 8 h 712"/>
                  <a:gd name="T70" fmla="*/ 477 w 709"/>
                  <a:gd name="T71" fmla="*/ 22 h 712"/>
                  <a:gd name="T72" fmla="*/ 524 w 709"/>
                  <a:gd name="T73" fmla="*/ 44 h 712"/>
                  <a:gd name="T74" fmla="*/ 567 w 709"/>
                  <a:gd name="T75" fmla="*/ 71 h 712"/>
                  <a:gd name="T76" fmla="*/ 605 w 709"/>
                  <a:gd name="T77" fmla="*/ 105 h 712"/>
                  <a:gd name="T78" fmla="*/ 639 w 709"/>
                  <a:gd name="T79" fmla="*/ 144 h 712"/>
                  <a:gd name="T80" fmla="*/ 667 w 709"/>
                  <a:gd name="T81" fmla="*/ 187 h 712"/>
                  <a:gd name="T82" fmla="*/ 687 w 709"/>
                  <a:gd name="T83" fmla="*/ 234 h 712"/>
                  <a:gd name="T84" fmla="*/ 702 w 709"/>
                  <a:gd name="T85" fmla="*/ 284 h 712"/>
                  <a:gd name="T86" fmla="*/ 709 w 709"/>
                  <a:gd name="T87" fmla="*/ 338 h 712"/>
                  <a:gd name="T88" fmla="*/ 709 w 709"/>
                  <a:gd name="T89" fmla="*/ 35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9" h="712">
                    <a:moveTo>
                      <a:pt x="709" y="357"/>
                    </a:moveTo>
                    <a:lnTo>
                      <a:pt x="709" y="357"/>
                    </a:lnTo>
                    <a:lnTo>
                      <a:pt x="709" y="375"/>
                    </a:lnTo>
                    <a:lnTo>
                      <a:pt x="708" y="392"/>
                    </a:lnTo>
                    <a:lnTo>
                      <a:pt x="706" y="411"/>
                    </a:lnTo>
                    <a:lnTo>
                      <a:pt x="702" y="428"/>
                    </a:lnTo>
                    <a:lnTo>
                      <a:pt x="698" y="445"/>
                    </a:lnTo>
                    <a:lnTo>
                      <a:pt x="693" y="462"/>
                    </a:lnTo>
                    <a:lnTo>
                      <a:pt x="687" y="478"/>
                    </a:lnTo>
                    <a:lnTo>
                      <a:pt x="682" y="494"/>
                    </a:lnTo>
                    <a:lnTo>
                      <a:pt x="675" y="510"/>
                    </a:lnTo>
                    <a:lnTo>
                      <a:pt x="667" y="525"/>
                    </a:lnTo>
                    <a:lnTo>
                      <a:pt x="658" y="540"/>
                    </a:lnTo>
                    <a:lnTo>
                      <a:pt x="649" y="555"/>
                    </a:lnTo>
                    <a:lnTo>
                      <a:pt x="639" y="569"/>
                    </a:lnTo>
                    <a:lnTo>
                      <a:pt x="628" y="582"/>
                    </a:lnTo>
                    <a:lnTo>
                      <a:pt x="618" y="595"/>
                    </a:lnTo>
                    <a:lnTo>
                      <a:pt x="605" y="608"/>
                    </a:lnTo>
                    <a:lnTo>
                      <a:pt x="594" y="619"/>
                    </a:lnTo>
                    <a:lnTo>
                      <a:pt x="580" y="630"/>
                    </a:lnTo>
                    <a:lnTo>
                      <a:pt x="567" y="641"/>
                    </a:lnTo>
                    <a:lnTo>
                      <a:pt x="552" y="651"/>
                    </a:lnTo>
                    <a:lnTo>
                      <a:pt x="539" y="660"/>
                    </a:lnTo>
                    <a:lnTo>
                      <a:pt x="524" y="668"/>
                    </a:lnTo>
                    <a:lnTo>
                      <a:pt x="509" y="676"/>
                    </a:lnTo>
                    <a:lnTo>
                      <a:pt x="493" y="683"/>
                    </a:lnTo>
                    <a:lnTo>
                      <a:pt x="477" y="690"/>
                    </a:lnTo>
                    <a:lnTo>
                      <a:pt x="460" y="696"/>
                    </a:lnTo>
                    <a:lnTo>
                      <a:pt x="444" y="700"/>
                    </a:lnTo>
                    <a:lnTo>
                      <a:pt x="427" y="704"/>
                    </a:lnTo>
                    <a:lnTo>
                      <a:pt x="408" y="707"/>
                    </a:lnTo>
                    <a:lnTo>
                      <a:pt x="391" y="710"/>
                    </a:lnTo>
                    <a:lnTo>
                      <a:pt x="373" y="711"/>
                    </a:lnTo>
                    <a:lnTo>
                      <a:pt x="355" y="712"/>
                    </a:lnTo>
                    <a:lnTo>
                      <a:pt x="355" y="712"/>
                    </a:lnTo>
                    <a:lnTo>
                      <a:pt x="336" y="711"/>
                    </a:lnTo>
                    <a:lnTo>
                      <a:pt x="318" y="710"/>
                    </a:lnTo>
                    <a:lnTo>
                      <a:pt x="301" y="707"/>
                    </a:lnTo>
                    <a:lnTo>
                      <a:pt x="284" y="704"/>
                    </a:lnTo>
                    <a:lnTo>
                      <a:pt x="266" y="700"/>
                    </a:lnTo>
                    <a:lnTo>
                      <a:pt x="249" y="696"/>
                    </a:lnTo>
                    <a:lnTo>
                      <a:pt x="232" y="690"/>
                    </a:lnTo>
                    <a:lnTo>
                      <a:pt x="216" y="683"/>
                    </a:lnTo>
                    <a:lnTo>
                      <a:pt x="201" y="676"/>
                    </a:lnTo>
                    <a:lnTo>
                      <a:pt x="185" y="668"/>
                    </a:lnTo>
                    <a:lnTo>
                      <a:pt x="170" y="660"/>
                    </a:lnTo>
                    <a:lnTo>
                      <a:pt x="157" y="651"/>
                    </a:lnTo>
                    <a:lnTo>
                      <a:pt x="143" y="641"/>
                    </a:lnTo>
                    <a:lnTo>
                      <a:pt x="129" y="630"/>
                    </a:lnTo>
                    <a:lnTo>
                      <a:pt x="117" y="619"/>
                    </a:lnTo>
                    <a:lnTo>
                      <a:pt x="104" y="608"/>
                    </a:lnTo>
                    <a:lnTo>
                      <a:pt x="91" y="595"/>
                    </a:lnTo>
                    <a:lnTo>
                      <a:pt x="81" y="582"/>
                    </a:lnTo>
                    <a:lnTo>
                      <a:pt x="71" y="569"/>
                    </a:lnTo>
                    <a:lnTo>
                      <a:pt x="61" y="555"/>
                    </a:lnTo>
                    <a:lnTo>
                      <a:pt x="51" y="540"/>
                    </a:lnTo>
                    <a:lnTo>
                      <a:pt x="42" y="525"/>
                    </a:lnTo>
                    <a:lnTo>
                      <a:pt x="34" y="510"/>
                    </a:lnTo>
                    <a:lnTo>
                      <a:pt x="27" y="494"/>
                    </a:lnTo>
                    <a:lnTo>
                      <a:pt x="22" y="478"/>
                    </a:lnTo>
                    <a:lnTo>
                      <a:pt x="16" y="462"/>
                    </a:lnTo>
                    <a:lnTo>
                      <a:pt x="11" y="445"/>
                    </a:lnTo>
                    <a:lnTo>
                      <a:pt x="7" y="428"/>
                    </a:lnTo>
                    <a:lnTo>
                      <a:pt x="3" y="411"/>
                    </a:lnTo>
                    <a:lnTo>
                      <a:pt x="1" y="392"/>
                    </a:lnTo>
                    <a:lnTo>
                      <a:pt x="0" y="375"/>
                    </a:lnTo>
                    <a:lnTo>
                      <a:pt x="0" y="357"/>
                    </a:lnTo>
                    <a:lnTo>
                      <a:pt x="0" y="357"/>
                    </a:lnTo>
                    <a:lnTo>
                      <a:pt x="0" y="338"/>
                    </a:lnTo>
                    <a:lnTo>
                      <a:pt x="1" y="320"/>
                    </a:lnTo>
                    <a:lnTo>
                      <a:pt x="3" y="302"/>
                    </a:lnTo>
                    <a:lnTo>
                      <a:pt x="7" y="284"/>
                    </a:lnTo>
                    <a:lnTo>
                      <a:pt x="11" y="267"/>
                    </a:lnTo>
                    <a:lnTo>
                      <a:pt x="16" y="250"/>
                    </a:lnTo>
                    <a:lnTo>
                      <a:pt x="22" y="234"/>
                    </a:lnTo>
                    <a:lnTo>
                      <a:pt x="27" y="218"/>
                    </a:lnTo>
                    <a:lnTo>
                      <a:pt x="34" y="202"/>
                    </a:lnTo>
                    <a:lnTo>
                      <a:pt x="42" y="187"/>
                    </a:lnTo>
                    <a:lnTo>
                      <a:pt x="51" y="172"/>
                    </a:lnTo>
                    <a:lnTo>
                      <a:pt x="61" y="157"/>
                    </a:lnTo>
                    <a:lnTo>
                      <a:pt x="71" y="144"/>
                    </a:lnTo>
                    <a:lnTo>
                      <a:pt x="81" y="130"/>
                    </a:lnTo>
                    <a:lnTo>
                      <a:pt x="91" y="117"/>
                    </a:lnTo>
                    <a:lnTo>
                      <a:pt x="104" y="105"/>
                    </a:lnTo>
                    <a:lnTo>
                      <a:pt x="117" y="93"/>
                    </a:lnTo>
                    <a:lnTo>
                      <a:pt x="129" y="82"/>
                    </a:lnTo>
                    <a:lnTo>
                      <a:pt x="143" y="71"/>
                    </a:lnTo>
                    <a:lnTo>
                      <a:pt x="157" y="61"/>
                    </a:lnTo>
                    <a:lnTo>
                      <a:pt x="170" y="52"/>
                    </a:lnTo>
                    <a:lnTo>
                      <a:pt x="185" y="44"/>
                    </a:lnTo>
                    <a:lnTo>
                      <a:pt x="201" y="36"/>
                    </a:lnTo>
                    <a:lnTo>
                      <a:pt x="216" y="29"/>
                    </a:lnTo>
                    <a:lnTo>
                      <a:pt x="232" y="22"/>
                    </a:lnTo>
                    <a:lnTo>
                      <a:pt x="249" y="16"/>
                    </a:lnTo>
                    <a:lnTo>
                      <a:pt x="266" y="12"/>
                    </a:lnTo>
                    <a:lnTo>
                      <a:pt x="284" y="8"/>
                    </a:lnTo>
                    <a:lnTo>
                      <a:pt x="301" y="5"/>
                    </a:lnTo>
                    <a:lnTo>
                      <a:pt x="318" y="3"/>
                    </a:lnTo>
                    <a:lnTo>
                      <a:pt x="336" y="2"/>
                    </a:lnTo>
                    <a:lnTo>
                      <a:pt x="355" y="0"/>
                    </a:lnTo>
                    <a:lnTo>
                      <a:pt x="355" y="0"/>
                    </a:lnTo>
                    <a:lnTo>
                      <a:pt x="373" y="2"/>
                    </a:lnTo>
                    <a:lnTo>
                      <a:pt x="391" y="3"/>
                    </a:lnTo>
                    <a:lnTo>
                      <a:pt x="408" y="5"/>
                    </a:lnTo>
                    <a:lnTo>
                      <a:pt x="427" y="8"/>
                    </a:lnTo>
                    <a:lnTo>
                      <a:pt x="444" y="12"/>
                    </a:lnTo>
                    <a:lnTo>
                      <a:pt x="460" y="16"/>
                    </a:lnTo>
                    <a:lnTo>
                      <a:pt x="477" y="22"/>
                    </a:lnTo>
                    <a:lnTo>
                      <a:pt x="493" y="29"/>
                    </a:lnTo>
                    <a:lnTo>
                      <a:pt x="509" y="36"/>
                    </a:lnTo>
                    <a:lnTo>
                      <a:pt x="524" y="44"/>
                    </a:lnTo>
                    <a:lnTo>
                      <a:pt x="539" y="52"/>
                    </a:lnTo>
                    <a:lnTo>
                      <a:pt x="552" y="61"/>
                    </a:lnTo>
                    <a:lnTo>
                      <a:pt x="567" y="71"/>
                    </a:lnTo>
                    <a:lnTo>
                      <a:pt x="580" y="82"/>
                    </a:lnTo>
                    <a:lnTo>
                      <a:pt x="594" y="93"/>
                    </a:lnTo>
                    <a:lnTo>
                      <a:pt x="605" y="105"/>
                    </a:lnTo>
                    <a:lnTo>
                      <a:pt x="618" y="117"/>
                    </a:lnTo>
                    <a:lnTo>
                      <a:pt x="628" y="130"/>
                    </a:lnTo>
                    <a:lnTo>
                      <a:pt x="639" y="144"/>
                    </a:lnTo>
                    <a:lnTo>
                      <a:pt x="649" y="157"/>
                    </a:lnTo>
                    <a:lnTo>
                      <a:pt x="658" y="172"/>
                    </a:lnTo>
                    <a:lnTo>
                      <a:pt x="667" y="187"/>
                    </a:lnTo>
                    <a:lnTo>
                      <a:pt x="675" y="202"/>
                    </a:lnTo>
                    <a:lnTo>
                      <a:pt x="682" y="218"/>
                    </a:lnTo>
                    <a:lnTo>
                      <a:pt x="687" y="234"/>
                    </a:lnTo>
                    <a:lnTo>
                      <a:pt x="693" y="250"/>
                    </a:lnTo>
                    <a:lnTo>
                      <a:pt x="698" y="267"/>
                    </a:lnTo>
                    <a:lnTo>
                      <a:pt x="702" y="284"/>
                    </a:lnTo>
                    <a:lnTo>
                      <a:pt x="706" y="302"/>
                    </a:lnTo>
                    <a:lnTo>
                      <a:pt x="708" y="320"/>
                    </a:lnTo>
                    <a:lnTo>
                      <a:pt x="709" y="338"/>
                    </a:lnTo>
                    <a:lnTo>
                      <a:pt x="709" y="357"/>
                    </a:lnTo>
                    <a:lnTo>
                      <a:pt x="709" y="357"/>
                    </a:lnTo>
                    <a:close/>
                    <a:moveTo>
                      <a:pt x="709" y="357"/>
                    </a:moveTo>
                    <a:lnTo>
                      <a:pt x="709" y="357"/>
                    </a:lnTo>
                    <a:close/>
                  </a:path>
                </a:pathLst>
              </a:custGeom>
              <a:solidFill>
                <a:srgbClr val="50CFE6"/>
              </a:solidFill>
              <a:ln w="9525">
                <a:solidFill>
                  <a:schemeClr val="tx1"/>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11" name="Freeform 14">
                <a:extLst>
                  <a:ext uri="{FF2B5EF4-FFF2-40B4-BE49-F238E27FC236}">
                    <a16:creationId xmlns:a16="http://schemas.microsoft.com/office/drawing/2014/main" id="{7DD3470C-640F-481A-8719-8E3DE9B994F3}"/>
                  </a:ext>
                </a:extLst>
              </p:cNvPr>
              <p:cNvSpPr>
                <a:spLocks/>
              </p:cNvSpPr>
              <p:nvPr/>
            </p:nvSpPr>
            <p:spPr bwMode="auto">
              <a:xfrm>
                <a:off x="4694580" y="1157481"/>
                <a:ext cx="81203" cy="82007"/>
              </a:xfrm>
              <a:custGeom>
                <a:avLst/>
                <a:gdLst>
                  <a:gd name="T0" fmla="*/ 709 w 709"/>
                  <a:gd name="T1" fmla="*/ 375 h 712"/>
                  <a:gd name="T2" fmla="*/ 702 w 709"/>
                  <a:gd name="T3" fmla="*/ 428 h 712"/>
                  <a:gd name="T4" fmla="*/ 687 w 709"/>
                  <a:gd name="T5" fmla="*/ 478 h 712"/>
                  <a:gd name="T6" fmla="*/ 667 w 709"/>
                  <a:gd name="T7" fmla="*/ 525 h 712"/>
                  <a:gd name="T8" fmla="*/ 639 w 709"/>
                  <a:gd name="T9" fmla="*/ 569 h 712"/>
                  <a:gd name="T10" fmla="*/ 605 w 709"/>
                  <a:gd name="T11" fmla="*/ 608 h 712"/>
                  <a:gd name="T12" fmla="*/ 567 w 709"/>
                  <a:gd name="T13" fmla="*/ 641 h 712"/>
                  <a:gd name="T14" fmla="*/ 524 w 709"/>
                  <a:gd name="T15" fmla="*/ 668 h 712"/>
                  <a:gd name="T16" fmla="*/ 477 w 709"/>
                  <a:gd name="T17" fmla="*/ 690 h 712"/>
                  <a:gd name="T18" fmla="*/ 427 w 709"/>
                  <a:gd name="T19" fmla="*/ 704 h 712"/>
                  <a:gd name="T20" fmla="*/ 373 w 709"/>
                  <a:gd name="T21" fmla="*/ 711 h 712"/>
                  <a:gd name="T22" fmla="*/ 336 w 709"/>
                  <a:gd name="T23" fmla="*/ 711 h 712"/>
                  <a:gd name="T24" fmla="*/ 284 w 709"/>
                  <a:gd name="T25" fmla="*/ 704 h 712"/>
                  <a:gd name="T26" fmla="*/ 232 w 709"/>
                  <a:gd name="T27" fmla="*/ 690 h 712"/>
                  <a:gd name="T28" fmla="*/ 185 w 709"/>
                  <a:gd name="T29" fmla="*/ 668 h 712"/>
                  <a:gd name="T30" fmla="*/ 143 w 709"/>
                  <a:gd name="T31" fmla="*/ 641 h 712"/>
                  <a:gd name="T32" fmla="*/ 104 w 709"/>
                  <a:gd name="T33" fmla="*/ 608 h 712"/>
                  <a:gd name="T34" fmla="*/ 71 w 709"/>
                  <a:gd name="T35" fmla="*/ 569 h 712"/>
                  <a:gd name="T36" fmla="*/ 42 w 709"/>
                  <a:gd name="T37" fmla="*/ 525 h 712"/>
                  <a:gd name="T38" fmla="*/ 22 w 709"/>
                  <a:gd name="T39" fmla="*/ 478 h 712"/>
                  <a:gd name="T40" fmla="*/ 7 w 709"/>
                  <a:gd name="T41" fmla="*/ 428 h 712"/>
                  <a:gd name="T42" fmla="*/ 0 w 709"/>
                  <a:gd name="T43" fmla="*/ 375 h 712"/>
                  <a:gd name="T44" fmla="*/ 0 w 709"/>
                  <a:gd name="T45" fmla="*/ 338 h 712"/>
                  <a:gd name="T46" fmla="*/ 7 w 709"/>
                  <a:gd name="T47" fmla="*/ 284 h 712"/>
                  <a:gd name="T48" fmla="*/ 22 w 709"/>
                  <a:gd name="T49" fmla="*/ 234 h 712"/>
                  <a:gd name="T50" fmla="*/ 42 w 709"/>
                  <a:gd name="T51" fmla="*/ 187 h 712"/>
                  <a:gd name="T52" fmla="*/ 71 w 709"/>
                  <a:gd name="T53" fmla="*/ 144 h 712"/>
                  <a:gd name="T54" fmla="*/ 104 w 709"/>
                  <a:gd name="T55" fmla="*/ 105 h 712"/>
                  <a:gd name="T56" fmla="*/ 143 w 709"/>
                  <a:gd name="T57" fmla="*/ 71 h 712"/>
                  <a:gd name="T58" fmla="*/ 185 w 709"/>
                  <a:gd name="T59" fmla="*/ 44 h 712"/>
                  <a:gd name="T60" fmla="*/ 232 w 709"/>
                  <a:gd name="T61" fmla="*/ 22 h 712"/>
                  <a:gd name="T62" fmla="*/ 284 w 709"/>
                  <a:gd name="T63" fmla="*/ 8 h 712"/>
                  <a:gd name="T64" fmla="*/ 336 w 709"/>
                  <a:gd name="T65" fmla="*/ 2 h 712"/>
                  <a:gd name="T66" fmla="*/ 373 w 709"/>
                  <a:gd name="T67" fmla="*/ 2 h 712"/>
                  <a:gd name="T68" fmla="*/ 427 w 709"/>
                  <a:gd name="T69" fmla="*/ 8 h 712"/>
                  <a:gd name="T70" fmla="*/ 477 w 709"/>
                  <a:gd name="T71" fmla="*/ 22 h 712"/>
                  <a:gd name="T72" fmla="*/ 524 w 709"/>
                  <a:gd name="T73" fmla="*/ 44 h 712"/>
                  <a:gd name="T74" fmla="*/ 567 w 709"/>
                  <a:gd name="T75" fmla="*/ 71 h 712"/>
                  <a:gd name="T76" fmla="*/ 605 w 709"/>
                  <a:gd name="T77" fmla="*/ 105 h 712"/>
                  <a:gd name="T78" fmla="*/ 639 w 709"/>
                  <a:gd name="T79" fmla="*/ 144 h 712"/>
                  <a:gd name="T80" fmla="*/ 667 w 709"/>
                  <a:gd name="T81" fmla="*/ 187 h 712"/>
                  <a:gd name="T82" fmla="*/ 687 w 709"/>
                  <a:gd name="T83" fmla="*/ 234 h 712"/>
                  <a:gd name="T84" fmla="*/ 702 w 709"/>
                  <a:gd name="T85" fmla="*/ 284 h 712"/>
                  <a:gd name="T86" fmla="*/ 709 w 709"/>
                  <a:gd name="T87" fmla="*/ 33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712">
                    <a:moveTo>
                      <a:pt x="709" y="357"/>
                    </a:moveTo>
                    <a:lnTo>
                      <a:pt x="709" y="357"/>
                    </a:lnTo>
                    <a:lnTo>
                      <a:pt x="709" y="375"/>
                    </a:lnTo>
                    <a:lnTo>
                      <a:pt x="708" y="392"/>
                    </a:lnTo>
                    <a:lnTo>
                      <a:pt x="706" y="411"/>
                    </a:lnTo>
                    <a:lnTo>
                      <a:pt x="702" y="428"/>
                    </a:lnTo>
                    <a:lnTo>
                      <a:pt x="698" y="445"/>
                    </a:lnTo>
                    <a:lnTo>
                      <a:pt x="693" y="462"/>
                    </a:lnTo>
                    <a:lnTo>
                      <a:pt x="687" y="478"/>
                    </a:lnTo>
                    <a:lnTo>
                      <a:pt x="682" y="494"/>
                    </a:lnTo>
                    <a:lnTo>
                      <a:pt x="675" y="510"/>
                    </a:lnTo>
                    <a:lnTo>
                      <a:pt x="667" y="525"/>
                    </a:lnTo>
                    <a:lnTo>
                      <a:pt x="658" y="540"/>
                    </a:lnTo>
                    <a:lnTo>
                      <a:pt x="649" y="555"/>
                    </a:lnTo>
                    <a:lnTo>
                      <a:pt x="639" y="569"/>
                    </a:lnTo>
                    <a:lnTo>
                      <a:pt x="628" y="582"/>
                    </a:lnTo>
                    <a:lnTo>
                      <a:pt x="618" y="595"/>
                    </a:lnTo>
                    <a:lnTo>
                      <a:pt x="605" y="608"/>
                    </a:lnTo>
                    <a:lnTo>
                      <a:pt x="594" y="619"/>
                    </a:lnTo>
                    <a:lnTo>
                      <a:pt x="580" y="630"/>
                    </a:lnTo>
                    <a:lnTo>
                      <a:pt x="567" y="641"/>
                    </a:lnTo>
                    <a:lnTo>
                      <a:pt x="552" y="651"/>
                    </a:lnTo>
                    <a:lnTo>
                      <a:pt x="539" y="660"/>
                    </a:lnTo>
                    <a:lnTo>
                      <a:pt x="524" y="668"/>
                    </a:lnTo>
                    <a:lnTo>
                      <a:pt x="509" y="676"/>
                    </a:lnTo>
                    <a:lnTo>
                      <a:pt x="493" y="683"/>
                    </a:lnTo>
                    <a:lnTo>
                      <a:pt x="477" y="690"/>
                    </a:lnTo>
                    <a:lnTo>
                      <a:pt x="460" y="696"/>
                    </a:lnTo>
                    <a:lnTo>
                      <a:pt x="444" y="700"/>
                    </a:lnTo>
                    <a:lnTo>
                      <a:pt x="427" y="704"/>
                    </a:lnTo>
                    <a:lnTo>
                      <a:pt x="408" y="707"/>
                    </a:lnTo>
                    <a:lnTo>
                      <a:pt x="391" y="710"/>
                    </a:lnTo>
                    <a:lnTo>
                      <a:pt x="373" y="711"/>
                    </a:lnTo>
                    <a:lnTo>
                      <a:pt x="355" y="712"/>
                    </a:lnTo>
                    <a:lnTo>
                      <a:pt x="355" y="712"/>
                    </a:lnTo>
                    <a:lnTo>
                      <a:pt x="336" y="711"/>
                    </a:lnTo>
                    <a:lnTo>
                      <a:pt x="318" y="710"/>
                    </a:lnTo>
                    <a:lnTo>
                      <a:pt x="301" y="707"/>
                    </a:lnTo>
                    <a:lnTo>
                      <a:pt x="284" y="704"/>
                    </a:lnTo>
                    <a:lnTo>
                      <a:pt x="266" y="700"/>
                    </a:lnTo>
                    <a:lnTo>
                      <a:pt x="249" y="696"/>
                    </a:lnTo>
                    <a:lnTo>
                      <a:pt x="232" y="690"/>
                    </a:lnTo>
                    <a:lnTo>
                      <a:pt x="216" y="683"/>
                    </a:lnTo>
                    <a:lnTo>
                      <a:pt x="201" y="676"/>
                    </a:lnTo>
                    <a:lnTo>
                      <a:pt x="185" y="668"/>
                    </a:lnTo>
                    <a:lnTo>
                      <a:pt x="170" y="660"/>
                    </a:lnTo>
                    <a:lnTo>
                      <a:pt x="157" y="651"/>
                    </a:lnTo>
                    <a:lnTo>
                      <a:pt x="143" y="641"/>
                    </a:lnTo>
                    <a:lnTo>
                      <a:pt x="129" y="630"/>
                    </a:lnTo>
                    <a:lnTo>
                      <a:pt x="117" y="619"/>
                    </a:lnTo>
                    <a:lnTo>
                      <a:pt x="104" y="608"/>
                    </a:lnTo>
                    <a:lnTo>
                      <a:pt x="91" y="595"/>
                    </a:lnTo>
                    <a:lnTo>
                      <a:pt x="81" y="582"/>
                    </a:lnTo>
                    <a:lnTo>
                      <a:pt x="71" y="569"/>
                    </a:lnTo>
                    <a:lnTo>
                      <a:pt x="61" y="555"/>
                    </a:lnTo>
                    <a:lnTo>
                      <a:pt x="51" y="540"/>
                    </a:lnTo>
                    <a:lnTo>
                      <a:pt x="42" y="525"/>
                    </a:lnTo>
                    <a:lnTo>
                      <a:pt x="34" y="510"/>
                    </a:lnTo>
                    <a:lnTo>
                      <a:pt x="27" y="494"/>
                    </a:lnTo>
                    <a:lnTo>
                      <a:pt x="22" y="478"/>
                    </a:lnTo>
                    <a:lnTo>
                      <a:pt x="16" y="462"/>
                    </a:lnTo>
                    <a:lnTo>
                      <a:pt x="11" y="445"/>
                    </a:lnTo>
                    <a:lnTo>
                      <a:pt x="7" y="428"/>
                    </a:lnTo>
                    <a:lnTo>
                      <a:pt x="3" y="411"/>
                    </a:lnTo>
                    <a:lnTo>
                      <a:pt x="1" y="392"/>
                    </a:lnTo>
                    <a:lnTo>
                      <a:pt x="0" y="375"/>
                    </a:lnTo>
                    <a:lnTo>
                      <a:pt x="0" y="357"/>
                    </a:lnTo>
                    <a:lnTo>
                      <a:pt x="0" y="357"/>
                    </a:lnTo>
                    <a:lnTo>
                      <a:pt x="0" y="338"/>
                    </a:lnTo>
                    <a:lnTo>
                      <a:pt x="1" y="320"/>
                    </a:lnTo>
                    <a:lnTo>
                      <a:pt x="3" y="302"/>
                    </a:lnTo>
                    <a:lnTo>
                      <a:pt x="7" y="284"/>
                    </a:lnTo>
                    <a:lnTo>
                      <a:pt x="11" y="267"/>
                    </a:lnTo>
                    <a:lnTo>
                      <a:pt x="16" y="250"/>
                    </a:lnTo>
                    <a:lnTo>
                      <a:pt x="22" y="234"/>
                    </a:lnTo>
                    <a:lnTo>
                      <a:pt x="27" y="218"/>
                    </a:lnTo>
                    <a:lnTo>
                      <a:pt x="34" y="202"/>
                    </a:lnTo>
                    <a:lnTo>
                      <a:pt x="42" y="187"/>
                    </a:lnTo>
                    <a:lnTo>
                      <a:pt x="51" y="172"/>
                    </a:lnTo>
                    <a:lnTo>
                      <a:pt x="61" y="157"/>
                    </a:lnTo>
                    <a:lnTo>
                      <a:pt x="71" y="144"/>
                    </a:lnTo>
                    <a:lnTo>
                      <a:pt x="81" y="130"/>
                    </a:lnTo>
                    <a:lnTo>
                      <a:pt x="91" y="117"/>
                    </a:lnTo>
                    <a:lnTo>
                      <a:pt x="104" y="105"/>
                    </a:lnTo>
                    <a:lnTo>
                      <a:pt x="117" y="93"/>
                    </a:lnTo>
                    <a:lnTo>
                      <a:pt x="129" y="82"/>
                    </a:lnTo>
                    <a:lnTo>
                      <a:pt x="143" y="71"/>
                    </a:lnTo>
                    <a:lnTo>
                      <a:pt x="157" y="61"/>
                    </a:lnTo>
                    <a:lnTo>
                      <a:pt x="170" y="52"/>
                    </a:lnTo>
                    <a:lnTo>
                      <a:pt x="185" y="44"/>
                    </a:lnTo>
                    <a:lnTo>
                      <a:pt x="201" y="36"/>
                    </a:lnTo>
                    <a:lnTo>
                      <a:pt x="216" y="29"/>
                    </a:lnTo>
                    <a:lnTo>
                      <a:pt x="232" y="22"/>
                    </a:lnTo>
                    <a:lnTo>
                      <a:pt x="249" y="16"/>
                    </a:lnTo>
                    <a:lnTo>
                      <a:pt x="266" y="12"/>
                    </a:lnTo>
                    <a:lnTo>
                      <a:pt x="284" y="8"/>
                    </a:lnTo>
                    <a:lnTo>
                      <a:pt x="301" y="5"/>
                    </a:lnTo>
                    <a:lnTo>
                      <a:pt x="318" y="3"/>
                    </a:lnTo>
                    <a:lnTo>
                      <a:pt x="336" y="2"/>
                    </a:lnTo>
                    <a:lnTo>
                      <a:pt x="355" y="0"/>
                    </a:lnTo>
                    <a:lnTo>
                      <a:pt x="355" y="0"/>
                    </a:lnTo>
                    <a:lnTo>
                      <a:pt x="373" y="2"/>
                    </a:lnTo>
                    <a:lnTo>
                      <a:pt x="391" y="3"/>
                    </a:lnTo>
                    <a:lnTo>
                      <a:pt x="408" y="5"/>
                    </a:lnTo>
                    <a:lnTo>
                      <a:pt x="427" y="8"/>
                    </a:lnTo>
                    <a:lnTo>
                      <a:pt x="444" y="12"/>
                    </a:lnTo>
                    <a:lnTo>
                      <a:pt x="460" y="16"/>
                    </a:lnTo>
                    <a:lnTo>
                      <a:pt x="477" y="22"/>
                    </a:lnTo>
                    <a:lnTo>
                      <a:pt x="493" y="29"/>
                    </a:lnTo>
                    <a:lnTo>
                      <a:pt x="509" y="36"/>
                    </a:lnTo>
                    <a:lnTo>
                      <a:pt x="524" y="44"/>
                    </a:lnTo>
                    <a:lnTo>
                      <a:pt x="539" y="52"/>
                    </a:lnTo>
                    <a:lnTo>
                      <a:pt x="552" y="61"/>
                    </a:lnTo>
                    <a:lnTo>
                      <a:pt x="567" y="71"/>
                    </a:lnTo>
                    <a:lnTo>
                      <a:pt x="580" y="82"/>
                    </a:lnTo>
                    <a:lnTo>
                      <a:pt x="594" y="93"/>
                    </a:lnTo>
                    <a:lnTo>
                      <a:pt x="605" y="105"/>
                    </a:lnTo>
                    <a:lnTo>
                      <a:pt x="618" y="117"/>
                    </a:lnTo>
                    <a:lnTo>
                      <a:pt x="628" y="130"/>
                    </a:lnTo>
                    <a:lnTo>
                      <a:pt x="639" y="144"/>
                    </a:lnTo>
                    <a:lnTo>
                      <a:pt x="649" y="157"/>
                    </a:lnTo>
                    <a:lnTo>
                      <a:pt x="658" y="172"/>
                    </a:lnTo>
                    <a:lnTo>
                      <a:pt x="667" y="187"/>
                    </a:lnTo>
                    <a:lnTo>
                      <a:pt x="675" y="202"/>
                    </a:lnTo>
                    <a:lnTo>
                      <a:pt x="682" y="218"/>
                    </a:lnTo>
                    <a:lnTo>
                      <a:pt x="687" y="234"/>
                    </a:lnTo>
                    <a:lnTo>
                      <a:pt x="693" y="250"/>
                    </a:lnTo>
                    <a:lnTo>
                      <a:pt x="698" y="267"/>
                    </a:lnTo>
                    <a:lnTo>
                      <a:pt x="702" y="284"/>
                    </a:lnTo>
                    <a:lnTo>
                      <a:pt x="706" y="302"/>
                    </a:lnTo>
                    <a:lnTo>
                      <a:pt x="708" y="320"/>
                    </a:lnTo>
                    <a:lnTo>
                      <a:pt x="709" y="338"/>
                    </a:lnTo>
                    <a:lnTo>
                      <a:pt x="709" y="357"/>
                    </a:lnTo>
                    <a:lnTo>
                      <a:pt x="709" y="357"/>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12" name="Line 15">
                <a:extLst>
                  <a:ext uri="{FF2B5EF4-FFF2-40B4-BE49-F238E27FC236}">
                    <a16:creationId xmlns:a16="http://schemas.microsoft.com/office/drawing/2014/main" id="{AACC4E31-7A9A-4D7E-8509-99D417F278E5}"/>
                  </a:ext>
                </a:extLst>
              </p:cNvPr>
              <p:cNvSpPr>
                <a:spLocks noChangeShapeType="1"/>
              </p:cNvSpPr>
              <p:nvPr/>
            </p:nvSpPr>
            <p:spPr bwMode="auto">
              <a:xfrm>
                <a:off x="4775784" y="1198484"/>
                <a:ext cx="0" cy="0"/>
              </a:xfrm>
              <a:prstGeom prst="line">
                <a:avLst/>
              </a:prstGeom>
              <a:noFill/>
              <a:ln w="63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13" name="Freeform 16">
                <a:extLst>
                  <a:ext uri="{FF2B5EF4-FFF2-40B4-BE49-F238E27FC236}">
                    <a16:creationId xmlns:a16="http://schemas.microsoft.com/office/drawing/2014/main" id="{2F306973-F8D5-48A5-8167-1F26171C5B2A}"/>
                  </a:ext>
                </a:extLst>
              </p:cNvPr>
              <p:cNvSpPr>
                <a:spLocks noEditPoints="1"/>
              </p:cNvSpPr>
              <p:nvPr/>
            </p:nvSpPr>
            <p:spPr bwMode="auto">
              <a:xfrm>
                <a:off x="4615789" y="1251548"/>
                <a:ext cx="196174" cy="311144"/>
              </a:xfrm>
              <a:custGeom>
                <a:avLst/>
                <a:gdLst>
                  <a:gd name="T0" fmla="*/ 0 w 1708"/>
                  <a:gd name="T1" fmla="*/ 456 h 2704"/>
                  <a:gd name="T2" fmla="*/ 11 w 1708"/>
                  <a:gd name="T3" fmla="*/ 518 h 2704"/>
                  <a:gd name="T4" fmla="*/ 47 w 1708"/>
                  <a:gd name="T5" fmla="*/ 568 h 2704"/>
                  <a:gd name="T6" fmla="*/ 117 w 1708"/>
                  <a:gd name="T7" fmla="*/ 606 h 2704"/>
                  <a:gd name="T8" fmla="*/ 288 w 1708"/>
                  <a:gd name="T9" fmla="*/ 653 h 2704"/>
                  <a:gd name="T10" fmla="*/ 395 w 1708"/>
                  <a:gd name="T11" fmla="*/ 654 h 2704"/>
                  <a:gd name="T12" fmla="*/ 503 w 1708"/>
                  <a:gd name="T13" fmla="*/ 631 h 2704"/>
                  <a:gd name="T14" fmla="*/ 599 w 1708"/>
                  <a:gd name="T15" fmla="*/ 588 h 2704"/>
                  <a:gd name="T16" fmla="*/ 673 w 1708"/>
                  <a:gd name="T17" fmla="*/ 1122 h 2704"/>
                  <a:gd name="T18" fmla="*/ 690 w 1708"/>
                  <a:gd name="T19" fmla="*/ 1209 h 2704"/>
                  <a:gd name="T20" fmla="*/ 692 w 1708"/>
                  <a:gd name="T21" fmla="*/ 2573 h 2704"/>
                  <a:gd name="T22" fmla="*/ 727 w 1708"/>
                  <a:gd name="T23" fmla="*/ 2644 h 2704"/>
                  <a:gd name="T24" fmla="*/ 790 w 1708"/>
                  <a:gd name="T25" fmla="*/ 2690 h 2704"/>
                  <a:gd name="T26" fmla="*/ 853 w 1708"/>
                  <a:gd name="T27" fmla="*/ 2704 h 2704"/>
                  <a:gd name="T28" fmla="*/ 930 w 1708"/>
                  <a:gd name="T29" fmla="*/ 2683 h 2704"/>
                  <a:gd name="T30" fmla="*/ 988 w 1708"/>
                  <a:gd name="T31" fmla="*/ 2632 h 2704"/>
                  <a:gd name="T32" fmla="*/ 1014 w 1708"/>
                  <a:gd name="T33" fmla="*/ 2557 h 2704"/>
                  <a:gd name="T34" fmla="*/ 1035 w 1708"/>
                  <a:gd name="T35" fmla="*/ 1408 h 2704"/>
                  <a:gd name="T36" fmla="*/ 1041 w 1708"/>
                  <a:gd name="T37" fmla="*/ 2573 h 2704"/>
                  <a:gd name="T38" fmla="*/ 1076 w 1708"/>
                  <a:gd name="T39" fmla="*/ 2644 h 2704"/>
                  <a:gd name="T40" fmla="*/ 1137 w 1708"/>
                  <a:gd name="T41" fmla="*/ 2690 h 2704"/>
                  <a:gd name="T42" fmla="*/ 1202 w 1708"/>
                  <a:gd name="T43" fmla="*/ 2704 h 2704"/>
                  <a:gd name="T44" fmla="*/ 1264 w 1708"/>
                  <a:gd name="T45" fmla="*/ 2690 h 2704"/>
                  <a:gd name="T46" fmla="*/ 1326 w 1708"/>
                  <a:gd name="T47" fmla="*/ 2644 h 2704"/>
                  <a:gd name="T48" fmla="*/ 1361 w 1708"/>
                  <a:gd name="T49" fmla="*/ 2573 h 2704"/>
                  <a:gd name="T50" fmla="*/ 1372 w 1708"/>
                  <a:gd name="T51" fmla="*/ 1212 h 2704"/>
                  <a:gd name="T52" fmla="*/ 1395 w 1708"/>
                  <a:gd name="T53" fmla="*/ 1130 h 2704"/>
                  <a:gd name="T54" fmla="*/ 1409 w 1708"/>
                  <a:gd name="T55" fmla="*/ 697 h 2704"/>
                  <a:gd name="T56" fmla="*/ 1433 w 1708"/>
                  <a:gd name="T57" fmla="*/ 988 h 2704"/>
                  <a:gd name="T58" fmla="*/ 1427 w 1708"/>
                  <a:gd name="T59" fmla="*/ 1166 h 2704"/>
                  <a:gd name="T60" fmla="*/ 1451 w 1708"/>
                  <a:gd name="T61" fmla="*/ 1228 h 2704"/>
                  <a:gd name="T62" fmla="*/ 1500 w 1708"/>
                  <a:gd name="T63" fmla="*/ 1272 h 2704"/>
                  <a:gd name="T64" fmla="*/ 1553 w 1708"/>
                  <a:gd name="T65" fmla="*/ 1287 h 2704"/>
                  <a:gd name="T66" fmla="*/ 1602 w 1708"/>
                  <a:gd name="T67" fmla="*/ 1281 h 2704"/>
                  <a:gd name="T68" fmla="*/ 1657 w 1708"/>
                  <a:gd name="T69" fmla="*/ 1250 h 2704"/>
                  <a:gd name="T70" fmla="*/ 1692 w 1708"/>
                  <a:gd name="T71" fmla="*/ 1198 h 2704"/>
                  <a:gd name="T72" fmla="*/ 1705 w 1708"/>
                  <a:gd name="T73" fmla="*/ 1095 h 2704"/>
                  <a:gd name="T74" fmla="*/ 1703 w 1708"/>
                  <a:gd name="T75" fmla="*/ 813 h 2704"/>
                  <a:gd name="T76" fmla="*/ 1667 w 1708"/>
                  <a:gd name="T77" fmla="*/ 589 h 2704"/>
                  <a:gd name="T78" fmla="*/ 1602 w 1708"/>
                  <a:gd name="T79" fmla="*/ 411 h 2704"/>
                  <a:gd name="T80" fmla="*/ 1514 w 1708"/>
                  <a:gd name="T81" fmla="*/ 274 h 2704"/>
                  <a:gd name="T82" fmla="*/ 1410 w 1708"/>
                  <a:gd name="T83" fmla="*/ 166 h 2704"/>
                  <a:gd name="T84" fmla="*/ 1270 w 1708"/>
                  <a:gd name="T85" fmla="*/ 66 h 2704"/>
                  <a:gd name="T86" fmla="*/ 1252 w 1708"/>
                  <a:gd name="T87" fmla="*/ 57 h 2704"/>
                  <a:gd name="T88" fmla="*/ 1173 w 1708"/>
                  <a:gd name="T89" fmla="*/ 17 h 2704"/>
                  <a:gd name="T90" fmla="*/ 949 w 1708"/>
                  <a:gd name="T91" fmla="*/ 0 h 2704"/>
                  <a:gd name="T92" fmla="*/ 913 w 1708"/>
                  <a:gd name="T93" fmla="*/ 10 h 2704"/>
                  <a:gd name="T94" fmla="*/ 831 w 1708"/>
                  <a:gd name="T95" fmla="*/ 48 h 2704"/>
                  <a:gd name="T96" fmla="*/ 787 w 1708"/>
                  <a:gd name="T97" fmla="*/ 73 h 2704"/>
                  <a:gd name="T98" fmla="*/ 672 w 1708"/>
                  <a:gd name="T99" fmla="*/ 179 h 2704"/>
                  <a:gd name="T100" fmla="*/ 481 w 1708"/>
                  <a:gd name="T101" fmla="*/ 338 h 2704"/>
                  <a:gd name="T102" fmla="*/ 402 w 1708"/>
                  <a:gd name="T103" fmla="*/ 375 h 2704"/>
                  <a:gd name="T104" fmla="*/ 337 w 1708"/>
                  <a:gd name="T105" fmla="*/ 381 h 2704"/>
                  <a:gd name="T106" fmla="*/ 264 w 1708"/>
                  <a:gd name="T107" fmla="*/ 367 h 2704"/>
                  <a:gd name="T108" fmla="*/ 174 w 1708"/>
                  <a:gd name="T109" fmla="*/ 332 h 2704"/>
                  <a:gd name="T110" fmla="*/ 119 w 1708"/>
                  <a:gd name="T111" fmla="*/ 328 h 2704"/>
                  <a:gd name="T112" fmla="*/ 68 w 1708"/>
                  <a:gd name="T113" fmla="*/ 346 h 2704"/>
                  <a:gd name="T114" fmla="*/ 8 w 1708"/>
                  <a:gd name="T115" fmla="*/ 418 h 2704"/>
                  <a:gd name="T116" fmla="*/ 1036 w 1708"/>
                  <a:gd name="T117" fmla="*/ 103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8" h="2704">
                    <a:moveTo>
                      <a:pt x="8" y="418"/>
                    </a:moveTo>
                    <a:lnTo>
                      <a:pt x="8" y="418"/>
                    </a:lnTo>
                    <a:lnTo>
                      <a:pt x="5" y="431"/>
                    </a:lnTo>
                    <a:lnTo>
                      <a:pt x="2" y="443"/>
                    </a:lnTo>
                    <a:lnTo>
                      <a:pt x="0" y="456"/>
                    </a:lnTo>
                    <a:lnTo>
                      <a:pt x="0" y="469"/>
                    </a:lnTo>
                    <a:lnTo>
                      <a:pt x="2" y="481"/>
                    </a:lnTo>
                    <a:lnTo>
                      <a:pt x="4" y="494"/>
                    </a:lnTo>
                    <a:lnTo>
                      <a:pt x="6" y="506"/>
                    </a:lnTo>
                    <a:lnTo>
                      <a:pt x="11" y="518"/>
                    </a:lnTo>
                    <a:lnTo>
                      <a:pt x="16" y="529"/>
                    </a:lnTo>
                    <a:lnTo>
                      <a:pt x="22" y="540"/>
                    </a:lnTo>
                    <a:lnTo>
                      <a:pt x="30" y="550"/>
                    </a:lnTo>
                    <a:lnTo>
                      <a:pt x="38" y="559"/>
                    </a:lnTo>
                    <a:lnTo>
                      <a:pt x="47" y="568"/>
                    </a:lnTo>
                    <a:lnTo>
                      <a:pt x="58" y="576"/>
                    </a:lnTo>
                    <a:lnTo>
                      <a:pt x="68" y="583"/>
                    </a:lnTo>
                    <a:lnTo>
                      <a:pt x="79" y="590"/>
                    </a:lnTo>
                    <a:lnTo>
                      <a:pt x="79" y="590"/>
                    </a:lnTo>
                    <a:lnTo>
                      <a:pt x="117" y="606"/>
                    </a:lnTo>
                    <a:lnTo>
                      <a:pt x="154" y="620"/>
                    </a:lnTo>
                    <a:lnTo>
                      <a:pt x="188" y="631"/>
                    </a:lnTo>
                    <a:lnTo>
                      <a:pt x="222" y="642"/>
                    </a:lnTo>
                    <a:lnTo>
                      <a:pt x="256" y="648"/>
                    </a:lnTo>
                    <a:lnTo>
                      <a:pt x="288" y="653"/>
                    </a:lnTo>
                    <a:lnTo>
                      <a:pt x="320" y="656"/>
                    </a:lnTo>
                    <a:lnTo>
                      <a:pt x="349" y="656"/>
                    </a:lnTo>
                    <a:lnTo>
                      <a:pt x="349" y="656"/>
                    </a:lnTo>
                    <a:lnTo>
                      <a:pt x="373" y="656"/>
                    </a:lnTo>
                    <a:lnTo>
                      <a:pt x="395" y="654"/>
                    </a:lnTo>
                    <a:lnTo>
                      <a:pt x="418" y="652"/>
                    </a:lnTo>
                    <a:lnTo>
                      <a:pt x="440" y="648"/>
                    </a:lnTo>
                    <a:lnTo>
                      <a:pt x="460" y="644"/>
                    </a:lnTo>
                    <a:lnTo>
                      <a:pt x="482" y="638"/>
                    </a:lnTo>
                    <a:lnTo>
                      <a:pt x="503" y="631"/>
                    </a:lnTo>
                    <a:lnTo>
                      <a:pt x="522" y="624"/>
                    </a:lnTo>
                    <a:lnTo>
                      <a:pt x="541" y="616"/>
                    </a:lnTo>
                    <a:lnTo>
                      <a:pt x="561" y="607"/>
                    </a:lnTo>
                    <a:lnTo>
                      <a:pt x="580" y="598"/>
                    </a:lnTo>
                    <a:lnTo>
                      <a:pt x="599" y="588"/>
                    </a:lnTo>
                    <a:lnTo>
                      <a:pt x="635" y="566"/>
                    </a:lnTo>
                    <a:lnTo>
                      <a:pt x="672" y="542"/>
                    </a:lnTo>
                    <a:lnTo>
                      <a:pt x="672" y="1094"/>
                    </a:lnTo>
                    <a:lnTo>
                      <a:pt x="672" y="1094"/>
                    </a:lnTo>
                    <a:lnTo>
                      <a:pt x="673" y="1122"/>
                    </a:lnTo>
                    <a:lnTo>
                      <a:pt x="676" y="1148"/>
                    </a:lnTo>
                    <a:lnTo>
                      <a:pt x="683" y="1173"/>
                    </a:lnTo>
                    <a:lnTo>
                      <a:pt x="691" y="1197"/>
                    </a:lnTo>
                    <a:lnTo>
                      <a:pt x="691" y="1197"/>
                    </a:lnTo>
                    <a:lnTo>
                      <a:pt x="690" y="1209"/>
                    </a:lnTo>
                    <a:lnTo>
                      <a:pt x="690" y="1219"/>
                    </a:lnTo>
                    <a:lnTo>
                      <a:pt x="690" y="2540"/>
                    </a:lnTo>
                    <a:lnTo>
                      <a:pt x="690" y="2540"/>
                    </a:lnTo>
                    <a:lnTo>
                      <a:pt x="690" y="2557"/>
                    </a:lnTo>
                    <a:lnTo>
                      <a:pt x="692" y="2573"/>
                    </a:lnTo>
                    <a:lnTo>
                      <a:pt x="697" y="2589"/>
                    </a:lnTo>
                    <a:lnTo>
                      <a:pt x="703" y="2604"/>
                    </a:lnTo>
                    <a:lnTo>
                      <a:pt x="710" y="2618"/>
                    </a:lnTo>
                    <a:lnTo>
                      <a:pt x="718" y="2632"/>
                    </a:lnTo>
                    <a:lnTo>
                      <a:pt x="727" y="2644"/>
                    </a:lnTo>
                    <a:lnTo>
                      <a:pt x="737" y="2656"/>
                    </a:lnTo>
                    <a:lnTo>
                      <a:pt x="749" y="2666"/>
                    </a:lnTo>
                    <a:lnTo>
                      <a:pt x="761" y="2675"/>
                    </a:lnTo>
                    <a:lnTo>
                      <a:pt x="775" y="2683"/>
                    </a:lnTo>
                    <a:lnTo>
                      <a:pt x="790" y="2690"/>
                    </a:lnTo>
                    <a:lnTo>
                      <a:pt x="805" y="2696"/>
                    </a:lnTo>
                    <a:lnTo>
                      <a:pt x="819" y="2700"/>
                    </a:lnTo>
                    <a:lnTo>
                      <a:pt x="835" y="2703"/>
                    </a:lnTo>
                    <a:lnTo>
                      <a:pt x="853" y="2704"/>
                    </a:lnTo>
                    <a:lnTo>
                      <a:pt x="853" y="2704"/>
                    </a:lnTo>
                    <a:lnTo>
                      <a:pt x="869" y="2703"/>
                    </a:lnTo>
                    <a:lnTo>
                      <a:pt x="886" y="2700"/>
                    </a:lnTo>
                    <a:lnTo>
                      <a:pt x="901" y="2696"/>
                    </a:lnTo>
                    <a:lnTo>
                      <a:pt x="916" y="2690"/>
                    </a:lnTo>
                    <a:lnTo>
                      <a:pt x="930" y="2683"/>
                    </a:lnTo>
                    <a:lnTo>
                      <a:pt x="943" y="2675"/>
                    </a:lnTo>
                    <a:lnTo>
                      <a:pt x="956" y="2666"/>
                    </a:lnTo>
                    <a:lnTo>
                      <a:pt x="968" y="2656"/>
                    </a:lnTo>
                    <a:lnTo>
                      <a:pt x="978" y="2644"/>
                    </a:lnTo>
                    <a:lnTo>
                      <a:pt x="988" y="2632"/>
                    </a:lnTo>
                    <a:lnTo>
                      <a:pt x="996" y="2618"/>
                    </a:lnTo>
                    <a:lnTo>
                      <a:pt x="1002" y="2604"/>
                    </a:lnTo>
                    <a:lnTo>
                      <a:pt x="1008" y="2589"/>
                    </a:lnTo>
                    <a:lnTo>
                      <a:pt x="1012" y="2573"/>
                    </a:lnTo>
                    <a:lnTo>
                      <a:pt x="1014" y="2557"/>
                    </a:lnTo>
                    <a:lnTo>
                      <a:pt x="1015" y="2540"/>
                    </a:lnTo>
                    <a:lnTo>
                      <a:pt x="1015" y="1407"/>
                    </a:lnTo>
                    <a:lnTo>
                      <a:pt x="1015" y="1407"/>
                    </a:lnTo>
                    <a:lnTo>
                      <a:pt x="1035" y="1408"/>
                    </a:lnTo>
                    <a:lnTo>
                      <a:pt x="1035" y="1408"/>
                    </a:lnTo>
                    <a:lnTo>
                      <a:pt x="1038" y="1407"/>
                    </a:lnTo>
                    <a:lnTo>
                      <a:pt x="1038" y="2540"/>
                    </a:lnTo>
                    <a:lnTo>
                      <a:pt x="1038" y="2540"/>
                    </a:lnTo>
                    <a:lnTo>
                      <a:pt x="1039" y="2557"/>
                    </a:lnTo>
                    <a:lnTo>
                      <a:pt x="1041" y="2573"/>
                    </a:lnTo>
                    <a:lnTo>
                      <a:pt x="1046" y="2589"/>
                    </a:lnTo>
                    <a:lnTo>
                      <a:pt x="1051" y="2604"/>
                    </a:lnTo>
                    <a:lnTo>
                      <a:pt x="1057" y="2618"/>
                    </a:lnTo>
                    <a:lnTo>
                      <a:pt x="1067" y="2632"/>
                    </a:lnTo>
                    <a:lnTo>
                      <a:pt x="1076" y="2644"/>
                    </a:lnTo>
                    <a:lnTo>
                      <a:pt x="1086" y="2656"/>
                    </a:lnTo>
                    <a:lnTo>
                      <a:pt x="1097" y="2666"/>
                    </a:lnTo>
                    <a:lnTo>
                      <a:pt x="1110" y="2675"/>
                    </a:lnTo>
                    <a:lnTo>
                      <a:pt x="1124" y="2683"/>
                    </a:lnTo>
                    <a:lnTo>
                      <a:pt x="1137" y="2690"/>
                    </a:lnTo>
                    <a:lnTo>
                      <a:pt x="1152" y="2696"/>
                    </a:lnTo>
                    <a:lnTo>
                      <a:pt x="1168" y="2700"/>
                    </a:lnTo>
                    <a:lnTo>
                      <a:pt x="1184" y="2703"/>
                    </a:lnTo>
                    <a:lnTo>
                      <a:pt x="1202" y="2704"/>
                    </a:lnTo>
                    <a:lnTo>
                      <a:pt x="1202" y="2704"/>
                    </a:lnTo>
                    <a:lnTo>
                      <a:pt x="1202" y="2704"/>
                    </a:lnTo>
                    <a:lnTo>
                      <a:pt x="1218" y="2703"/>
                    </a:lnTo>
                    <a:lnTo>
                      <a:pt x="1234" y="2700"/>
                    </a:lnTo>
                    <a:lnTo>
                      <a:pt x="1250" y="2696"/>
                    </a:lnTo>
                    <a:lnTo>
                      <a:pt x="1264" y="2690"/>
                    </a:lnTo>
                    <a:lnTo>
                      <a:pt x="1278" y="2683"/>
                    </a:lnTo>
                    <a:lnTo>
                      <a:pt x="1292" y="2675"/>
                    </a:lnTo>
                    <a:lnTo>
                      <a:pt x="1304" y="2666"/>
                    </a:lnTo>
                    <a:lnTo>
                      <a:pt x="1316" y="2656"/>
                    </a:lnTo>
                    <a:lnTo>
                      <a:pt x="1326" y="2644"/>
                    </a:lnTo>
                    <a:lnTo>
                      <a:pt x="1337" y="2632"/>
                    </a:lnTo>
                    <a:lnTo>
                      <a:pt x="1345" y="2618"/>
                    </a:lnTo>
                    <a:lnTo>
                      <a:pt x="1351" y="2604"/>
                    </a:lnTo>
                    <a:lnTo>
                      <a:pt x="1357" y="2589"/>
                    </a:lnTo>
                    <a:lnTo>
                      <a:pt x="1361" y="2573"/>
                    </a:lnTo>
                    <a:lnTo>
                      <a:pt x="1363" y="2557"/>
                    </a:lnTo>
                    <a:lnTo>
                      <a:pt x="1364" y="2540"/>
                    </a:lnTo>
                    <a:lnTo>
                      <a:pt x="1364" y="1227"/>
                    </a:lnTo>
                    <a:lnTo>
                      <a:pt x="1364" y="1227"/>
                    </a:lnTo>
                    <a:lnTo>
                      <a:pt x="1372" y="1212"/>
                    </a:lnTo>
                    <a:lnTo>
                      <a:pt x="1378" y="1197"/>
                    </a:lnTo>
                    <a:lnTo>
                      <a:pt x="1383" y="1181"/>
                    </a:lnTo>
                    <a:lnTo>
                      <a:pt x="1389" y="1164"/>
                    </a:lnTo>
                    <a:lnTo>
                      <a:pt x="1393" y="1147"/>
                    </a:lnTo>
                    <a:lnTo>
                      <a:pt x="1395" y="1130"/>
                    </a:lnTo>
                    <a:lnTo>
                      <a:pt x="1397" y="1112"/>
                    </a:lnTo>
                    <a:lnTo>
                      <a:pt x="1397" y="1094"/>
                    </a:lnTo>
                    <a:lnTo>
                      <a:pt x="1397" y="651"/>
                    </a:lnTo>
                    <a:lnTo>
                      <a:pt x="1397" y="651"/>
                    </a:lnTo>
                    <a:lnTo>
                      <a:pt x="1409" y="697"/>
                    </a:lnTo>
                    <a:lnTo>
                      <a:pt x="1418" y="746"/>
                    </a:lnTo>
                    <a:lnTo>
                      <a:pt x="1426" y="800"/>
                    </a:lnTo>
                    <a:lnTo>
                      <a:pt x="1430" y="858"/>
                    </a:lnTo>
                    <a:lnTo>
                      <a:pt x="1433" y="920"/>
                    </a:lnTo>
                    <a:lnTo>
                      <a:pt x="1433" y="988"/>
                    </a:lnTo>
                    <a:lnTo>
                      <a:pt x="1431" y="1060"/>
                    </a:lnTo>
                    <a:lnTo>
                      <a:pt x="1426" y="1138"/>
                    </a:lnTo>
                    <a:lnTo>
                      <a:pt x="1426" y="1138"/>
                    </a:lnTo>
                    <a:lnTo>
                      <a:pt x="1426" y="1153"/>
                    </a:lnTo>
                    <a:lnTo>
                      <a:pt x="1427" y="1166"/>
                    </a:lnTo>
                    <a:lnTo>
                      <a:pt x="1429" y="1179"/>
                    </a:lnTo>
                    <a:lnTo>
                      <a:pt x="1433" y="1193"/>
                    </a:lnTo>
                    <a:lnTo>
                      <a:pt x="1437" y="1205"/>
                    </a:lnTo>
                    <a:lnTo>
                      <a:pt x="1443" y="1217"/>
                    </a:lnTo>
                    <a:lnTo>
                      <a:pt x="1451" y="1228"/>
                    </a:lnTo>
                    <a:lnTo>
                      <a:pt x="1459" y="1238"/>
                    </a:lnTo>
                    <a:lnTo>
                      <a:pt x="1468" y="1248"/>
                    </a:lnTo>
                    <a:lnTo>
                      <a:pt x="1477" y="1257"/>
                    </a:lnTo>
                    <a:lnTo>
                      <a:pt x="1489" y="1265"/>
                    </a:lnTo>
                    <a:lnTo>
                      <a:pt x="1500" y="1272"/>
                    </a:lnTo>
                    <a:lnTo>
                      <a:pt x="1513" y="1276"/>
                    </a:lnTo>
                    <a:lnTo>
                      <a:pt x="1525" y="1281"/>
                    </a:lnTo>
                    <a:lnTo>
                      <a:pt x="1539" y="1284"/>
                    </a:lnTo>
                    <a:lnTo>
                      <a:pt x="1553" y="1287"/>
                    </a:lnTo>
                    <a:lnTo>
                      <a:pt x="1553" y="1287"/>
                    </a:lnTo>
                    <a:lnTo>
                      <a:pt x="1563" y="1287"/>
                    </a:lnTo>
                    <a:lnTo>
                      <a:pt x="1563" y="1287"/>
                    </a:lnTo>
                    <a:lnTo>
                      <a:pt x="1577" y="1287"/>
                    </a:lnTo>
                    <a:lnTo>
                      <a:pt x="1589" y="1284"/>
                    </a:lnTo>
                    <a:lnTo>
                      <a:pt x="1602" y="1281"/>
                    </a:lnTo>
                    <a:lnTo>
                      <a:pt x="1615" y="1277"/>
                    </a:lnTo>
                    <a:lnTo>
                      <a:pt x="1626" y="1272"/>
                    </a:lnTo>
                    <a:lnTo>
                      <a:pt x="1636" y="1266"/>
                    </a:lnTo>
                    <a:lnTo>
                      <a:pt x="1647" y="1258"/>
                    </a:lnTo>
                    <a:lnTo>
                      <a:pt x="1657" y="1250"/>
                    </a:lnTo>
                    <a:lnTo>
                      <a:pt x="1666" y="1241"/>
                    </a:lnTo>
                    <a:lnTo>
                      <a:pt x="1674" y="1232"/>
                    </a:lnTo>
                    <a:lnTo>
                      <a:pt x="1681" y="1221"/>
                    </a:lnTo>
                    <a:lnTo>
                      <a:pt x="1687" y="1210"/>
                    </a:lnTo>
                    <a:lnTo>
                      <a:pt x="1692" y="1198"/>
                    </a:lnTo>
                    <a:lnTo>
                      <a:pt x="1696" y="1186"/>
                    </a:lnTo>
                    <a:lnTo>
                      <a:pt x="1699" y="1173"/>
                    </a:lnTo>
                    <a:lnTo>
                      <a:pt x="1700" y="1159"/>
                    </a:lnTo>
                    <a:lnTo>
                      <a:pt x="1700" y="1159"/>
                    </a:lnTo>
                    <a:lnTo>
                      <a:pt x="1705" y="1095"/>
                    </a:lnTo>
                    <a:lnTo>
                      <a:pt x="1707" y="1035"/>
                    </a:lnTo>
                    <a:lnTo>
                      <a:pt x="1708" y="976"/>
                    </a:lnTo>
                    <a:lnTo>
                      <a:pt x="1708" y="920"/>
                    </a:lnTo>
                    <a:lnTo>
                      <a:pt x="1706" y="865"/>
                    </a:lnTo>
                    <a:lnTo>
                      <a:pt x="1703" y="813"/>
                    </a:lnTo>
                    <a:lnTo>
                      <a:pt x="1698" y="764"/>
                    </a:lnTo>
                    <a:lnTo>
                      <a:pt x="1692" y="717"/>
                    </a:lnTo>
                    <a:lnTo>
                      <a:pt x="1685" y="672"/>
                    </a:lnTo>
                    <a:lnTo>
                      <a:pt x="1676" y="630"/>
                    </a:lnTo>
                    <a:lnTo>
                      <a:pt x="1667" y="589"/>
                    </a:lnTo>
                    <a:lnTo>
                      <a:pt x="1656" y="550"/>
                    </a:lnTo>
                    <a:lnTo>
                      <a:pt x="1644" y="512"/>
                    </a:lnTo>
                    <a:lnTo>
                      <a:pt x="1631" y="477"/>
                    </a:lnTo>
                    <a:lnTo>
                      <a:pt x="1617" y="443"/>
                    </a:lnTo>
                    <a:lnTo>
                      <a:pt x="1602" y="411"/>
                    </a:lnTo>
                    <a:lnTo>
                      <a:pt x="1586" y="380"/>
                    </a:lnTo>
                    <a:lnTo>
                      <a:pt x="1569" y="352"/>
                    </a:lnTo>
                    <a:lnTo>
                      <a:pt x="1552" y="324"/>
                    </a:lnTo>
                    <a:lnTo>
                      <a:pt x="1533" y="298"/>
                    </a:lnTo>
                    <a:lnTo>
                      <a:pt x="1514" y="274"/>
                    </a:lnTo>
                    <a:lnTo>
                      <a:pt x="1494" y="250"/>
                    </a:lnTo>
                    <a:lnTo>
                      <a:pt x="1474" y="227"/>
                    </a:lnTo>
                    <a:lnTo>
                      <a:pt x="1453" y="206"/>
                    </a:lnTo>
                    <a:lnTo>
                      <a:pt x="1431" y="186"/>
                    </a:lnTo>
                    <a:lnTo>
                      <a:pt x="1410" y="166"/>
                    </a:lnTo>
                    <a:lnTo>
                      <a:pt x="1387" y="148"/>
                    </a:lnTo>
                    <a:lnTo>
                      <a:pt x="1365" y="131"/>
                    </a:lnTo>
                    <a:lnTo>
                      <a:pt x="1341" y="113"/>
                    </a:lnTo>
                    <a:lnTo>
                      <a:pt x="1318" y="97"/>
                    </a:lnTo>
                    <a:lnTo>
                      <a:pt x="1270" y="66"/>
                    </a:lnTo>
                    <a:lnTo>
                      <a:pt x="1270" y="66"/>
                    </a:lnTo>
                    <a:lnTo>
                      <a:pt x="1270" y="66"/>
                    </a:lnTo>
                    <a:lnTo>
                      <a:pt x="1261" y="62"/>
                    </a:lnTo>
                    <a:lnTo>
                      <a:pt x="1252" y="57"/>
                    </a:lnTo>
                    <a:lnTo>
                      <a:pt x="1252" y="57"/>
                    </a:lnTo>
                    <a:lnTo>
                      <a:pt x="1237" y="48"/>
                    </a:lnTo>
                    <a:lnTo>
                      <a:pt x="1221" y="39"/>
                    </a:lnTo>
                    <a:lnTo>
                      <a:pt x="1206" y="31"/>
                    </a:lnTo>
                    <a:lnTo>
                      <a:pt x="1190" y="24"/>
                    </a:lnTo>
                    <a:lnTo>
                      <a:pt x="1173" y="17"/>
                    </a:lnTo>
                    <a:lnTo>
                      <a:pt x="1157" y="10"/>
                    </a:lnTo>
                    <a:lnTo>
                      <a:pt x="1140" y="6"/>
                    </a:lnTo>
                    <a:lnTo>
                      <a:pt x="1123" y="1"/>
                    </a:lnTo>
                    <a:lnTo>
                      <a:pt x="1035" y="89"/>
                    </a:lnTo>
                    <a:lnTo>
                      <a:pt x="949" y="0"/>
                    </a:lnTo>
                    <a:lnTo>
                      <a:pt x="949" y="0"/>
                    </a:lnTo>
                    <a:lnTo>
                      <a:pt x="948" y="0"/>
                    </a:lnTo>
                    <a:lnTo>
                      <a:pt x="948" y="0"/>
                    </a:lnTo>
                    <a:lnTo>
                      <a:pt x="930" y="5"/>
                    </a:lnTo>
                    <a:lnTo>
                      <a:pt x="913" y="10"/>
                    </a:lnTo>
                    <a:lnTo>
                      <a:pt x="896" y="16"/>
                    </a:lnTo>
                    <a:lnTo>
                      <a:pt x="880" y="23"/>
                    </a:lnTo>
                    <a:lnTo>
                      <a:pt x="863" y="31"/>
                    </a:lnTo>
                    <a:lnTo>
                      <a:pt x="847" y="39"/>
                    </a:lnTo>
                    <a:lnTo>
                      <a:pt x="831" y="48"/>
                    </a:lnTo>
                    <a:lnTo>
                      <a:pt x="816" y="58"/>
                    </a:lnTo>
                    <a:lnTo>
                      <a:pt x="816" y="58"/>
                    </a:lnTo>
                    <a:lnTo>
                      <a:pt x="807" y="63"/>
                    </a:lnTo>
                    <a:lnTo>
                      <a:pt x="797" y="68"/>
                    </a:lnTo>
                    <a:lnTo>
                      <a:pt x="787" y="73"/>
                    </a:lnTo>
                    <a:lnTo>
                      <a:pt x="779" y="81"/>
                    </a:lnTo>
                    <a:lnTo>
                      <a:pt x="779" y="81"/>
                    </a:lnTo>
                    <a:lnTo>
                      <a:pt x="725" y="131"/>
                    </a:lnTo>
                    <a:lnTo>
                      <a:pt x="672" y="179"/>
                    </a:lnTo>
                    <a:lnTo>
                      <a:pt x="672" y="179"/>
                    </a:lnTo>
                    <a:lnTo>
                      <a:pt x="600" y="245"/>
                    </a:lnTo>
                    <a:lnTo>
                      <a:pt x="567" y="273"/>
                    </a:lnTo>
                    <a:lnTo>
                      <a:pt x="537" y="298"/>
                    </a:lnTo>
                    <a:lnTo>
                      <a:pt x="508" y="320"/>
                    </a:lnTo>
                    <a:lnTo>
                      <a:pt x="481" y="338"/>
                    </a:lnTo>
                    <a:lnTo>
                      <a:pt x="453" y="354"/>
                    </a:lnTo>
                    <a:lnTo>
                      <a:pt x="441" y="360"/>
                    </a:lnTo>
                    <a:lnTo>
                      <a:pt x="428" y="365"/>
                    </a:lnTo>
                    <a:lnTo>
                      <a:pt x="415" y="370"/>
                    </a:lnTo>
                    <a:lnTo>
                      <a:pt x="402" y="375"/>
                    </a:lnTo>
                    <a:lnTo>
                      <a:pt x="389" y="377"/>
                    </a:lnTo>
                    <a:lnTo>
                      <a:pt x="377" y="379"/>
                    </a:lnTo>
                    <a:lnTo>
                      <a:pt x="363" y="380"/>
                    </a:lnTo>
                    <a:lnTo>
                      <a:pt x="349" y="381"/>
                    </a:lnTo>
                    <a:lnTo>
                      <a:pt x="337" y="381"/>
                    </a:lnTo>
                    <a:lnTo>
                      <a:pt x="322" y="379"/>
                    </a:lnTo>
                    <a:lnTo>
                      <a:pt x="308" y="378"/>
                    </a:lnTo>
                    <a:lnTo>
                      <a:pt x="293" y="375"/>
                    </a:lnTo>
                    <a:lnTo>
                      <a:pt x="278" y="371"/>
                    </a:lnTo>
                    <a:lnTo>
                      <a:pt x="264" y="367"/>
                    </a:lnTo>
                    <a:lnTo>
                      <a:pt x="231" y="355"/>
                    </a:lnTo>
                    <a:lnTo>
                      <a:pt x="196" y="340"/>
                    </a:lnTo>
                    <a:lnTo>
                      <a:pt x="196" y="340"/>
                    </a:lnTo>
                    <a:lnTo>
                      <a:pt x="186" y="336"/>
                    </a:lnTo>
                    <a:lnTo>
                      <a:pt x="174" y="332"/>
                    </a:lnTo>
                    <a:lnTo>
                      <a:pt x="164" y="329"/>
                    </a:lnTo>
                    <a:lnTo>
                      <a:pt x="153" y="328"/>
                    </a:lnTo>
                    <a:lnTo>
                      <a:pt x="141" y="326"/>
                    </a:lnTo>
                    <a:lnTo>
                      <a:pt x="130" y="326"/>
                    </a:lnTo>
                    <a:lnTo>
                      <a:pt x="119" y="328"/>
                    </a:lnTo>
                    <a:lnTo>
                      <a:pt x="108" y="330"/>
                    </a:lnTo>
                    <a:lnTo>
                      <a:pt x="98" y="333"/>
                    </a:lnTo>
                    <a:lnTo>
                      <a:pt x="87" y="337"/>
                    </a:lnTo>
                    <a:lnTo>
                      <a:pt x="77" y="341"/>
                    </a:lnTo>
                    <a:lnTo>
                      <a:pt x="68" y="346"/>
                    </a:lnTo>
                    <a:lnTo>
                      <a:pt x="58" y="353"/>
                    </a:lnTo>
                    <a:lnTo>
                      <a:pt x="50" y="360"/>
                    </a:lnTo>
                    <a:lnTo>
                      <a:pt x="42" y="367"/>
                    </a:lnTo>
                    <a:lnTo>
                      <a:pt x="34" y="376"/>
                    </a:lnTo>
                    <a:lnTo>
                      <a:pt x="8" y="418"/>
                    </a:lnTo>
                    <a:close/>
                    <a:moveTo>
                      <a:pt x="1036" y="793"/>
                    </a:moveTo>
                    <a:lnTo>
                      <a:pt x="1033" y="793"/>
                    </a:lnTo>
                    <a:lnTo>
                      <a:pt x="948" y="676"/>
                    </a:lnTo>
                    <a:lnTo>
                      <a:pt x="1033" y="103"/>
                    </a:lnTo>
                    <a:lnTo>
                      <a:pt x="1036" y="103"/>
                    </a:lnTo>
                    <a:lnTo>
                      <a:pt x="1121" y="676"/>
                    </a:lnTo>
                    <a:lnTo>
                      <a:pt x="1036" y="793"/>
                    </a:lnTo>
                    <a:close/>
                    <a:moveTo>
                      <a:pt x="1036" y="793"/>
                    </a:moveTo>
                    <a:lnTo>
                      <a:pt x="1036" y="793"/>
                    </a:lnTo>
                    <a:close/>
                  </a:path>
                </a:pathLst>
              </a:custGeom>
              <a:solidFill>
                <a:srgbClr val="50CFE6"/>
              </a:solidFill>
              <a:ln w="9525">
                <a:solidFill>
                  <a:schemeClr val="tx1"/>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14" name="Freeform 17">
                <a:extLst>
                  <a:ext uri="{FF2B5EF4-FFF2-40B4-BE49-F238E27FC236}">
                    <a16:creationId xmlns:a16="http://schemas.microsoft.com/office/drawing/2014/main" id="{1672C4F7-B788-4C61-8E25-6DC4BA94C60D}"/>
                  </a:ext>
                </a:extLst>
              </p:cNvPr>
              <p:cNvSpPr>
                <a:spLocks/>
              </p:cNvSpPr>
              <p:nvPr/>
            </p:nvSpPr>
            <p:spPr bwMode="auto">
              <a:xfrm>
                <a:off x="4615789" y="1251548"/>
                <a:ext cx="196174" cy="311144"/>
              </a:xfrm>
              <a:custGeom>
                <a:avLst/>
                <a:gdLst>
                  <a:gd name="T0" fmla="*/ 0 w 1708"/>
                  <a:gd name="T1" fmla="*/ 456 h 2704"/>
                  <a:gd name="T2" fmla="*/ 11 w 1708"/>
                  <a:gd name="T3" fmla="*/ 518 h 2704"/>
                  <a:gd name="T4" fmla="*/ 47 w 1708"/>
                  <a:gd name="T5" fmla="*/ 568 h 2704"/>
                  <a:gd name="T6" fmla="*/ 117 w 1708"/>
                  <a:gd name="T7" fmla="*/ 606 h 2704"/>
                  <a:gd name="T8" fmla="*/ 288 w 1708"/>
                  <a:gd name="T9" fmla="*/ 653 h 2704"/>
                  <a:gd name="T10" fmla="*/ 395 w 1708"/>
                  <a:gd name="T11" fmla="*/ 654 h 2704"/>
                  <a:gd name="T12" fmla="*/ 503 w 1708"/>
                  <a:gd name="T13" fmla="*/ 631 h 2704"/>
                  <a:gd name="T14" fmla="*/ 599 w 1708"/>
                  <a:gd name="T15" fmla="*/ 588 h 2704"/>
                  <a:gd name="T16" fmla="*/ 673 w 1708"/>
                  <a:gd name="T17" fmla="*/ 1122 h 2704"/>
                  <a:gd name="T18" fmla="*/ 690 w 1708"/>
                  <a:gd name="T19" fmla="*/ 1209 h 2704"/>
                  <a:gd name="T20" fmla="*/ 692 w 1708"/>
                  <a:gd name="T21" fmla="*/ 2573 h 2704"/>
                  <a:gd name="T22" fmla="*/ 727 w 1708"/>
                  <a:gd name="T23" fmla="*/ 2644 h 2704"/>
                  <a:gd name="T24" fmla="*/ 790 w 1708"/>
                  <a:gd name="T25" fmla="*/ 2690 h 2704"/>
                  <a:gd name="T26" fmla="*/ 853 w 1708"/>
                  <a:gd name="T27" fmla="*/ 2704 h 2704"/>
                  <a:gd name="T28" fmla="*/ 930 w 1708"/>
                  <a:gd name="T29" fmla="*/ 2683 h 2704"/>
                  <a:gd name="T30" fmla="*/ 988 w 1708"/>
                  <a:gd name="T31" fmla="*/ 2632 h 2704"/>
                  <a:gd name="T32" fmla="*/ 1014 w 1708"/>
                  <a:gd name="T33" fmla="*/ 2557 h 2704"/>
                  <a:gd name="T34" fmla="*/ 1035 w 1708"/>
                  <a:gd name="T35" fmla="*/ 1408 h 2704"/>
                  <a:gd name="T36" fmla="*/ 1041 w 1708"/>
                  <a:gd name="T37" fmla="*/ 2573 h 2704"/>
                  <a:gd name="T38" fmla="*/ 1076 w 1708"/>
                  <a:gd name="T39" fmla="*/ 2644 h 2704"/>
                  <a:gd name="T40" fmla="*/ 1137 w 1708"/>
                  <a:gd name="T41" fmla="*/ 2690 h 2704"/>
                  <a:gd name="T42" fmla="*/ 1202 w 1708"/>
                  <a:gd name="T43" fmla="*/ 2704 h 2704"/>
                  <a:gd name="T44" fmla="*/ 1264 w 1708"/>
                  <a:gd name="T45" fmla="*/ 2690 h 2704"/>
                  <a:gd name="T46" fmla="*/ 1326 w 1708"/>
                  <a:gd name="T47" fmla="*/ 2644 h 2704"/>
                  <a:gd name="T48" fmla="*/ 1361 w 1708"/>
                  <a:gd name="T49" fmla="*/ 2573 h 2704"/>
                  <a:gd name="T50" fmla="*/ 1372 w 1708"/>
                  <a:gd name="T51" fmla="*/ 1212 h 2704"/>
                  <a:gd name="T52" fmla="*/ 1395 w 1708"/>
                  <a:gd name="T53" fmla="*/ 1130 h 2704"/>
                  <a:gd name="T54" fmla="*/ 1409 w 1708"/>
                  <a:gd name="T55" fmla="*/ 697 h 2704"/>
                  <a:gd name="T56" fmla="*/ 1433 w 1708"/>
                  <a:gd name="T57" fmla="*/ 988 h 2704"/>
                  <a:gd name="T58" fmla="*/ 1427 w 1708"/>
                  <a:gd name="T59" fmla="*/ 1166 h 2704"/>
                  <a:gd name="T60" fmla="*/ 1451 w 1708"/>
                  <a:gd name="T61" fmla="*/ 1228 h 2704"/>
                  <a:gd name="T62" fmla="*/ 1500 w 1708"/>
                  <a:gd name="T63" fmla="*/ 1272 h 2704"/>
                  <a:gd name="T64" fmla="*/ 1553 w 1708"/>
                  <a:gd name="T65" fmla="*/ 1287 h 2704"/>
                  <a:gd name="T66" fmla="*/ 1602 w 1708"/>
                  <a:gd name="T67" fmla="*/ 1281 h 2704"/>
                  <a:gd name="T68" fmla="*/ 1657 w 1708"/>
                  <a:gd name="T69" fmla="*/ 1250 h 2704"/>
                  <a:gd name="T70" fmla="*/ 1692 w 1708"/>
                  <a:gd name="T71" fmla="*/ 1198 h 2704"/>
                  <a:gd name="T72" fmla="*/ 1705 w 1708"/>
                  <a:gd name="T73" fmla="*/ 1095 h 2704"/>
                  <a:gd name="T74" fmla="*/ 1703 w 1708"/>
                  <a:gd name="T75" fmla="*/ 813 h 2704"/>
                  <a:gd name="T76" fmla="*/ 1667 w 1708"/>
                  <a:gd name="T77" fmla="*/ 589 h 2704"/>
                  <a:gd name="T78" fmla="*/ 1602 w 1708"/>
                  <a:gd name="T79" fmla="*/ 411 h 2704"/>
                  <a:gd name="T80" fmla="*/ 1514 w 1708"/>
                  <a:gd name="T81" fmla="*/ 274 h 2704"/>
                  <a:gd name="T82" fmla="*/ 1410 w 1708"/>
                  <a:gd name="T83" fmla="*/ 166 h 2704"/>
                  <a:gd name="T84" fmla="*/ 1270 w 1708"/>
                  <a:gd name="T85" fmla="*/ 66 h 2704"/>
                  <a:gd name="T86" fmla="*/ 1252 w 1708"/>
                  <a:gd name="T87" fmla="*/ 57 h 2704"/>
                  <a:gd name="T88" fmla="*/ 1173 w 1708"/>
                  <a:gd name="T89" fmla="*/ 17 h 2704"/>
                  <a:gd name="T90" fmla="*/ 949 w 1708"/>
                  <a:gd name="T91" fmla="*/ 0 h 2704"/>
                  <a:gd name="T92" fmla="*/ 913 w 1708"/>
                  <a:gd name="T93" fmla="*/ 10 h 2704"/>
                  <a:gd name="T94" fmla="*/ 831 w 1708"/>
                  <a:gd name="T95" fmla="*/ 48 h 2704"/>
                  <a:gd name="T96" fmla="*/ 787 w 1708"/>
                  <a:gd name="T97" fmla="*/ 73 h 2704"/>
                  <a:gd name="T98" fmla="*/ 672 w 1708"/>
                  <a:gd name="T99" fmla="*/ 179 h 2704"/>
                  <a:gd name="T100" fmla="*/ 481 w 1708"/>
                  <a:gd name="T101" fmla="*/ 338 h 2704"/>
                  <a:gd name="T102" fmla="*/ 402 w 1708"/>
                  <a:gd name="T103" fmla="*/ 375 h 2704"/>
                  <a:gd name="T104" fmla="*/ 337 w 1708"/>
                  <a:gd name="T105" fmla="*/ 381 h 2704"/>
                  <a:gd name="T106" fmla="*/ 264 w 1708"/>
                  <a:gd name="T107" fmla="*/ 367 h 2704"/>
                  <a:gd name="T108" fmla="*/ 174 w 1708"/>
                  <a:gd name="T109" fmla="*/ 332 h 2704"/>
                  <a:gd name="T110" fmla="*/ 119 w 1708"/>
                  <a:gd name="T111" fmla="*/ 328 h 2704"/>
                  <a:gd name="T112" fmla="*/ 68 w 1708"/>
                  <a:gd name="T113" fmla="*/ 346 h 2704"/>
                  <a:gd name="T114" fmla="*/ 8 w 1708"/>
                  <a:gd name="T115" fmla="*/ 418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08" h="2704">
                    <a:moveTo>
                      <a:pt x="8" y="418"/>
                    </a:moveTo>
                    <a:lnTo>
                      <a:pt x="8" y="418"/>
                    </a:lnTo>
                    <a:lnTo>
                      <a:pt x="5" y="431"/>
                    </a:lnTo>
                    <a:lnTo>
                      <a:pt x="2" y="443"/>
                    </a:lnTo>
                    <a:lnTo>
                      <a:pt x="0" y="456"/>
                    </a:lnTo>
                    <a:lnTo>
                      <a:pt x="0" y="469"/>
                    </a:lnTo>
                    <a:lnTo>
                      <a:pt x="2" y="481"/>
                    </a:lnTo>
                    <a:lnTo>
                      <a:pt x="4" y="494"/>
                    </a:lnTo>
                    <a:lnTo>
                      <a:pt x="6" y="506"/>
                    </a:lnTo>
                    <a:lnTo>
                      <a:pt x="11" y="518"/>
                    </a:lnTo>
                    <a:lnTo>
                      <a:pt x="16" y="529"/>
                    </a:lnTo>
                    <a:lnTo>
                      <a:pt x="22" y="540"/>
                    </a:lnTo>
                    <a:lnTo>
                      <a:pt x="30" y="550"/>
                    </a:lnTo>
                    <a:lnTo>
                      <a:pt x="38" y="559"/>
                    </a:lnTo>
                    <a:lnTo>
                      <a:pt x="47" y="568"/>
                    </a:lnTo>
                    <a:lnTo>
                      <a:pt x="58" y="576"/>
                    </a:lnTo>
                    <a:lnTo>
                      <a:pt x="68" y="583"/>
                    </a:lnTo>
                    <a:lnTo>
                      <a:pt x="79" y="590"/>
                    </a:lnTo>
                    <a:lnTo>
                      <a:pt x="79" y="590"/>
                    </a:lnTo>
                    <a:lnTo>
                      <a:pt x="117" y="606"/>
                    </a:lnTo>
                    <a:lnTo>
                      <a:pt x="154" y="620"/>
                    </a:lnTo>
                    <a:lnTo>
                      <a:pt x="188" y="631"/>
                    </a:lnTo>
                    <a:lnTo>
                      <a:pt x="222" y="642"/>
                    </a:lnTo>
                    <a:lnTo>
                      <a:pt x="256" y="648"/>
                    </a:lnTo>
                    <a:lnTo>
                      <a:pt x="288" y="653"/>
                    </a:lnTo>
                    <a:lnTo>
                      <a:pt x="320" y="656"/>
                    </a:lnTo>
                    <a:lnTo>
                      <a:pt x="349" y="656"/>
                    </a:lnTo>
                    <a:lnTo>
                      <a:pt x="349" y="656"/>
                    </a:lnTo>
                    <a:lnTo>
                      <a:pt x="373" y="656"/>
                    </a:lnTo>
                    <a:lnTo>
                      <a:pt x="395" y="654"/>
                    </a:lnTo>
                    <a:lnTo>
                      <a:pt x="418" y="652"/>
                    </a:lnTo>
                    <a:lnTo>
                      <a:pt x="440" y="648"/>
                    </a:lnTo>
                    <a:lnTo>
                      <a:pt x="460" y="644"/>
                    </a:lnTo>
                    <a:lnTo>
                      <a:pt x="482" y="638"/>
                    </a:lnTo>
                    <a:lnTo>
                      <a:pt x="503" y="631"/>
                    </a:lnTo>
                    <a:lnTo>
                      <a:pt x="522" y="624"/>
                    </a:lnTo>
                    <a:lnTo>
                      <a:pt x="541" y="616"/>
                    </a:lnTo>
                    <a:lnTo>
                      <a:pt x="561" y="607"/>
                    </a:lnTo>
                    <a:lnTo>
                      <a:pt x="580" y="598"/>
                    </a:lnTo>
                    <a:lnTo>
                      <a:pt x="599" y="588"/>
                    </a:lnTo>
                    <a:lnTo>
                      <a:pt x="635" y="566"/>
                    </a:lnTo>
                    <a:lnTo>
                      <a:pt x="672" y="542"/>
                    </a:lnTo>
                    <a:lnTo>
                      <a:pt x="672" y="1094"/>
                    </a:lnTo>
                    <a:lnTo>
                      <a:pt x="672" y="1094"/>
                    </a:lnTo>
                    <a:lnTo>
                      <a:pt x="673" y="1122"/>
                    </a:lnTo>
                    <a:lnTo>
                      <a:pt x="676" y="1148"/>
                    </a:lnTo>
                    <a:lnTo>
                      <a:pt x="683" y="1173"/>
                    </a:lnTo>
                    <a:lnTo>
                      <a:pt x="691" y="1197"/>
                    </a:lnTo>
                    <a:lnTo>
                      <a:pt x="691" y="1197"/>
                    </a:lnTo>
                    <a:lnTo>
                      <a:pt x="690" y="1209"/>
                    </a:lnTo>
                    <a:lnTo>
                      <a:pt x="690" y="1219"/>
                    </a:lnTo>
                    <a:lnTo>
                      <a:pt x="690" y="2540"/>
                    </a:lnTo>
                    <a:lnTo>
                      <a:pt x="690" y="2540"/>
                    </a:lnTo>
                    <a:lnTo>
                      <a:pt x="690" y="2557"/>
                    </a:lnTo>
                    <a:lnTo>
                      <a:pt x="692" y="2573"/>
                    </a:lnTo>
                    <a:lnTo>
                      <a:pt x="697" y="2589"/>
                    </a:lnTo>
                    <a:lnTo>
                      <a:pt x="703" y="2604"/>
                    </a:lnTo>
                    <a:lnTo>
                      <a:pt x="710" y="2618"/>
                    </a:lnTo>
                    <a:lnTo>
                      <a:pt x="718" y="2632"/>
                    </a:lnTo>
                    <a:lnTo>
                      <a:pt x="727" y="2644"/>
                    </a:lnTo>
                    <a:lnTo>
                      <a:pt x="737" y="2656"/>
                    </a:lnTo>
                    <a:lnTo>
                      <a:pt x="749" y="2666"/>
                    </a:lnTo>
                    <a:lnTo>
                      <a:pt x="761" y="2675"/>
                    </a:lnTo>
                    <a:lnTo>
                      <a:pt x="775" y="2683"/>
                    </a:lnTo>
                    <a:lnTo>
                      <a:pt x="790" y="2690"/>
                    </a:lnTo>
                    <a:lnTo>
                      <a:pt x="805" y="2696"/>
                    </a:lnTo>
                    <a:lnTo>
                      <a:pt x="819" y="2700"/>
                    </a:lnTo>
                    <a:lnTo>
                      <a:pt x="835" y="2703"/>
                    </a:lnTo>
                    <a:lnTo>
                      <a:pt x="853" y="2704"/>
                    </a:lnTo>
                    <a:lnTo>
                      <a:pt x="853" y="2704"/>
                    </a:lnTo>
                    <a:lnTo>
                      <a:pt x="869" y="2703"/>
                    </a:lnTo>
                    <a:lnTo>
                      <a:pt x="886" y="2700"/>
                    </a:lnTo>
                    <a:lnTo>
                      <a:pt x="901" y="2696"/>
                    </a:lnTo>
                    <a:lnTo>
                      <a:pt x="916" y="2690"/>
                    </a:lnTo>
                    <a:lnTo>
                      <a:pt x="930" y="2683"/>
                    </a:lnTo>
                    <a:lnTo>
                      <a:pt x="943" y="2675"/>
                    </a:lnTo>
                    <a:lnTo>
                      <a:pt x="956" y="2666"/>
                    </a:lnTo>
                    <a:lnTo>
                      <a:pt x="968" y="2656"/>
                    </a:lnTo>
                    <a:lnTo>
                      <a:pt x="978" y="2644"/>
                    </a:lnTo>
                    <a:lnTo>
                      <a:pt x="988" y="2632"/>
                    </a:lnTo>
                    <a:lnTo>
                      <a:pt x="996" y="2618"/>
                    </a:lnTo>
                    <a:lnTo>
                      <a:pt x="1002" y="2604"/>
                    </a:lnTo>
                    <a:lnTo>
                      <a:pt x="1008" y="2589"/>
                    </a:lnTo>
                    <a:lnTo>
                      <a:pt x="1012" y="2573"/>
                    </a:lnTo>
                    <a:lnTo>
                      <a:pt x="1014" y="2557"/>
                    </a:lnTo>
                    <a:lnTo>
                      <a:pt x="1015" y="2540"/>
                    </a:lnTo>
                    <a:lnTo>
                      <a:pt x="1015" y="1407"/>
                    </a:lnTo>
                    <a:lnTo>
                      <a:pt x="1015" y="1407"/>
                    </a:lnTo>
                    <a:lnTo>
                      <a:pt x="1035" y="1408"/>
                    </a:lnTo>
                    <a:lnTo>
                      <a:pt x="1035" y="1408"/>
                    </a:lnTo>
                    <a:lnTo>
                      <a:pt x="1038" y="1407"/>
                    </a:lnTo>
                    <a:lnTo>
                      <a:pt x="1038" y="2540"/>
                    </a:lnTo>
                    <a:lnTo>
                      <a:pt x="1038" y="2540"/>
                    </a:lnTo>
                    <a:lnTo>
                      <a:pt x="1039" y="2557"/>
                    </a:lnTo>
                    <a:lnTo>
                      <a:pt x="1041" y="2573"/>
                    </a:lnTo>
                    <a:lnTo>
                      <a:pt x="1046" y="2589"/>
                    </a:lnTo>
                    <a:lnTo>
                      <a:pt x="1051" y="2604"/>
                    </a:lnTo>
                    <a:lnTo>
                      <a:pt x="1057" y="2618"/>
                    </a:lnTo>
                    <a:lnTo>
                      <a:pt x="1067" y="2632"/>
                    </a:lnTo>
                    <a:lnTo>
                      <a:pt x="1076" y="2644"/>
                    </a:lnTo>
                    <a:lnTo>
                      <a:pt x="1086" y="2656"/>
                    </a:lnTo>
                    <a:lnTo>
                      <a:pt x="1097" y="2666"/>
                    </a:lnTo>
                    <a:lnTo>
                      <a:pt x="1110" y="2675"/>
                    </a:lnTo>
                    <a:lnTo>
                      <a:pt x="1124" y="2683"/>
                    </a:lnTo>
                    <a:lnTo>
                      <a:pt x="1137" y="2690"/>
                    </a:lnTo>
                    <a:lnTo>
                      <a:pt x="1152" y="2696"/>
                    </a:lnTo>
                    <a:lnTo>
                      <a:pt x="1168" y="2700"/>
                    </a:lnTo>
                    <a:lnTo>
                      <a:pt x="1184" y="2703"/>
                    </a:lnTo>
                    <a:lnTo>
                      <a:pt x="1202" y="2704"/>
                    </a:lnTo>
                    <a:lnTo>
                      <a:pt x="1202" y="2704"/>
                    </a:lnTo>
                    <a:lnTo>
                      <a:pt x="1202" y="2704"/>
                    </a:lnTo>
                    <a:lnTo>
                      <a:pt x="1218" y="2703"/>
                    </a:lnTo>
                    <a:lnTo>
                      <a:pt x="1234" y="2700"/>
                    </a:lnTo>
                    <a:lnTo>
                      <a:pt x="1250" y="2696"/>
                    </a:lnTo>
                    <a:lnTo>
                      <a:pt x="1264" y="2690"/>
                    </a:lnTo>
                    <a:lnTo>
                      <a:pt x="1278" y="2683"/>
                    </a:lnTo>
                    <a:lnTo>
                      <a:pt x="1292" y="2675"/>
                    </a:lnTo>
                    <a:lnTo>
                      <a:pt x="1304" y="2666"/>
                    </a:lnTo>
                    <a:lnTo>
                      <a:pt x="1316" y="2656"/>
                    </a:lnTo>
                    <a:lnTo>
                      <a:pt x="1326" y="2644"/>
                    </a:lnTo>
                    <a:lnTo>
                      <a:pt x="1337" y="2632"/>
                    </a:lnTo>
                    <a:lnTo>
                      <a:pt x="1345" y="2618"/>
                    </a:lnTo>
                    <a:lnTo>
                      <a:pt x="1351" y="2604"/>
                    </a:lnTo>
                    <a:lnTo>
                      <a:pt x="1357" y="2589"/>
                    </a:lnTo>
                    <a:lnTo>
                      <a:pt x="1361" y="2573"/>
                    </a:lnTo>
                    <a:lnTo>
                      <a:pt x="1363" y="2557"/>
                    </a:lnTo>
                    <a:lnTo>
                      <a:pt x="1364" y="2540"/>
                    </a:lnTo>
                    <a:lnTo>
                      <a:pt x="1364" y="1227"/>
                    </a:lnTo>
                    <a:lnTo>
                      <a:pt x="1364" y="1227"/>
                    </a:lnTo>
                    <a:lnTo>
                      <a:pt x="1372" y="1212"/>
                    </a:lnTo>
                    <a:lnTo>
                      <a:pt x="1378" y="1197"/>
                    </a:lnTo>
                    <a:lnTo>
                      <a:pt x="1383" y="1181"/>
                    </a:lnTo>
                    <a:lnTo>
                      <a:pt x="1389" y="1164"/>
                    </a:lnTo>
                    <a:lnTo>
                      <a:pt x="1393" y="1147"/>
                    </a:lnTo>
                    <a:lnTo>
                      <a:pt x="1395" y="1130"/>
                    </a:lnTo>
                    <a:lnTo>
                      <a:pt x="1397" y="1112"/>
                    </a:lnTo>
                    <a:lnTo>
                      <a:pt x="1397" y="1094"/>
                    </a:lnTo>
                    <a:lnTo>
                      <a:pt x="1397" y="651"/>
                    </a:lnTo>
                    <a:lnTo>
                      <a:pt x="1397" y="651"/>
                    </a:lnTo>
                    <a:lnTo>
                      <a:pt x="1409" y="697"/>
                    </a:lnTo>
                    <a:lnTo>
                      <a:pt x="1418" y="746"/>
                    </a:lnTo>
                    <a:lnTo>
                      <a:pt x="1426" y="800"/>
                    </a:lnTo>
                    <a:lnTo>
                      <a:pt x="1430" y="858"/>
                    </a:lnTo>
                    <a:lnTo>
                      <a:pt x="1433" y="920"/>
                    </a:lnTo>
                    <a:lnTo>
                      <a:pt x="1433" y="988"/>
                    </a:lnTo>
                    <a:lnTo>
                      <a:pt x="1431" y="1060"/>
                    </a:lnTo>
                    <a:lnTo>
                      <a:pt x="1426" y="1138"/>
                    </a:lnTo>
                    <a:lnTo>
                      <a:pt x="1426" y="1138"/>
                    </a:lnTo>
                    <a:lnTo>
                      <a:pt x="1426" y="1153"/>
                    </a:lnTo>
                    <a:lnTo>
                      <a:pt x="1427" y="1166"/>
                    </a:lnTo>
                    <a:lnTo>
                      <a:pt x="1429" y="1179"/>
                    </a:lnTo>
                    <a:lnTo>
                      <a:pt x="1433" y="1193"/>
                    </a:lnTo>
                    <a:lnTo>
                      <a:pt x="1437" y="1205"/>
                    </a:lnTo>
                    <a:lnTo>
                      <a:pt x="1443" y="1217"/>
                    </a:lnTo>
                    <a:lnTo>
                      <a:pt x="1451" y="1228"/>
                    </a:lnTo>
                    <a:lnTo>
                      <a:pt x="1459" y="1238"/>
                    </a:lnTo>
                    <a:lnTo>
                      <a:pt x="1468" y="1248"/>
                    </a:lnTo>
                    <a:lnTo>
                      <a:pt x="1477" y="1257"/>
                    </a:lnTo>
                    <a:lnTo>
                      <a:pt x="1489" y="1265"/>
                    </a:lnTo>
                    <a:lnTo>
                      <a:pt x="1500" y="1272"/>
                    </a:lnTo>
                    <a:lnTo>
                      <a:pt x="1513" y="1276"/>
                    </a:lnTo>
                    <a:lnTo>
                      <a:pt x="1525" y="1281"/>
                    </a:lnTo>
                    <a:lnTo>
                      <a:pt x="1539" y="1284"/>
                    </a:lnTo>
                    <a:lnTo>
                      <a:pt x="1553" y="1287"/>
                    </a:lnTo>
                    <a:lnTo>
                      <a:pt x="1553" y="1287"/>
                    </a:lnTo>
                    <a:lnTo>
                      <a:pt x="1563" y="1287"/>
                    </a:lnTo>
                    <a:lnTo>
                      <a:pt x="1563" y="1287"/>
                    </a:lnTo>
                    <a:lnTo>
                      <a:pt x="1577" y="1287"/>
                    </a:lnTo>
                    <a:lnTo>
                      <a:pt x="1589" y="1284"/>
                    </a:lnTo>
                    <a:lnTo>
                      <a:pt x="1602" y="1281"/>
                    </a:lnTo>
                    <a:lnTo>
                      <a:pt x="1615" y="1277"/>
                    </a:lnTo>
                    <a:lnTo>
                      <a:pt x="1626" y="1272"/>
                    </a:lnTo>
                    <a:lnTo>
                      <a:pt x="1636" y="1266"/>
                    </a:lnTo>
                    <a:lnTo>
                      <a:pt x="1647" y="1258"/>
                    </a:lnTo>
                    <a:lnTo>
                      <a:pt x="1657" y="1250"/>
                    </a:lnTo>
                    <a:lnTo>
                      <a:pt x="1666" y="1241"/>
                    </a:lnTo>
                    <a:lnTo>
                      <a:pt x="1674" y="1232"/>
                    </a:lnTo>
                    <a:lnTo>
                      <a:pt x="1681" y="1221"/>
                    </a:lnTo>
                    <a:lnTo>
                      <a:pt x="1687" y="1210"/>
                    </a:lnTo>
                    <a:lnTo>
                      <a:pt x="1692" y="1198"/>
                    </a:lnTo>
                    <a:lnTo>
                      <a:pt x="1696" y="1186"/>
                    </a:lnTo>
                    <a:lnTo>
                      <a:pt x="1699" y="1173"/>
                    </a:lnTo>
                    <a:lnTo>
                      <a:pt x="1700" y="1159"/>
                    </a:lnTo>
                    <a:lnTo>
                      <a:pt x="1700" y="1159"/>
                    </a:lnTo>
                    <a:lnTo>
                      <a:pt x="1705" y="1095"/>
                    </a:lnTo>
                    <a:lnTo>
                      <a:pt x="1707" y="1035"/>
                    </a:lnTo>
                    <a:lnTo>
                      <a:pt x="1708" y="976"/>
                    </a:lnTo>
                    <a:lnTo>
                      <a:pt x="1708" y="920"/>
                    </a:lnTo>
                    <a:lnTo>
                      <a:pt x="1706" y="865"/>
                    </a:lnTo>
                    <a:lnTo>
                      <a:pt x="1703" y="813"/>
                    </a:lnTo>
                    <a:lnTo>
                      <a:pt x="1698" y="764"/>
                    </a:lnTo>
                    <a:lnTo>
                      <a:pt x="1692" y="717"/>
                    </a:lnTo>
                    <a:lnTo>
                      <a:pt x="1685" y="672"/>
                    </a:lnTo>
                    <a:lnTo>
                      <a:pt x="1676" y="630"/>
                    </a:lnTo>
                    <a:lnTo>
                      <a:pt x="1667" y="589"/>
                    </a:lnTo>
                    <a:lnTo>
                      <a:pt x="1656" y="550"/>
                    </a:lnTo>
                    <a:lnTo>
                      <a:pt x="1644" y="512"/>
                    </a:lnTo>
                    <a:lnTo>
                      <a:pt x="1631" y="477"/>
                    </a:lnTo>
                    <a:lnTo>
                      <a:pt x="1617" y="443"/>
                    </a:lnTo>
                    <a:lnTo>
                      <a:pt x="1602" y="411"/>
                    </a:lnTo>
                    <a:lnTo>
                      <a:pt x="1586" y="380"/>
                    </a:lnTo>
                    <a:lnTo>
                      <a:pt x="1569" y="352"/>
                    </a:lnTo>
                    <a:lnTo>
                      <a:pt x="1552" y="324"/>
                    </a:lnTo>
                    <a:lnTo>
                      <a:pt x="1533" y="298"/>
                    </a:lnTo>
                    <a:lnTo>
                      <a:pt x="1514" y="274"/>
                    </a:lnTo>
                    <a:lnTo>
                      <a:pt x="1494" y="250"/>
                    </a:lnTo>
                    <a:lnTo>
                      <a:pt x="1474" y="227"/>
                    </a:lnTo>
                    <a:lnTo>
                      <a:pt x="1453" y="206"/>
                    </a:lnTo>
                    <a:lnTo>
                      <a:pt x="1431" y="186"/>
                    </a:lnTo>
                    <a:lnTo>
                      <a:pt x="1410" y="166"/>
                    </a:lnTo>
                    <a:lnTo>
                      <a:pt x="1387" y="148"/>
                    </a:lnTo>
                    <a:lnTo>
                      <a:pt x="1365" y="131"/>
                    </a:lnTo>
                    <a:lnTo>
                      <a:pt x="1341" y="113"/>
                    </a:lnTo>
                    <a:lnTo>
                      <a:pt x="1318" y="97"/>
                    </a:lnTo>
                    <a:lnTo>
                      <a:pt x="1270" y="66"/>
                    </a:lnTo>
                    <a:lnTo>
                      <a:pt x="1270" y="66"/>
                    </a:lnTo>
                    <a:lnTo>
                      <a:pt x="1270" y="66"/>
                    </a:lnTo>
                    <a:lnTo>
                      <a:pt x="1261" y="62"/>
                    </a:lnTo>
                    <a:lnTo>
                      <a:pt x="1252" y="57"/>
                    </a:lnTo>
                    <a:lnTo>
                      <a:pt x="1252" y="57"/>
                    </a:lnTo>
                    <a:lnTo>
                      <a:pt x="1237" y="48"/>
                    </a:lnTo>
                    <a:lnTo>
                      <a:pt x="1221" y="39"/>
                    </a:lnTo>
                    <a:lnTo>
                      <a:pt x="1206" y="31"/>
                    </a:lnTo>
                    <a:lnTo>
                      <a:pt x="1190" y="24"/>
                    </a:lnTo>
                    <a:lnTo>
                      <a:pt x="1173" y="17"/>
                    </a:lnTo>
                    <a:lnTo>
                      <a:pt x="1157" y="10"/>
                    </a:lnTo>
                    <a:lnTo>
                      <a:pt x="1140" y="6"/>
                    </a:lnTo>
                    <a:lnTo>
                      <a:pt x="1123" y="1"/>
                    </a:lnTo>
                    <a:lnTo>
                      <a:pt x="1035" y="89"/>
                    </a:lnTo>
                    <a:lnTo>
                      <a:pt x="949" y="0"/>
                    </a:lnTo>
                    <a:lnTo>
                      <a:pt x="949" y="0"/>
                    </a:lnTo>
                    <a:lnTo>
                      <a:pt x="948" y="0"/>
                    </a:lnTo>
                    <a:lnTo>
                      <a:pt x="948" y="0"/>
                    </a:lnTo>
                    <a:lnTo>
                      <a:pt x="930" y="5"/>
                    </a:lnTo>
                    <a:lnTo>
                      <a:pt x="913" y="10"/>
                    </a:lnTo>
                    <a:lnTo>
                      <a:pt x="896" y="16"/>
                    </a:lnTo>
                    <a:lnTo>
                      <a:pt x="880" y="23"/>
                    </a:lnTo>
                    <a:lnTo>
                      <a:pt x="863" y="31"/>
                    </a:lnTo>
                    <a:lnTo>
                      <a:pt x="847" y="39"/>
                    </a:lnTo>
                    <a:lnTo>
                      <a:pt x="831" y="48"/>
                    </a:lnTo>
                    <a:lnTo>
                      <a:pt x="816" y="58"/>
                    </a:lnTo>
                    <a:lnTo>
                      <a:pt x="816" y="58"/>
                    </a:lnTo>
                    <a:lnTo>
                      <a:pt x="807" y="63"/>
                    </a:lnTo>
                    <a:lnTo>
                      <a:pt x="797" y="68"/>
                    </a:lnTo>
                    <a:lnTo>
                      <a:pt x="787" y="73"/>
                    </a:lnTo>
                    <a:lnTo>
                      <a:pt x="779" y="81"/>
                    </a:lnTo>
                    <a:lnTo>
                      <a:pt x="779" y="81"/>
                    </a:lnTo>
                    <a:lnTo>
                      <a:pt x="725" y="131"/>
                    </a:lnTo>
                    <a:lnTo>
                      <a:pt x="672" y="179"/>
                    </a:lnTo>
                    <a:lnTo>
                      <a:pt x="672" y="179"/>
                    </a:lnTo>
                    <a:lnTo>
                      <a:pt x="600" y="245"/>
                    </a:lnTo>
                    <a:lnTo>
                      <a:pt x="567" y="273"/>
                    </a:lnTo>
                    <a:lnTo>
                      <a:pt x="537" y="298"/>
                    </a:lnTo>
                    <a:lnTo>
                      <a:pt x="508" y="320"/>
                    </a:lnTo>
                    <a:lnTo>
                      <a:pt x="481" y="338"/>
                    </a:lnTo>
                    <a:lnTo>
                      <a:pt x="453" y="354"/>
                    </a:lnTo>
                    <a:lnTo>
                      <a:pt x="441" y="360"/>
                    </a:lnTo>
                    <a:lnTo>
                      <a:pt x="428" y="365"/>
                    </a:lnTo>
                    <a:lnTo>
                      <a:pt x="415" y="370"/>
                    </a:lnTo>
                    <a:lnTo>
                      <a:pt x="402" y="375"/>
                    </a:lnTo>
                    <a:lnTo>
                      <a:pt x="389" y="377"/>
                    </a:lnTo>
                    <a:lnTo>
                      <a:pt x="377" y="379"/>
                    </a:lnTo>
                    <a:lnTo>
                      <a:pt x="363" y="380"/>
                    </a:lnTo>
                    <a:lnTo>
                      <a:pt x="349" y="381"/>
                    </a:lnTo>
                    <a:lnTo>
                      <a:pt x="337" y="381"/>
                    </a:lnTo>
                    <a:lnTo>
                      <a:pt x="322" y="379"/>
                    </a:lnTo>
                    <a:lnTo>
                      <a:pt x="308" y="378"/>
                    </a:lnTo>
                    <a:lnTo>
                      <a:pt x="293" y="375"/>
                    </a:lnTo>
                    <a:lnTo>
                      <a:pt x="278" y="371"/>
                    </a:lnTo>
                    <a:lnTo>
                      <a:pt x="264" y="367"/>
                    </a:lnTo>
                    <a:lnTo>
                      <a:pt x="231" y="355"/>
                    </a:lnTo>
                    <a:lnTo>
                      <a:pt x="196" y="340"/>
                    </a:lnTo>
                    <a:lnTo>
                      <a:pt x="196" y="340"/>
                    </a:lnTo>
                    <a:lnTo>
                      <a:pt x="186" y="336"/>
                    </a:lnTo>
                    <a:lnTo>
                      <a:pt x="174" y="332"/>
                    </a:lnTo>
                    <a:lnTo>
                      <a:pt x="164" y="329"/>
                    </a:lnTo>
                    <a:lnTo>
                      <a:pt x="153" y="328"/>
                    </a:lnTo>
                    <a:lnTo>
                      <a:pt x="141" y="326"/>
                    </a:lnTo>
                    <a:lnTo>
                      <a:pt x="130" y="326"/>
                    </a:lnTo>
                    <a:lnTo>
                      <a:pt x="119" y="328"/>
                    </a:lnTo>
                    <a:lnTo>
                      <a:pt x="108" y="330"/>
                    </a:lnTo>
                    <a:lnTo>
                      <a:pt x="98" y="333"/>
                    </a:lnTo>
                    <a:lnTo>
                      <a:pt x="87" y="337"/>
                    </a:lnTo>
                    <a:lnTo>
                      <a:pt x="77" y="341"/>
                    </a:lnTo>
                    <a:lnTo>
                      <a:pt x="68" y="346"/>
                    </a:lnTo>
                    <a:lnTo>
                      <a:pt x="58" y="353"/>
                    </a:lnTo>
                    <a:lnTo>
                      <a:pt x="50" y="360"/>
                    </a:lnTo>
                    <a:lnTo>
                      <a:pt x="42" y="367"/>
                    </a:lnTo>
                    <a:lnTo>
                      <a:pt x="34" y="376"/>
                    </a:lnTo>
                    <a:lnTo>
                      <a:pt x="8" y="418"/>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15" name="Freeform 18">
                <a:extLst>
                  <a:ext uri="{FF2B5EF4-FFF2-40B4-BE49-F238E27FC236}">
                    <a16:creationId xmlns:a16="http://schemas.microsoft.com/office/drawing/2014/main" id="{0EE07BFC-04D2-4480-8D93-D8F99198A024}"/>
                  </a:ext>
                </a:extLst>
              </p:cNvPr>
              <p:cNvSpPr>
                <a:spLocks/>
              </p:cNvSpPr>
              <p:nvPr/>
            </p:nvSpPr>
            <p:spPr bwMode="auto">
              <a:xfrm>
                <a:off x="4725132" y="1263608"/>
                <a:ext cx="20100" cy="79595"/>
              </a:xfrm>
              <a:custGeom>
                <a:avLst/>
                <a:gdLst>
                  <a:gd name="T0" fmla="*/ 88 w 173"/>
                  <a:gd name="T1" fmla="*/ 690 h 690"/>
                  <a:gd name="T2" fmla="*/ 85 w 173"/>
                  <a:gd name="T3" fmla="*/ 690 h 690"/>
                  <a:gd name="T4" fmla="*/ 0 w 173"/>
                  <a:gd name="T5" fmla="*/ 573 h 690"/>
                  <a:gd name="T6" fmla="*/ 85 w 173"/>
                  <a:gd name="T7" fmla="*/ 0 h 690"/>
                  <a:gd name="T8" fmla="*/ 88 w 173"/>
                  <a:gd name="T9" fmla="*/ 0 h 690"/>
                  <a:gd name="T10" fmla="*/ 173 w 173"/>
                  <a:gd name="T11" fmla="*/ 573 h 690"/>
                  <a:gd name="T12" fmla="*/ 88 w 173"/>
                  <a:gd name="T13" fmla="*/ 690 h 690"/>
                </a:gdLst>
                <a:ahLst/>
                <a:cxnLst>
                  <a:cxn ang="0">
                    <a:pos x="T0" y="T1"/>
                  </a:cxn>
                  <a:cxn ang="0">
                    <a:pos x="T2" y="T3"/>
                  </a:cxn>
                  <a:cxn ang="0">
                    <a:pos x="T4" y="T5"/>
                  </a:cxn>
                  <a:cxn ang="0">
                    <a:pos x="T6" y="T7"/>
                  </a:cxn>
                  <a:cxn ang="0">
                    <a:pos x="T8" y="T9"/>
                  </a:cxn>
                  <a:cxn ang="0">
                    <a:pos x="T10" y="T11"/>
                  </a:cxn>
                  <a:cxn ang="0">
                    <a:pos x="T12" y="T13"/>
                  </a:cxn>
                </a:cxnLst>
                <a:rect l="0" t="0" r="r" b="b"/>
                <a:pathLst>
                  <a:path w="173" h="690">
                    <a:moveTo>
                      <a:pt x="88" y="690"/>
                    </a:moveTo>
                    <a:lnTo>
                      <a:pt x="85" y="690"/>
                    </a:lnTo>
                    <a:lnTo>
                      <a:pt x="0" y="573"/>
                    </a:lnTo>
                    <a:lnTo>
                      <a:pt x="85" y="0"/>
                    </a:lnTo>
                    <a:lnTo>
                      <a:pt x="88" y="0"/>
                    </a:lnTo>
                    <a:lnTo>
                      <a:pt x="173" y="573"/>
                    </a:lnTo>
                    <a:lnTo>
                      <a:pt x="88" y="690"/>
                    </a:lnTo>
                  </a:path>
                </a:pathLst>
              </a:custGeom>
              <a:noFill/>
              <a:ln w="6350">
                <a:solidFill>
                  <a:srgbClr val="5356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16" name="Line 19">
                <a:extLst>
                  <a:ext uri="{FF2B5EF4-FFF2-40B4-BE49-F238E27FC236}">
                    <a16:creationId xmlns:a16="http://schemas.microsoft.com/office/drawing/2014/main" id="{47E63D45-8B74-4B90-B877-B9B43715D06E}"/>
                  </a:ext>
                </a:extLst>
              </p:cNvPr>
              <p:cNvSpPr>
                <a:spLocks noChangeShapeType="1"/>
              </p:cNvSpPr>
              <p:nvPr/>
            </p:nvSpPr>
            <p:spPr bwMode="auto">
              <a:xfrm>
                <a:off x="4734780" y="1343203"/>
                <a:ext cx="0" cy="0"/>
              </a:xfrm>
              <a:prstGeom prst="line">
                <a:avLst/>
              </a:prstGeom>
              <a:noFill/>
              <a:ln w="63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17" name="Rounded Rectangle 936">
                <a:extLst>
                  <a:ext uri="{FF2B5EF4-FFF2-40B4-BE49-F238E27FC236}">
                    <a16:creationId xmlns:a16="http://schemas.microsoft.com/office/drawing/2014/main" id="{BC38E280-A708-40E8-B043-A9E83831EE00}"/>
                  </a:ext>
                </a:extLst>
              </p:cNvPr>
              <p:cNvSpPr/>
              <p:nvPr/>
            </p:nvSpPr>
            <p:spPr bwMode="gray">
              <a:xfrm>
                <a:off x="4694580" y="1431234"/>
                <a:ext cx="58678" cy="163243"/>
              </a:xfrm>
              <a:prstGeom prst="roundRect">
                <a:avLst/>
              </a:prstGeom>
              <a:solidFill>
                <a:srgbClr val="FFD23D"/>
              </a:solidFill>
              <a:ln w="9525" algn="ctr">
                <a:solidFill>
                  <a:schemeClr val="tx1">
                    <a:lumMod val="75000"/>
                    <a:lumOff val="25000"/>
                  </a:schemeClr>
                </a:solid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sp>
            <p:nvSpPr>
              <p:cNvPr id="718" name="Rounded Rectangle 935">
                <a:extLst>
                  <a:ext uri="{FF2B5EF4-FFF2-40B4-BE49-F238E27FC236}">
                    <a16:creationId xmlns:a16="http://schemas.microsoft.com/office/drawing/2014/main" id="{DD51DDBC-AC0E-4CCB-A6DB-3CAF771C9ABE}"/>
                  </a:ext>
                </a:extLst>
              </p:cNvPr>
              <p:cNvSpPr/>
              <p:nvPr/>
            </p:nvSpPr>
            <p:spPr bwMode="gray">
              <a:xfrm>
                <a:off x="4611602" y="1400256"/>
                <a:ext cx="219894" cy="57488"/>
              </a:xfrm>
              <a:prstGeom prst="roundRect">
                <a:avLst/>
              </a:prstGeom>
              <a:solidFill>
                <a:srgbClr val="FFD23D"/>
              </a:solidFill>
              <a:ln w="9525" algn="ctr">
                <a:solidFill>
                  <a:schemeClr val="tx1">
                    <a:lumMod val="65000"/>
                    <a:lumOff val="35000"/>
                  </a:schemeClr>
                </a:solid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sp>
          <p:nvSpPr>
            <p:cNvPr id="703" name="Rectangle 702">
              <a:extLst>
                <a:ext uri="{FF2B5EF4-FFF2-40B4-BE49-F238E27FC236}">
                  <a16:creationId xmlns:a16="http://schemas.microsoft.com/office/drawing/2014/main" id="{53D5AEE2-35FC-46E4-A712-5BE0E7BADC42}"/>
                </a:ext>
              </a:extLst>
            </p:cNvPr>
            <p:cNvSpPr/>
            <p:nvPr/>
          </p:nvSpPr>
          <p:spPr>
            <a:xfrm>
              <a:off x="2900858" y="2973350"/>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Daily Standup</a:t>
              </a:r>
            </a:p>
          </p:txBody>
        </p:sp>
      </p:grpSp>
      <p:grpSp>
        <p:nvGrpSpPr>
          <p:cNvPr id="719" name="Group 718">
            <a:extLst>
              <a:ext uri="{FF2B5EF4-FFF2-40B4-BE49-F238E27FC236}">
                <a16:creationId xmlns:a16="http://schemas.microsoft.com/office/drawing/2014/main" id="{29AEE7A4-4485-4684-9C23-1F811A2503D1}"/>
              </a:ext>
            </a:extLst>
          </p:cNvPr>
          <p:cNvGrpSpPr/>
          <p:nvPr/>
        </p:nvGrpSpPr>
        <p:grpSpPr>
          <a:xfrm>
            <a:off x="3676979" y="3561688"/>
            <a:ext cx="838958" cy="718707"/>
            <a:chOff x="493925" y="3709496"/>
            <a:chExt cx="1115908" cy="955961"/>
          </a:xfrm>
        </p:grpSpPr>
        <p:pic>
          <p:nvPicPr>
            <p:cNvPr id="720" name="Picture 719">
              <a:extLst>
                <a:ext uri="{FF2B5EF4-FFF2-40B4-BE49-F238E27FC236}">
                  <a16:creationId xmlns:a16="http://schemas.microsoft.com/office/drawing/2014/main" id="{C89C2DF0-00A4-4DE6-BE59-768B56624D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493" y="3709496"/>
              <a:ext cx="480696" cy="467156"/>
            </a:xfrm>
            <a:prstGeom prst="rect">
              <a:avLst/>
            </a:prstGeom>
          </p:spPr>
        </p:pic>
        <p:sp>
          <p:nvSpPr>
            <p:cNvPr id="721" name="Rectangle 720">
              <a:extLst>
                <a:ext uri="{FF2B5EF4-FFF2-40B4-BE49-F238E27FC236}">
                  <a16:creationId xmlns:a16="http://schemas.microsoft.com/office/drawing/2014/main" id="{8ED341C4-66CD-4F91-BF06-8B0B77DF287F}"/>
                </a:ext>
              </a:extLst>
            </p:cNvPr>
            <p:cNvSpPr/>
            <p:nvPr/>
          </p:nvSpPr>
          <p:spPr>
            <a:xfrm>
              <a:off x="493925" y="4233658"/>
              <a:ext cx="1115908" cy="431799"/>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Product Backlog Refinement</a:t>
              </a:r>
            </a:p>
          </p:txBody>
        </p:sp>
      </p:grpSp>
      <p:grpSp>
        <p:nvGrpSpPr>
          <p:cNvPr id="722" name="Group 721">
            <a:extLst>
              <a:ext uri="{FF2B5EF4-FFF2-40B4-BE49-F238E27FC236}">
                <a16:creationId xmlns:a16="http://schemas.microsoft.com/office/drawing/2014/main" id="{225596CE-44C5-473D-89A2-6164A79D63ED}"/>
              </a:ext>
            </a:extLst>
          </p:cNvPr>
          <p:cNvGrpSpPr/>
          <p:nvPr/>
        </p:nvGrpSpPr>
        <p:grpSpPr>
          <a:xfrm>
            <a:off x="3693118" y="2580258"/>
            <a:ext cx="838958" cy="641775"/>
            <a:chOff x="1696657" y="3657488"/>
            <a:chExt cx="1115908" cy="853632"/>
          </a:xfrm>
        </p:grpSpPr>
        <p:pic>
          <p:nvPicPr>
            <p:cNvPr id="723" name="Picture 722">
              <a:extLst>
                <a:ext uri="{FF2B5EF4-FFF2-40B4-BE49-F238E27FC236}">
                  <a16:creationId xmlns:a16="http://schemas.microsoft.com/office/drawing/2014/main" id="{38277904-EC4F-4868-B419-98F2A8F18C14}"/>
                </a:ext>
              </a:extLst>
            </p:cNvPr>
            <p:cNvPicPr>
              <a:picLocks noChangeAspect="1"/>
            </p:cNvPicPr>
            <p:nvPr/>
          </p:nvPicPr>
          <p:blipFill>
            <a:blip r:embed="rId5"/>
            <a:stretch>
              <a:fillRect/>
            </a:stretch>
          </p:blipFill>
          <p:spPr>
            <a:xfrm>
              <a:off x="2009262" y="3657488"/>
              <a:ext cx="528886" cy="519164"/>
            </a:xfrm>
            <a:prstGeom prst="rect">
              <a:avLst/>
            </a:prstGeom>
          </p:spPr>
        </p:pic>
        <p:sp>
          <p:nvSpPr>
            <p:cNvPr id="724" name="Rectangle 723">
              <a:extLst>
                <a:ext uri="{FF2B5EF4-FFF2-40B4-BE49-F238E27FC236}">
                  <a16:creationId xmlns:a16="http://schemas.microsoft.com/office/drawing/2014/main" id="{C2913BBA-4A86-40A8-8B97-AD24A099E18F}"/>
                </a:ext>
              </a:extLst>
            </p:cNvPr>
            <p:cNvSpPr/>
            <p:nvPr/>
          </p:nvSpPr>
          <p:spPr>
            <a:xfrm>
              <a:off x="1696657" y="4233657"/>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crum of Scrums</a:t>
              </a:r>
            </a:p>
          </p:txBody>
        </p:sp>
      </p:grpSp>
      <p:grpSp>
        <p:nvGrpSpPr>
          <p:cNvPr id="725" name="Group 724">
            <a:extLst>
              <a:ext uri="{FF2B5EF4-FFF2-40B4-BE49-F238E27FC236}">
                <a16:creationId xmlns:a16="http://schemas.microsoft.com/office/drawing/2014/main" id="{B512261D-A4E6-485D-A8FC-185CDE66D9FD}"/>
              </a:ext>
            </a:extLst>
          </p:cNvPr>
          <p:cNvGrpSpPr/>
          <p:nvPr/>
        </p:nvGrpSpPr>
        <p:grpSpPr>
          <a:xfrm>
            <a:off x="2840167" y="3583902"/>
            <a:ext cx="907008" cy="690524"/>
            <a:chOff x="2853427" y="3746127"/>
            <a:chExt cx="1206422" cy="918474"/>
          </a:xfrm>
        </p:grpSpPr>
        <p:grpSp>
          <p:nvGrpSpPr>
            <p:cNvPr id="726" name="Group 725">
              <a:extLst>
                <a:ext uri="{FF2B5EF4-FFF2-40B4-BE49-F238E27FC236}">
                  <a16:creationId xmlns:a16="http://schemas.microsoft.com/office/drawing/2014/main" id="{E1532547-134B-4845-A2BE-4CFD8C0AC797}"/>
                </a:ext>
              </a:extLst>
            </p:cNvPr>
            <p:cNvGrpSpPr/>
            <p:nvPr/>
          </p:nvGrpSpPr>
          <p:grpSpPr>
            <a:xfrm>
              <a:off x="3180538" y="3746127"/>
              <a:ext cx="491646" cy="427058"/>
              <a:chOff x="4404171" y="2850321"/>
              <a:chExt cx="604307" cy="524919"/>
            </a:xfrm>
          </p:grpSpPr>
          <p:sp>
            <p:nvSpPr>
              <p:cNvPr id="728" name="Line 67">
                <a:extLst>
                  <a:ext uri="{FF2B5EF4-FFF2-40B4-BE49-F238E27FC236}">
                    <a16:creationId xmlns:a16="http://schemas.microsoft.com/office/drawing/2014/main" id="{989CF811-6C1E-4711-9F26-4A32A53D34C5}"/>
                  </a:ext>
                </a:extLst>
              </p:cNvPr>
              <p:cNvSpPr>
                <a:spLocks noChangeShapeType="1"/>
              </p:cNvSpPr>
              <p:nvPr/>
            </p:nvSpPr>
            <p:spPr bwMode="auto">
              <a:xfrm rot="8100000">
                <a:off x="4420834" y="305030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29" name="Line 69">
                <a:extLst>
                  <a:ext uri="{FF2B5EF4-FFF2-40B4-BE49-F238E27FC236}">
                    <a16:creationId xmlns:a16="http://schemas.microsoft.com/office/drawing/2014/main" id="{C2AF2E1D-B808-4E67-89D9-3456154B6672}"/>
                  </a:ext>
                </a:extLst>
              </p:cNvPr>
              <p:cNvSpPr>
                <a:spLocks noChangeShapeType="1"/>
              </p:cNvSpPr>
              <p:nvPr/>
            </p:nvSpPr>
            <p:spPr bwMode="auto">
              <a:xfrm rot="8100000">
                <a:off x="4732806" y="337524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30" name="Line 74">
                <a:extLst>
                  <a:ext uri="{FF2B5EF4-FFF2-40B4-BE49-F238E27FC236}">
                    <a16:creationId xmlns:a16="http://schemas.microsoft.com/office/drawing/2014/main" id="{1FA043F7-FDB3-49DF-9732-85EB2856DFE4}"/>
                  </a:ext>
                </a:extLst>
              </p:cNvPr>
              <p:cNvSpPr>
                <a:spLocks noChangeShapeType="1"/>
              </p:cNvSpPr>
              <p:nvPr/>
            </p:nvSpPr>
            <p:spPr bwMode="auto">
              <a:xfrm rot="8100000">
                <a:off x="4404171" y="306697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pic>
            <p:nvPicPr>
              <p:cNvPr id="731" name="Picture 730">
                <a:extLst>
                  <a:ext uri="{FF2B5EF4-FFF2-40B4-BE49-F238E27FC236}">
                    <a16:creationId xmlns:a16="http://schemas.microsoft.com/office/drawing/2014/main" id="{5F50ADE7-8B3B-4382-BF45-9D8B0DBC91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32652" y="2850321"/>
                <a:ext cx="575826" cy="485435"/>
              </a:xfrm>
              <a:prstGeom prst="rect">
                <a:avLst/>
              </a:prstGeom>
            </p:spPr>
          </p:pic>
          <p:sp>
            <p:nvSpPr>
              <p:cNvPr id="732" name="Freeform 53">
                <a:extLst>
                  <a:ext uri="{FF2B5EF4-FFF2-40B4-BE49-F238E27FC236}">
                    <a16:creationId xmlns:a16="http://schemas.microsoft.com/office/drawing/2014/main" id="{7E6FA5ED-C987-43F8-9D7A-4E841656E74C}"/>
                  </a:ext>
                </a:extLst>
              </p:cNvPr>
              <p:cNvSpPr>
                <a:spLocks/>
              </p:cNvSpPr>
              <p:nvPr/>
            </p:nvSpPr>
            <p:spPr bwMode="auto">
              <a:xfrm>
                <a:off x="4690779" y="2860920"/>
                <a:ext cx="63373" cy="7415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F9B313"/>
              </a:solidFill>
              <a:ln>
                <a:noFill/>
              </a:ln>
            </p:spPr>
            <p:txBody>
              <a:bodyPr vert="horz" wrap="square" lIns="68746" tIns="34374" rIns="68746" bIns="34374" numCol="1" anchor="t" anchorCtr="0" compatLnSpc="1">
                <a:prstTxWarp prst="textNoShape">
                  <a:avLst/>
                </a:prstTxWarp>
              </a:bodyPr>
              <a:lstStyle/>
              <a:p>
                <a:endParaRPr lang="en-US" sz="1354" dirty="0"/>
              </a:p>
            </p:txBody>
          </p:sp>
          <p:sp>
            <p:nvSpPr>
              <p:cNvPr id="733" name="Freeform 53">
                <a:extLst>
                  <a:ext uri="{FF2B5EF4-FFF2-40B4-BE49-F238E27FC236}">
                    <a16:creationId xmlns:a16="http://schemas.microsoft.com/office/drawing/2014/main" id="{D3E84D0E-44A0-453A-B92D-EA234E8A272A}"/>
                  </a:ext>
                </a:extLst>
              </p:cNvPr>
              <p:cNvSpPr>
                <a:spLocks/>
              </p:cNvSpPr>
              <p:nvPr/>
            </p:nvSpPr>
            <p:spPr bwMode="auto">
              <a:xfrm>
                <a:off x="4873162" y="2872367"/>
                <a:ext cx="82296" cy="9144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50CFE6"/>
              </a:solidFill>
              <a:ln>
                <a:solidFill>
                  <a:srgbClr val="53565A"/>
                </a:solidFill>
              </a:ln>
            </p:spPr>
            <p:txBody>
              <a:bodyPr vert="horz" wrap="square" lIns="68746" tIns="34374" rIns="68746" bIns="34374" numCol="1" anchor="t" anchorCtr="0" compatLnSpc="1">
                <a:prstTxWarp prst="textNoShape">
                  <a:avLst/>
                </a:prstTxWarp>
              </a:bodyPr>
              <a:lstStyle/>
              <a:p>
                <a:endParaRPr lang="en-US" sz="1354" dirty="0"/>
              </a:p>
            </p:txBody>
          </p:sp>
          <p:sp>
            <p:nvSpPr>
              <p:cNvPr id="734" name="Freeform 53">
                <a:extLst>
                  <a:ext uri="{FF2B5EF4-FFF2-40B4-BE49-F238E27FC236}">
                    <a16:creationId xmlns:a16="http://schemas.microsoft.com/office/drawing/2014/main" id="{2B3D60AA-C171-426B-968E-B93770272FC4}"/>
                  </a:ext>
                </a:extLst>
              </p:cNvPr>
              <p:cNvSpPr>
                <a:spLocks/>
              </p:cNvSpPr>
              <p:nvPr/>
            </p:nvSpPr>
            <p:spPr bwMode="auto">
              <a:xfrm>
                <a:off x="4488426" y="2872367"/>
                <a:ext cx="82296" cy="91440"/>
              </a:xfrm>
              <a:custGeom>
                <a:avLst/>
                <a:gdLst>
                  <a:gd name="T0" fmla="*/ 147 w 147"/>
                  <a:gd name="T1" fmla="*/ 86 h 172"/>
                  <a:gd name="T2" fmla="*/ 146 w 147"/>
                  <a:gd name="T3" fmla="*/ 103 h 172"/>
                  <a:gd name="T4" fmla="*/ 142 w 147"/>
                  <a:gd name="T5" fmla="*/ 120 h 172"/>
                  <a:gd name="T6" fmla="*/ 136 w 147"/>
                  <a:gd name="T7" fmla="*/ 134 h 172"/>
                  <a:gd name="T8" fmla="*/ 127 w 147"/>
                  <a:gd name="T9" fmla="*/ 146 h 172"/>
                  <a:gd name="T10" fmla="*/ 117 w 147"/>
                  <a:gd name="T11" fmla="*/ 158 h 172"/>
                  <a:gd name="T12" fmla="*/ 105 w 147"/>
                  <a:gd name="T13" fmla="*/ 165 h 172"/>
                  <a:gd name="T14" fmla="*/ 89 w 147"/>
                  <a:gd name="T15" fmla="*/ 170 h 172"/>
                  <a:gd name="T16" fmla="*/ 73 w 147"/>
                  <a:gd name="T17" fmla="*/ 172 h 172"/>
                  <a:gd name="T18" fmla="*/ 65 w 147"/>
                  <a:gd name="T19" fmla="*/ 171 h 172"/>
                  <a:gd name="T20" fmla="*/ 48 w 147"/>
                  <a:gd name="T21" fmla="*/ 168 h 172"/>
                  <a:gd name="T22" fmla="*/ 35 w 147"/>
                  <a:gd name="T23" fmla="*/ 162 h 172"/>
                  <a:gd name="T24" fmla="*/ 24 w 147"/>
                  <a:gd name="T25" fmla="*/ 153 h 172"/>
                  <a:gd name="T26" fmla="*/ 14 w 147"/>
                  <a:gd name="T27" fmla="*/ 140 h 172"/>
                  <a:gd name="T28" fmla="*/ 7 w 147"/>
                  <a:gd name="T29" fmla="*/ 127 h 172"/>
                  <a:gd name="T30" fmla="*/ 2 w 147"/>
                  <a:gd name="T31" fmla="*/ 111 h 172"/>
                  <a:gd name="T32" fmla="*/ 0 w 147"/>
                  <a:gd name="T33" fmla="*/ 95 h 172"/>
                  <a:gd name="T34" fmla="*/ 0 w 147"/>
                  <a:gd name="T35" fmla="*/ 86 h 172"/>
                  <a:gd name="T36" fmla="*/ 1 w 147"/>
                  <a:gd name="T37" fmla="*/ 68 h 172"/>
                  <a:gd name="T38" fmla="*/ 4 w 147"/>
                  <a:gd name="T39" fmla="*/ 53 h 172"/>
                  <a:gd name="T40" fmla="*/ 10 w 147"/>
                  <a:gd name="T41" fmla="*/ 38 h 172"/>
                  <a:gd name="T42" fmla="*/ 18 w 147"/>
                  <a:gd name="T43" fmla="*/ 25 h 172"/>
                  <a:gd name="T44" fmla="*/ 29 w 147"/>
                  <a:gd name="T45" fmla="*/ 15 h 172"/>
                  <a:gd name="T46" fmla="*/ 42 w 147"/>
                  <a:gd name="T47" fmla="*/ 7 h 172"/>
                  <a:gd name="T48" fmla="*/ 57 w 147"/>
                  <a:gd name="T49" fmla="*/ 1 h 172"/>
                  <a:gd name="T50" fmla="*/ 73 w 147"/>
                  <a:gd name="T51" fmla="*/ 0 h 172"/>
                  <a:gd name="T52" fmla="*/ 82 w 147"/>
                  <a:gd name="T53" fmla="*/ 0 h 172"/>
                  <a:gd name="T54" fmla="*/ 98 w 147"/>
                  <a:gd name="T55" fmla="*/ 3 h 172"/>
                  <a:gd name="T56" fmla="*/ 111 w 147"/>
                  <a:gd name="T57" fmla="*/ 11 h 172"/>
                  <a:gd name="T58" fmla="*/ 122 w 147"/>
                  <a:gd name="T59" fmla="*/ 20 h 172"/>
                  <a:gd name="T60" fmla="*/ 133 w 147"/>
                  <a:gd name="T61" fmla="*/ 31 h 172"/>
                  <a:gd name="T62" fmla="*/ 139 w 147"/>
                  <a:gd name="T63" fmla="*/ 45 h 172"/>
                  <a:gd name="T64" fmla="*/ 144 w 147"/>
                  <a:gd name="T65" fmla="*/ 60 h 172"/>
                  <a:gd name="T66" fmla="*/ 146 w 147"/>
                  <a:gd name="T67" fmla="*/ 78 h 172"/>
                  <a:gd name="T68" fmla="*/ 147 w 147"/>
                  <a:gd name="T69"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2">
                    <a:moveTo>
                      <a:pt x="147" y="86"/>
                    </a:moveTo>
                    <a:lnTo>
                      <a:pt x="147" y="86"/>
                    </a:lnTo>
                    <a:lnTo>
                      <a:pt x="146" y="95"/>
                    </a:lnTo>
                    <a:lnTo>
                      <a:pt x="146" y="103"/>
                    </a:lnTo>
                    <a:lnTo>
                      <a:pt x="144" y="111"/>
                    </a:lnTo>
                    <a:lnTo>
                      <a:pt x="142" y="120"/>
                    </a:lnTo>
                    <a:lnTo>
                      <a:pt x="139" y="127"/>
                    </a:lnTo>
                    <a:lnTo>
                      <a:pt x="136" y="134"/>
                    </a:lnTo>
                    <a:lnTo>
                      <a:pt x="133" y="140"/>
                    </a:lnTo>
                    <a:lnTo>
                      <a:pt x="127" y="146"/>
                    </a:lnTo>
                    <a:lnTo>
                      <a:pt x="122" y="153"/>
                    </a:lnTo>
                    <a:lnTo>
                      <a:pt x="117" y="158"/>
                    </a:lnTo>
                    <a:lnTo>
                      <a:pt x="111" y="162"/>
                    </a:lnTo>
                    <a:lnTo>
                      <a:pt x="105" y="165"/>
                    </a:lnTo>
                    <a:lnTo>
                      <a:pt x="98" y="168"/>
                    </a:lnTo>
                    <a:lnTo>
                      <a:pt x="89" y="170"/>
                    </a:lnTo>
                    <a:lnTo>
                      <a:pt x="82" y="171"/>
                    </a:lnTo>
                    <a:lnTo>
                      <a:pt x="73" y="172"/>
                    </a:lnTo>
                    <a:lnTo>
                      <a:pt x="73" y="172"/>
                    </a:lnTo>
                    <a:lnTo>
                      <a:pt x="65" y="171"/>
                    </a:lnTo>
                    <a:lnTo>
                      <a:pt x="57" y="170"/>
                    </a:lnTo>
                    <a:lnTo>
                      <a:pt x="48" y="168"/>
                    </a:lnTo>
                    <a:lnTo>
                      <a:pt x="42" y="165"/>
                    </a:lnTo>
                    <a:lnTo>
                      <a:pt x="35" y="162"/>
                    </a:lnTo>
                    <a:lnTo>
                      <a:pt x="29" y="158"/>
                    </a:lnTo>
                    <a:lnTo>
                      <a:pt x="24" y="153"/>
                    </a:lnTo>
                    <a:lnTo>
                      <a:pt x="18" y="146"/>
                    </a:lnTo>
                    <a:lnTo>
                      <a:pt x="14" y="140"/>
                    </a:lnTo>
                    <a:lnTo>
                      <a:pt x="10" y="134"/>
                    </a:lnTo>
                    <a:lnTo>
                      <a:pt x="7" y="127"/>
                    </a:lnTo>
                    <a:lnTo>
                      <a:pt x="4" y="120"/>
                    </a:lnTo>
                    <a:lnTo>
                      <a:pt x="2" y="111"/>
                    </a:lnTo>
                    <a:lnTo>
                      <a:pt x="1" y="103"/>
                    </a:lnTo>
                    <a:lnTo>
                      <a:pt x="0" y="95"/>
                    </a:lnTo>
                    <a:lnTo>
                      <a:pt x="0" y="86"/>
                    </a:lnTo>
                    <a:lnTo>
                      <a:pt x="0" y="86"/>
                    </a:lnTo>
                    <a:lnTo>
                      <a:pt x="0" y="78"/>
                    </a:lnTo>
                    <a:lnTo>
                      <a:pt x="1" y="68"/>
                    </a:lnTo>
                    <a:lnTo>
                      <a:pt x="2" y="60"/>
                    </a:lnTo>
                    <a:lnTo>
                      <a:pt x="4" y="53"/>
                    </a:lnTo>
                    <a:lnTo>
                      <a:pt x="7" y="45"/>
                    </a:lnTo>
                    <a:lnTo>
                      <a:pt x="10" y="38"/>
                    </a:lnTo>
                    <a:lnTo>
                      <a:pt x="14" y="31"/>
                    </a:lnTo>
                    <a:lnTo>
                      <a:pt x="18" y="25"/>
                    </a:lnTo>
                    <a:lnTo>
                      <a:pt x="24" y="20"/>
                    </a:lnTo>
                    <a:lnTo>
                      <a:pt x="29" y="15"/>
                    </a:lnTo>
                    <a:lnTo>
                      <a:pt x="35" y="11"/>
                    </a:lnTo>
                    <a:lnTo>
                      <a:pt x="42" y="7"/>
                    </a:lnTo>
                    <a:lnTo>
                      <a:pt x="48" y="3"/>
                    </a:lnTo>
                    <a:lnTo>
                      <a:pt x="57" y="1"/>
                    </a:lnTo>
                    <a:lnTo>
                      <a:pt x="65" y="0"/>
                    </a:lnTo>
                    <a:lnTo>
                      <a:pt x="73" y="0"/>
                    </a:lnTo>
                    <a:lnTo>
                      <a:pt x="73" y="0"/>
                    </a:lnTo>
                    <a:lnTo>
                      <a:pt x="82" y="0"/>
                    </a:lnTo>
                    <a:lnTo>
                      <a:pt x="89" y="1"/>
                    </a:lnTo>
                    <a:lnTo>
                      <a:pt x="98" y="3"/>
                    </a:lnTo>
                    <a:lnTo>
                      <a:pt x="105" y="7"/>
                    </a:lnTo>
                    <a:lnTo>
                      <a:pt x="111" y="11"/>
                    </a:lnTo>
                    <a:lnTo>
                      <a:pt x="117" y="15"/>
                    </a:lnTo>
                    <a:lnTo>
                      <a:pt x="122" y="20"/>
                    </a:lnTo>
                    <a:lnTo>
                      <a:pt x="127" y="25"/>
                    </a:lnTo>
                    <a:lnTo>
                      <a:pt x="133" y="31"/>
                    </a:lnTo>
                    <a:lnTo>
                      <a:pt x="136" y="38"/>
                    </a:lnTo>
                    <a:lnTo>
                      <a:pt x="139" y="45"/>
                    </a:lnTo>
                    <a:lnTo>
                      <a:pt x="142" y="53"/>
                    </a:lnTo>
                    <a:lnTo>
                      <a:pt x="144" y="60"/>
                    </a:lnTo>
                    <a:lnTo>
                      <a:pt x="146" y="68"/>
                    </a:lnTo>
                    <a:lnTo>
                      <a:pt x="146" y="78"/>
                    </a:lnTo>
                    <a:lnTo>
                      <a:pt x="147" y="86"/>
                    </a:lnTo>
                    <a:lnTo>
                      <a:pt x="147" y="86"/>
                    </a:lnTo>
                    <a:close/>
                  </a:path>
                </a:pathLst>
              </a:custGeom>
              <a:solidFill>
                <a:srgbClr val="50CFE6"/>
              </a:solidFill>
              <a:ln>
                <a:solidFill>
                  <a:srgbClr val="53565A"/>
                </a:solidFill>
              </a:ln>
            </p:spPr>
            <p:txBody>
              <a:bodyPr vert="horz" wrap="square" lIns="68746" tIns="34374" rIns="68746" bIns="34374" numCol="1" anchor="t" anchorCtr="0" compatLnSpc="1">
                <a:prstTxWarp prst="textNoShape">
                  <a:avLst/>
                </a:prstTxWarp>
              </a:bodyPr>
              <a:lstStyle/>
              <a:p>
                <a:endParaRPr lang="en-US" sz="1354" dirty="0"/>
              </a:p>
            </p:txBody>
          </p:sp>
        </p:grpSp>
        <p:sp>
          <p:nvSpPr>
            <p:cNvPr id="727" name="Rectangle 726">
              <a:extLst>
                <a:ext uri="{FF2B5EF4-FFF2-40B4-BE49-F238E27FC236}">
                  <a16:creationId xmlns:a16="http://schemas.microsoft.com/office/drawing/2014/main" id="{CEA51767-9472-4981-9BF3-C18D9D60F7DF}"/>
                </a:ext>
              </a:extLst>
            </p:cNvPr>
            <p:cNvSpPr/>
            <p:nvPr/>
          </p:nvSpPr>
          <p:spPr>
            <a:xfrm>
              <a:off x="2853427" y="4233658"/>
              <a:ext cx="1206422" cy="43094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print Retrospective</a:t>
              </a:r>
            </a:p>
          </p:txBody>
        </p:sp>
      </p:grpSp>
      <p:grpSp>
        <p:nvGrpSpPr>
          <p:cNvPr id="735" name="Group 734">
            <a:extLst>
              <a:ext uri="{FF2B5EF4-FFF2-40B4-BE49-F238E27FC236}">
                <a16:creationId xmlns:a16="http://schemas.microsoft.com/office/drawing/2014/main" id="{EA03646F-BAFE-49FB-B46C-ADD996650F0E}"/>
              </a:ext>
            </a:extLst>
          </p:cNvPr>
          <p:cNvGrpSpPr/>
          <p:nvPr/>
        </p:nvGrpSpPr>
        <p:grpSpPr>
          <a:xfrm>
            <a:off x="9095365" y="4392049"/>
            <a:ext cx="838958" cy="902003"/>
            <a:chOff x="9108098" y="2636382"/>
            <a:chExt cx="1115908" cy="1199765"/>
          </a:xfrm>
        </p:grpSpPr>
        <p:grpSp>
          <p:nvGrpSpPr>
            <p:cNvPr id="736" name="Group 735">
              <a:extLst>
                <a:ext uri="{FF2B5EF4-FFF2-40B4-BE49-F238E27FC236}">
                  <a16:creationId xmlns:a16="http://schemas.microsoft.com/office/drawing/2014/main" id="{CF87B648-7BE4-4C67-88CB-269B78DE8A01}"/>
                </a:ext>
              </a:extLst>
            </p:cNvPr>
            <p:cNvGrpSpPr/>
            <p:nvPr/>
          </p:nvGrpSpPr>
          <p:grpSpPr>
            <a:xfrm>
              <a:off x="9206157" y="2636382"/>
              <a:ext cx="789526" cy="732810"/>
              <a:chOff x="4946745" y="2220309"/>
              <a:chExt cx="1627798" cy="1510866"/>
            </a:xfrm>
          </p:grpSpPr>
          <p:grpSp>
            <p:nvGrpSpPr>
              <p:cNvPr id="738" name="Group 737">
                <a:extLst>
                  <a:ext uri="{FF2B5EF4-FFF2-40B4-BE49-F238E27FC236}">
                    <a16:creationId xmlns:a16="http://schemas.microsoft.com/office/drawing/2014/main" id="{E3720E5B-09AD-4828-A42F-66196669080B}"/>
                  </a:ext>
                </a:extLst>
              </p:cNvPr>
              <p:cNvGrpSpPr/>
              <p:nvPr/>
            </p:nvGrpSpPr>
            <p:grpSpPr>
              <a:xfrm>
                <a:off x="4946745" y="2220309"/>
                <a:ext cx="1221490" cy="1047560"/>
                <a:chOff x="5252501" y="2482528"/>
                <a:chExt cx="609978" cy="523122"/>
              </a:xfrm>
            </p:grpSpPr>
            <p:sp>
              <p:nvSpPr>
                <p:cNvPr id="791" name="Line 66">
                  <a:extLst>
                    <a:ext uri="{FF2B5EF4-FFF2-40B4-BE49-F238E27FC236}">
                      <a16:creationId xmlns:a16="http://schemas.microsoft.com/office/drawing/2014/main" id="{CCAB832D-C7C5-46C9-B038-53143B0ADD9B}"/>
                    </a:ext>
                  </a:extLst>
                </p:cNvPr>
                <p:cNvSpPr>
                  <a:spLocks noChangeShapeType="1"/>
                </p:cNvSpPr>
                <p:nvPr/>
              </p:nvSpPr>
              <p:spPr bwMode="auto">
                <a:xfrm rot="8100000">
                  <a:off x="5559844" y="248252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92" name="Line 67">
                  <a:extLst>
                    <a:ext uri="{FF2B5EF4-FFF2-40B4-BE49-F238E27FC236}">
                      <a16:creationId xmlns:a16="http://schemas.microsoft.com/office/drawing/2014/main" id="{4AC2771F-1308-49E8-8461-9D43FBCA3752}"/>
                    </a:ext>
                  </a:extLst>
                </p:cNvPr>
                <p:cNvSpPr>
                  <a:spLocks noChangeShapeType="1"/>
                </p:cNvSpPr>
                <p:nvPr/>
              </p:nvSpPr>
              <p:spPr bwMode="auto">
                <a:xfrm rot="8100000">
                  <a:off x="5269164" y="2793573"/>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93" name="Line 74">
                  <a:extLst>
                    <a:ext uri="{FF2B5EF4-FFF2-40B4-BE49-F238E27FC236}">
                      <a16:creationId xmlns:a16="http://schemas.microsoft.com/office/drawing/2014/main" id="{9D0B7B6A-8821-4A94-BA97-CEB99071EF59}"/>
                    </a:ext>
                  </a:extLst>
                </p:cNvPr>
                <p:cNvSpPr>
                  <a:spLocks noChangeShapeType="1"/>
                </p:cNvSpPr>
                <p:nvPr/>
              </p:nvSpPr>
              <p:spPr bwMode="auto">
                <a:xfrm rot="8100000">
                  <a:off x="5252501" y="281023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94" name="Freeform 1575">
                  <a:extLst>
                    <a:ext uri="{FF2B5EF4-FFF2-40B4-BE49-F238E27FC236}">
                      <a16:creationId xmlns:a16="http://schemas.microsoft.com/office/drawing/2014/main" id="{D0DECBB2-D79F-4426-A5BE-4CEAFB36C273}"/>
                    </a:ext>
                  </a:extLst>
                </p:cNvPr>
                <p:cNvSpPr>
                  <a:spLocks/>
                </p:cNvSpPr>
                <p:nvPr/>
              </p:nvSpPr>
              <p:spPr bwMode="auto">
                <a:xfrm>
                  <a:off x="5387554" y="2869396"/>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95" name="Freeform 1576">
                  <a:extLst>
                    <a:ext uri="{FF2B5EF4-FFF2-40B4-BE49-F238E27FC236}">
                      <a16:creationId xmlns:a16="http://schemas.microsoft.com/office/drawing/2014/main" id="{967EA86E-E37F-468B-A9C5-2D5A2A9E303B}"/>
                    </a:ext>
                  </a:extLst>
                </p:cNvPr>
                <p:cNvSpPr>
                  <a:spLocks/>
                </p:cNvSpPr>
                <p:nvPr/>
              </p:nvSpPr>
              <p:spPr bwMode="auto">
                <a:xfrm>
                  <a:off x="5387554" y="2722777"/>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96" name="Freeform 1577">
                  <a:extLst>
                    <a:ext uri="{FF2B5EF4-FFF2-40B4-BE49-F238E27FC236}">
                      <a16:creationId xmlns:a16="http://schemas.microsoft.com/office/drawing/2014/main" id="{279753D5-0C08-42C6-9C62-6B0EA770F9FE}"/>
                    </a:ext>
                  </a:extLst>
                </p:cNvPr>
                <p:cNvSpPr>
                  <a:spLocks/>
                </p:cNvSpPr>
                <p:nvPr/>
              </p:nvSpPr>
              <p:spPr bwMode="auto">
                <a:xfrm>
                  <a:off x="5589515" y="2722777"/>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97" name="Freeform 1578">
                  <a:extLst>
                    <a:ext uri="{FF2B5EF4-FFF2-40B4-BE49-F238E27FC236}">
                      <a16:creationId xmlns:a16="http://schemas.microsoft.com/office/drawing/2014/main" id="{AEF94B44-FA28-4B6F-9D92-77D63632DE6C}"/>
                    </a:ext>
                  </a:extLst>
                </p:cNvPr>
                <p:cNvSpPr>
                  <a:spLocks noEditPoints="1"/>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98" name="Freeform 1579">
                  <a:extLst>
                    <a:ext uri="{FF2B5EF4-FFF2-40B4-BE49-F238E27FC236}">
                      <a16:creationId xmlns:a16="http://schemas.microsoft.com/office/drawing/2014/main" id="{3BC26B35-3124-425A-BC9E-DC42D504F11D}"/>
                    </a:ext>
                  </a:extLst>
                </p:cNvPr>
                <p:cNvSpPr>
                  <a:spLocks/>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99" name="Freeform 1580">
                  <a:extLst>
                    <a:ext uri="{FF2B5EF4-FFF2-40B4-BE49-F238E27FC236}">
                      <a16:creationId xmlns:a16="http://schemas.microsoft.com/office/drawing/2014/main" id="{01A6EC9A-CB76-4DC4-A5BF-820D95158193}"/>
                    </a:ext>
                  </a:extLst>
                </p:cNvPr>
                <p:cNvSpPr>
                  <a:spLocks/>
                </p:cNvSpPr>
                <p:nvPr/>
              </p:nvSpPr>
              <p:spPr bwMode="auto">
                <a:xfrm>
                  <a:off x="5595826" y="2728701"/>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00" name="Freeform 1581">
                  <a:extLst>
                    <a:ext uri="{FF2B5EF4-FFF2-40B4-BE49-F238E27FC236}">
                      <a16:creationId xmlns:a16="http://schemas.microsoft.com/office/drawing/2014/main" id="{B646AF1A-3650-41C3-9CA3-B07273ED00C3}"/>
                    </a:ext>
                  </a:extLst>
                </p:cNvPr>
                <p:cNvSpPr>
                  <a:spLocks noEditPoints="1"/>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01" name="Freeform 1582">
                  <a:extLst>
                    <a:ext uri="{FF2B5EF4-FFF2-40B4-BE49-F238E27FC236}">
                      <a16:creationId xmlns:a16="http://schemas.microsoft.com/office/drawing/2014/main" id="{371A749D-AE8E-4396-AFF6-F638C966811F}"/>
                    </a:ext>
                  </a:extLst>
                </p:cNvPr>
                <p:cNvSpPr>
                  <a:spLocks/>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02" name="Freeform 1583">
                  <a:extLst>
                    <a:ext uri="{FF2B5EF4-FFF2-40B4-BE49-F238E27FC236}">
                      <a16:creationId xmlns:a16="http://schemas.microsoft.com/office/drawing/2014/main" id="{4B3D5148-1FCA-4EB5-9F09-A959B78C9296}"/>
                    </a:ext>
                  </a:extLst>
                </p:cNvPr>
                <p:cNvSpPr>
                  <a:spLocks/>
                </p:cNvSpPr>
                <p:nvPr/>
              </p:nvSpPr>
              <p:spPr bwMode="auto">
                <a:xfrm>
                  <a:off x="5330752" y="2728701"/>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03" name="Freeform 1584">
                  <a:extLst>
                    <a:ext uri="{FF2B5EF4-FFF2-40B4-BE49-F238E27FC236}">
                      <a16:creationId xmlns:a16="http://schemas.microsoft.com/office/drawing/2014/main" id="{16593FE3-9CCF-4D2B-9165-B713184ED34D}"/>
                    </a:ext>
                  </a:extLst>
                </p:cNvPr>
                <p:cNvSpPr>
                  <a:spLocks/>
                </p:cNvSpPr>
                <p:nvPr/>
              </p:nvSpPr>
              <p:spPr bwMode="auto">
                <a:xfrm>
                  <a:off x="5589515" y="260577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04" name="Freeform 1585">
                  <a:extLst>
                    <a:ext uri="{FF2B5EF4-FFF2-40B4-BE49-F238E27FC236}">
                      <a16:creationId xmlns:a16="http://schemas.microsoft.com/office/drawing/2014/main" id="{6E48FBAE-8EAB-4561-87D2-9DA0A03B36DF}"/>
                    </a:ext>
                  </a:extLst>
                </p:cNvPr>
                <p:cNvSpPr>
                  <a:spLocks/>
                </p:cNvSpPr>
                <p:nvPr/>
              </p:nvSpPr>
              <p:spPr bwMode="auto">
                <a:xfrm>
                  <a:off x="5340219" y="2605776"/>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05" name="Freeform 1586">
                  <a:extLst>
                    <a:ext uri="{FF2B5EF4-FFF2-40B4-BE49-F238E27FC236}">
                      <a16:creationId xmlns:a16="http://schemas.microsoft.com/office/drawing/2014/main" id="{CCF036B9-BB87-4DB5-BE0E-6FCCDE8F1AB8}"/>
                    </a:ext>
                  </a:extLst>
                </p:cNvPr>
                <p:cNvSpPr>
                  <a:spLocks/>
                </p:cNvSpPr>
                <p:nvPr/>
              </p:nvSpPr>
              <p:spPr bwMode="auto">
                <a:xfrm>
                  <a:off x="5580048" y="2602814"/>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06" name="Freeform 1587">
                  <a:extLst>
                    <a:ext uri="{FF2B5EF4-FFF2-40B4-BE49-F238E27FC236}">
                      <a16:creationId xmlns:a16="http://schemas.microsoft.com/office/drawing/2014/main" id="{9C961B15-C38D-468B-9E6E-3761445838A7}"/>
                    </a:ext>
                  </a:extLst>
                </p:cNvPr>
                <p:cNvSpPr>
                  <a:spLocks/>
                </p:cNvSpPr>
                <p:nvPr/>
              </p:nvSpPr>
              <p:spPr bwMode="auto">
                <a:xfrm>
                  <a:off x="5338642" y="2602814"/>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07" name="Freeform 1588">
                  <a:extLst>
                    <a:ext uri="{FF2B5EF4-FFF2-40B4-BE49-F238E27FC236}">
                      <a16:creationId xmlns:a16="http://schemas.microsoft.com/office/drawing/2014/main" id="{9FEAF003-8DF1-4E86-85B7-0860501A7436}"/>
                    </a:ext>
                  </a:extLst>
                </p:cNvPr>
                <p:cNvSpPr>
                  <a:spLocks/>
                </p:cNvSpPr>
                <p:nvPr/>
              </p:nvSpPr>
              <p:spPr bwMode="auto">
                <a:xfrm>
                  <a:off x="5381243" y="2722777"/>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808" name="Rectangle 1589">
                  <a:extLst>
                    <a:ext uri="{FF2B5EF4-FFF2-40B4-BE49-F238E27FC236}">
                      <a16:creationId xmlns:a16="http://schemas.microsoft.com/office/drawing/2014/main" id="{A84253BF-BAFF-440F-AACE-9B5C1611ED49}"/>
                    </a:ext>
                  </a:extLst>
                </p:cNvPr>
                <p:cNvSpPr>
                  <a:spLocks noChangeArrowheads="1"/>
                </p:cNvSpPr>
                <p:nvPr/>
              </p:nvSpPr>
              <p:spPr bwMode="auto">
                <a:xfrm>
                  <a:off x="5583204" y="2789422"/>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09" name="Rectangle 1590">
                  <a:extLst>
                    <a:ext uri="{FF2B5EF4-FFF2-40B4-BE49-F238E27FC236}">
                      <a16:creationId xmlns:a16="http://schemas.microsoft.com/office/drawing/2014/main" id="{CB026307-04CE-4831-9578-85BAE927330E}"/>
                    </a:ext>
                  </a:extLst>
                </p:cNvPr>
                <p:cNvSpPr>
                  <a:spLocks noChangeArrowheads="1"/>
                </p:cNvSpPr>
                <p:nvPr/>
              </p:nvSpPr>
              <p:spPr bwMode="auto">
                <a:xfrm>
                  <a:off x="5583204" y="2656131"/>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0" name="Freeform 1591">
                  <a:extLst>
                    <a:ext uri="{FF2B5EF4-FFF2-40B4-BE49-F238E27FC236}">
                      <a16:creationId xmlns:a16="http://schemas.microsoft.com/office/drawing/2014/main" id="{CDDA38E3-A5A0-4070-9825-58955C8DBBC9}"/>
                    </a:ext>
                  </a:extLst>
                </p:cNvPr>
                <p:cNvSpPr>
                  <a:spLocks/>
                </p:cNvSpPr>
                <p:nvPr/>
              </p:nvSpPr>
              <p:spPr bwMode="auto">
                <a:xfrm>
                  <a:off x="5611605" y="2953814"/>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1" name="Freeform 1592">
                  <a:extLst>
                    <a:ext uri="{FF2B5EF4-FFF2-40B4-BE49-F238E27FC236}">
                      <a16:creationId xmlns:a16="http://schemas.microsoft.com/office/drawing/2014/main" id="{70F9421C-07B1-4734-A509-CB57CE72569A}"/>
                    </a:ext>
                  </a:extLst>
                </p:cNvPr>
                <p:cNvSpPr>
                  <a:spLocks/>
                </p:cNvSpPr>
                <p:nvPr/>
              </p:nvSpPr>
              <p:spPr bwMode="auto">
                <a:xfrm>
                  <a:off x="5611605" y="2946409"/>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2" name="Freeform 1593">
                  <a:extLst>
                    <a:ext uri="{FF2B5EF4-FFF2-40B4-BE49-F238E27FC236}">
                      <a16:creationId xmlns:a16="http://schemas.microsoft.com/office/drawing/2014/main" id="{DCEA0EC6-E1B5-4018-8E57-579DEB741C1C}"/>
                    </a:ext>
                  </a:extLst>
                </p:cNvPr>
                <p:cNvSpPr>
                  <a:spLocks noEditPoints="1"/>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3" name="Freeform 1594">
                  <a:extLst>
                    <a:ext uri="{FF2B5EF4-FFF2-40B4-BE49-F238E27FC236}">
                      <a16:creationId xmlns:a16="http://schemas.microsoft.com/office/drawing/2014/main" id="{B6BA906C-80F0-49A6-8E32-683E8F2AF39A}"/>
                    </a:ext>
                  </a:extLst>
                </p:cNvPr>
                <p:cNvSpPr>
                  <a:spLocks/>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4" name="Freeform 1595">
                  <a:extLst>
                    <a:ext uri="{FF2B5EF4-FFF2-40B4-BE49-F238E27FC236}">
                      <a16:creationId xmlns:a16="http://schemas.microsoft.com/office/drawing/2014/main" id="{B3AAA46E-EC9D-410C-9692-AAAA9971E59F}"/>
                    </a:ext>
                  </a:extLst>
                </p:cNvPr>
                <p:cNvSpPr>
                  <a:spLocks/>
                </p:cNvSpPr>
                <p:nvPr/>
              </p:nvSpPr>
              <p:spPr bwMode="auto">
                <a:xfrm>
                  <a:off x="5414377" y="2907902"/>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5" name="Freeform 1596">
                  <a:extLst>
                    <a:ext uri="{FF2B5EF4-FFF2-40B4-BE49-F238E27FC236}">
                      <a16:creationId xmlns:a16="http://schemas.microsoft.com/office/drawing/2014/main" id="{57606F40-E1F9-4D8A-AECF-40E9C0D5F396}"/>
                    </a:ext>
                  </a:extLst>
                </p:cNvPr>
                <p:cNvSpPr>
                  <a:spLocks/>
                </p:cNvSpPr>
                <p:nvPr/>
              </p:nvSpPr>
              <p:spPr bwMode="auto">
                <a:xfrm>
                  <a:off x="5409643" y="2881244"/>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6" name="Freeform 1672">
                  <a:extLst>
                    <a:ext uri="{FF2B5EF4-FFF2-40B4-BE49-F238E27FC236}">
                      <a16:creationId xmlns:a16="http://schemas.microsoft.com/office/drawing/2014/main" id="{0743CC00-2544-4C8F-9058-898F63E97298}"/>
                    </a:ext>
                  </a:extLst>
                </p:cNvPr>
                <p:cNvSpPr>
                  <a:spLocks/>
                </p:cNvSpPr>
                <p:nvPr/>
              </p:nvSpPr>
              <p:spPr bwMode="auto">
                <a:xfrm>
                  <a:off x="5687340" y="2614663"/>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7" name="Freeform 1673">
                  <a:extLst>
                    <a:ext uri="{FF2B5EF4-FFF2-40B4-BE49-F238E27FC236}">
                      <a16:creationId xmlns:a16="http://schemas.microsoft.com/office/drawing/2014/main" id="{DBF18ADB-B1CC-4ED5-900A-B9B365484097}"/>
                    </a:ext>
                  </a:extLst>
                </p:cNvPr>
                <p:cNvSpPr>
                  <a:spLocks/>
                </p:cNvSpPr>
                <p:nvPr/>
              </p:nvSpPr>
              <p:spPr bwMode="auto">
                <a:xfrm>
                  <a:off x="5772543" y="2583562"/>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8" name="Freeform 1674">
                  <a:extLst>
                    <a:ext uri="{FF2B5EF4-FFF2-40B4-BE49-F238E27FC236}">
                      <a16:creationId xmlns:a16="http://schemas.microsoft.com/office/drawing/2014/main" id="{E4629345-F32A-4C3A-8CDC-94DE657271B7}"/>
                    </a:ext>
                  </a:extLst>
                </p:cNvPr>
                <p:cNvSpPr>
                  <a:spLocks/>
                </p:cNvSpPr>
                <p:nvPr/>
              </p:nvSpPr>
              <p:spPr bwMode="auto">
                <a:xfrm>
                  <a:off x="5636850" y="2682789"/>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19" name="Freeform 1675">
                  <a:extLst>
                    <a:ext uri="{FF2B5EF4-FFF2-40B4-BE49-F238E27FC236}">
                      <a16:creationId xmlns:a16="http://schemas.microsoft.com/office/drawing/2014/main" id="{DC48B84C-1378-4412-9EB1-3346AFE3769D}"/>
                    </a:ext>
                  </a:extLst>
                </p:cNvPr>
                <p:cNvSpPr>
                  <a:spLocks/>
                </p:cNvSpPr>
                <p:nvPr/>
              </p:nvSpPr>
              <p:spPr bwMode="auto">
                <a:xfrm>
                  <a:off x="5644739" y="2666498"/>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0" name="Freeform 1676">
                  <a:extLst>
                    <a:ext uri="{FF2B5EF4-FFF2-40B4-BE49-F238E27FC236}">
                      <a16:creationId xmlns:a16="http://schemas.microsoft.com/office/drawing/2014/main" id="{6E2F88A9-6D3E-47BF-8923-CA2D7C1F93E2}"/>
                    </a:ext>
                  </a:extLst>
                </p:cNvPr>
                <p:cNvSpPr>
                  <a:spLocks/>
                </p:cNvSpPr>
                <p:nvPr/>
              </p:nvSpPr>
              <p:spPr bwMode="auto">
                <a:xfrm>
                  <a:off x="5632117" y="2700561"/>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1" name="Freeform 1677">
                  <a:extLst>
                    <a:ext uri="{FF2B5EF4-FFF2-40B4-BE49-F238E27FC236}">
                      <a16:creationId xmlns:a16="http://schemas.microsoft.com/office/drawing/2014/main" id="{73EEB61C-67F7-40D2-92B8-A0613A6B4715}"/>
                    </a:ext>
                  </a:extLst>
                </p:cNvPr>
                <p:cNvSpPr>
                  <a:spLocks/>
                </p:cNvSpPr>
                <p:nvPr/>
              </p:nvSpPr>
              <p:spPr bwMode="auto">
                <a:xfrm>
                  <a:off x="5630538" y="2716853"/>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2" name="Freeform 1678">
                  <a:extLst>
                    <a:ext uri="{FF2B5EF4-FFF2-40B4-BE49-F238E27FC236}">
                      <a16:creationId xmlns:a16="http://schemas.microsoft.com/office/drawing/2014/main" id="{66126686-A6BF-49E2-BD4B-E8EBCD6F26FB}"/>
                    </a:ext>
                  </a:extLst>
                </p:cNvPr>
                <p:cNvSpPr>
                  <a:spLocks/>
                </p:cNvSpPr>
                <p:nvPr/>
              </p:nvSpPr>
              <p:spPr bwMode="auto">
                <a:xfrm>
                  <a:off x="5628961" y="2734625"/>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3" name="Freeform 1679">
                  <a:extLst>
                    <a:ext uri="{FF2B5EF4-FFF2-40B4-BE49-F238E27FC236}">
                      <a16:creationId xmlns:a16="http://schemas.microsoft.com/office/drawing/2014/main" id="{4C7D32F8-5725-4D1B-B280-550A8F61E0CE}"/>
                    </a:ext>
                  </a:extLst>
                </p:cNvPr>
                <p:cNvSpPr>
                  <a:spLocks/>
                </p:cNvSpPr>
                <p:nvPr/>
              </p:nvSpPr>
              <p:spPr bwMode="auto">
                <a:xfrm>
                  <a:off x="5701541" y="2604296"/>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4" name="Freeform 1680">
                  <a:extLst>
                    <a:ext uri="{FF2B5EF4-FFF2-40B4-BE49-F238E27FC236}">
                      <a16:creationId xmlns:a16="http://schemas.microsoft.com/office/drawing/2014/main" id="{15BD3B32-B110-487F-ACF6-0AFB10BE1821}"/>
                    </a:ext>
                  </a:extLst>
                </p:cNvPr>
                <p:cNvSpPr>
                  <a:spLocks/>
                </p:cNvSpPr>
                <p:nvPr/>
              </p:nvSpPr>
              <p:spPr bwMode="auto">
                <a:xfrm>
                  <a:off x="5720475" y="2598372"/>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5" name="Freeform 1681">
                  <a:extLst>
                    <a:ext uri="{FF2B5EF4-FFF2-40B4-BE49-F238E27FC236}">
                      <a16:creationId xmlns:a16="http://schemas.microsoft.com/office/drawing/2014/main" id="{EA427BFC-9E74-4A02-88FB-837528258536}"/>
                    </a:ext>
                  </a:extLst>
                </p:cNvPr>
                <p:cNvSpPr>
                  <a:spLocks/>
                </p:cNvSpPr>
                <p:nvPr/>
              </p:nvSpPr>
              <p:spPr bwMode="auto">
                <a:xfrm>
                  <a:off x="5652628" y="2651688"/>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6" name="Freeform 1682">
                  <a:extLst>
                    <a:ext uri="{FF2B5EF4-FFF2-40B4-BE49-F238E27FC236}">
                      <a16:creationId xmlns:a16="http://schemas.microsoft.com/office/drawing/2014/main" id="{FAEC499D-AF61-4607-A801-A39DFEB1253D}"/>
                    </a:ext>
                  </a:extLst>
                </p:cNvPr>
                <p:cNvSpPr>
                  <a:spLocks/>
                </p:cNvSpPr>
                <p:nvPr/>
              </p:nvSpPr>
              <p:spPr bwMode="auto">
                <a:xfrm>
                  <a:off x="5663673" y="2638359"/>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7" name="Freeform 1683">
                  <a:extLst>
                    <a:ext uri="{FF2B5EF4-FFF2-40B4-BE49-F238E27FC236}">
                      <a16:creationId xmlns:a16="http://schemas.microsoft.com/office/drawing/2014/main" id="{45FFDA48-77D0-40E2-8AB2-96A446247F7D}"/>
                    </a:ext>
                  </a:extLst>
                </p:cNvPr>
                <p:cNvSpPr>
                  <a:spLocks/>
                </p:cNvSpPr>
                <p:nvPr/>
              </p:nvSpPr>
              <p:spPr bwMode="auto">
                <a:xfrm>
                  <a:off x="5674717" y="2626510"/>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8" name="Freeform 1684">
                  <a:extLst>
                    <a:ext uri="{FF2B5EF4-FFF2-40B4-BE49-F238E27FC236}">
                      <a16:creationId xmlns:a16="http://schemas.microsoft.com/office/drawing/2014/main" id="{33024EAC-806B-4900-89E6-DA013139E628}"/>
                    </a:ext>
                  </a:extLst>
                </p:cNvPr>
                <p:cNvSpPr>
                  <a:spLocks/>
                </p:cNvSpPr>
                <p:nvPr/>
              </p:nvSpPr>
              <p:spPr bwMode="auto">
                <a:xfrm>
                  <a:off x="5736253" y="2590966"/>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29" name="Freeform 1685">
                  <a:extLst>
                    <a:ext uri="{FF2B5EF4-FFF2-40B4-BE49-F238E27FC236}">
                      <a16:creationId xmlns:a16="http://schemas.microsoft.com/office/drawing/2014/main" id="{6CD0D463-A20A-47EF-B58B-2D23FB45804F}"/>
                    </a:ext>
                  </a:extLst>
                </p:cNvPr>
                <p:cNvSpPr>
                  <a:spLocks/>
                </p:cNvSpPr>
                <p:nvPr/>
              </p:nvSpPr>
              <p:spPr bwMode="auto">
                <a:xfrm>
                  <a:off x="5819877" y="2627992"/>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0" name="Freeform 1686">
                  <a:extLst>
                    <a:ext uri="{FF2B5EF4-FFF2-40B4-BE49-F238E27FC236}">
                      <a16:creationId xmlns:a16="http://schemas.microsoft.com/office/drawing/2014/main" id="{98724A69-998D-4F37-AC9C-5740D8D115E6}"/>
                    </a:ext>
                  </a:extLst>
                </p:cNvPr>
                <p:cNvSpPr>
                  <a:spLocks/>
                </p:cNvSpPr>
                <p:nvPr/>
              </p:nvSpPr>
              <p:spPr bwMode="auto">
                <a:xfrm>
                  <a:off x="5800943" y="2622068"/>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1" name="Freeform 1687">
                  <a:extLst>
                    <a:ext uri="{FF2B5EF4-FFF2-40B4-BE49-F238E27FC236}">
                      <a16:creationId xmlns:a16="http://schemas.microsoft.com/office/drawing/2014/main" id="{F90890AC-2D93-4811-9479-C97107B618F1}"/>
                    </a:ext>
                  </a:extLst>
                </p:cNvPr>
                <p:cNvSpPr>
                  <a:spLocks/>
                </p:cNvSpPr>
                <p:nvPr/>
              </p:nvSpPr>
              <p:spPr bwMode="auto">
                <a:xfrm>
                  <a:off x="5834078" y="2619106"/>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2" name="Freeform 1688">
                  <a:extLst>
                    <a:ext uri="{FF2B5EF4-FFF2-40B4-BE49-F238E27FC236}">
                      <a16:creationId xmlns:a16="http://schemas.microsoft.com/office/drawing/2014/main" id="{6C8F54AF-7A75-45AC-BEB2-E8168FE40260}"/>
                    </a:ext>
                  </a:extLst>
                </p:cNvPr>
                <p:cNvSpPr>
                  <a:spLocks/>
                </p:cNvSpPr>
                <p:nvPr/>
              </p:nvSpPr>
              <p:spPr bwMode="auto">
                <a:xfrm>
                  <a:off x="5835655" y="2602814"/>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3" name="Freeform 1689">
                  <a:extLst>
                    <a:ext uri="{FF2B5EF4-FFF2-40B4-BE49-F238E27FC236}">
                      <a16:creationId xmlns:a16="http://schemas.microsoft.com/office/drawing/2014/main" id="{B63DF0D6-1779-4C69-A904-6C64B2D4D518}"/>
                    </a:ext>
                  </a:extLst>
                </p:cNvPr>
                <p:cNvSpPr>
                  <a:spLocks/>
                </p:cNvSpPr>
                <p:nvPr/>
              </p:nvSpPr>
              <p:spPr bwMode="auto">
                <a:xfrm>
                  <a:off x="5775698" y="2599852"/>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4" name="Freeform 1690">
                  <a:extLst>
                    <a:ext uri="{FF2B5EF4-FFF2-40B4-BE49-F238E27FC236}">
                      <a16:creationId xmlns:a16="http://schemas.microsoft.com/office/drawing/2014/main" id="{37C57E3B-D812-45B4-9F36-4C36874897A6}"/>
                    </a:ext>
                  </a:extLst>
                </p:cNvPr>
                <p:cNvSpPr>
                  <a:spLocks/>
                </p:cNvSpPr>
                <p:nvPr/>
              </p:nvSpPr>
              <p:spPr bwMode="auto">
                <a:xfrm>
                  <a:off x="5786743" y="2613182"/>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5" name="Freeform 1691">
                  <a:extLst>
                    <a:ext uri="{FF2B5EF4-FFF2-40B4-BE49-F238E27FC236}">
                      <a16:creationId xmlns:a16="http://schemas.microsoft.com/office/drawing/2014/main" id="{53665BA6-6D98-4CE6-BF1C-FF030E58B417}"/>
                    </a:ext>
                  </a:extLst>
                </p:cNvPr>
                <p:cNvSpPr>
                  <a:spLocks/>
                </p:cNvSpPr>
                <p:nvPr/>
              </p:nvSpPr>
              <p:spPr bwMode="auto">
                <a:xfrm>
                  <a:off x="5791476" y="2583562"/>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6" name="Freeform 1692">
                  <a:extLst>
                    <a:ext uri="{FF2B5EF4-FFF2-40B4-BE49-F238E27FC236}">
                      <a16:creationId xmlns:a16="http://schemas.microsoft.com/office/drawing/2014/main" id="{56238868-6CC1-4DB1-A442-BAF76D497FB6}"/>
                    </a:ext>
                  </a:extLst>
                </p:cNvPr>
                <p:cNvSpPr>
                  <a:spLocks/>
                </p:cNvSpPr>
                <p:nvPr/>
              </p:nvSpPr>
              <p:spPr bwMode="auto">
                <a:xfrm>
                  <a:off x="5772543" y="2567270"/>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7" name="Freeform 1693">
                  <a:extLst>
                    <a:ext uri="{FF2B5EF4-FFF2-40B4-BE49-F238E27FC236}">
                      <a16:creationId xmlns:a16="http://schemas.microsoft.com/office/drawing/2014/main" id="{2E3CD0C4-5694-4F08-B0FB-96E62362EF43}"/>
                    </a:ext>
                  </a:extLst>
                </p:cNvPr>
                <p:cNvSpPr>
                  <a:spLocks/>
                </p:cNvSpPr>
                <p:nvPr/>
              </p:nvSpPr>
              <p:spPr bwMode="auto">
                <a:xfrm>
                  <a:off x="5753609" y="2586524"/>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8" name="Freeform 1694">
                  <a:extLst>
                    <a:ext uri="{FF2B5EF4-FFF2-40B4-BE49-F238E27FC236}">
                      <a16:creationId xmlns:a16="http://schemas.microsoft.com/office/drawing/2014/main" id="{34B9B130-17BF-4851-AD7C-983976783ED3}"/>
                    </a:ext>
                  </a:extLst>
                </p:cNvPr>
                <p:cNvSpPr>
                  <a:spLocks/>
                </p:cNvSpPr>
                <p:nvPr/>
              </p:nvSpPr>
              <p:spPr bwMode="auto">
                <a:xfrm>
                  <a:off x="5783588" y="2534688"/>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39" name="Freeform 1695">
                  <a:extLst>
                    <a:ext uri="{FF2B5EF4-FFF2-40B4-BE49-F238E27FC236}">
                      <a16:creationId xmlns:a16="http://schemas.microsoft.com/office/drawing/2014/main" id="{14202341-8D9F-4E4C-AF69-9A5BCDCEF6F6}"/>
                    </a:ext>
                  </a:extLst>
                </p:cNvPr>
                <p:cNvSpPr>
                  <a:spLocks/>
                </p:cNvSpPr>
                <p:nvPr/>
              </p:nvSpPr>
              <p:spPr bwMode="auto">
                <a:xfrm>
                  <a:off x="5774121" y="2549498"/>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40" name="Freeform 1696">
                  <a:extLst>
                    <a:ext uri="{FF2B5EF4-FFF2-40B4-BE49-F238E27FC236}">
                      <a16:creationId xmlns:a16="http://schemas.microsoft.com/office/drawing/2014/main" id="{642A0E9B-154A-4F81-9C89-CC974D46A7B1}"/>
                    </a:ext>
                  </a:extLst>
                </p:cNvPr>
                <p:cNvSpPr>
                  <a:spLocks/>
                </p:cNvSpPr>
                <p:nvPr/>
              </p:nvSpPr>
              <p:spPr bwMode="auto">
                <a:xfrm>
                  <a:off x="5808833" y="2585042"/>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41" name="Freeform 1697">
                  <a:extLst>
                    <a:ext uri="{FF2B5EF4-FFF2-40B4-BE49-F238E27FC236}">
                      <a16:creationId xmlns:a16="http://schemas.microsoft.com/office/drawing/2014/main" id="{79BCE995-5DCD-4C9A-AB5C-5FF7D24DDF19}"/>
                    </a:ext>
                  </a:extLst>
                </p:cNvPr>
                <p:cNvSpPr>
                  <a:spLocks/>
                </p:cNvSpPr>
                <p:nvPr/>
              </p:nvSpPr>
              <p:spPr bwMode="auto">
                <a:xfrm>
                  <a:off x="5824611" y="2590966"/>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grpSp>
          <p:grpSp>
            <p:nvGrpSpPr>
              <p:cNvPr id="739" name="Group 738">
                <a:extLst>
                  <a:ext uri="{FF2B5EF4-FFF2-40B4-BE49-F238E27FC236}">
                    <a16:creationId xmlns:a16="http://schemas.microsoft.com/office/drawing/2014/main" id="{73A057FC-BC80-44E3-A951-0E7621F894D4}"/>
                  </a:ext>
                </a:extLst>
              </p:cNvPr>
              <p:cNvGrpSpPr/>
              <p:nvPr/>
            </p:nvGrpSpPr>
            <p:grpSpPr>
              <a:xfrm>
                <a:off x="5353053" y="2683615"/>
                <a:ext cx="1221490" cy="1047560"/>
                <a:chOff x="5252501" y="2482528"/>
                <a:chExt cx="609978" cy="523122"/>
              </a:xfrm>
            </p:grpSpPr>
            <p:sp>
              <p:nvSpPr>
                <p:cNvPr id="740" name="Line 66">
                  <a:extLst>
                    <a:ext uri="{FF2B5EF4-FFF2-40B4-BE49-F238E27FC236}">
                      <a16:creationId xmlns:a16="http://schemas.microsoft.com/office/drawing/2014/main" id="{310B78EF-95F0-42F4-946C-B731E98B3EFF}"/>
                    </a:ext>
                  </a:extLst>
                </p:cNvPr>
                <p:cNvSpPr>
                  <a:spLocks noChangeShapeType="1"/>
                </p:cNvSpPr>
                <p:nvPr/>
              </p:nvSpPr>
              <p:spPr bwMode="auto">
                <a:xfrm rot="8100000">
                  <a:off x="5559844" y="2482528"/>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41" name="Line 67">
                  <a:extLst>
                    <a:ext uri="{FF2B5EF4-FFF2-40B4-BE49-F238E27FC236}">
                      <a16:creationId xmlns:a16="http://schemas.microsoft.com/office/drawing/2014/main" id="{A24027E3-E808-4D63-B4FF-AB726864FCEE}"/>
                    </a:ext>
                  </a:extLst>
                </p:cNvPr>
                <p:cNvSpPr>
                  <a:spLocks noChangeShapeType="1"/>
                </p:cNvSpPr>
                <p:nvPr/>
              </p:nvSpPr>
              <p:spPr bwMode="auto">
                <a:xfrm rot="8100000">
                  <a:off x="5269164" y="2793573"/>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42" name="Line 74">
                  <a:extLst>
                    <a:ext uri="{FF2B5EF4-FFF2-40B4-BE49-F238E27FC236}">
                      <a16:creationId xmlns:a16="http://schemas.microsoft.com/office/drawing/2014/main" id="{9E3CB0C2-5C0D-4569-A682-478FEEA1661C}"/>
                    </a:ext>
                  </a:extLst>
                </p:cNvPr>
                <p:cNvSpPr>
                  <a:spLocks noChangeShapeType="1"/>
                </p:cNvSpPr>
                <p:nvPr/>
              </p:nvSpPr>
              <p:spPr bwMode="auto">
                <a:xfrm rot="8100000">
                  <a:off x="5252501" y="2810237"/>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43" name="Freeform 1575">
                  <a:extLst>
                    <a:ext uri="{FF2B5EF4-FFF2-40B4-BE49-F238E27FC236}">
                      <a16:creationId xmlns:a16="http://schemas.microsoft.com/office/drawing/2014/main" id="{1B557E68-79AB-4234-96B9-CFB8F5E3BC04}"/>
                    </a:ext>
                  </a:extLst>
                </p:cNvPr>
                <p:cNvSpPr>
                  <a:spLocks/>
                </p:cNvSpPr>
                <p:nvPr/>
              </p:nvSpPr>
              <p:spPr bwMode="auto">
                <a:xfrm>
                  <a:off x="5387554" y="2869396"/>
                  <a:ext cx="403923" cy="133291"/>
                </a:xfrm>
                <a:custGeom>
                  <a:avLst/>
                  <a:gdLst>
                    <a:gd name="T0" fmla="*/ 511 w 511"/>
                    <a:gd name="T1" fmla="*/ 88 h 178"/>
                    <a:gd name="T2" fmla="*/ 256 w 511"/>
                    <a:gd name="T3" fmla="*/ 0 h 178"/>
                    <a:gd name="T4" fmla="*/ 0 w 511"/>
                    <a:gd name="T5" fmla="*/ 88 h 178"/>
                    <a:gd name="T6" fmla="*/ 256 w 511"/>
                    <a:gd name="T7" fmla="*/ 178 h 178"/>
                    <a:gd name="T8" fmla="*/ 511 w 511"/>
                    <a:gd name="T9" fmla="*/ 88 h 178"/>
                  </a:gdLst>
                  <a:ahLst/>
                  <a:cxnLst>
                    <a:cxn ang="0">
                      <a:pos x="T0" y="T1"/>
                    </a:cxn>
                    <a:cxn ang="0">
                      <a:pos x="T2" y="T3"/>
                    </a:cxn>
                    <a:cxn ang="0">
                      <a:pos x="T4" y="T5"/>
                    </a:cxn>
                    <a:cxn ang="0">
                      <a:pos x="T6" y="T7"/>
                    </a:cxn>
                    <a:cxn ang="0">
                      <a:pos x="T8" y="T9"/>
                    </a:cxn>
                  </a:cxnLst>
                  <a:rect l="0" t="0" r="r" b="b"/>
                  <a:pathLst>
                    <a:path w="511" h="178">
                      <a:moveTo>
                        <a:pt x="511" y="88"/>
                      </a:moveTo>
                      <a:lnTo>
                        <a:pt x="256" y="0"/>
                      </a:lnTo>
                      <a:lnTo>
                        <a:pt x="0" y="88"/>
                      </a:lnTo>
                      <a:lnTo>
                        <a:pt x="256" y="178"/>
                      </a:lnTo>
                      <a:lnTo>
                        <a:pt x="511" y="8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44" name="Freeform 1576">
                  <a:extLst>
                    <a:ext uri="{FF2B5EF4-FFF2-40B4-BE49-F238E27FC236}">
                      <a16:creationId xmlns:a16="http://schemas.microsoft.com/office/drawing/2014/main" id="{8B399A0E-B60A-442F-98FE-95CEC1EA2824}"/>
                    </a:ext>
                  </a:extLst>
                </p:cNvPr>
                <p:cNvSpPr>
                  <a:spLocks/>
                </p:cNvSpPr>
                <p:nvPr/>
              </p:nvSpPr>
              <p:spPr bwMode="auto">
                <a:xfrm>
                  <a:off x="5387554" y="2722777"/>
                  <a:ext cx="201961" cy="279911"/>
                </a:xfrm>
                <a:custGeom>
                  <a:avLst/>
                  <a:gdLst>
                    <a:gd name="T0" fmla="*/ 256 w 256"/>
                    <a:gd name="T1" fmla="*/ 377 h 377"/>
                    <a:gd name="T2" fmla="*/ 256 w 256"/>
                    <a:gd name="T3" fmla="*/ 90 h 377"/>
                    <a:gd name="T4" fmla="*/ 0 w 256"/>
                    <a:gd name="T5" fmla="*/ 0 h 377"/>
                    <a:gd name="T6" fmla="*/ 0 w 256"/>
                    <a:gd name="T7" fmla="*/ 287 h 377"/>
                    <a:gd name="T8" fmla="*/ 256 w 256"/>
                    <a:gd name="T9" fmla="*/ 377 h 377"/>
                  </a:gdLst>
                  <a:ahLst/>
                  <a:cxnLst>
                    <a:cxn ang="0">
                      <a:pos x="T0" y="T1"/>
                    </a:cxn>
                    <a:cxn ang="0">
                      <a:pos x="T2" y="T3"/>
                    </a:cxn>
                    <a:cxn ang="0">
                      <a:pos x="T4" y="T5"/>
                    </a:cxn>
                    <a:cxn ang="0">
                      <a:pos x="T6" y="T7"/>
                    </a:cxn>
                    <a:cxn ang="0">
                      <a:pos x="T8" y="T9"/>
                    </a:cxn>
                  </a:cxnLst>
                  <a:rect l="0" t="0" r="r" b="b"/>
                  <a:pathLst>
                    <a:path w="256" h="377">
                      <a:moveTo>
                        <a:pt x="256" y="377"/>
                      </a:moveTo>
                      <a:lnTo>
                        <a:pt x="256" y="90"/>
                      </a:lnTo>
                      <a:lnTo>
                        <a:pt x="0" y="0"/>
                      </a:lnTo>
                      <a:lnTo>
                        <a:pt x="0" y="287"/>
                      </a:lnTo>
                      <a:lnTo>
                        <a:pt x="256" y="377"/>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45" name="Freeform 1577">
                  <a:extLst>
                    <a:ext uri="{FF2B5EF4-FFF2-40B4-BE49-F238E27FC236}">
                      <a16:creationId xmlns:a16="http://schemas.microsoft.com/office/drawing/2014/main" id="{279F49E1-4333-4B2B-B49F-ED683B7C32C3}"/>
                    </a:ext>
                  </a:extLst>
                </p:cNvPr>
                <p:cNvSpPr>
                  <a:spLocks/>
                </p:cNvSpPr>
                <p:nvPr/>
              </p:nvSpPr>
              <p:spPr bwMode="auto">
                <a:xfrm>
                  <a:off x="5589515" y="2722777"/>
                  <a:ext cx="201961" cy="279911"/>
                </a:xfrm>
                <a:custGeom>
                  <a:avLst/>
                  <a:gdLst>
                    <a:gd name="T0" fmla="*/ 0 w 255"/>
                    <a:gd name="T1" fmla="*/ 90 h 377"/>
                    <a:gd name="T2" fmla="*/ 0 w 255"/>
                    <a:gd name="T3" fmla="*/ 377 h 377"/>
                    <a:gd name="T4" fmla="*/ 255 w 255"/>
                    <a:gd name="T5" fmla="*/ 287 h 377"/>
                    <a:gd name="T6" fmla="*/ 255 w 255"/>
                    <a:gd name="T7" fmla="*/ 0 h 377"/>
                    <a:gd name="T8" fmla="*/ 0 w 255"/>
                    <a:gd name="T9" fmla="*/ 90 h 377"/>
                  </a:gdLst>
                  <a:ahLst/>
                  <a:cxnLst>
                    <a:cxn ang="0">
                      <a:pos x="T0" y="T1"/>
                    </a:cxn>
                    <a:cxn ang="0">
                      <a:pos x="T2" y="T3"/>
                    </a:cxn>
                    <a:cxn ang="0">
                      <a:pos x="T4" y="T5"/>
                    </a:cxn>
                    <a:cxn ang="0">
                      <a:pos x="T6" y="T7"/>
                    </a:cxn>
                    <a:cxn ang="0">
                      <a:pos x="T8" y="T9"/>
                    </a:cxn>
                  </a:cxnLst>
                  <a:rect l="0" t="0" r="r" b="b"/>
                  <a:pathLst>
                    <a:path w="255" h="377">
                      <a:moveTo>
                        <a:pt x="0" y="90"/>
                      </a:moveTo>
                      <a:lnTo>
                        <a:pt x="0" y="377"/>
                      </a:lnTo>
                      <a:lnTo>
                        <a:pt x="255" y="287"/>
                      </a:lnTo>
                      <a:lnTo>
                        <a:pt x="255" y="0"/>
                      </a:lnTo>
                      <a:lnTo>
                        <a:pt x="0" y="90"/>
                      </a:lnTo>
                      <a:close/>
                    </a:path>
                  </a:pathLst>
                </a:custGeom>
                <a:solidFill>
                  <a:srgbClr val="4CBE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46" name="Freeform 1578">
                  <a:extLst>
                    <a:ext uri="{FF2B5EF4-FFF2-40B4-BE49-F238E27FC236}">
                      <a16:creationId xmlns:a16="http://schemas.microsoft.com/office/drawing/2014/main" id="{C88B439B-46A1-4B9A-87AE-17A8C064C73A}"/>
                    </a:ext>
                  </a:extLst>
                </p:cNvPr>
                <p:cNvSpPr>
                  <a:spLocks noEditPoints="1"/>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 name="T10" fmla="*/ 92 w 357"/>
                    <a:gd name="T11" fmla="*/ 180 h 193"/>
                    <a:gd name="T12" fmla="*/ 21 w 357"/>
                    <a:gd name="T13" fmla="*/ 99 h 193"/>
                    <a:gd name="T14" fmla="*/ 265 w 357"/>
                    <a:gd name="T15" fmla="*/ 15 h 193"/>
                    <a:gd name="T16" fmla="*/ 337 w 357"/>
                    <a:gd name="T17" fmla="*/ 94 h 193"/>
                    <a:gd name="T18" fmla="*/ 92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4"/>
                      </a:moveTo>
                      <a:lnTo>
                        <a:pt x="89" y="193"/>
                      </a:lnTo>
                      <a:lnTo>
                        <a:pt x="357" y="99"/>
                      </a:lnTo>
                      <a:lnTo>
                        <a:pt x="269" y="0"/>
                      </a:lnTo>
                      <a:lnTo>
                        <a:pt x="0" y="94"/>
                      </a:lnTo>
                      <a:close/>
                      <a:moveTo>
                        <a:pt x="92" y="180"/>
                      </a:moveTo>
                      <a:lnTo>
                        <a:pt x="21" y="99"/>
                      </a:lnTo>
                      <a:lnTo>
                        <a:pt x="265" y="15"/>
                      </a:lnTo>
                      <a:lnTo>
                        <a:pt x="337" y="94"/>
                      </a:lnTo>
                      <a:lnTo>
                        <a:pt x="92"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47" name="Freeform 1579">
                  <a:extLst>
                    <a:ext uri="{FF2B5EF4-FFF2-40B4-BE49-F238E27FC236}">
                      <a16:creationId xmlns:a16="http://schemas.microsoft.com/office/drawing/2014/main" id="{21838381-CDF0-4D34-9D84-C585419CAF4E}"/>
                    </a:ext>
                  </a:extLst>
                </p:cNvPr>
                <p:cNvSpPr>
                  <a:spLocks/>
                </p:cNvSpPr>
                <p:nvPr/>
              </p:nvSpPr>
              <p:spPr bwMode="auto">
                <a:xfrm>
                  <a:off x="5580048" y="2716853"/>
                  <a:ext cx="282431" cy="143658"/>
                </a:xfrm>
                <a:custGeom>
                  <a:avLst/>
                  <a:gdLst>
                    <a:gd name="T0" fmla="*/ 0 w 357"/>
                    <a:gd name="T1" fmla="*/ 94 h 193"/>
                    <a:gd name="T2" fmla="*/ 89 w 357"/>
                    <a:gd name="T3" fmla="*/ 193 h 193"/>
                    <a:gd name="T4" fmla="*/ 357 w 357"/>
                    <a:gd name="T5" fmla="*/ 99 h 193"/>
                    <a:gd name="T6" fmla="*/ 269 w 357"/>
                    <a:gd name="T7" fmla="*/ 0 h 193"/>
                    <a:gd name="T8" fmla="*/ 0 w 357"/>
                    <a:gd name="T9" fmla="*/ 94 h 193"/>
                  </a:gdLst>
                  <a:ahLst/>
                  <a:cxnLst>
                    <a:cxn ang="0">
                      <a:pos x="T0" y="T1"/>
                    </a:cxn>
                    <a:cxn ang="0">
                      <a:pos x="T2" y="T3"/>
                    </a:cxn>
                    <a:cxn ang="0">
                      <a:pos x="T4" y="T5"/>
                    </a:cxn>
                    <a:cxn ang="0">
                      <a:pos x="T6" y="T7"/>
                    </a:cxn>
                    <a:cxn ang="0">
                      <a:pos x="T8" y="T9"/>
                    </a:cxn>
                  </a:cxnLst>
                  <a:rect l="0" t="0" r="r" b="b"/>
                  <a:pathLst>
                    <a:path w="357" h="193">
                      <a:moveTo>
                        <a:pt x="0" y="94"/>
                      </a:moveTo>
                      <a:lnTo>
                        <a:pt x="89" y="193"/>
                      </a:lnTo>
                      <a:lnTo>
                        <a:pt x="357" y="99"/>
                      </a:lnTo>
                      <a:lnTo>
                        <a:pt x="269" y="0"/>
                      </a:lnTo>
                      <a:lnTo>
                        <a:pt x="0" y="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48" name="Freeform 1580">
                  <a:extLst>
                    <a:ext uri="{FF2B5EF4-FFF2-40B4-BE49-F238E27FC236}">
                      <a16:creationId xmlns:a16="http://schemas.microsoft.com/office/drawing/2014/main" id="{8456F97D-0C3C-49CE-B125-7249CD0E3DAA}"/>
                    </a:ext>
                  </a:extLst>
                </p:cNvPr>
                <p:cNvSpPr>
                  <a:spLocks/>
                </p:cNvSpPr>
                <p:nvPr/>
              </p:nvSpPr>
              <p:spPr bwMode="auto">
                <a:xfrm>
                  <a:off x="5595826" y="2728701"/>
                  <a:ext cx="250874" cy="122924"/>
                </a:xfrm>
                <a:custGeom>
                  <a:avLst/>
                  <a:gdLst>
                    <a:gd name="T0" fmla="*/ 71 w 316"/>
                    <a:gd name="T1" fmla="*/ 165 h 165"/>
                    <a:gd name="T2" fmla="*/ 0 w 316"/>
                    <a:gd name="T3" fmla="*/ 84 h 165"/>
                    <a:gd name="T4" fmla="*/ 244 w 316"/>
                    <a:gd name="T5" fmla="*/ 0 h 165"/>
                    <a:gd name="T6" fmla="*/ 316 w 316"/>
                    <a:gd name="T7" fmla="*/ 79 h 165"/>
                    <a:gd name="T8" fmla="*/ 71 w 316"/>
                    <a:gd name="T9" fmla="*/ 165 h 165"/>
                  </a:gdLst>
                  <a:ahLst/>
                  <a:cxnLst>
                    <a:cxn ang="0">
                      <a:pos x="T0" y="T1"/>
                    </a:cxn>
                    <a:cxn ang="0">
                      <a:pos x="T2" y="T3"/>
                    </a:cxn>
                    <a:cxn ang="0">
                      <a:pos x="T4" y="T5"/>
                    </a:cxn>
                    <a:cxn ang="0">
                      <a:pos x="T6" y="T7"/>
                    </a:cxn>
                    <a:cxn ang="0">
                      <a:pos x="T8" y="T9"/>
                    </a:cxn>
                  </a:cxnLst>
                  <a:rect l="0" t="0" r="r" b="b"/>
                  <a:pathLst>
                    <a:path w="316" h="165">
                      <a:moveTo>
                        <a:pt x="71" y="165"/>
                      </a:moveTo>
                      <a:lnTo>
                        <a:pt x="0" y="84"/>
                      </a:lnTo>
                      <a:lnTo>
                        <a:pt x="244" y="0"/>
                      </a:lnTo>
                      <a:lnTo>
                        <a:pt x="316" y="79"/>
                      </a:lnTo>
                      <a:lnTo>
                        <a:pt x="71"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49" name="Freeform 1581">
                  <a:extLst>
                    <a:ext uri="{FF2B5EF4-FFF2-40B4-BE49-F238E27FC236}">
                      <a16:creationId xmlns:a16="http://schemas.microsoft.com/office/drawing/2014/main" id="{F37D5399-2365-4D39-A572-BDC27606DAA0}"/>
                    </a:ext>
                  </a:extLst>
                </p:cNvPr>
                <p:cNvSpPr>
                  <a:spLocks noEditPoints="1"/>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 name="T10" fmla="*/ 265 w 357"/>
                    <a:gd name="T11" fmla="*/ 180 h 193"/>
                    <a:gd name="T12" fmla="*/ 20 w 357"/>
                    <a:gd name="T13" fmla="*/ 94 h 193"/>
                    <a:gd name="T14" fmla="*/ 94 w 357"/>
                    <a:gd name="T15" fmla="*/ 15 h 193"/>
                    <a:gd name="T16" fmla="*/ 336 w 357"/>
                    <a:gd name="T17" fmla="*/ 99 h 193"/>
                    <a:gd name="T18" fmla="*/ 265 w 357"/>
                    <a:gd name="T19"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3">
                      <a:moveTo>
                        <a:pt x="0" y="99"/>
                      </a:moveTo>
                      <a:lnTo>
                        <a:pt x="268" y="193"/>
                      </a:lnTo>
                      <a:lnTo>
                        <a:pt x="357" y="94"/>
                      </a:lnTo>
                      <a:lnTo>
                        <a:pt x="90" y="0"/>
                      </a:lnTo>
                      <a:lnTo>
                        <a:pt x="0" y="99"/>
                      </a:lnTo>
                      <a:close/>
                      <a:moveTo>
                        <a:pt x="265" y="180"/>
                      </a:moveTo>
                      <a:lnTo>
                        <a:pt x="20" y="94"/>
                      </a:lnTo>
                      <a:lnTo>
                        <a:pt x="94" y="15"/>
                      </a:lnTo>
                      <a:lnTo>
                        <a:pt x="336" y="99"/>
                      </a:lnTo>
                      <a:lnTo>
                        <a:pt x="265" y="18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50" name="Freeform 1582">
                  <a:extLst>
                    <a:ext uri="{FF2B5EF4-FFF2-40B4-BE49-F238E27FC236}">
                      <a16:creationId xmlns:a16="http://schemas.microsoft.com/office/drawing/2014/main" id="{CAF3BB78-0122-4514-B332-D892BF9F59DC}"/>
                    </a:ext>
                  </a:extLst>
                </p:cNvPr>
                <p:cNvSpPr>
                  <a:spLocks/>
                </p:cNvSpPr>
                <p:nvPr/>
              </p:nvSpPr>
              <p:spPr bwMode="auto">
                <a:xfrm>
                  <a:off x="5314974" y="2716853"/>
                  <a:ext cx="280852" cy="143658"/>
                </a:xfrm>
                <a:custGeom>
                  <a:avLst/>
                  <a:gdLst>
                    <a:gd name="T0" fmla="*/ 0 w 357"/>
                    <a:gd name="T1" fmla="*/ 99 h 193"/>
                    <a:gd name="T2" fmla="*/ 268 w 357"/>
                    <a:gd name="T3" fmla="*/ 193 h 193"/>
                    <a:gd name="T4" fmla="*/ 357 w 357"/>
                    <a:gd name="T5" fmla="*/ 94 h 193"/>
                    <a:gd name="T6" fmla="*/ 90 w 357"/>
                    <a:gd name="T7" fmla="*/ 0 h 193"/>
                    <a:gd name="T8" fmla="*/ 0 w 357"/>
                    <a:gd name="T9" fmla="*/ 99 h 193"/>
                  </a:gdLst>
                  <a:ahLst/>
                  <a:cxnLst>
                    <a:cxn ang="0">
                      <a:pos x="T0" y="T1"/>
                    </a:cxn>
                    <a:cxn ang="0">
                      <a:pos x="T2" y="T3"/>
                    </a:cxn>
                    <a:cxn ang="0">
                      <a:pos x="T4" y="T5"/>
                    </a:cxn>
                    <a:cxn ang="0">
                      <a:pos x="T6" y="T7"/>
                    </a:cxn>
                    <a:cxn ang="0">
                      <a:pos x="T8" y="T9"/>
                    </a:cxn>
                  </a:cxnLst>
                  <a:rect l="0" t="0" r="r" b="b"/>
                  <a:pathLst>
                    <a:path w="357" h="193">
                      <a:moveTo>
                        <a:pt x="0" y="99"/>
                      </a:moveTo>
                      <a:lnTo>
                        <a:pt x="268" y="193"/>
                      </a:lnTo>
                      <a:lnTo>
                        <a:pt x="357" y="94"/>
                      </a:lnTo>
                      <a:lnTo>
                        <a:pt x="90" y="0"/>
                      </a:lnTo>
                      <a:lnTo>
                        <a:pt x="0"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51" name="Freeform 1583">
                  <a:extLst>
                    <a:ext uri="{FF2B5EF4-FFF2-40B4-BE49-F238E27FC236}">
                      <a16:creationId xmlns:a16="http://schemas.microsoft.com/office/drawing/2014/main" id="{E7442842-64F5-44A6-BB84-F349B75CF17C}"/>
                    </a:ext>
                  </a:extLst>
                </p:cNvPr>
                <p:cNvSpPr>
                  <a:spLocks/>
                </p:cNvSpPr>
                <p:nvPr/>
              </p:nvSpPr>
              <p:spPr bwMode="auto">
                <a:xfrm>
                  <a:off x="5330752" y="2728701"/>
                  <a:ext cx="249296" cy="122924"/>
                </a:xfrm>
                <a:custGeom>
                  <a:avLst/>
                  <a:gdLst>
                    <a:gd name="T0" fmla="*/ 245 w 316"/>
                    <a:gd name="T1" fmla="*/ 165 h 165"/>
                    <a:gd name="T2" fmla="*/ 0 w 316"/>
                    <a:gd name="T3" fmla="*/ 79 h 165"/>
                    <a:gd name="T4" fmla="*/ 74 w 316"/>
                    <a:gd name="T5" fmla="*/ 0 h 165"/>
                    <a:gd name="T6" fmla="*/ 316 w 316"/>
                    <a:gd name="T7" fmla="*/ 84 h 165"/>
                    <a:gd name="T8" fmla="*/ 245 w 316"/>
                    <a:gd name="T9" fmla="*/ 165 h 165"/>
                  </a:gdLst>
                  <a:ahLst/>
                  <a:cxnLst>
                    <a:cxn ang="0">
                      <a:pos x="T0" y="T1"/>
                    </a:cxn>
                    <a:cxn ang="0">
                      <a:pos x="T2" y="T3"/>
                    </a:cxn>
                    <a:cxn ang="0">
                      <a:pos x="T4" y="T5"/>
                    </a:cxn>
                    <a:cxn ang="0">
                      <a:pos x="T6" y="T7"/>
                    </a:cxn>
                    <a:cxn ang="0">
                      <a:pos x="T8" y="T9"/>
                    </a:cxn>
                  </a:cxnLst>
                  <a:rect l="0" t="0" r="r" b="b"/>
                  <a:pathLst>
                    <a:path w="316" h="165">
                      <a:moveTo>
                        <a:pt x="245" y="165"/>
                      </a:moveTo>
                      <a:lnTo>
                        <a:pt x="0" y="79"/>
                      </a:lnTo>
                      <a:lnTo>
                        <a:pt x="74" y="0"/>
                      </a:lnTo>
                      <a:lnTo>
                        <a:pt x="316" y="84"/>
                      </a:lnTo>
                      <a:lnTo>
                        <a:pt x="245" y="165"/>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752" name="Freeform 1584">
                  <a:extLst>
                    <a:ext uri="{FF2B5EF4-FFF2-40B4-BE49-F238E27FC236}">
                      <a16:creationId xmlns:a16="http://schemas.microsoft.com/office/drawing/2014/main" id="{7D6BF59D-DCA5-4043-AB13-DCCB8D938558}"/>
                    </a:ext>
                  </a:extLst>
                </p:cNvPr>
                <p:cNvSpPr>
                  <a:spLocks/>
                </p:cNvSpPr>
                <p:nvPr/>
              </p:nvSpPr>
              <p:spPr bwMode="auto">
                <a:xfrm>
                  <a:off x="5589515" y="2605776"/>
                  <a:ext cx="246140" cy="117000"/>
                </a:xfrm>
                <a:custGeom>
                  <a:avLst/>
                  <a:gdLst>
                    <a:gd name="T0" fmla="*/ 255 w 312"/>
                    <a:gd name="T1" fmla="*/ 158 h 158"/>
                    <a:gd name="T2" fmla="*/ 312 w 312"/>
                    <a:gd name="T3" fmla="*/ 88 h 158"/>
                    <a:gd name="T4" fmla="*/ 57 w 312"/>
                    <a:gd name="T5" fmla="*/ 0 h 158"/>
                    <a:gd name="T6" fmla="*/ 0 w 312"/>
                    <a:gd name="T7" fmla="*/ 68 h 158"/>
                    <a:gd name="T8" fmla="*/ 255 w 312"/>
                    <a:gd name="T9" fmla="*/ 158 h 158"/>
                  </a:gdLst>
                  <a:ahLst/>
                  <a:cxnLst>
                    <a:cxn ang="0">
                      <a:pos x="T0" y="T1"/>
                    </a:cxn>
                    <a:cxn ang="0">
                      <a:pos x="T2" y="T3"/>
                    </a:cxn>
                    <a:cxn ang="0">
                      <a:pos x="T4" y="T5"/>
                    </a:cxn>
                    <a:cxn ang="0">
                      <a:pos x="T6" y="T7"/>
                    </a:cxn>
                    <a:cxn ang="0">
                      <a:pos x="T8" y="T9"/>
                    </a:cxn>
                  </a:cxnLst>
                  <a:rect l="0" t="0" r="r" b="b"/>
                  <a:pathLst>
                    <a:path w="312" h="158">
                      <a:moveTo>
                        <a:pt x="255" y="158"/>
                      </a:moveTo>
                      <a:lnTo>
                        <a:pt x="312" y="88"/>
                      </a:lnTo>
                      <a:lnTo>
                        <a:pt x="57" y="0"/>
                      </a:lnTo>
                      <a:lnTo>
                        <a:pt x="0" y="68"/>
                      </a:lnTo>
                      <a:lnTo>
                        <a:pt x="255" y="158"/>
                      </a:lnTo>
                      <a:close/>
                    </a:path>
                  </a:pathLst>
                </a:custGeom>
                <a:solidFill>
                  <a:srgbClr val="FED65C"/>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53" name="Freeform 1585">
                  <a:extLst>
                    <a:ext uri="{FF2B5EF4-FFF2-40B4-BE49-F238E27FC236}">
                      <a16:creationId xmlns:a16="http://schemas.microsoft.com/office/drawing/2014/main" id="{B57D47B9-99D6-4783-8162-DD5A9F4D9098}"/>
                    </a:ext>
                  </a:extLst>
                </p:cNvPr>
                <p:cNvSpPr>
                  <a:spLocks/>
                </p:cNvSpPr>
                <p:nvPr/>
              </p:nvSpPr>
              <p:spPr bwMode="auto">
                <a:xfrm>
                  <a:off x="5340219" y="2605776"/>
                  <a:ext cx="249296" cy="117000"/>
                </a:xfrm>
                <a:custGeom>
                  <a:avLst/>
                  <a:gdLst>
                    <a:gd name="T0" fmla="*/ 315 w 315"/>
                    <a:gd name="T1" fmla="*/ 68 h 158"/>
                    <a:gd name="T2" fmla="*/ 256 w 315"/>
                    <a:gd name="T3" fmla="*/ 0 h 158"/>
                    <a:gd name="T4" fmla="*/ 0 w 315"/>
                    <a:gd name="T5" fmla="*/ 88 h 158"/>
                    <a:gd name="T6" fmla="*/ 59 w 315"/>
                    <a:gd name="T7" fmla="*/ 158 h 158"/>
                    <a:gd name="T8" fmla="*/ 315 w 315"/>
                    <a:gd name="T9" fmla="*/ 68 h 158"/>
                  </a:gdLst>
                  <a:ahLst/>
                  <a:cxnLst>
                    <a:cxn ang="0">
                      <a:pos x="T0" y="T1"/>
                    </a:cxn>
                    <a:cxn ang="0">
                      <a:pos x="T2" y="T3"/>
                    </a:cxn>
                    <a:cxn ang="0">
                      <a:pos x="T4" y="T5"/>
                    </a:cxn>
                    <a:cxn ang="0">
                      <a:pos x="T6" y="T7"/>
                    </a:cxn>
                    <a:cxn ang="0">
                      <a:pos x="T8" y="T9"/>
                    </a:cxn>
                  </a:cxnLst>
                  <a:rect l="0" t="0" r="r" b="b"/>
                  <a:pathLst>
                    <a:path w="315" h="158">
                      <a:moveTo>
                        <a:pt x="315" y="68"/>
                      </a:moveTo>
                      <a:lnTo>
                        <a:pt x="256" y="0"/>
                      </a:lnTo>
                      <a:lnTo>
                        <a:pt x="0" y="88"/>
                      </a:lnTo>
                      <a:lnTo>
                        <a:pt x="59" y="158"/>
                      </a:lnTo>
                      <a:lnTo>
                        <a:pt x="315" y="68"/>
                      </a:lnTo>
                      <a:close/>
                    </a:path>
                  </a:pathLst>
                </a:custGeom>
                <a:solidFill>
                  <a:srgbClr val="FED65C"/>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54" name="Freeform 1586">
                  <a:extLst>
                    <a:ext uri="{FF2B5EF4-FFF2-40B4-BE49-F238E27FC236}">
                      <a16:creationId xmlns:a16="http://schemas.microsoft.com/office/drawing/2014/main" id="{A2E67A8D-843D-4966-A4C1-25DCDDEB3E58}"/>
                    </a:ext>
                  </a:extLst>
                </p:cNvPr>
                <p:cNvSpPr>
                  <a:spLocks/>
                </p:cNvSpPr>
                <p:nvPr/>
              </p:nvSpPr>
              <p:spPr bwMode="auto">
                <a:xfrm>
                  <a:off x="5580048" y="2602814"/>
                  <a:ext cx="258763" cy="125886"/>
                </a:xfrm>
                <a:custGeom>
                  <a:avLst/>
                  <a:gdLst>
                    <a:gd name="T0" fmla="*/ 269 w 328"/>
                    <a:gd name="T1" fmla="*/ 170 h 170"/>
                    <a:gd name="T2" fmla="*/ 328 w 328"/>
                    <a:gd name="T3" fmla="*/ 98 h 170"/>
                    <a:gd name="T4" fmla="*/ 319 w 328"/>
                    <a:gd name="T5" fmla="*/ 89 h 170"/>
                    <a:gd name="T6" fmla="*/ 265 w 328"/>
                    <a:gd name="T7" fmla="*/ 155 h 170"/>
                    <a:gd name="T8" fmla="*/ 21 w 328"/>
                    <a:gd name="T9" fmla="*/ 70 h 170"/>
                    <a:gd name="T10" fmla="*/ 72 w 328"/>
                    <a:gd name="T11" fmla="*/ 8 h 170"/>
                    <a:gd name="T12" fmla="*/ 63 w 328"/>
                    <a:gd name="T13" fmla="*/ 0 h 170"/>
                    <a:gd name="T14" fmla="*/ 0 w 328"/>
                    <a:gd name="T15" fmla="*/ 76 h 170"/>
                    <a:gd name="T16" fmla="*/ 269 w 32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269" y="170"/>
                      </a:moveTo>
                      <a:lnTo>
                        <a:pt x="328" y="98"/>
                      </a:lnTo>
                      <a:lnTo>
                        <a:pt x="319" y="89"/>
                      </a:lnTo>
                      <a:lnTo>
                        <a:pt x="265" y="155"/>
                      </a:lnTo>
                      <a:lnTo>
                        <a:pt x="21" y="70"/>
                      </a:lnTo>
                      <a:lnTo>
                        <a:pt x="72" y="8"/>
                      </a:lnTo>
                      <a:lnTo>
                        <a:pt x="63" y="0"/>
                      </a:lnTo>
                      <a:lnTo>
                        <a:pt x="0" y="76"/>
                      </a:lnTo>
                      <a:lnTo>
                        <a:pt x="269" y="170"/>
                      </a:lnTo>
                      <a:close/>
                    </a:path>
                  </a:pathLst>
                </a:custGeom>
                <a:solidFill>
                  <a:srgbClr val="FFFFFF"/>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55" name="Freeform 1587">
                  <a:extLst>
                    <a:ext uri="{FF2B5EF4-FFF2-40B4-BE49-F238E27FC236}">
                      <a16:creationId xmlns:a16="http://schemas.microsoft.com/office/drawing/2014/main" id="{91249AA4-B13F-470A-BD11-EC52924AF2A6}"/>
                    </a:ext>
                  </a:extLst>
                </p:cNvPr>
                <p:cNvSpPr>
                  <a:spLocks/>
                </p:cNvSpPr>
                <p:nvPr/>
              </p:nvSpPr>
              <p:spPr bwMode="auto">
                <a:xfrm>
                  <a:off x="5338642" y="2602814"/>
                  <a:ext cx="257186" cy="125886"/>
                </a:xfrm>
                <a:custGeom>
                  <a:avLst/>
                  <a:gdLst>
                    <a:gd name="T0" fmla="*/ 328 w 328"/>
                    <a:gd name="T1" fmla="*/ 76 h 170"/>
                    <a:gd name="T2" fmla="*/ 265 w 328"/>
                    <a:gd name="T3" fmla="*/ 0 h 170"/>
                    <a:gd name="T4" fmla="*/ 256 w 328"/>
                    <a:gd name="T5" fmla="*/ 8 h 170"/>
                    <a:gd name="T6" fmla="*/ 307 w 328"/>
                    <a:gd name="T7" fmla="*/ 70 h 170"/>
                    <a:gd name="T8" fmla="*/ 65 w 328"/>
                    <a:gd name="T9" fmla="*/ 155 h 170"/>
                    <a:gd name="T10" fmla="*/ 9 w 328"/>
                    <a:gd name="T11" fmla="*/ 89 h 170"/>
                    <a:gd name="T12" fmla="*/ 0 w 328"/>
                    <a:gd name="T13" fmla="*/ 98 h 170"/>
                    <a:gd name="T14" fmla="*/ 61 w 328"/>
                    <a:gd name="T15" fmla="*/ 170 h 170"/>
                    <a:gd name="T16" fmla="*/ 328 w 328"/>
                    <a:gd name="T17" fmla="*/ 7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170">
                      <a:moveTo>
                        <a:pt x="328" y="76"/>
                      </a:moveTo>
                      <a:lnTo>
                        <a:pt x="265" y="0"/>
                      </a:lnTo>
                      <a:lnTo>
                        <a:pt x="256" y="8"/>
                      </a:lnTo>
                      <a:lnTo>
                        <a:pt x="307" y="70"/>
                      </a:lnTo>
                      <a:lnTo>
                        <a:pt x="65" y="155"/>
                      </a:lnTo>
                      <a:lnTo>
                        <a:pt x="9" y="89"/>
                      </a:lnTo>
                      <a:lnTo>
                        <a:pt x="0" y="98"/>
                      </a:lnTo>
                      <a:lnTo>
                        <a:pt x="61" y="170"/>
                      </a:lnTo>
                      <a:lnTo>
                        <a:pt x="328" y="76"/>
                      </a:lnTo>
                      <a:close/>
                    </a:path>
                  </a:pathLst>
                </a:custGeom>
                <a:solidFill>
                  <a:srgbClr val="FFFFFF"/>
                </a:solidFill>
                <a:ln w="9525">
                  <a:solidFill>
                    <a:srgbClr val="000000"/>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56" name="Freeform 1588">
                  <a:extLst>
                    <a:ext uri="{FF2B5EF4-FFF2-40B4-BE49-F238E27FC236}">
                      <a16:creationId xmlns:a16="http://schemas.microsoft.com/office/drawing/2014/main" id="{3909B269-B91E-4F51-A58E-C9D68A4FAD45}"/>
                    </a:ext>
                  </a:extLst>
                </p:cNvPr>
                <p:cNvSpPr>
                  <a:spLocks/>
                </p:cNvSpPr>
                <p:nvPr/>
              </p:nvSpPr>
              <p:spPr bwMode="auto">
                <a:xfrm>
                  <a:off x="5381243" y="2722777"/>
                  <a:ext cx="413389" cy="282873"/>
                </a:xfrm>
                <a:custGeom>
                  <a:avLst/>
                  <a:gdLst>
                    <a:gd name="T0" fmla="*/ 525 w 525"/>
                    <a:gd name="T1" fmla="*/ 0 h 383"/>
                    <a:gd name="T2" fmla="*/ 512 w 525"/>
                    <a:gd name="T3" fmla="*/ 0 h 383"/>
                    <a:gd name="T4" fmla="*/ 512 w 525"/>
                    <a:gd name="T5" fmla="*/ 284 h 383"/>
                    <a:gd name="T6" fmla="*/ 264 w 525"/>
                    <a:gd name="T7" fmla="*/ 372 h 383"/>
                    <a:gd name="T8" fmla="*/ 13 w 525"/>
                    <a:gd name="T9" fmla="*/ 284 h 383"/>
                    <a:gd name="T10" fmla="*/ 13 w 525"/>
                    <a:gd name="T11" fmla="*/ 0 h 383"/>
                    <a:gd name="T12" fmla="*/ 0 w 525"/>
                    <a:gd name="T13" fmla="*/ 0 h 383"/>
                    <a:gd name="T14" fmla="*/ 0 w 525"/>
                    <a:gd name="T15" fmla="*/ 293 h 383"/>
                    <a:gd name="T16" fmla="*/ 264 w 525"/>
                    <a:gd name="T17" fmla="*/ 383 h 383"/>
                    <a:gd name="T18" fmla="*/ 525 w 525"/>
                    <a:gd name="T19" fmla="*/ 293 h 383"/>
                    <a:gd name="T20" fmla="*/ 525 w 525"/>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3">
                      <a:moveTo>
                        <a:pt x="525" y="0"/>
                      </a:moveTo>
                      <a:lnTo>
                        <a:pt x="512" y="0"/>
                      </a:lnTo>
                      <a:lnTo>
                        <a:pt x="512" y="284"/>
                      </a:lnTo>
                      <a:lnTo>
                        <a:pt x="264" y="372"/>
                      </a:lnTo>
                      <a:lnTo>
                        <a:pt x="13" y="284"/>
                      </a:lnTo>
                      <a:lnTo>
                        <a:pt x="13" y="0"/>
                      </a:lnTo>
                      <a:lnTo>
                        <a:pt x="0" y="0"/>
                      </a:lnTo>
                      <a:lnTo>
                        <a:pt x="0" y="293"/>
                      </a:lnTo>
                      <a:lnTo>
                        <a:pt x="264" y="383"/>
                      </a:lnTo>
                      <a:lnTo>
                        <a:pt x="525" y="293"/>
                      </a:lnTo>
                      <a:lnTo>
                        <a:pt x="525" y="0"/>
                      </a:lnTo>
                      <a:close/>
                    </a:path>
                  </a:pathLst>
                </a:custGeom>
                <a:solidFill>
                  <a:schemeClr val="tx1">
                    <a:lumMod val="65000"/>
                    <a:lumOff val="35000"/>
                  </a:schemeClr>
                </a:solidFill>
                <a:ln w="9525">
                  <a:no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57" name="Rectangle 1589">
                  <a:extLst>
                    <a:ext uri="{FF2B5EF4-FFF2-40B4-BE49-F238E27FC236}">
                      <a16:creationId xmlns:a16="http://schemas.microsoft.com/office/drawing/2014/main" id="{7F7D570B-82C0-4F3E-9DBF-592736176108}"/>
                    </a:ext>
                  </a:extLst>
                </p:cNvPr>
                <p:cNvSpPr>
                  <a:spLocks noChangeArrowheads="1"/>
                </p:cNvSpPr>
                <p:nvPr/>
              </p:nvSpPr>
              <p:spPr bwMode="auto">
                <a:xfrm>
                  <a:off x="5583204" y="2789422"/>
                  <a:ext cx="11045" cy="213265"/>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58" name="Rectangle 1590">
                  <a:extLst>
                    <a:ext uri="{FF2B5EF4-FFF2-40B4-BE49-F238E27FC236}">
                      <a16:creationId xmlns:a16="http://schemas.microsoft.com/office/drawing/2014/main" id="{9347CEEF-6964-4064-AC92-BA31E9E16832}"/>
                    </a:ext>
                  </a:extLst>
                </p:cNvPr>
                <p:cNvSpPr>
                  <a:spLocks noChangeArrowheads="1"/>
                </p:cNvSpPr>
                <p:nvPr/>
              </p:nvSpPr>
              <p:spPr bwMode="auto">
                <a:xfrm>
                  <a:off x="5583204" y="2656131"/>
                  <a:ext cx="11045" cy="111076"/>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59" name="Freeform 1591">
                  <a:extLst>
                    <a:ext uri="{FF2B5EF4-FFF2-40B4-BE49-F238E27FC236}">
                      <a16:creationId xmlns:a16="http://schemas.microsoft.com/office/drawing/2014/main" id="{4277C18C-EA3A-4693-A970-2CBB894076D6}"/>
                    </a:ext>
                  </a:extLst>
                </p:cNvPr>
                <p:cNvSpPr>
                  <a:spLocks/>
                </p:cNvSpPr>
                <p:nvPr/>
              </p:nvSpPr>
              <p:spPr bwMode="auto">
                <a:xfrm>
                  <a:off x="5611605" y="2953814"/>
                  <a:ext cx="63113" cy="28140"/>
                </a:xfrm>
                <a:custGeom>
                  <a:avLst/>
                  <a:gdLst>
                    <a:gd name="T0" fmla="*/ 0 w 81"/>
                    <a:gd name="T1" fmla="*/ 28 h 39"/>
                    <a:gd name="T2" fmla="*/ 4 w 81"/>
                    <a:gd name="T3" fmla="*/ 39 h 39"/>
                    <a:gd name="T4" fmla="*/ 81 w 81"/>
                    <a:gd name="T5" fmla="*/ 11 h 39"/>
                    <a:gd name="T6" fmla="*/ 77 w 81"/>
                    <a:gd name="T7" fmla="*/ 0 h 39"/>
                    <a:gd name="T8" fmla="*/ 0 w 81"/>
                    <a:gd name="T9" fmla="*/ 28 h 39"/>
                  </a:gdLst>
                  <a:ahLst/>
                  <a:cxnLst>
                    <a:cxn ang="0">
                      <a:pos x="T0" y="T1"/>
                    </a:cxn>
                    <a:cxn ang="0">
                      <a:pos x="T2" y="T3"/>
                    </a:cxn>
                    <a:cxn ang="0">
                      <a:pos x="T4" y="T5"/>
                    </a:cxn>
                    <a:cxn ang="0">
                      <a:pos x="T6" y="T7"/>
                    </a:cxn>
                    <a:cxn ang="0">
                      <a:pos x="T8" y="T9"/>
                    </a:cxn>
                  </a:cxnLst>
                  <a:rect l="0" t="0" r="r" b="b"/>
                  <a:pathLst>
                    <a:path w="81" h="39">
                      <a:moveTo>
                        <a:pt x="0" y="28"/>
                      </a:moveTo>
                      <a:lnTo>
                        <a:pt x="4" y="39"/>
                      </a:lnTo>
                      <a:lnTo>
                        <a:pt x="81" y="11"/>
                      </a:lnTo>
                      <a:lnTo>
                        <a:pt x="77" y="0"/>
                      </a:lnTo>
                      <a:lnTo>
                        <a:pt x="0" y="2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0" name="Freeform 1592">
                  <a:extLst>
                    <a:ext uri="{FF2B5EF4-FFF2-40B4-BE49-F238E27FC236}">
                      <a16:creationId xmlns:a16="http://schemas.microsoft.com/office/drawing/2014/main" id="{81650184-C9D7-4715-844F-A7FD18A41393}"/>
                    </a:ext>
                  </a:extLst>
                </p:cNvPr>
                <p:cNvSpPr>
                  <a:spLocks/>
                </p:cNvSpPr>
                <p:nvPr/>
              </p:nvSpPr>
              <p:spPr bwMode="auto">
                <a:xfrm>
                  <a:off x="5611605" y="2946409"/>
                  <a:ext cx="33135" cy="17772"/>
                </a:xfrm>
                <a:custGeom>
                  <a:avLst/>
                  <a:gdLst>
                    <a:gd name="T0" fmla="*/ 0 w 42"/>
                    <a:gd name="T1" fmla="*/ 13 h 24"/>
                    <a:gd name="T2" fmla="*/ 4 w 42"/>
                    <a:gd name="T3" fmla="*/ 24 h 24"/>
                    <a:gd name="T4" fmla="*/ 42 w 42"/>
                    <a:gd name="T5" fmla="*/ 11 h 24"/>
                    <a:gd name="T6" fmla="*/ 39 w 42"/>
                    <a:gd name="T7" fmla="*/ 0 h 24"/>
                    <a:gd name="T8" fmla="*/ 0 w 42"/>
                    <a:gd name="T9" fmla="*/ 13 h 24"/>
                  </a:gdLst>
                  <a:ahLst/>
                  <a:cxnLst>
                    <a:cxn ang="0">
                      <a:pos x="T0" y="T1"/>
                    </a:cxn>
                    <a:cxn ang="0">
                      <a:pos x="T2" y="T3"/>
                    </a:cxn>
                    <a:cxn ang="0">
                      <a:pos x="T4" y="T5"/>
                    </a:cxn>
                    <a:cxn ang="0">
                      <a:pos x="T6" y="T7"/>
                    </a:cxn>
                    <a:cxn ang="0">
                      <a:pos x="T8" y="T9"/>
                    </a:cxn>
                  </a:cxnLst>
                  <a:rect l="0" t="0" r="r" b="b"/>
                  <a:pathLst>
                    <a:path w="42" h="24">
                      <a:moveTo>
                        <a:pt x="0" y="13"/>
                      </a:moveTo>
                      <a:lnTo>
                        <a:pt x="4" y="24"/>
                      </a:lnTo>
                      <a:lnTo>
                        <a:pt x="42" y="11"/>
                      </a:lnTo>
                      <a:lnTo>
                        <a:pt x="39" y="0"/>
                      </a:lnTo>
                      <a:lnTo>
                        <a:pt x="0" y="1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1" name="Freeform 1593">
                  <a:extLst>
                    <a:ext uri="{FF2B5EF4-FFF2-40B4-BE49-F238E27FC236}">
                      <a16:creationId xmlns:a16="http://schemas.microsoft.com/office/drawing/2014/main" id="{3E6647C3-CAB1-4F55-9895-8CF6F1979C12}"/>
                    </a:ext>
                  </a:extLst>
                </p:cNvPr>
                <p:cNvSpPr>
                  <a:spLocks noEditPoints="1"/>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 name="T10" fmla="*/ 68 w 81"/>
                    <a:gd name="T11" fmla="*/ 37 h 74"/>
                    <a:gd name="T12" fmla="*/ 68 w 81"/>
                    <a:gd name="T13" fmla="*/ 57 h 74"/>
                    <a:gd name="T14" fmla="*/ 11 w 81"/>
                    <a:gd name="T15" fmla="*/ 37 h 74"/>
                    <a:gd name="T16" fmla="*/ 11 w 81"/>
                    <a:gd name="T17" fmla="*/ 16 h 74"/>
                    <a:gd name="T18" fmla="*/ 68 w 81"/>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4">
                      <a:moveTo>
                        <a:pt x="81" y="74"/>
                      </a:moveTo>
                      <a:lnTo>
                        <a:pt x="81" y="28"/>
                      </a:lnTo>
                      <a:lnTo>
                        <a:pt x="0" y="0"/>
                      </a:lnTo>
                      <a:lnTo>
                        <a:pt x="0" y="46"/>
                      </a:lnTo>
                      <a:lnTo>
                        <a:pt x="81" y="74"/>
                      </a:lnTo>
                      <a:close/>
                      <a:moveTo>
                        <a:pt x="68" y="37"/>
                      </a:moveTo>
                      <a:lnTo>
                        <a:pt x="68" y="57"/>
                      </a:lnTo>
                      <a:lnTo>
                        <a:pt x="11" y="37"/>
                      </a:lnTo>
                      <a:lnTo>
                        <a:pt x="11" y="16"/>
                      </a:lnTo>
                      <a:lnTo>
                        <a:pt x="68" y="37"/>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2" name="Freeform 1594">
                  <a:extLst>
                    <a:ext uri="{FF2B5EF4-FFF2-40B4-BE49-F238E27FC236}">
                      <a16:creationId xmlns:a16="http://schemas.microsoft.com/office/drawing/2014/main" id="{CA5CF8B1-D37D-4284-9D47-EFCA5C0BB94E}"/>
                    </a:ext>
                  </a:extLst>
                </p:cNvPr>
                <p:cNvSpPr>
                  <a:spLocks/>
                </p:cNvSpPr>
                <p:nvPr/>
              </p:nvSpPr>
              <p:spPr bwMode="auto">
                <a:xfrm>
                  <a:off x="5406488" y="2896054"/>
                  <a:ext cx="63113" cy="54798"/>
                </a:xfrm>
                <a:custGeom>
                  <a:avLst/>
                  <a:gdLst>
                    <a:gd name="T0" fmla="*/ 81 w 81"/>
                    <a:gd name="T1" fmla="*/ 74 h 74"/>
                    <a:gd name="T2" fmla="*/ 81 w 81"/>
                    <a:gd name="T3" fmla="*/ 28 h 74"/>
                    <a:gd name="T4" fmla="*/ 0 w 81"/>
                    <a:gd name="T5" fmla="*/ 0 h 74"/>
                    <a:gd name="T6" fmla="*/ 0 w 81"/>
                    <a:gd name="T7" fmla="*/ 46 h 74"/>
                    <a:gd name="T8" fmla="*/ 81 w 81"/>
                    <a:gd name="T9" fmla="*/ 74 h 74"/>
                  </a:gdLst>
                  <a:ahLst/>
                  <a:cxnLst>
                    <a:cxn ang="0">
                      <a:pos x="T0" y="T1"/>
                    </a:cxn>
                    <a:cxn ang="0">
                      <a:pos x="T2" y="T3"/>
                    </a:cxn>
                    <a:cxn ang="0">
                      <a:pos x="T4" y="T5"/>
                    </a:cxn>
                    <a:cxn ang="0">
                      <a:pos x="T6" y="T7"/>
                    </a:cxn>
                    <a:cxn ang="0">
                      <a:pos x="T8" y="T9"/>
                    </a:cxn>
                  </a:cxnLst>
                  <a:rect l="0" t="0" r="r" b="b"/>
                  <a:pathLst>
                    <a:path w="81" h="74">
                      <a:moveTo>
                        <a:pt x="81" y="74"/>
                      </a:moveTo>
                      <a:lnTo>
                        <a:pt x="81" y="28"/>
                      </a:lnTo>
                      <a:lnTo>
                        <a:pt x="0" y="0"/>
                      </a:lnTo>
                      <a:lnTo>
                        <a:pt x="0" y="46"/>
                      </a:lnTo>
                      <a:lnTo>
                        <a:pt x="8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3" name="Freeform 1595">
                  <a:extLst>
                    <a:ext uri="{FF2B5EF4-FFF2-40B4-BE49-F238E27FC236}">
                      <a16:creationId xmlns:a16="http://schemas.microsoft.com/office/drawing/2014/main" id="{C7DB570B-BB93-423F-97A3-65037D491390}"/>
                    </a:ext>
                  </a:extLst>
                </p:cNvPr>
                <p:cNvSpPr>
                  <a:spLocks/>
                </p:cNvSpPr>
                <p:nvPr/>
              </p:nvSpPr>
              <p:spPr bwMode="auto">
                <a:xfrm>
                  <a:off x="5414377" y="2907902"/>
                  <a:ext cx="45757" cy="29620"/>
                </a:xfrm>
                <a:custGeom>
                  <a:avLst/>
                  <a:gdLst>
                    <a:gd name="T0" fmla="*/ 57 w 57"/>
                    <a:gd name="T1" fmla="*/ 21 h 41"/>
                    <a:gd name="T2" fmla="*/ 57 w 57"/>
                    <a:gd name="T3" fmla="*/ 41 h 41"/>
                    <a:gd name="T4" fmla="*/ 0 w 57"/>
                    <a:gd name="T5" fmla="*/ 21 h 41"/>
                    <a:gd name="T6" fmla="*/ 0 w 57"/>
                    <a:gd name="T7" fmla="*/ 0 h 41"/>
                    <a:gd name="T8" fmla="*/ 57 w 57"/>
                    <a:gd name="T9" fmla="*/ 21 h 41"/>
                  </a:gdLst>
                  <a:ahLst/>
                  <a:cxnLst>
                    <a:cxn ang="0">
                      <a:pos x="T0" y="T1"/>
                    </a:cxn>
                    <a:cxn ang="0">
                      <a:pos x="T2" y="T3"/>
                    </a:cxn>
                    <a:cxn ang="0">
                      <a:pos x="T4" y="T5"/>
                    </a:cxn>
                    <a:cxn ang="0">
                      <a:pos x="T6" y="T7"/>
                    </a:cxn>
                    <a:cxn ang="0">
                      <a:pos x="T8" y="T9"/>
                    </a:cxn>
                  </a:cxnLst>
                  <a:rect l="0" t="0" r="r" b="b"/>
                  <a:pathLst>
                    <a:path w="57" h="41">
                      <a:moveTo>
                        <a:pt x="57" y="21"/>
                      </a:moveTo>
                      <a:lnTo>
                        <a:pt x="57" y="41"/>
                      </a:lnTo>
                      <a:lnTo>
                        <a:pt x="0" y="21"/>
                      </a:lnTo>
                      <a:lnTo>
                        <a:pt x="0" y="0"/>
                      </a:lnTo>
                      <a:lnTo>
                        <a:pt x="5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4" name="Freeform 1596">
                  <a:extLst>
                    <a:ext uri="{FF2B5EF4-FFF2-40B4-BE49-F238E27FC236}">
                      <a16:creationId xmlns:a16="http://schemas.microsoft.com/office/drawing/2014/main" id="{351518B4-4133-414F-AB54-EFBBA9430662}"/>
                    </a:ext>
                  </a:extLst>
                </p:cNvPr>
                <p:cNvSpPr>
                  <a:spLocks/>
                </p:cNvSpPr>
                <p:nvPr/>
              </p:nvSpPr>
              <p:spPr bwMode="auto">
                <a:xfrm>
                  <a:off x="5409643" y="2881244"/>
                  <a:ext cx="29979" cy="16291"/>
                </a:xfrm>
                <a:custGeom>
                  <a:avLst/>
                  <a:gdLst>
                    <a:gd name="T0" fmla="*/ 35 w 39"/>
                    <a:gd name="T1" fmla="*/ 22 h 22"/>
                    <a:gd name="T2" fmla="*/ 39 w 39"/>
                    <a:gd name="T3" fmla="*/ 11 h 22"/>
                    <a:gd name="T4" fmla="*/ 4 w 39"/>
                    <a:gd name="T5" fmla="*/ 0 h 22"/>
                    <a:gd name="T6" fmla="*/ 0 w 39"/>
                    <a:gd name="T7" fmla="*/ 11 h 22"/>
                    <a:gd name="T8" fmla="*/ 35 w 39"/>
                    <a:gd name="T9" fmla="*/ 22 h 22"/>
                  </a:gdLst>
                  <a:ahLst/>
                  <a:cxnLst>
                    <a:cxn ang="0">
                      <a:pos x="T0" y="T1"/>
                    </a:cxn>
                    <a:cxn ang="0">
                      <a:pos x="T2" y="T3"/>
                    </a:cxn>
                    <a:cxn ang="0">
                      <a:pos x="T4" y="T5"/>
                    </a:cxn>
                    <a:cxn ang="0">
                      <a:pos x="T6" y="T7"/>
                    </a:cxn>
                    <a:cxn ang="0">
                      <a:pos x="T8" y="T9"/>
                    </a:cxn>
                  </a:cxnLst>
                  <a:rect l="0" t="0" r="r" b="b"/>
                  <a:pathLst>
                    <a:path w="39" h="22">
                      <a:moveTo>
                        <a:pt x="35" y="22"/>
                      </a:moveTo>
                      <a:lnTo>
                        <a:pt x="39" y="11"/>
                      </a:lnTo>
                      <a:lnTo>
                        <a:pt x="4" y="0"/>
                      </a:lnTo>
                      <a:lnTo>
                        <a:pt x="0" y="11"/>
                      </a:lnTo>
                      <a:lnTo>
                        <a:pt x="35" y="2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5" name="Freeform 1672">
                  <a:extLst>
                    <a:ext uri="{FF2B5EF4-FFF2-40B4-BE49-F238E27FC236}">
                      <a16:creationId xmlns:a16="http://schemas.microsoft.com/office/drawing/2014/main" id="{7F3E0CF8-5B34-4B42-A6C9-3AE1F2B24715}"/>
                    </a:ext>
                  </a:extLst>
                </p:cNvPr>
                <p:cNvSpPr>
                  <a:spLocks/>
                </p:cNvSpPr>
                <p:nvPr/>
              </p:nvSpPr>
              <p:spPr bwMode="auto">
                <a:xfrm>
                  <a:off x="5687340" y="2614663"/>
                  <a:ext cx="14201" cy="11848"/>
                </a:xfrm>
                <a:custGeom>
                  <a:avLst/>
                  <a:gdLst>
                    <a:gd name="T0" fmla="*/ 7 w 16"/>
                    <a:gd name="T1" fmla="*/ 17 h 17"/>
                    <a:gd name="T2" fmla="*/ 16 w 16"/>
                    <a:gd name="T3" fmla="*/ 11 h 17"/>
                    <a:gd name="T4" fmla="*/ 9 w 16"/>
                    <a:gd name="T5" fmla="*/ 0 h 17"/>
                    <a:gd name="T6" fmla="*/ 0 w 16"/>
                    <a:gd name="T7" fmla="*/ 9 h 17"/>
                    <a:gd name="T8" fmla="*/ 7 w 16"/>
                    <a:gd name="T9" fmla="*/ 17 h 17"/>
                  </a:gdLst>
                  <a:ahLst/>
                  <a:cxnLst>
                    <a:cxn ang="0">
                      <a:pos x="T0" y="T1"/>
                    </a:cxn>
                    <a:cxn ang="0">
                      <a:pos x="T2" y="T3"/>
                    </a:cxn>
                    <a:cxn ang="0">
                      <a:pos x="T4" y="T5"/>
                    </a:cxn>
                    <a:cxn ang="0">
                      <a:pos x="T6" y="T7"/>
                    </a:cxn>
                    <a:cxn ang="0">
                      <a:pos x="T8" y="T9"/>
                    </a:cxn>
                  </a:cxnLst>
                  <a:rect l="0" t="0" r="r" b="b"/>
                  <a:pathLst>
                    <a:path w="16" h="17">
                      <a:moveTo>
                        <a:pt x="7" y="17"/>
                      </a:moveTo>
                      <a:lnTo>
                        <a:pt x="16" y="11"/>
                      </a:lnTo>
                      <a:lnTo>
                        <a:pt x="9" y="0"/>
                      </a:lnTo>
                      <a:lnTo>
                        <a:pt x="0" y="9"/>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6" name="Freeform 1673">
                  <a:extLst>
                    <a:ext uri="{FF2B5EF4-FFF2-40B4-BE49-F238E27FC236}">
                      <a16:creationId xmlns:a16="http://schemas.microsoft.com/office/drawing/2014/main" id="{E03D3DB0-FC21-4E32-9B09-91D0FB0C0DF0}"/>
                    </a:ext>
                  </a:extLst>
                </p:cNvPr>
                <p:cNvSpPr>
                  <a:spLocks/>
                </p:cNvSpPr>
                <p:nvPr/>
              </p:nvSpPr>
              <p:spPr bwMode="auto">
                <a:xfrm>
                  <a:off x="5772543" y="2583562"/>
                  <a:ext cx="9467" cy="10368"/>
                </a:xfrm>
                <a:custGeom>
                  <a:avLst/>
                  <a:gdLst>
                    <a:gd name="T0" fmla="*/ 2 w 13"/>
                    <a:gd name="T1" fmla="*/ 13 h 13"/>
                    <a:gd name="T2" fmla="*/ 4 w 13"/>
                    <a:gd name="T3" fmla="*/ 13 h 13"/>
                    <a:gd name="T4" fmla="*/ 13 w 13"/>
                    <a:gd name="T5" fmla="*/ 13 h 13"/>
                    <a:gd name="T6" fmla="*/ 13 w 13"/>
                    <a:gd name="T7" fmla="*/ 11 h 13"/>
                    <a:gd name="T8" fmla="*/ 13 w 13"/>
                    <a:gd name="T9" fmla="*/ 11 h 13"/>
                    <a:gd name="T10" fmla="*/ 13 w 13"/>
                    <a:gd name="T11" fmla="*/ 11 h 13"/>
                    <a:gd name="T12" fmla="*/ 13 w 13"/>
                    <a:gd name="T13" fmla="*/ 5 h 13"/>
                    <a:gd name="T14" fmla="*/ 11 w 13"/>
                    <a:gd name="T15" fmla="*/ 0 h 13"/>
                    <a:gd name="T16" fmla="*/ 0 w 13"/>
                    <a:gd name="T17" fmla="*/ 1 h 13"/>
                    <a:gd name="T18" fmla="*/ 0 w 13"/>
                    <a:gd name="T19" fmla="*/ 1 h 13"/>
                    <a:gd name="T20" fmla="*/ 2 w 1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2" y="13"/>
                      </a:moveTo>
                      <a:lnTo>
                        <a:pt x="4" y="13"/>
                      </a:lnTo>
                      <a:lnTo>
                        <a:pt x="13" y="13"/>
                      </a:lnTo>
                      <a:lnTo>
                        <a:pt x="13" y="11"/>
                      </a:lnTo>
                      <a:lnTo>
                        <a:pt x="13" y="11"/>
                      </a:lnTo>
                      <a:lnTo>
                        <a:pt x="13" y="11"/>
                      </a:lnTo>
                      <a:lnTo>
                        <a:pt x="13" y="5"/>
                      </a:lnTo>
                      <a:lnTo>
                        <a:pt x="11" y="0"/>
                      </a:lnTo>
                      <a:lnTo>
                        <a:pt x="0" y="1"/>
                      </a:lnTo>
                      <a:lnTo>
                        <a:pt x="0" y="1"/>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7" name="Freeform 1674">
                  <a:extLst>
                    <a:ext uri="{FF2B5EF4-FFF2-40B4-BE49-F238E27FC236}">
                      <a16:creationId xmlns:a16="http://schemas.microsoft.com/office/drawing/2014/main" id="{0B3D61BD-1D9E-45D3-829C-0C719E934850}"/>
                    </a:ext>
                  </a:extLst>
                </p:cNvPr>
                <p:cNvSpPr>
                  <a:spLocks/>
                </p:cNvSpPr>
                <p:nvPr/>
              </p:nvSpPr>
              <p:spPr bwMode="auto">
                <a:xfrm>
                  <a:off x="5636850" y="2682789"/>
                  <a:ext cx="11045" cy="11848"/>
                </a:xfrm>
                <a:custGeom>
                  <a:avLst/>
                  <a:gdLst>
                    <a:gd name="T0" fmla="*/ 15 w 15"/>
                    <a:gd name="T1" fmla="*/ 4 h 15"/>
                    <a:gd name="T2" fmla="*/ 4 w 15"/>
                    <a:gd name="T3" fmla="*/ 0 h 15"/>
                    <a:gd name="T4" fmla="*/ 0 w 15"/>
                    <a:gd name="T5" fmla="*/ 11 h 15"/>
                    <a:gd name="T6" fmla="*/ 11 w 15"/>
                    <a:gd name="T7" fmla="*/ 15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4" y="0"/>
                      </a:lnTo>
                      <a:lnTo>
                        <a:pt x="0" y="11"/>
                      </a:lnTo>
                      <a:lnTo>
                        <a:pt x="11" y="15"/>
                      </a:lnTo>
                      <a:lnTo>
                        <a:pt x="1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8" name="Freeform 1675">
                  <a:extLst>
                    <a:ext uri="{FF2B5EF4-FFF2-40B4-BE49-F238E27FC236}">
                      <a16:creationId xmlns:a16="http://schemas.microsoft.com/office/drawing/2014/main" id="{F427AA70-AEE6-4D0B-8FEF-479B2DA87B12}"/>
                    </a:ext>
                  </a:extLst>
                </p:cNvPr>
                <p:cNvSpPr>
                  <a:spLocks/>
                </p:cNvSpPr>
                <p:nvPr/>
              </p:nvSpPr>
              <p:spPr bwMode="auto">
                <a:xfrm>
                  <a:off x="5644739" y="2666498"/>
                  <a:ext cx="11045" cy="13329"/>
                </a:xfrm>
                <a:custGeom>
                  <a:avLst/>
                  <a:gdLst>
                    <a:gd name="T0" fmla="*/ 0 w 15"/>
                    <a:gd name="T1" fmla="*/ 11 h 16"/>
                    <a:gd name="T2" fmla="*/ 11 w 15"/>
                    <a:gd name="T3" fmla="*/ 16 h 16"/>
                    <a:gd name="T4" fmla="*/ 15 w 15"/>
                    <a:gd name="T5" fmla="*/ 5 h 16"/>
                    <a:gd name="T6" fmla="*/ 6 w 15"/>
                    <a:gd name="T7" fmla="*/ 0 h 16"/>
                    <a:gd name="T8" fmla="*/ 6 w 15"/>
                    <a:gd name="T9" fmla="*/ 0 h 16"/>
                    <a:gd name="T10" fmla="*/ 0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0" y="11"/>
                      </a:moveTo>
                      <a:lnTo>
                        <a:pt x="11" y="16"/>
                      </a:lnTo>
                      <a:lnTo>
                        <a:pt x="15" y="5"/>
                      </a:lnTo>
                      <a:lnTo>
                        <a:pt x="6" y="0"/>
                      </a:lnTo>
                      <a:lnTo>
                        <a:pt x="6"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69" name="Freeform 1676">
                  <a:extLst>
                    <a:ext uri="{FF2B5EF4-FFF2-40B4-BE49-F238E27FC236}">
                      <a16:creationId xmlns:a16="http://schemas.microsoft.com/office/drawing/2014/main" id="{A50C89FC-848E-492C-94FD-7FCB101F0047}"/>
                    </a:ext>
                  </a:extLst>
                </p:cNvPr>
                <p:cNvSpPr>
                  <a:spLocks/>
                </p:cNvSpPr>
                <p:nvPr/>
              </p:nvSpPr>
              <p:spPr bwMode="auto">
                <a:xfrm>
                  <a:off x="5632117" y="2700561"/>
                  <a:ext cx="11045" cy="10368"/>
                </a:xfrm>
                <a:custGeom>
                  <a:avLst/>
                  <a:gdLst>
                    <a:gd name="T0" fmla="*/ 2 w 13"/>
                    <a:gd name="T1" fmla="*/ 0 h 15"/>
                    <a:gd name="T2" fmla="*/ 0 w 13"/>
                    <a:gd name="T3" fmla="*/ 11 h 15"/>
                    <a:gd name="T4" fmla="*/ 11 w 13"/>
                    <a:gd name="T5" fmla="*/ 15 h 15"/>
                    <a:gd name="T6" fmla="*/ 11 w 13"/>
                    <a:gd name="T7" fmla="*/ 15 h 15"/>
                    <a:gd name="T8" fmla="*/ 13 w 13"/>
                    <a:gd name="T9" fmla="*/ 4 h 15"/>
                    <a:gd name="T10" fmla="*/ 2 w 13"/>
                    <a:gd name="T11" fmla="*/ 0 h 15"/>
                  </a:gdLst>
                  <a:ahLst/>
                  <a:cxnLst>
                    <a:cxn ang="0">
                      <a:pos x="T0" y="T1"/>
                    </a:cxn>
                    <a:cxn ang="0">
                      <a:pos x="T2" y="T3"/>
                    </a:cxn>
                    <a:cxn ang="0">
                      <a:pos x="T4" y="T5"/>
                    </a:cxn>
                    <a:cxn ang="0">
                      <a:pos x="T6" y="T7"/>
                    </a:cxn>
                    <a:cxn ang="0">
                      <a:pos x="T8" y="T9"/>
                    </a:cxn>
                    <a:cxn ang="0">
                      <a:pos x="T10" y="T11"/>
                    </a:cxn>
                  </a:cxnLst>
                  <a:rect l="0" t="0" r="r" b="b"/>
                  <a:pathLst>
                    <a:path w="13" h="15">
                      <a:moveTo>
                        <a:pt x="2" y="0"/>
                      </a:moveTo>
                      <a:lnTo>
                        <a:pt x="0" y="11"/>
                      </a:lnTo>
                      <a:lnTo>
                        <a:pt x="11" y="15"/>
                      </a:lnTo>
                      <a:lnTo>
                        <a:pt x="11" y="15"/>
                      </a:lnTo>
                      <a:lnTo>
                        <a:pt x="13"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0" name="Freeform 1677">
                  <a:extLst>
                    <a:ext uri="{FF2B5EF4-FFF2-40B4-BE49-F238E27FC236}">
                      <a16:creationId xmlns:a16="http://schemas.microsoft.com/office/drawing/2014/main" id="{21937ACE-1AC8-4F20-A803-47FFE4286766}"/>
                    </a:ext>
                  </a:extLst>
                </p:cNvPr>
                <p:cNvSpPr>
                  <a:spLocks/>
                </p:cNvSpPr>
                <p:nvPr/>
              </p:nvSpPr>
              <p:spPr bwMode="auto">
                <a:xfrm>
                  <a:off x="5630538" y="2716853"/>
                  <a:ext cx="9467" cy="10368"/>
                </a:xfrm>
                <a:custGeom>
                  <a:avLst/>
                  <a:gdLst>
                    <a:gd name="T0" fmla="*/ 0 w 13"/>
                    <a:gd name="T1" fmla="*/ 0 h 13"/>
                    <a:gd name="T2" fmla="*/ 0 w 13"/>
                    <a:gd name="T3" fmla="*/ 0 h 13"/>
                    <a:gd name="T4" fmla="*/ 0 w 13"/>
                    <a:gd name="T5" fmla="*/ 11 h 13"/>
                    <a:gd name="T6" fmla="*/ 11 w 13"/>
                    <a:gd name="T7" fmla="*/ 13 h 13"/>
                    <a:gd name="T8" fmla="*/ 13 w 13"/>
                    <a:gd name="T9" fmla="*/ 2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0" y="0"/>
                      </a:lnTo>
                      <a:lnTo>
                        <a:pt x="0" y="11"/>
                      </a:lnTo>
                      <a:lnTo>
                        <a:pt x="11" y="13"/>
                      </a:lnTo>
                      <a:lnTo>
                        <a:pt x="13"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1" name="Freeform 1678">
                  <a:extLst>
                    <a:ext uri="{FF2B5EF4-FFF2-40B4-BE49-F238E27FC236}">
                      <a16:creationId xmlns:a16="http://schemas.microsoft.com/office/drawing/2014/main" id="{946D3F75-3B22-45AB-897F-C0AEA2000915}"/>
                    </a:ext>
                  </a:extLst>
                </p:cNvPr>
                <p:cNvSpPr>
                  <a:spLocks/>
                </p:cNvSpPr>
                <p:nvPr/>
              </p:nvSpPr>
              <p:spPr bwMode="auto">
                <a:xfrm>
                  <a:off x="5628961" y="2734625"/>
                  <a:ext cx="7890" cy="8886"/>
                </a:xfrm>
                <a:custGeom>
                  <a:avLst/>
                  <a:gdLst>
                    <a:gd name="T0" fmla="*/ 11 w 11"/>
                    <a:gd name="T1" fmla="*/ 13 h 13"/>
                    <a:gd name="T2" fmla="*/ 11 w 11"/>
                    <a:gd name="T3" fmla="*/ 13 h 13"/>
                    <a:gd name="T4" fmla="*/ 11 w 11"/>
                    <a:gd name="T5" fmla="*/ 2 h 13"/>
                    <a:gd name="T6" fmla="*/ 0 w 11"/>
                    <a:gd name="T7" fmla="*/ 0 h 13"/>
                    <a:gd name="T8" fmla="*/ 0 w 11"/>
                    <a:gd name="T9" fmla="*/ 0 h 13"/>
                    <a:gd name="T10" fmla="*/ 0 w 11"/>
                    <a:gd name="T11" fmla="*/ 13 h 13"/>
                    <a:gd name="T12" fmla="*/ 1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1" y="13"/>
                      </a:moveTo>
                      <a:lnTo>
                        <a:pt x="11" y="13"/>
                      </a:lnTo>
                      <a:lnTo>
                        <a:pt x="11" y="2"/>
                      </a:lnTo>
                      <a:lnTo>
                        <a:pt x="0" y="0"/>
                      </a:lnTo>
                      <a:lnTo>
                        <a:pt x="0" y="0"/>
                      </a:lnTo>
                      <a:lnTo>
                        <a:pt x="0" y="13"/>
                      </a:lnTo>
                      <a:lnTo>
                        <a:pt x="1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2" name="Freeform 1679">
                  <a:extLst>
                    <a:ext uri="{FF2B5EF4-FFF2-40B4-BE49-F238E27FC236}">
                      <a16:creationId xmlns:a16="http://schemas.microsoft.com/office/drawing/2014/main" id="{ED75EE2A-2F45-4697-A396-B3144FD29D75}"/>
                    </a:ext>
                  </a:extLst>
                </p:cNvPr>
                <p:cNvSpPr>
                  <a:spLocks/>
                </p:cNvSpPr>
                <p:nvPr/>
              </p:nvSpPr>
              <p:spPr bwMode="auto">
                <a:xfrm>
                  <a:off x="5701541" y="2604296"/>
                  <a:ext cx="14201" cy="11848"/>
                </a:xfrm>
                <a:custGeom>
                  <a:avLst/>
                  <a:gdLst>
                    <a:gd name="T0" fmla="*/ 17 w 17"/>
                    <a:gd name="T1" fmla="*/ 11 h 17"/>
                    <a:gd name="T2" fmla="*/ 11 w 17"/>
                    <a:gd name="T3" fmla="*/ 0 h 17"/>
                    <a:gd name="T4" fmla="*/ 0 w 17"/>
                    <a:gd name="T5" fmla="*/ 8 h 17"/>
                    <a:gd name="T6" fmla="*/ 7 w 17"/>
                    <a:gd name="T7" fmla="*/ 17 h 17"/>
                    <a:gd name="T8" fmla="*/ 17 w 17"/>
                    <a:gd name="T9" fmla="*/ 11 h 17"/>
                  </a:gdLst>
                  <a:ahLst/>
                  <a:cxnLst>
                    <a:cxn ang="0">
                      <a:pos x="T0" y="T1"/>
                    </a:cxn>
                    <a:cxn ang="0">
                      <a:pos x="T2" y="T3"/>
                    </a:cxn>
                    <a:cxn ang="0">
                      <a:pos x="T4" y="T5"/>
                    </a:cxn>
                    <a:cxn ang="0">
                      <a:pos x="T6" y="T7"/>
                    </a:cxn>
                    <a:cxn ang="0">
                      <a:pos x="T8" y="T9"/>
                    </a:cxn>
                  </a:cxnLst>
                  <a:rect l="0" t="0" r="r" b="b"/>
                  <a:pathLst>
                    <a:path w="17" h="17">
                      <a:moveTo>
                        <a:pt x="17" y="11"/>
                      </a:moveTo>
                      <a:lnTo>
                        <a:pt x="11" y="0"/>
                      </a:lnTo>
                      <a:lnTo>
                        <a:pt x="0" y="8"/>
                      </a:lnTo>
                      <a:lnTo>
                        <a:pt x="7" y="17"/>
                      </a:lnTo>
                      <a:lnTo>
                        <a:pt x="17"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3" name="Freeform 1680">
                  <a:extLst>
                    <a:ext uri="{FF2B5EF4-FFF2-40B4-BE49-F238E27FC236}">
                      <a16:creationId xmlns:a16="http://schemas.microsoft.com/office/drawing/2014/main" id="{C703E444-3686-451A-95D6-553F0FF8A91B}"/>
                    </a:ext>
                  </a:extLst>
                </p:cNvPr>
                <p:cNvSpPr>
                  <a:spLocks/>
                </p:cNvSpPr>
                <p:nvPr/>
              </p:nvSpPr>
              <p:spPr bwMode="auto">
                <a:xfrm>
                  <a:off x="5720475" y="2598372"/>
                  <a:ext cx="11045" cy="10368"/>
                </a:xfrm>
                <a:custGeom>
                  <a:avLst/>
                  <a:gdLst>
                    <a:gd name="T0" fmla="*/ 4 w 15"/>
                    <a:gd name="T1" fmla="*/ 15 h 15"/>
                    <a:gd name="T2" fmla="*/ 15 w 15"/>
                    <a:gd name="T3" fmla="*/ 9 h 15"/>
                    <a:gd name="T4" fmla="*/ 9 w 15"/>
                    <a:gd name="T5" fmla="*/ 0 h 15"/>
                    <a:gd name="T6" fmla="*/ 0 w 15"/>
                    <a:gd name="T7" fmla="*/ 4 h 15"/>
                    <a:gd name="T8" fmla="*/ 4 w 15"/>
                    <a:gd name="T9" fmla="*/ 15 h 15"/>
                  </a:gdLst>
                  <a:ahLst/>
                  <a:cxnLst>
                    <a:cxn ang="0">
                      <a:pos x="T0" y="T1"/>
                    </a:cxn>
                    <a:cxn ang="0">
                      <a:pos x="T2" y="T3"/>
                    </a:cxn>
                    <a:cxn ang="0">
                      <a:pos x="T4" y="T5"/>
                    </a:cxn>
                    <a:cxn ang="0">
                      <a:pos x="T6" y="T7"/>
                    </a:cxn>
                    <a:cxn ang="0">
                      <a:pos x="T8" y="T9"/>
                    </a:cxn>
                  </a:cxnLst>
                  <a:rect l="0" t="0" r="r" b="b"/>
                  <a:pathLst>
                    <a:path w="15" h="15">
                      <a:moveTo>
                        <a:pt x="4" y="15"/>
                      </a:moveTo>
                      <a:lnTo>
                        <a:pt x="15" y="9"/>
                      </a:lnTo>
                      <a:lnTo>
                        <a:pt x="9" y="0"/>
                      </a:lnTo>
                      <a:lnTo>
                        <a:pt x="0" y="4"/>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4" name="Freeform 1681">
                  <a:extLst>
                    <a:ext uri="{FF2B5EF4-FFF2-40B4-BE49-F238E27FC236}">
                      <a16:creationId xmlns:a16="http://schemas.microsoft.com/office/drawing/2014/main" id="{4B564456-AEEC-46F9-B9F6-C1AB3923F98F}"/>
                    </a:ext>
                  </a:extLst>
                </p:cNvPr>
                <p:cNvSpPr>
                  <a:spLocks/>
                </p:cNvSpPr>
                <p:nvPr/>
              </p:nvSpPr>
              <p:spPr bwMode="auto">
                <a:xfrm>
                  <a:off x="5652628" y="2651688"/>
                  <a:ext cx="12623" cy="13329"/>
                </a:xfrm>
                <a:custGeom>
                  <a:avLst/>
                  <a:gdLst>
                    <a:gd name="T0" fmla="*/ 17 w 17"/>
                    <a:gd name="T1" fmla="*/ 7 h 16"/>
                    <a:gd name="T2" fmla="*/ 6 w 17"/>
                    <a:gd name="T3" fmla="*/ 0 h 16"/>
                    <a:gd name="T4" fmla="*/ 0 w 17"/>
                    <a:gd name="T5" fmla="*/ 11 h 16"/>
                    <a:gd name="T6" fmla="*/ 10 w 17"/>
                    <a:gd name="T7" fmla="*/ 16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lnTo>
                        <a:pt x="6" y="0"/>
                      </a:lnTo>
                      <a:lnTo>
                        <a:pt x="0" y="11"/>
                      </a:lnTo>
                      <a:lnTo>
                        <a:pt x="10" y="16"/>
                      </a:lnTo>
                      <a:lnTo>
                        <a:pt x="1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5" name="Freeform 1682">
                  <a:extLst>
                    <a:ext uri="{FF2B5EF4-FFF2-40B4-BE49-F238E27FC236}">
                      <a16:creationId xmlns:a16="http://schemas.microsoft.com/office/drawing/2014/main" id="{58F0DF16-A9B0-4D67-B92F-C96CFA7D3777}"/>
                    </a:ext>
                  </a:extLst>
                </p:cNvPr>
                <p:cNvSpPr>
                  <a:spLocks/>
                </p:cNvSpPr>
                <p:nvPr/>
              </p:nvSpPr>
              <p:spPr bwMode="auto">
                <a:xfrm>
                  <a:off x="5663673" y="2638359"/>
                  <a:ext cx="12623" cy="11848"/>
                </a:xfrm>
                <a:custGeom>
                  <a:avLst/>
                  <a:gdLst>
                    <a:gd name="T0" fmla="*/ 17 w 17"/>
                    <a:gd name="T1" fmla="*/ 8 h 17"/>
                    <a:gd name="T2" fmla="*/ 8 w 17"/>
                    <a:gd name="T3" fmla="*/ 0 h 17"/>
                    <a:gd name="T4" fmla="*/ 8 w 17"/>
                    <a:gd name="T5" fmla="*/ 0 h 17"/>
                    <a:gd name="T6" fmla="*/ 0 w 17"/>
                    <a:gd name="T7" fmla="*/ 9 h 17"/>
                    <a:gd name="T8" fmla="*/ 10 w 17"/>
                    <a:gd name="T9" fmla="*/ 17 h 17"/>
                    <a:gd name="T10" fmla="*/ 17 w 17"/>
                    <a:gd name="T11" fmla="*/ 8 h 17"/>
                  </a:gdLst>
                  <a:ahLst/>
                  <a:cxnLst>
                    <a:cxn ang="0">
                      <a:pos x="T0" y="T1"/>
                    </a:cxn>
                    <a:cxn ang="0">
                      <a:pos x="T2" y="T3"/>
                    </a:cxn>
                    <a:cxn ang="0">
                      <a:pos x="T4" y="T5"/>
                    </a:cxn>
                    <a:cxn ang="0">
                      <a:pos x="T6" y="T7"/>
                    </a:cxn>
                    <a:cxn ang="0">
                      <a:pos x="T8" y="T9"/>
                    </a:cxn>
                    <a:cxn ang="0">
                      <a:pos x="T10" y="T11"/>
                    </a:cxn>
                  </a:cxnLst>
                  <a:rect l="0" t="0" r="r" b="b"/>
                  <a:pathLst>
                    <a:path w="17" h="17">
                      <a:moveTo>
                        <a:pt x="17" y="8"/>
                      </a:moveTo>
                      <a:lnTo>
                        <a:pt x="8" y="0"/>
                      </a:lnTo>
                      <a:lnTo>
                        <a:pt x="8" y="0"/>
                      </a:lnTo>
                      <a:lnTo>
                        <a:pt x="0" y="9"/>
                      </a:lnTo>
                      <a:lnTo>
                        <a:pt x="10" y="17"/>
                      </a:lnTo>
                      <a:lnTo>
                        <a:pt x="1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6" name="Freeform 1683">
                  <a:extLst>
                    <a:ext uri="{FF2B5EF4-FFF2-40B4-BE49-F238E27FC236}">
                      <a16:creationId xmlns:a16="http://schemas.microsoft.com/office/drawing/2014/main" id="{E291E33C-ADD7-4352-83C7-CD1002DFDEEA}"/>
                    </a:ext>
                  </a:extLst>
                </p:cNvPr>
                <p:cNvSpPr>
                  <a:spLocks/>
                </p:cNvSpPr>
                <p:nvPr/>
              </p:nvSpPr>
              <p:spPr bwMode="auto">
                <a:xfrm>
                  <a:off x="5674717" y="2626510"/>
                  <a:ext cx="12623" cy="11848"/>
                </a:xfrm>
                <a:custGeom>
                  <a:avLst/>
                  <a:gdLst>
                    <a:gd name="T0" fmla="*/ 0 w 17"/>
                    <a:gd name="T1" fmla="*/ 7 h 16"/>
                    <a:gd name="T2" fmla="*/ 9 w 17"/>
                    <a:gd name="T3" fmla="*/ 16 h 16"/>
                    <a:gd name="T4" fmla="*/ 17 w 17"/>
                    <a:gd name="T5" fmla="*/ 7 h 16"/>
                    <a:gd name="T6" fmla="*/ 9 w 17"/>
                    <a:gd name="T7" fmla="*/ 0 h 16"/>
                    <a:gd name="T8" fmla="*/ 9 w 17"/>
                    <a:gd name="T9" fmla="*/ 0 h 16"/>
                    <a:gd name="T10" fmla="*/ 0 w 17"/>
                    <a:gd name="T11" fmla="*/ 7 h 16"/>
                  </a:gdLst>
                  <a:ahLst/>
                  <a:cxnLst>
                    <a:cxn ang="0">
                      <a:pos x="T0" y="T1"/>
                    </a:cxn>
                    <a:cxn ang="0">
                      <a:pos x="T2" y="T3"/>
                    </a:cxn>
                    <a:cxn ang="0">
                      <a:pos x="T4" y="T5"/>
                    </a:cxn>
                    <a:cxn ang="0">
                      <a:pos x="T6" y="T7"/>
                    </a:cxn>
                    <a:cxn ang="0">
                      <a:pos x="T8" y="T9"/>
                    </a:cxn>
                    <a:cxn ang="0">
                      <a:pos x="T10" y="T11"/>
                    </a:cxn>
                  </a:cxnLst>
                  <a:rect l="0" t="0" r="r" b="b"/>
                  <a:pathLst>
                    <a:path w="17" h="16">
                      <a:moveTo>
                        <a:pt x="0" y="7"/>
                      </a:moveTo>
                      <a:lnTo>
                        <a:pt x="9" y="16"/>
                      </a:lnTo>
                      <a:lnTo>
                        <a:pt x="17" y="7"/>
                      </a:lnTo>
                      <a:lnTo>
                        <a:pt x="9" y="0"/>
                      </a:lnTo>
                      <a:lnTo>
                        <a:pt x="9"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7" name="Freeform 1684">
                  <a:extLst>
                    <a:ext uri="{FF2B5EF4-FFF2-40B4-BE49-F238E27FC236}">
                      <a16:creationId xmlns:a16="http://schemas.microsoft.com/office/drawing/2014/main" id="{7477C714-3D3A-4789-B458-4F38ED386476}"/>
                    </a:ext>
                  </a:extLst>
                </p:cNvPr>
                <p:cNvSpPr>
                  <a:spLocks/>
                </p:cNvSpPr>
                <p:nvPr/>
              </p:nvSpPr>
              <p:spPr bwMode="auto">
                <a:xfrm>
                  <a:off x="5736253" y="2590966"/>
                  <a:ext cx="11045" cy="10368"/>
                </a:xfrm>
                <a:custGeom>
                  <a:avLst/>
                  <a:gdLst>
                    <a:gd name="T0" fmla="*/ 11 w 15"/>
                    <a:gd name="T1" fmla="*/ 0 h 15"/>
                    <a:gd name="T2" fmla="*/ 0 w 15"/>
                    <a:gd name="T3" fmla="*/ 4 h 15"/>
                    <a:gd name="T4" fmla="*/ 6 w 15"/>
                    <a:gd name="T5" fmla="*/ 15 h 15"/>
                    <a:gd name="T6" fmla="*/ 15 w 15"/>
                    <a:gd name="T7" fmla="*/ 11 h 15"/>
                    <a:gd name="T8" fmla="*/ 11 w 15"/>
                    <a:gd name="T9" fmla="*/ 0 h 15"/>
                  </a:gdLst>
                  <a:ahLst/>
                  <a:cxnLst>
                    <a:cxn ang="0">
                      <a:pos x="T0" y="T1"/>
                    </a:cxn>
                    <a:cxn ang="0">
                      <a:pos x="T2" y="T3"/>
                    </a:cxn>
                    <a:cxn ang="0">
                      <a:pos x="T4" y="T5"/>
                    </a:cxn>
                    <a:cxn ang="0">
                      <a:pos x="T6" y="T7"/>
                    </a:cxn>
                    <a:cxn ang="0">
                      <a:pos x="T8" y="T9"/>
                    </a:cxn>
                  </a:cxnLst>
                  <a:rect l="0" t="0" r="r" b="b"/>
                  <a:pathLst>
                    <a:path w="15" h="15">
                      <a:moveTo>
                        <a:pt x="11" y="0"/>
                      </a:moveTo>
                      <a:lnTo>
                        <a:pt x="0" y="4"/>
                      </a:lnTo>
                      <a:lnTo>
                        <a:pt x="6" y="15"/>
                      </a:lnTo>
                      <a:lnTo>
                        <a:pt x="15"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8" name="Freeform 1685">
                  <a:extLst>
                    <a:ext uri="{FF2B5EF4-FFF2-40B4-BE49-F238E27FC236}">
                      <a16:creationId xmlns:a16="http://schemas.microsoft.com/office/drawing/2014/main" id="{3C59EA72-6AC7-436B-85CC-9E8AFFC42A00}"/>
                    </a:ext>
                  </a:extLst>
                </p:cNvPr>
                <p:cNvSpPr>
                  <a:spLocks/>
                </p:cNvSpPr>
                <p:nvPr/>
              </p:nvSpPr>
              <p:spPr bwMode="auto">
                <a:xfrm>
                  <a:off x="5819877" y="2627992"/>
                  <a:ext cx="9467" cy="7406"/>
                </a:xfrm>
                <a:custGeom>
                  <a:avLst/>
                  <a:gdLst>
                    <a:gd name="T0" fmla="*/ 0 w 13"/>
                    <a:gd name="T1" fmla="*/ 11 h 11"/>
                    <a:gd name="T2" fmla="*/ 0 w 13"/>
                    <a:gd name="T3" fmla="*/ 11 h 11"/>
                    <a:gd name="T4" fmla="*/ 5 w 13"/>
                    <a:gd name="T5" fmla="*/ 11 h 11"/>
                    <a:gd name="T6" fmla="*/ 5 w 13"/>
                    <a:gd name="T7" fmla="*/ 11 h 11"/>
                    <a:gd name="T8" fmla="*/ 13 w 13"/>
                    <a:gd name="T9" fmla="*/ 11 h 11"/>
                    <a:gd name="T10" fmla="*/ 11 w 13"/>
                    <a:gd name="T11" fmla="*/ 0 h 11"/>
                    <a:gd name="T12" fmla="*/ 11 w 13"/>
                    <a:gd name="T13" fmla="*/ 0 h 11"/>
                    <a:gd name="T14" fmla="*/ 2 w 13"/>
                    <a:gd name="T15" fmla="*/ 0 h 11"/>
                    <a:gd name="T16" fmla="*/ 0 w 13"/>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0" y="11"/>
                      </a:moveTo>
                      <a:lnTo>
                        <a:pt x="0" y="11"/>
                      </a:lnTo>
                      <a:lnTo>
                        <a:pt x="5" y="11"/>
                      </a:lnTo>
                      <a:lnTo>
                        <a:pt x="5" y="11"/>
                      </a:lnTo>
                      <a:lnTo>
                        <a:pt x="13" y="11"/>
                      </a:lnTo>
                      <a:lnTo>
                        <a:pt x="11" y="0"/>
                      </a:lnTo>
                      <a:lnTo>
                        <a:pt x="11" y="0"/>
                      </a:lnTo>
                      <a:lnTo>
                        <a:pt x="2"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79" name="Freeform 1686">
                  <a:extLst>
                    <a:ext uri="{FF2B5EF4-FFF2-40B4-BE49-F238E27FC236}">
                      <a16:creationId xmlns:a16="http://schemas.microsoft.com/office/drawing/2014/main" id="{C1F1AD72-278B-4F60-8197-50BBA262AD90}"/>
                    </a:ext>
                  </a:extLst>
                </p:cNvPr>
                <p:cNvSpPr>
                  <a:spLocks/>
                </p:cNvSpPr>
                <p:nvPr/>
              </p:nvSpPr>
              <p:spPr bwMode="auto">
                <a:xfrm>
                  <a:off x="5800943" y="2622068"/>
                  <a:ext cx="12623" cy="10368"/>
                </a:xfrm>
                <a:custGeom>
                  <a:avLst/>
                  <a:gdLst>
                    <a:gd name="T0" fmla="*/ 17 w 17"/>
                    <a:gd name="T1" fmla="*/ 4 h 15"/>
                    <a:gd name="T2" fmla="*/ 17 w 17"/>
                    <a:gd name="T3" fmla="*/ 4 h 15"/>
                    <a:gd name="T4" fmla="*/ 6 w 17"/>
                    <a:gd name="T5" fmla="*/ 0 h 15"/>
                    <a:gd name="T6" fmla="*/ 0 w 17"/>
                    <a:gd name="T7" fmla="*/ 11 h 15"/>
                    <a:gd name="T8" fmla="*/ 0 w 17"/>
                    <a:gd name="T9" fmla="*/ 11 h 15"/>
                    <a:gd name="T10" fmla="*/ 11 w 17"/>
                    <a:gd name="T11" fmla="*/ 15 h 15"/>
                    <a:gd name="T12" fmla="*/ 17 w 17"/>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17" h="15">
                      <a:moveTo>
                        <a:pt x="17" y="4"/>
                      </a:moveTo>
                      <a:lnTo>
                        <a:pt x="17" y="4"/>
                      </a:lnTo>
                      <a:lnTo>
                        <a:pt x="6" y="0"/>
                      </a:lnTo>
                      <a:lnTo>
                        <a:pt x="0" y="11"/>
                      </a:lnTo>
                      <a:lnTo>
                        <a:pt x="0" y="11"/>
                      </a:lnTo>
                      <a:lnTo>
                        <a:pt x="11" y="15"/>
                      </a:lnTo>
                      <a:lnTo>
                        <a:pt x="1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0" name="Freeform 1687">
                  <a:extLst>
                    <a:ext uri="{FF2B5EF4-FFF2-40B4-BE49-F238E27FC236}">
                      <a16:creationId xmlns:a16="http://schemas.microsoft.com/office/drawing/2014/main" id="{4AF0006B-8020-4710-9FAC-5A65CAD0AD14}"/>
                    </a:ext>
                  </a:extLst>
                </p:cNvPr>
                <p:cNvSpPr>
                  <a:spLocks/>
                </p:cNvSpPr>
                <p:nvPr/>
              </p:nvSpPr>
              <p:spPr bwMode="auto">
                <a:xfrm>
                  <a:off x="5834078" y="2619106"/>
                  <a:ext cx="12623" cy="13329"/>
                </a:xfrm>
                <a:custGeom>
                  <a:avLst/>
                  <a:gdLst>
                    <a:gd name="T0" fmla="*/ 6 w 17"/>
                    <a:gd name="T1" fmla="*/ 0 h 17"/>
                    <a:gd name="T2" fmla="*/ 6 w 17"/>
                    <a:gd name="T3" fmla="*/ 0 h 17"/>
                    <a:gd name="T4" fmla="*/ 4 w 17"/>
                    <a:gd name="T5" fmla="*/ 4 h 17"/>
                    <a:gd name="T6" fmla="*/ 0 w 17"/>
                    <a:gd name="T7" fmla="*/ 8 h 17"/>
                    <a:gd name="T8" fmla="*/ 8 w 17"/>
                    <a:gd name="T9" fmla="*/ 17 h 17"/>
                    <a:gd name="T10" fmla="*/ 8 w 17"/>
                    <a:gd name="T11" fmla="*/ 17 h 17"/>
                    <a:gd name="T12" fmla="*/ 13 w 17"/>
                    <a:gd name="T13" fmla="*/ 12 h 17"/>
                    <a:gd name="T14" fmla="*/ 17 w 17"/>
                    <a:gd name="T15" fmla="*/ 4 h 17"/>
                    <a:gd name="T16" fmla="*/ 6 w 1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6" y="0"/>
                      </a:moveTo>
                      <a:lnTo>
                        <a:pt x="6" y="0"/>
                      </a:lnTo>
                      <a:lnTo>
                        <a:pt x="4" y="4"/>
                      </a:lnTo>
                      <a:lnTo>
                        <a:pt x="0" y="8"/>
                      </a:lnTo>
                      <a:lnTo>
                        <a:pt x="8" y="17"/>
                      </a:lnTo>
                      <a:lnTo>
                        <a:pt x="8" y="17"/>
                      </a:lnTo>
                      <a:lnTo>
                        <a:pt x="13" y="12"/>
                      </a:lnTo>
                      <a:lnTo>
                        <a:pt x="17"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1" name="Freeform 1688">
                  <a:extLst>
                    <a:ext uri="{FF2B5EF4-FFF2-40B4-BE49-F238E27FC236}">
                      <a16:creationId xmlns:a16="http://schemas.microsoft.com/office/drawing/2014/main" id="{3D9169A9-AE2F-4F24-974B-88BBD0BB8F91}"/>
                    </a:ext>
                  </a:extLst>
                </p:cNvPr>
                <p:cNvSpPr>
                  <a:spLocks/>
                </p:cNvSpPr>
                <p:nvPr/>
              </p:nvSpPr>
              <p:spPr bwMode="auto">
                <a:xfrm>
                  <a:off x="5835655" y="2602814"/>
                  <a:ext cx="11045" cy="11848"/>
                </a:xfrm>
                <a:custGeom>
                  <a:avLst/>
                  <a:gdLst>
                    <a:gd name="T0" fmla="*/ 0 w 15"/>
                    <a:gd name="T1" fmla="*/ 6 h 15"/>
                    <a:gd name="T2" fmla="*/ 0 w 15"/>
                    <a:gd name="T3" fmla="*/ 6 h 15"/>
                    <a:gd name="T4" fmla="*/ 4 w 15"/>
                    <a:gd name="T5" fmla="*/ 15 h 15"/>
                    <a:gd name="T6" fmla="*/ 15 w 15"/>
                    <a:gd name="T7" fmla="*/ 11 h 15"/>
                    <a:gd name="T8" fmla="*/ 15 w 15"/>
                    <a:gd name="T9" fmla="*/ 11 h 15"/>
                    <a:gd name="T10" fmla="*/ 13 w 15"/>
                    <a:gd name="T11" fmla="*/ 6 h 15"/>
                    <a:gd name="T12" fmla="*/ 11 w 15"/>
                    <a:gd name="T13" fmla="*/ 0 h 15"/>
                    <a:gd name="T14" fmla="*/ 0 w 15"/>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0" y="6"/>
                      </a:moveTo>
                      <a:lnTo>
                        <a:pt x="0" y="6"/>
                      </a:lnTo>
                      <a:lnTo>
                        <a:pt x="4" y="15"/>
                      </a:lnTo>
                      <a:lnTo>
                        <a:pt x="15" y="11"/>
                      </a:lnTo>
                      <a:lnTo>
                        <a:pt x="15" y="11"/>
                      </a:lnTo>
                      <a:lnTo>
                        <a:pt x="13" y="6"/>
                      </a:lnTo>
                      <a:lnTo>
                        <a:pt x="11"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2" name="Freeform 1689">
                  <a:extLst>
                    <a:ext uri="{FF2B5EF4-FFF2-40B4-BE49-F238E27FC236}">
                      <a16:creationId xmlns:a16="http://schemas.microsoft.com/office/drawing/2014/main" id="{CC0A90C2-7541-4762-8833-CD8AFDDBF71E}"/>
                    </a:ext>
                  </a:extLst>
                </p:cNvPr>
                <p:cNvSpPr>
                  <a:spLocks/>
                </p:cNvSpPr>
                <p:nvPr/>
              </p:nvSpPr>
              <p:spPr bwMode="auto">
                <a:xfrm>
                  <a:off x="5775698" y="2599852"/>
                  <a:ext cx="12623" cy="11848"/>
                </a:xfrm>
                <a:custGeom>
                  <a:avLst/>
                  <a:gdLst>
                    <a:gd name="T0" fmla="*/ 5 w 14"/>
                    <a:gd name="T1" fmla="*/ 14 h 14"/>
                    <a:gd name="T2" fmla="*/ 14 w 14"/>
                    <a:gd name="T3" fmla="*/ 9 h 14"/>
                    <a:gd name="T4" fmla="*/ 14 w 14"/>
                    <a:gd name="T5" fmla="*/ 9 h 14"/>
                    <a:gd name="T6" fmla="*/ 11 w 14"/>
                    <a:gd name="T7" fmla="*/ 0 h 14"/>
                    <a:gd name="T8" fmla="*/ 0 w 14"/>
                    <a:gd name="T9" fmla="*/ 3 h 14"/>
                    <a:gd name="T10" fmla="*/ 0 w 14"/>
                    <a:gd name="T11" fmla="*/ 3 h 14"/>
                    <a:gd name="T12" fmla="*/ 5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5" y="14"/>
                      </a:moveTo>
                      <a:lnTo>
                        <a:pt x="14" y="9"/>
                      </a:lnTo>
                      <a:lnTo>
                        <a:pt x="14" y="9"/>
                      </a:lnTo>
                      <a:lnTo>
                        <a:pt x="11" y="0"/>
                      </a:lnTo>
                      <a:lnTo>
                        <a:pt x="0" y="3"/>
                      </a:lnTo>
                      <a:lnTo>
                        <a:pt x="0" y="3"/>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3" name="Freeform 1690">
                  <a:extLst>
                    <a:ext uri="{FF2B5EF4-FFF2-40B4-BE49-F238E27FC236}">
                      <a16:creationId xmlns:a16="http://schemas.microsoft.com/office/drawing/2014/main" id="{94A36889-A9FD-4796-B0E1-E7C7F50973FB}"/>
                    </a:ext>
                  </a:extLst>
                </p:cNvPr>
                <p:cNvSpPr>
                  <a:spLocks/>
                </p:cNvSpPr>
                <p:nvPr/>
              </p:nvSpPr>
              <p:spPr bwMode="auto">
                <a:xfrm>
                  <a:off x="5786743" y="2613182"/>
                  <a:ext cx="12623" cy="11848"/>
                </a:xfrm>
                <a:custGeom>
                  <a:avLst/>
                  <a:gdLst>
                    <a:gd name="T0" fmla="*/ 9 w 16"/>
                    <a:gd name="T1" fmla="*/ 17 h 17"/>
                    <a:gd name="T2" fmla="*/ 16 w 16"/>
                    <a:gd name="T3" fmla="*/ 8 h 17"/>
                    <a:gd name="T4" fmla="*/ 16 w 16"/>
                    <a:gd name="T5" fmla="*/ 8 h 17"/>
                    <a:gd name="T6" fmla="*/ 7 w 16"/>
                    <a:gd name="T7" fmla="*/ 0 h 17"/>
                    <a:gd name="T8" fmla="*/ 0 w 16"/>
                    <a:gd name="T9" fmla="*/ 9 h 17"/>
                    <a:gd name="T10" fmla="*/ 0 w 16"/>
                    <a:gd name="T11" fmla="*/ 9 h 17"/>
                    <a:gd name="T12" fmla="*/ 9 w 1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9" y="17"/>
                      </a:moveTo>
                      <a:lnTo>
                        <a:pt x="16" y="8"/>
                      </a:lnTo>
                      <a:lnTo>
                        <a:pt x="16" y="8"/>
                      </a:lnTo>
                      <a:lnTo>
                        <a:pt x="7" y="0"/>
                      </a:lnTo>
                      <a:lnTo>
                        <a:pt x="0" y="9"/>
                      </a:lnTo>
                      <a:lnTo>
                        <a:pt x="0" y="9"/>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4" name="Freeform 1691">
                  <a:extLst>
                    <a:ext uri="{FF2B5EF4-FFF2-40B4-BE49-F238E27FC236}">
                      <a16:creationId xmlns:a16="http://schemas.microsoft.com/office/drawing/2014/main" id="{26A744FB-D15C-424F-A6D5-B6E99C8C3F2A}"/>
                    </a:ext>
                  </a:extLst>
                </p:cNvPr>
                <p:cNvSpPr>
                  <a:spLocks/>
                </p:cNvSpPr>
                <p:nvPr/>
              </p:nvSpPr>
              <p:spPr bwMode="auto">
                <a:xfrm>
                  <a:off x="5791476" y="2583562"/>
                  <a:ext cx="7890" cy="10368"/>
                </a:xfrm>
                <a:custGeom>
                  <a:avLst/>
                  <a:gdLst>
                    <a:gd name="T0" fmla="*/ 0 w 11"/>
                    <a:gd name="T1" fmla="*/ 13 h 13"/>
                    <a:gd name="T2" fmla="*/ 0 w 11"/>
                    <a:gd name="T3" fmla="*/ 13 h 13"/>
                    <a:gd name="T4" fmla="*/ 11 w 11"/>
                    <a:gd name="T5" fmla="*/ 13 h 13"/>
                    <a:gd name="T6" fmla="*/ 11 w 11"/>
                    <a:gd name="T7" fmla="*/ 1 h 13"/>
                    <a:gd name="T8" fmla="*/ 11 w 11"/>
                    <a:gd name="T9" fmla="*/ 1 h 13"/>
                    <a:gd name="T10" fmla="*/ 0 w 11"/>
                    <a:gd name="T11" fmla="*/ 0 h 13"/>
                    <a:gd name="T12" fmla="*/ 0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0" y="13"/>
                      </a:moveTo>
                      <a:lnTo>
                        <a:pt x="0" y="13"/>
                      </a:lnTo>
                      <a:lnTo>
                        <a:pt x="11" y="13"/>
                      </a:lnTo>
                      <a:lnTo>
                        <a:pt x="11" y="1"/>
                      </a:lnTo>
                      <a:lnTo>
                        <a:pt x="11" y="1"/>
                      </a:lnTo>
                      <a:lnTo>
                        <a:pt x="0" y="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5" name="Freeform 1692">
                  <a:extLst>
                    <a:ext uri="{FF2B5EF4-FFF2-40B4-BE49-F238E27FC236}">
                      <a16:creationId xmlns:a16="http://schemas.microsoft.com/office/drawing/2014/main" id="{6C151CB4-BBF6-41BC-889F-3A09B6272A40}"/>
                    </a:ext>
                  </a:extLst>
                </p:cNvPr>
                <p:cNvSpPr>
                  <a:spLocks/>
                </p:cNvSpPr>
                <p:nvPr/>
              </p:nvSpPr>
              <p:spPr bwMode="auto">
                <a:xfrm>
                  <a:off x="5772543" y="2567270"/>
                  <a:ext cx="9467" cy="10368"/>
                </a:xfrm>
                <a:custGeom>
                  <a:avLst/>
                  <a:gdLst>
                    <a:gd name="T0" fmla="*/ 2 w 13"/>
                    <a:gd name="T1" fmla="*/ 0 h 12"/>
                    <a:gd name="T2" fmla="*/ 2 w 13"/>
                    <a:gd name="T3" fmla="*/ 0 h 12"/>
                    <a:gd name="T4" fmla="*/ 0 w 13"/>
                    <a:gd name="T5" fmla="*/ 11 h 12"/>
                    <a:gd name="T6" fmla="*/ 11 w 13"/>
                    <a:gd name="T7" fmla="*/ 12 h 12"/>
                    <a:gd name="T8" fmla="*/ 11 w 13"/>
                    <a:gd name="T9" fmla="*/ 12 h 12"/>
                    <a:gd name="T10" fmla="*/ 13 w 13"/>
                    <a:gd name="T11" fmla="*/ 1 h 12"/>
                    <a:gd name="T12" fmla="*/ 2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2" y="0"/>
                      </a:moveTo>
                      <a:lnTo>
                        <a:pt x="2" y="0"/>
                      </a:lnTo>
                      <a:lnTo>
                        <a:pt x="0" y="11"/>
                      </a:lnTo>
                      <a:lnTo>
                        <a:pt x="11" y="12"/>
                      </a:lnTo>
                      <a:lnTo>
                        <a:pt x="11" y="12"/>
                      </a:lnTo>
                      <a:lnTo>
                        <a:pt x="1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6" name="Freeform 1693">
                  <a:extLst>
                    <a:ext uri="{FF2B5EF4-FFF2-40B4-BE49-F238E27FC236}">
                      <a16:creationId xmlns:a16="http://schemas.microsoft.com/office/drawing/2014/main" id="{0F0DE3A1-7997-40C8-90DA-ECD065848E08}"/>
                    </a:ext>
                  </a:extLst>
                </p:cNvPr>
                <p:cNvSpPr>
                  <a:spLocks/>
                </p:cNvSpPr>
                <p:nvPr/>
              </p:nvSpPr>
              <p:spPr bwMode="auto">
                <a:xfrm>
                  <a:off x="5753609" y="2586524"/>
                  <a:ext cx="11045" cy="11848"/>
                </a:xfrm>
                <a:custGeom>
                  <a:avLst/>
                  <a:gdLst>
                    <a:gd name="T0" fmla="*/ 4 w 15"/>
                    <a:gd name="T1" fmla="*/ 15 h 15"/>
                    <a:gd name="T2" fmla="*/ 4 w 15"/>
                    <a:gd name="T3" fmla="*/ 15 h 15"/>
                    <a:gd name="T4" fmla="*/ 15 w 15"/>
                    <a:gd name="T5" fmla="*/ 11 h 15"/>
                    <a:gd name="T6" fmla="*/ 13 w 15"/>
                    <a:gd name="T7" fmla="*/ 0 h 15"/>
                    <a:gd name="T8" fmla="*/ 13 w 15"/>
                    <a:gd name="T9" fmla="*/ 0 h 15"/>
                    <a:gd name="T10" fmla="*/ 0 w 15"/>
                    <a:gd name="T11" fmla="*/ 2 h 15"/>
                    <a:gd name="T12" fmla="*/ 4 w 1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4" y="15"/>
                      </a:moveTo>
                      <a:lnTo>
                        <a:pt x="4" y="15"/>
                      </a:lnTo>
                      <a:lnTo>
                        <a:pt x="15" y="11"/>
                      </a:lnTo>
                      <a:lnTo>
                        <a:pt x="13" y="0"/>
                      </a:lnTo>
                      <a:lnTo>
                        <a:pt x="13" y="0"/>
                      </a:lnTo>
                      <a:lnTo>
                        <a:pt x="0" y="2"/>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7" name="Freeform 1694">
                  <a:extLst>
                    <a:ext uri="{FF2B5EF4-FFF2-40B4-BE49-F238E27FC236}">
                      <a16:creationId xmlns:a16="http://schemas.microsoft.com/office/drawing/2014/main" id="{D9AB3614-C1DC-4F53-88AD-EA2B11BC51BE}"/>
                    </a:ext>
                  </a:extLst>
                </p:cNvPr>
                <p:cNvSpPr>
                  <a:spLocks/>
                </p:cNvSpPr>
                <p:nvPr/>
              </p:nvSpPr>
              <p:spPr bwMode="auto">
                <a:xfrm>
                  <a:off x="5783588" y="2534688"/>
                  <a:ext cx="12623" cy="11848"/>
                </a:xfrm>
                <a:custGeom>
                  <a:avLst/>
                  <a:gdLst>
                    <a:gd name="T0" fmla="*/ 9 w 17"/>
                    <a:gd name="T1" fmla="*/ 17 h 17"/>
                    <a:gd name="T2" fmla="*/ 17 w 17"/>
                    <a:gd name="T3" fmla="*/ 8 h 17"/>
                    <a:gd name="T4" fmla="*/ 7 w 17"/>
                    <a:gd name="T5" fmla="*/ 0 h 17"/>
                    <a:gd name="T6" fmla="*/ 7 w 17"/>
                    <a:gd name="T7" fmla="*/ 0 h 17"/>
                    <a:gd name="T8" fmla="*/ 0 w 17"/>
                    <a:gd name="T9" fmla="*/ 10 h 17"/>
                    <a:gd name="T10" fmla="*/ 9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9" y="17"/>
                      </a:moveTo>
                      <a:lnTo>
                        <a:pt x="17" y="8"/>
                      </a:lnTo>
                      <a:lnTo>
                        <a:pt x="7" y="0"/>
                      </a:lnTo>
                      <a:lnTo>
                        <a:pt x="7" y="0"/>
                      </a:lnTo>
                      <a:lnTo>
                        <a:pt x="0" y="10"/>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8" name="Freeform 1695">
                  <a:extLst>
                    <a:ext uri="{FF2B5EF4-FFF2-40B4-BE49-F238E27FC236}">
                      <a16:creationId xmlns:a16="http://schemas.microsoft.com/office/drawing/2014/main" id="{4E3793CE-4AD4-408A-BB23-3D15AA3EFC10}"/>
                    </a:ext>
                  </a:extLst>
                </p:cNvPr>
                <p:cNvSpPr>
                  <a:spLocks/>
                </p:cNvSpPr>
                <p:nvPr/>
              </p:nvSpPr>
              <p:spPr bwMode="auto">
                <a:xfrm>
                  <a:off x="5774121" y="2549498"/>
                  <a:ext cx="14201" cy="11848"/>
                </a:xfrm>
                <a:custGeom>
                  <a:avLst/>
                  <a:gdLst>
                    <a:gd name="T0" fmla="*/ 11 w 16"/>
                    <a:gd name="T1" fmla="*/ 14 h 14"/>
                    <a:gd name="T2" fmla="*/ 11 w 16"/>
                    <a:gd name="T3" fmla="*/ 14 h 14"/>
                    <a:gd name="T4" fmla="*/ 16 w 16"/>
                    <a:gd name="T5" fmla="*/ 5 h 14"/>
                    <a:gd name="T6" fmla="*/ 5 w 16"/>
                    <a:gd name="T7" fmla="*/ 0 h 14"/>
                    <a:gd name="T8" fmla="*/ 5 w 16"/>
                    <a:gd name="T9" fmla="*/ 0 h 14"/>
                    <a:gd name="T10" fmla="*/ 0 w 16"/>
                    <a:gd name="T11" fmla="*/ 11 h 14"/>
                    <a:gd name="T12" fmla="*/ 11 w 1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1" y="14"/>
                      </a:moveTo>
                      <a:lnTo>
                        <a:pt x="11" y="14"/>
                      </a:lnTo>
                      <a:lnTo>
                        <a:pt x="16" y="5"/>
                      </a:lnTo>
                      <a:lnTo>
                        <a:pt x="5" y="0"/>
                      </a:lnTo>
                      <a:lnTo>
                        <a:pt x="5" y="0"/>
                      </a:lnTo>
                      <a:lnTo>
                        <a:pt x="0" y="11"/>
                      </a:lnTo>
                      <a:lnTo>
                        <a:pt x="1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89" name="Freeform 1696">
                  <a:extLst>
                    <a:ext uri="{FF2B5EF4-FFF2-40B4-BE49-F238E27FC236}">
                      <a16:creationId xmlns:a16="http://schemas.microsoft.com/office/drawing/2014/main" id="{21FC7835-3999-404E-85C6-64CEA4FF9D0E}"/>
                    </a:ext>
                  </a:extLst>
                </p:cNvPr>
                <p:cNvSpPr>
                  <a:spLocks/>
                </p:cNvSpPr>
                <p:nvPr/>
              </p:nvSpPr>
              <p:spPr bwMode="auto">
                <a:xfrm>
                  <a:off x="5808833" y="2585042"/>
                  <a:ext cx="9467" cy="11848"/>
                </a:xfrm>
                <a:custGeom>
                  <a:avLst/>
                  <a:gdLst>
                    <a:gd name="T0" fmla="*/ 9 w 13"/>
                    <a:gd name="T1" fmla="*/ 15 h 15"/>
                    <a:gd name="T2" fmla="*/ 13 w 13"/>
                    <a:gd name="T3" fmla="*/ 4 h 15"/>
                    <a:gd name="T4" fmla="*/ 13 w 13"/>
                    <a:gd name="T5" fmla="*/ 4 h 15"/>
                    <a:gd name="T6" fmla="*/ 2 w 13"/>
                    <a:gd name="T7" fmla="*/ 0 h 15"/>
                    <a:gd name="T8" fmla="*/ 0 w 13"/>
                    <a:gd name="T9" fmla="*/ 13 h 15"/>
                    <a:gd name="T10" fmla="*/ 0 w 13"/>
                    <a:gd name="T11" fmla="*/ 13 h 15"/>
                    <a:gd name="T12" fmla="*/ 9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9" y="15"/>
                      </a:moveTo>
                      <a:lnTo>
                        <a:pt x="13" y="4"/>
                      </a:lnTo>
                      <a:lnTo>
                        <a:pt x="13" y="4"/>
                      </a:lnTo>
                      <a:lnTo>
                        <a:pt x="2" y="0"/>
                      </a:lnTo>
                      <a:lnTo>
                        <a:pt x="0" y="13"/>
                      </a:lnTo>
                      <a:lnTo>
                        <a:pt x="0" y="13"/>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790" name="Freeform 1697">
                  <a:extLst>
                    <a:ext uri="{FF2B5EF4-FFF2-40B4-BE49-F238E27FC236}">
                      <a16:creationId xmlns:a16="http://schemas.microsoft.com/office/drawing/2014/main" id="{C67D47B5-5017-4B07-800C-6117AE4C316C}"/>
                    </a:ext>
                  </a:extLst>
                </p:cNvPr>
                <p:cNvSpPr>
                  <a:spLocks/>
                </p:cNvSpPr>
                <p:nvPr/>
              </p:nvSpPr>
              <p:spPr bwMode="auto">
                <a:xfrm>
                  <a:off x="5824611" y="2590966"/>
                  <a:ext cx="12623" cy="10368"/>
                </a:xfrm>
                <a:custGeom>
                  <a:avLst/>
                  <a:gdLst>
                    <a:gd name="T0" fmla="*/ 17 w 17"/>
                    <a:gd name="T1" fmla="*/ 5 h 15"/>
                    <a:gd name="T2" fmla="*/ 17 w 17"/>
                    <a:gd name="T3" fmla="*/ 5 h 15"/>
                    <a:gd name="T4" fmla="*/ 6 w 17"/>
                    <a:gd name="T5" fmla="*/ 0 h 15"/>
                    <a:gd name="T6" fmla="*/ 4 w 17"/>
                    <a:gd name="T7" fmla="*/ 0 h 15"/>
                    <a:gd name="T8" fmla="*/ 0 w 17"/>
                    <a:gd name="T9" fmla="*/ 11 h 15"/>
                    <a:gd name="T10" fmla="*/ 2 w 17"/>
                    <a:gd name="T11" fmla="*/ 11 h 15"/>
                    <a:gd name="T12" fmla="*/ 2 w 17"/>
                    <a:gd name="T13" fmla="*/ 11 h 15"/>
                    <a:gd name="T14" fmla="*/ 10 w 17"/>
                    <a:gd name="T15" fmla="*/ 15 h 15"/>
                    <a:gd name="T16" fmla="*/ 17 w 17"/>
                    <a:gd name="T1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17" y="5"/>
                      </a:moveTo>
                      <a:lnTo>
                        <a:pt x="17" y="5"/>
                      </a:lnTo>
                      <a:lnTo>
                        <a:pt x="6" y="0"/>
                      </a:lnTo>
                      <a:lnTo>
                        <a:pt x="4" y="0"/>
                      </a:lnTo>
                      <a:lnTo>
                        <a:pt x="0" y="11"/>
                      </a:lnTo>
                      <a:lnTo>
                        <a:pt x="2" y="11"/>
                      </a:lnTo>
                      <a:lnTo>
                        <a:pt x="2" y="11"/>
                      </a:lnTo>
                      <a:lnTo>
                        <a:pt x="10" y="15"/>
                      </a:lnTo>
                      <a:lnTo>
                        <a:pt x="17"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grpSp>
        </p:grpSp>
        <p:sp>
          <p:nvSpPr>
            <p:cNvPr id="737" name="Rectangle 736">
              <a:extLst>
                <a:ext uri="{FF2B5EF4-FFF2-40B4-BE49-F238E27FC236}">
                  <a16:creationId xmlns:a16="http://schemas.microsoft.com/office/drawing/2014/main" id="{59D4F266-A9CC-497B-A7E8-1917B3E53BC5}"/>
                </a:ext>
              </a:extLst>
            </p:cNvPr>
            <p:cNvSpPr/>
            <p:nvPr/>
          </p:nvSpPr>
          <p:spPr>
            <a:xfrm>
              <a:off x="9108098" y="3405204"/>
              <a:ext cx="1115908" cy="43094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Product Increment</a:t>
              </a:r>
            </a:p>
          </p:txBody>
        </p:sp>
      </p:grpSp>
      <p:grpSp>
        <p:nvGrpSpPr>
          <p:cNvPr id="842" name="Group 841">
            <a:extLst>
              <a:ext uri="{FF2B5EF4-FFF2-40B4-BE49-F238E27FC236}">
                <a16:creationId xmlns:a16="http://schemas.microsoft.com/office/drawing/2014/main" id="{1D706913-B783-491C-949C-AA94A23CE94D}"/>
              </a:ext>
            </a:extLst>
          </p:cNvPr>
          <p:cNvGrpSpPr/>
          <p:nvPr/>
        </p:nvGrpSpPr>
        <p:grpSpPr>
          <a:xfrm>
            <a:off x="8579778" y="3433026"/>
            <a:ext cx="838959" cy="702085"/>
            <a:chOff x="8604456" y="3596820"/>
            <a:chExt cx="1115908" cy="933852"/>
          </a:xfrm>
        </p:grpSpPr>
        <p:grpSp>
          <p:nvGrpSpPr>
            <p:cNvPr id="843" name="Group 842">
              <a:extLst>
                <a:ext uri="{FF2B5EF4-FFF2-40B4-BE49-F238E27FC236}">
                  <a16:creationId xmlns:a16="http://schemas.microsoft.com/office/drawing/2014/main" id="{F986A49B-6F4A-450E-AB0E-176EC9B4D386}"/>
                </a:ext>
              </a:extLst>
            </p:cNvPr>
            <p:cNvGrpSpPr/>
            <p:nvPr/>
          </p:nvGrpSpPr>
          <p:grpSpPr>
            <a:xfrm flipH="1">
              <a:off x="8929483" y="3596820"/>
              <a:ext cx="403204" cy="585887"/>
              <a:chOff x="8607957" y="605299"/>
              <a:chExt cx="2806962" cy="4078718"/>
            </a:xfrm>
          </p:grpSpPr>
          <p:sp>
            <p:nvSpPr>
              <p:cNvPr id="845" name="iBar:31/138">
                <a:extLst>
                  <a:ext uri="{FF2B5EF4-FFF2-40B4-BE49-F238E27FC236}">
                    <a16:creationId xmlns:a16="http://schemas.microsoft.com/office/drawing/2014/main" id="{A9DD8D98-7D8E-4E5B-BCEB-EE3DEC64BB75}"/>
                  </a:ext>
                </a:extLst>
              </p:cNvPr>
              <p:cNvSpPr/>
              <p:nvPr/>
            </p:nvSpPr>
            <p:spPr>
              <a:xfrm>
                <a:off x="8607957" y="1338943"/>
                <a:ext cx="2806962" cy="592934"/>
              </a:xfrm>
              <a:prstGeom prst="rect">
                <a:avLst/>
              </a:prstGeom>
              <a:solidFill>
                <a:srgbClr val="86BC2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lvl="0" algn="ctr">
                  <a:defRPr/>
                </a:pPr>
                <a:endParaRPr lang="en-US" sz="451"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6" name="Rectangle 845">
                <a:extLst>
                  <a:ext uri="{FF2B5EF4-FFF2-40B4-BE49-F238E27FC236}">
                    <a16:creationId xmlns:a16="http://schemas.microsoft.com/office/drawing/2014/main" id="{E222F39E-03EA-40A4-AE9C-BA85E6D645A9}"/>
                  </a:ext>
                </a:extLst>
              </p:cNvPr>
              <p:cNvSpPr/>
              <p:nvPr/>
            </p:nvSpPr>
            <p:spPr>
              <a:xfrm>
                <a:off x="8607957" y="1338943"/>
                <a:ext cx="2806962" cy="2998220"/>
              </a:xfrm>
              <a:prstGeom prst="rect">
                <a:avLst/>
              </a:prstGeom>
              <a:noFill/>
              <a:ln w="15875">
                <a:solidFill>
                  <a:srgbClr val="86BC2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7492">
                  <a:defRPr/>
                </a:pPr>
                <a:endParaRPr lang="en-US" sz="1354"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7" name="Group 846">
                <a:extLst>
                  <a:ext uri="{FF2B5EF4-FFF2-40B4-BE49-F238E27FC236}">
                    <a16:creationId xmlns:a16="http://schemas.microsoft.com/office/drawing/2014/main" id="{DAF1688D-F96E-4108-B16B-6F226A84828A}"/>
                  </a:ext>
                </a:extLst>
              </p:cNvPr>
              <p:cNvGrpSpPr/>
              <p:nvPr/>
            </p:nvGrpSpPr>
            <p:grpSpPr>
              <a:xfrm>
                <a:off x="8776645" y="2392984"/>
                <a:ext cx="2463737" cy="2291033"/>
                <a:chOff x="8566719" y="2617154"/>
                <a:chExt cx="2463737" cy="2291033"/>
              </a:xfrm>
            </p:grpSpPr>
            <p:sp>
              <p:nvSpPr>
                <p:cNvPr id="861" name="Rectangle 860">
                  <a:extLst>
                    <a:ext uri="{FF2B5EF4-FFF2-40B4-BE49-F238E27FC236}">
                      <a16:creationId xmlns:a16="http://schemas.microsoft.com/office/drawing/2014/main" id="{68D7D4B4-0457-4932-A04D-C424B5DDA874}"/>
                    </a:ext>
                  </a:extLst>
                </p:cNvPr>
                <p:cNvSpPr/>
                <p:nvPr/>
              </p:nvSpPr>
              <p:spPr bwMode="gray">
                <a:xfrm>
                  <a:off x="8566719" y="2617154"/>
                  <a:ext cx="2463737" cy="1639644"/>
                </a:xfrm>
                <a:prstGeom prst="rect">
                  <a:avLst/>
                </a:prstGeom>
                <a:solidFill>
                  <a:srgbClr val="86BC25"/>
                </a:solidFill>
                <a:ln w="19050" algn="ctr">
                  <a:no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nvGrpSpPr>
                <p:cNvPr id="862" name="Group 861">
                  <a:extLst>
                    <a:ext uri="{FF2B5EF4-FFF2-40B4-BE49-F238E27FC236}">
                      <a16:creationId xmlns:a16="http://schemas.microsoft.com/office/drawing/2014/main" id="{C5E3D29C-C4B2-4CFC-B866-495A0A4FD1CB}"/>
                    </a:ext>
                  </a:extLst>
                </p:cNvPr>
                <p:cNvGrpSpPr/>
                <p:nvPr/>
              </p:nvGrpSpPr>
              <p:grpSpPr>
                <a:xfrm>
                  <a:off x="8720849" y="2791572"/>
                  <a:ext cx="2190282" cy="2116615"/>
                  <a:chOff x="5195358" y="4591380"/>
                  <a:chExt cx="1906459" cy="1749268"/>
                </a:xfrm>
              </p:grpSpPr>
              <p:grpSp>
                <p:nvGrpSpPr>
                  <p:cNvPr id="863" name="Group 862">
                    <a:extLst>
                      <a:ext uri="{FF2B5EF4-FFF2-40B4-BE49-F238E27FC236}">
                        <a16:creationId xmlns:a16="http://schemas.microsoft.com/office/drawing/2014/main" id="{5503503C-E3A0-4F58-AD1C-F657AE23E1D5}"/>
                      </a:ext>
                    </a:extLst>
                  </p:cNvPr>
                  <p:cNvGrpSpPr/>
                  <p:nvPr/>
                </p:nvGrpSpPr>
                <p:grpSpPr>
                  <a:xfrm>
                    <a:off x="5195358" y="4591380"/>
                    <a:ext cx="1020183" cy="1551754"/>
                    <a:chOff x="10650533" y="3663550"/>
                    <a:chExt cx="575867" cy="1059869"/>
                  </a:xfrm>
                </p:grpSpPr>
                <p:grpSp>
                  <p:nvGrpSpPr>
                    <p:cNvPr id="865" name="Group 864">
                      <a:extLst>
                        <a:ext uri="{FF2B5EF4-FFF2-40B4-BE49-F238E27FC236}">
                          <a16:creationId xmlns:a16="http://schemas.microsoft.com/office/drawing/2014/main" id="{E327432E-2EB9-4B3F-9181-F129D88037DD}"/>
                        </a:ext>
                      </a:extLst>
                    </p:cNvPr>
                    <p:cNvGrpSpPr/>
                    <p:nvPr/>
                  </p:nvGrpSpPr>
                  <p:grpSpPr>
                    <a:xfrm>
                      <a:off x="10650533" y="3663550"/>
                      <a:ext cx="575867" cy="728623"/>
                      <a:chOff x="5717961" y="2827338"/>
                      <a:chExt cx="282576" cy="387350"/>
                    </a:xfrm>
                  </p:grpSpPr>
                  <p:sp>
                    <p:nvSpPr>
                      <p:cNvPr id="867" name="Freeform 1754">
                        <a:extLst>
                          <a:ext uri="{FF2B5EF4-FFF2-40B4-BE49-F238E27FC236}">
                            <a16:creationId xmlns:a16="http://schemas.microsoft.com/office/drawing/2014/main" id="{0B91F4FB-1DE3-454D-ACA8-787F517E66AC}"/>
                          </a:ext>
                        </a:extLst>
                      </p:cNvPr>
                      <p:cNvSpPr>
                        <a:spLocks/>
                      </p:cNvSpPr>
                      <p:nvPr/>
                    </p:nvSpPr>
                    <p:spPr bwMode="auto">
                      <a:xfrm>
                        <a:off x="5717961" y="2827338"/>
                        <a:ext cx="282575" cy="387350"/>
                      </a:xfrm>
                      <a:custGeom>
                        <a:avLst/>
                        <a:gdLst>
                          <a:gd name="T0" fmla="*/ 264 w 357"/>
                          <a:gd name="T1" fmla="*/ 488 h 488"/>
                          <a:gd name="T2" fmla="*/ 357 w 357"/>
                          <a:gd name="T3" fmla="*/ 394 h 488"/>
                          <a:gd name="T4" fmla="*/ 357 w 357"/>
                          <a:gd name="T5" fmla="*/ 0 h 488"/>
                          <a:gd name="T6" fmla="*/ 0 w 357"/>
                          <a:gd name="T7" fmla="*/ 0 h 488"/>
                          <a:gd name="T8" fmla="*/ 0 w 357"/>
                          <a:gd name="T9" fmla="*/ 488 h 488"/>
                          <a:gd name="T10" fmla="*/ 264 w 357"/>
                          <a:gd name="T11" fmla="*/ 488 h 488"/>
                        </a:gdLst>
                        <a:ahLst/>
                        <a:cxnLst>
                          <a:cxn ang="0">
                            <a:pos x="T0" y="T1"/>
                          </a:cxn>
                          <a:cxn ang="0">
                            <a:pos x="T2" y="T3"/>
                          </a:cxn>
                          <a:cxn ang="0">
                            <a:pos x="T4" y="T5"/>
                          </a:cxn>
                          <a:cxn ang="0">
                            <a:pos x="T6" y="T7"/>
                          </a:cxn>
                          <a:cxn ang="0">
                            <a:pos x="T8" y="T9"/>
                          </a:cxn>
                          <a:cxn ang="0">
                            <a:pos x="T10" y="T11"/>
                          </a:cxn>
                        </a:cxnLst>
                        <a:rect l="0" t="0" r="r" b="b"/>
                        <a:pathLst>
                          <a:path w="357" h="488">
                            <a:moveTo>
                              <a:pt x="264" y="488"/>
                            </a:moveTo>
                            <a:lnTo>
                              <a:pt x="357" y="394"/>
                            </a:lnTo>
                            <a:lnTo>
                              <a:pt x="357" y="0"/>
                            </a:lnTo>
                            <a:lnTo>
                              <a:pt x="0" y="0"/>
                            </a:lnTo>
                            <a:lnTo>
                              <a:pt x="0" y="488"/>
                            </a:lnTo>
                            <a:lnTo>
                              <a:pt x="264" y="488"/>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68" name="Freeform 1755">
                        <a:extLst>
                          <a:ext uri="{FF2B5EF4-FFF2-40B4-BE49-F238E27FC236}">
                            <a16:creationId xmlns:a16="http://schemas.microsoft.com/office/drawing/2014/main" id="{27FE2EAD-B3AB-44E8-9044-3416FAE458C7}"/>
                          </a:ext>
                        </a:extLst>
                      </p:cNvPr>
                      <p:cNvSpPr>
                        <a:spLocks/>
                      </p:cNvSpPr>
                      <p:nvPr/>
                    </p:nvSpPr>
                    <p:spPr bwMode="auto">
                      <a:xfrm>
                        <a:off x="5717961" y="2827338"/>
                        <a:ext cx="282575" cy="387350"/>
                      </a:xfrm>
                      <a:custGeom>
                        <a:avLst/>
                        <a:gdLst>
                          <a:gd name="T0" fmla="*/ 357 w 357"/>
                          <a:gd name="T1" fmla="*/ 0 h 488"/>
                          <a:gd name="T2" fmla="*/ 357 w 357"/>
                          <a:gd name="T3" fmla="*/ 394 h 488"/>
                          <a:gd name="T4" fmla="*/ 264 w 357"/>
                          <a:gd name="T5" fmla="*/ 488 h 488"/>
                          <a:gd name="T6" fmla="*/ 0 w 357"/>
                          <a:gd name="T7" fmla="*/ 488 h 488"/>
                          <a:gd name="T8" fmla="*/ 0 w 357"/>
                          <a:gd name="T9" fmla="*/ 0 h 488"/>
                          <a:gd name="T10" fmla="*/ 357 w 357"/>
                          <a:gd name="T11" fmla="*/ 0 h 488"/>
                        </a:gdLst>
                        <a:ahLst/>
                        <a:cxnLst>
                          <a:cxn ang="0">
                            <a:pos x="T0" y="T1"/>
                          </a:cxn>
                          <a:cxn ang="0">
                            <a:pos x="T2" y="T3"/>
                          </a:cxn>
                          <a:cxn ang="0">
                            <a:pos x="T4" y="T5"/>
                          </a:cxn>
                          <a:cxn ang="0">
                            <a:pos x="T6" y="T7"/>
                          </a:cxn>
                          <a:cxn ang="0">
                            <a:pos x="T8" y="T9"/>
                          </a:cxn>
                          <a:cxn ang="0">
                            <a:pos x="T10" y="T11"/>
                          </a:cxn>
                        </a:cxnLst>
                        <a:rect l="0" t="0" r="r" b="b"/>
                        <a:pathLst>
                          <a:path w="357" h="488">
                            <a:moveTo>
                              <a:pt x="357" y="0"/>
                            </a:moveTo>
                            <a:lnTo>
                              <a:pt x="357" y="394"/>
                            </a:lnTo>
                            <a:lnTo>
                              <a:pt x="264" y="488"/>
                            </a:lnTo>
                            <a:lnTo>
                              <a:pt x="0" y="488"/>
                            </a:lnTo>
                            <a:lnTo>
                              <a:pt x="0" y="0"/>
                            </a:lnTo>
                            <a:lnTo>
                              <a:pt x="357"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869" name="Freeform 1756">
                        <a:extLst>
                          <a:ext uri="{FF2B5EF4-FFF2-40B4-BE49-F238E27FC236}">
                            <a16:creationId xmlns:a16="http://schemas.microsoft.com/office/drawing/2014/main" id="{26A6243B-CFF8-43A1-8C79-1ED4AD06F020}"/>
                          </a:ext>
                        </a:extLst>
                      </p:cNvPr>
                      <p:cNvSpPr>
                        <a:spLocks/>
                      </p:cNvSpPr>
                      <p:nvPr/>
                    </p:nvSpPr>
                    <p:spPr bwMode="auto">
                      <a:xfrm>
                        <a:off x="5925924" y="3065463"/>
                        <a:ext cx="68263" cy="74613"/>
                      </a:xfrm>
                      <a:custGeom>
                        <a:avLst/>
                        <a:gdLst>
                          <a:gd name="T0" fmla="*/ 84 w 84"/>
                          <a:gd name="T1" fmla="*/ 94 h 94"/>
                          <a:gd name="T2" fmla="*/ 84 w 84"/>
                          <a:gd name="T3" fmla="*/ 0 h 94"/>
                          <a:gd name="T4" fmla="*/ 0 w 84"/>
                          <a:gd name="T5" fmla="*/ 94 h 94"/>
                          <a:gd name="T6" fmla="*/ 84 w 84"/>
                          <a:gd name="T7" fmla="*/ 94 h 94"/>
                        </a:gdLst>
                        <a:ahLst/>
                        <a:cxnLst>
                          <a:cxn ang="0">
                            <a:pos x="T0" y="T1"/>
                          </a:cxn>
                          <a:cxn ang="0">
                            <a:pos x="T2" y="T3"/>
                          </a:cxn>
                          <a:cxn ang="0">
                            <a:pos x="T4" y="T5"/>
                          </a:cxn>
                          <a:cxn ang="0">
                            <a:pos x="T6" y="T7"/>
                          </a:cxn>
                        </a:cxnLst>
                        <a:rect l="0" t="0" r="r" b="b"/>
                        <a:pathLst>
                          <a:path w="84" h="94">
                            <a:moveTo>
                              <a:pt x="84" y="94"/>
                            </a:moveTo>
                            <a:lnTo>
                              <a:pt x="84" y="0"/>
                            </a:lnTo>
                            <a:lnTo>
                              <a:pt x="0" y="94"/>
                            </a:lnTo>
                            <a:lnTo>
                              <a:pt x="84" y="94"/>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70" name="Freeform 1757">
                        <a:extLst>
                          <a:ext uri="{FF2B5EF4-FFF2-40B4-BE49-F238E27FC236}">
                            <a16:creationId xmlns:a16="http://schemas.microsoft.com/office/drawing/2014/main" id="{D5205DE3-B28E-4BDC-BFA7-17219A22B027}"/>
                          </a:ext>
                        </a:extLst>
                      </p:cNvPr>
                      <p:cNvSpPr>
                        <a:spLocks/>
                      </p:cNvSpPr>
                      <p:nvPr/>
                    </p:nvSpPr>
                    <p:spPr bwMode="auto">
                      <a:xfrm>
                        <a:off x="5925924" y="3140075"/>
                        <a:ext cx="74613" cy="74613"/>
                      </a:xfrm>
                      <a:custGeom>
                        <a:avLst/>
                        <a:gdLst>
                          <a:gd name="T0" fmla="*/ 93 w 93"/>
                          <a:gd name="T1" fmla="*/ 0 h 94"/>
                          <a:gd name="T2" fmla="*/ 0 w 93"/>
                          <a:gd name="T3" fmla="*/ 0 h 94"/>
                          <a:gd name="T4" fmla="*/ 0 w 93"/>
                          <a:gd name="T5" fmla="*/ 94 h 94"/>
                          <a:gd name="T6" fmla="*/ 93 w 93"/>
                          <a:gd name="T7" fmla="*/ 0 h 94"/>
                        </a:gdLst>
                        <a:ahLst/>
                        <a:cxnLst>
                          <a:cxn ang="0">
                            <a:pos x="T0" y="T1"/>
                          </a:cxn>
                          <a:cxn ang="0">
                            <a:pos x="T2" y="T3"/>
                          </a:cxn>
                          <a:cxn ang="0">
                            <a:pos x="T4" y="T5"/>
                          </a:cxn>
                          <a:cxn ang="0">
                            <a:pos x="T6" y="T7"/>
                          </a:cxn>
                        </a:cxnLst>
                        <a:rect l="0" t="0" r="r" b="b"/>
                        <a:pathLst>
                          <a:path w="93" h="94">
                            <a:moveTo>
                              <a:pt x="93" y="0"/>
                            </a:moveTo>
                            <a:lnTo>
                              <a:pt x="0" y="0"/>
                            </a:lnTo>
                            <a:lnTo>
                              <a:pt x="0" y="94"/>
                            </a:lnTo>
                            <a:lnTo>
                              <a:pt x="93" y="0"/>
                            </a:lnTo>
                            <a:close/>
                          </a:path>
                        </a:pathLst>
                      </a:custGeom>
                      <a:solidFill>
                        <a:srgbClr val="FFD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871" name="Freeform 1758">
                        <a:extLst>
                          <a:ext uri="{FF2B5EF4-FFF2-40B4-BE49-F238E27FC236}">
                            <a16:creationId xmlns:a16="http://schemas.microsoft.com/office/drawing/2014/main" id="{050FD4D3-BA7C-4D11-BF3E-F93580999EB2}"/>
                          </a:ext>
                        </a:extLst>
                      </p:cNvPr>
                      <p:cNvSpPr>
                        <a:spLocks/>
                      </p:cNvSpPr>
                      <p:nvPr/>
                    </p:nvSpPr>
                    <p:spPr bwMode="auto">
                      <a:xfrm>
                        <a:off x="5925924" y="3140075"/>
                        <a:ext cx="74613" cy="74613"/>
                      </a:xfrm>
                      <a:custGeom>
                        <a:avLst/>
                        <a:gdLst>
                          <a:gd name="T0" fmla="*/ 0 w 93"/>
                          <a:gd name="T1" fmla="*/ 0 h 94"/>
                          <a:gd name="T2" fmla="*/ 93 w 93"/>
                          <a:gd name="T3" fmla="*/ 0 h 94"/>
                          <a:gd name="T4" fmla="*/ 0 w 93"/>
                          <a:gd name="T5" fmla="*/ 94 h 94"/>
                          <a:gd name="T6" fmla="*/ 0 w 93"/>
                          <a:gd name="T7" fmla="*/ 0 h 94"/>
                        </a:gdLst>
                        <a:ahLst/>
                        <a:cxnLst>
                          <a:cxn ang="0">
                            <a:pos x="T0" y="T1"/>
                          </a:cxn>
                          <a:cxn ang="0">
                            <a:pos x="T2" y="T3"/>
                          </a:cxn>
                          <a:cxn ang="0">
                            <a:pos x="T4" y="T5"/>
                          </a:cxn>
                          <a:cxn ang="0">
                            <a:pos x="T6" y="T7"/>
                          </a:cxn>
                        </a:cxnLst>
                        <a:rect l="0" t="0" r="r" b="b"/>
                        <a:pathLst>
                          <a:path w="93" h="94">
                            <a:moveTo>
                              <a:pt x="0" y="0"/>
                            </a:moveTo>
                            <a:lnTo>
                              <a:pt x="93" y="0"/>
                            </a:lnTo>
                            <a:lnTo>
                              <a:pt x="0" y="94"/>
                            </a:lnTo>
                            <a:lnTo>
                              <a:pt x="0" y="0"/>
                            </a:lnTo>
                            <a:close/>
                          </a:path>
                        </a:pathLst>
                      </a:custGeom>
                      <a:noFill/>
                      <a:ln w="12700">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866" name="TextBox 865">
                      <a:extLst>
                        <a:ext uri="{FF2B5EF4-FFF2-40B4-BE49-F238E27FC236}">
                          <a16:creationId xmlns:a16="http://schemas.microsoft.com/office/drawing/2014/main" id="{7747DF9F-203D-421D-84EF-A3CF248DFB55}"/>
                        </a:ext>
                      </a:extLst>
                    </p:cNvPr>
                    <p:cNvSpPr txBox="1"/>
                    <p:nvPr/>
                  </p:nvSpPr>
                  <p:spPr>
                    <a:xfrm>
                      <a:off x="10688952" y="3755726"/>
                      <a:ext cx="499029" cy="967693"/>
                    </a:xfrm>
                    <a:prstGeom prst="rect">
                      <a:avLst/>
                    </a:prstGeom>
                    <a:noFill/>
                  </p:spPr>
                  <p:txBody>
                    <a:bodyPr wrap="square" lIns="0" tIns="0" rIns="0" bIns="0" rtlCol="0">
                      <a:spAutoFit/>
                    </a:bodyPr>
                    <a:lstStyle/>
                    <a:p>
                      <a:pPr algn="ctr">
                        <a:buSzPct val="25000"/>
                      </a:pPr>
                      <a:endParaRPr lang="en-US" sz="1203" dirty="0">
                        <a:solidFill>
                          <a:srgbClr val="009A44"/>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864" name="TextBox 863">
                    <a:extLst>
                      <a:ext uri="{FF2B5EF4-FFF2-40B4-BE49-F238E27FC236}">
                        <a16:creationId xmlns:a16="http://schemas.microsoft.com/office/drawing/2014/main" id="{6E9FBEE6-BAB5-4C31-9822-93387752FFDE}"/>
                      </a:ext>
                    </a:extLst>
                  </p:cNvPr>
                  <p:cNvSpPr txBox="1"/>
                  <p:nvPr/>
                </p:nvSpPr>
                <p:spPr>
                  <a:xfrm>
                    <a:off x="6328158" y="4746750"/>
                    <a:ext cx="773659" cy="1593898"/>
                  </a:xfrm>
                  <a:prstGeom prst="rect">
                    <a:avLst/>
                  </a:prstGeom>
                  <a:noFill/>
                </p:spPr>
                <p:txBody>
                  <a:bodyPr wrap="square" lIns="0" tIns="0" rIns="0" bIns="0" rtlCol="0">
                    <a:spAutoFit/>
                  </a:bodyPr>
                  <a:lstStyle/>
                  <a:p>
                    <a:pPr>
                      <a:buSzPct val="25000"/>
                    </a:pPr>
                    <a:endParaRPr lang="nb-NO" sz="1354">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848" name="Group 847">
                <a:extLst>
                  <a:ext uri="{FF2B5EF4-FFF2-40B4-BE49-F238E27FC236}">
                    <a16:creationId xmlns:a16="http://schemas.microsoft.com/office/drawing/2014/main" id="{0C36701E-2DBF-4AE5-9FF9-8F8C710A68F0}"/>
                  </a:ext>
                </a:extLst>
              </p:cNvPr>
              <p:cNvGrpSpPr/>
              <p:nvPr/>
            </p:nvGrpSpPr>
            <p:grpSpPr>
              <a:xfrm>
                <a:off x="9538998" y="605299"/>
                <a:ext cx="944881" cy="858986"/>
                <a:chOff x="3369813" y="4950013"/>
                <a:chExt cx="440826" cy="400751"/>
              </a:xfrm>
            </p:grpSpPr>
            <p:sp>
              <p:nvSpPr>
                <p:cNvPr id="857" name="Oval 856">
                  <a:extLst>
                    <a:ext uri="{FF2B5EF4-FFF2-40B4-BE49-F238E27FC236}">
                      <a16:creationId xmlns:a16="http://schemas.microsoft.com/office/drawing/2014/main" id="{D2DF2D82-BE08-434B-9A70-8CEB25D127C3}"/>
                    </a:ext>
                  </a:extLst>
                </p:cNvPr>
                <p:cNvSpPr/>
                <p:nvPr/>
              </p:nvSpPr>
              <p:spPr bwMode="gray">
                <a:xfrm>
                  <a:off x="3369813" y="4950013"/>
                  <a:ext cx="440826" cy="400751"/>
                </a:xfrm>
                <a:prstGeom prst="ellipse">
                  <a:avLst/>
                </a:prstGeom>
                <a:solidFill>
                  <a:schemeClr val="bg1"/>
                </a:solidFill>
                <a:ln w="19050" algn="ctr">
                  <a:no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nvGrpSpPr>
                <p:cNvPr id="858" name="Group 226">
                  <a:extLst>
                    <a:ext uri="{FF2B5EF4-FFF2-40B4-BE49-F238E27FC236}">
                      <a16:creationId xmlns:a16="http://schemas.microsoft.com/office/drawing/2014/main" id="{4EF74B1D-2C5F-4953-9D32-78935719E3CB}"/>
                    </a:ext>
                  </a:extLst>
                </p:cNvPr>
                <p:cNvGrpSpPr>
                  <a:grpSpLocks noChangeAspect="1"/>
                </p:cNvGrpSpPr>
                <p:nvPr/>
              </p:nvGrpSpPr>
              <p:grpSpPr bwMode="auto">
                <a:xfrm>
                  <a:off x="3437467" y="4997632"/>
                  <a:ext cx="305517" cy="305518"/>
                  <a:chOff x="5048" y="783"/>
                  <a:chExt cx="340" cy="340"/>
                </a:xfrm>
                <a:solidFill>
                  <a:schemeClr val="bg1"/>
                </a:solidFill>
              </p:grpSpPr>
              <p:sp>
                <p:nvSpPr>
                  <p:cNvPr id="859" name="Freeform 227">
                    <a:extLst>
                      <a:ext uri="{FF2B5EF4-FFF2-40B4-BE49-F238E27FC236}">
                        <a16:creationId xmlns:a16="http://schemas.microsoft.com/office/drawing/2014/main" id="{9A2A66B4-6810-45CB-B41C-0D859A4F9499}"/>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GB" sz="1354" dirty="0"/>
                  </a:p>
                </p:txBody>
              </p:sp>
              <p:sp>
                <p:nvSpPr>
                  <p:cNvPr id="860" name="Freeform 228">
                    <a:extLst>
                      <a:ext uri="{FF2B5EF4-FFF2-40B4-BE49-F238E27FC236}">
                        <a16:creationId xmlns:a16="http://schemas.microsoft.com/office/drawing/2014/main" id="{63EEEF31-36B0-4593-8D15-69C22A073493}"/>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53565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GB" sz="1354" dirty="0"/>
                  </a:p>
                </p:txBody>
              </p:sp>
            </p:grpSp>
          </p:grpSp>
          <p:cxnSp>
            <p:nvCxnSpPr>
              <p:cNvPr id="849" name="Straight Connector 848">
                <a:extLst>
                  <a:ext uri="{FF2B5EF4-FFF2-40B4-BE49-F238E27FC236}">
                    <a16:creationId xmlns:a16="http://schemas.microsoft.com/office/drawing/2014/main" id="{1ED9AEE8-5A4C-4B77-B3C9-E228B406967B}"/>
                  </a:ext>
                </a:extLst>
              </p:cNvPr>
              <p:cNvCxnSpPr/>
              <p:nvPr/>
            </p:nvCxnSpPr>
            <p:spPr>
              <a:xfrm>
                <a:off x="9128919" y="2755404"/>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0" name="Straight Connector 849">
                <a:extLst>
                  <a:ext uri="{FF2B5EF4-FFF2-40B4-BE49-F238E27FC236}">
                    <a16:creationId xmlns:a16="http://schemas.microsoft.com/office/drawing/2014/main" id="{13357B0C-53B6-4CA2-8193-CC1635D92D64}"/>
                  </a:ext>
                </a:extLst>
              </p:cNvPr>
              <p:cNvCxnSpPr/>
              <p:nvPr/>
            </p:nvCxnSpPr>
            <p:spPr>
              <a:xfrm>
                <a:off x="9128919" y="2976928"/>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26C3FF2D-408B-4EBB-807E-F9C0DC41FA8D}"/>
                  </a:ext>
                </a:extLst>
              </p:cNvPr>
              <p:cNvCxnSpPr/>
              <p:nvPr/>
            </p:nvCxnSpPr>
            <p:spPr>
              <a:xfrm>
                <a:off x="9128919" y="3191669"/>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2" name="Straight Connector 851">
                <a:extLst>
                  <a:ext uri="{FF2B5EF4-FFF2-40B4-BE49-F238E27FC236}">
                    <a16:creationId xmlns:a16="http://schemas.microsoft.com/office/drawing/2014/main" id="{8ECD34F2-55F5-43B6-8226-B4DB9890FD59}"/>
                  </a:ext>
                </a:extLst>
              </p:cNvPr>
              <p:cNvCxnSpPr/>
              <p:nvPr/>
            </p:nvCxnSpPr>
            <p:spPr>
              <a:xfrm>
                <a:off x="9128919" y="3377600"/>
                <a:ext cx="76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3" name="Straight Connector 852">
                <a:extLst>
                  <a:ext uri="{FF2B5EF4-FFF2-40B4-BE49-F238E27FC236}">
                    <a16:creationId xmlns:a16="http://schemas.microsoft.com/office/drawing/2014/main" id="{785F24D4-5E53-4A0B-96A9-E14CDDF27E32}"/>
                  </a:ext>
                </a:extLst>
              </p:cNvPr>
              <p:cNvCxnSpPr/>
              <p:nvPr/>
            </p:nvCxnSpPr>
            <p:spPr>
              <a:xfrm>
                <a:off x="10232225" y="2755404"/>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4" name="Straight Connector 853">
                <a:extLst>
                  <a:ext uri="{FF2B5EF4-FFF2-40B4-BE49-F238E27FC236}">
                    <a16:creationId xmlns:a16="http://schemas.microsoft.com/office/drawing/2014/main" id="{FEC64DDC-5E3D-4A4A-AB52-5FBF6F444CC5}"/>
                  </a:ext>
                </a:extLst>
              </p:cNvPr>
              <p:cNvCxnSpPr/>
              <p:nvPr/>
            </p:nvCxnSpPr>
            <p:spPr>
              <a:xfrm>
                <a:off x="10232225" y="2976928"/>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DDB8DBDB-CAA5-4EC3-A104-16B9EAD4023B}"/>
                  </a:ext>
                </a:extLst>
              </p:cNvPr>
              <p:cNvCxnSpPr/>
              <p:nvPr/>
            </p:nvCxnSpPr>
            <p:spPr>
              <a:xfrm>
                <a:off x="10232225" y="3191669"/>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6" name="Straight Connector 855">
                <a:extLst>
                  <a:ext uri="{FF2B5EF4-FFF2-40B4-BE49-F238E27FC236}">
                    <a16:creationId xmlns:a16="http://schemas.microsoft.com/office/drawing/2014/main" id="{F0991A17-245B-4475-98A6-A28E84B452CB}"/>
                  </a:ext>
                </a:extLst>
              </p:cNvPr>
              <p:cNvCxnSpPr/>
              <p:nvPr/>
            </p:nvCxnSpPr>
            <p:spPr>
              <a:xfrm>
                <a:off x="10232225" y="3377600"/>
                <a:ext cx="76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44" name="Rectangle 843">
              <a:extLst>
                <a:ext uri="{FF2B5EF4-FFF2-40B4-BE49-F238E27FC236}">
                  <a16:creationId xmlns:a16="http://schemas.microsoft.com/office/drawing/2014/main" id="{59073D9B-242E-4C8A-8A77-A17123CCDC8F}"/>
                </a:ext>
              </a:extLst>
            </p:cNvPr>
            <p:cNvSpPr/>
            <p:nvPr/>
          </p:nvSpPr>
          <p:spPr>
            <a:xfrm>
              <a:off x="8604456" y="4253209"/>
              <a:ext cx="1115908" cy="277463"/>
            </a:xfrm>
            <a:prstGeom prst="rect">
              <a:avLst/>
            </a:prstGeom>
          </p:spPr>
          <p:txBody>
            <a:bodyPr wrap="square">
              <a:spAutoFit/>
            </a:bodyPr>
            <a:lstStyle/>
            <a:p>
              <a:pPr algn="ctr"/>
              <a:r>
                <a:rPr lang="en-US" sz="752" b="1" dirty="0"/>
                <a:t>Sprint Backlog</a:t>
              </a:r>
            </a:p>
          </p:txBody>
        </p:sp>
      </p:grpSp>
      <p:grpSp>
        <p:nvGrpSpPr>
          <p:cNvPr id="872" name="Group 871">
            <a:extLst>
              <a:ext uri="{FF2B5EF4-FFF2-40B4-BE49-F238E27FC236}">
                <a16:creationId xmlns:a16="http://schemas.microsoft.com/office/drawing/2014/main" id="{046DD97D-09E3-4E03-AB05-FDCC921ABDF6}"/>
              </a:ext>
            </a:extLst>
          </p:cNvPr>
          <p:cNvGrpSpPr/>
          <p:nvPr/>
        </p:nvGrpSpPr>
        <p:grpSpPr>
          <a:xfrm>
            <a:off x="9380965" y="3460408"/>
            <a:ext cx="916734" cy="688775"/>
            <a:chOff x="9451861" y="3487467"/>
            <a:chExt cx="1219359" cy="916147"/>
          </a:xfrm>
        </p:grpSpPr>
        <p:pic>
          <p:nvPicPr>
            <p:cNvPr id="873" name="Picture 872">
              <a:extLst>
                <a:ext uri="{FF2B5EF4-FFF2-40B4-BE49-F238E27FC236}">
                  <a16:creationId xmlns:a16="http://schemas.microsoft.com/office/drawing/2014/main" id="{24E4CFAE-B761-44A3-A6E6-04361DB6562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98681" y="3487467"/>
              <a:ext cx="507708" cy="622662"/>
            </a:xfrm>
            <a:prstGeom prst="rect">
              <a:avLst/>
            </a:prstGeom>
          </p:spPr>
        </p:pic>
        <p:sp>
          <p:nvSpPr>
            <p:cNvPr id="874" name="Rectangle 873">
              <a:extLst>
                <a:ext uri="{FF2B5EF4-FFF2-40B4-BE49-F238E27FC236}">
                  <a16:creationId xmlns:a16="http://schemas.microsoft.com/office/drawing/2014/main" id="{AF359B4C-B2F6-4076-9DD1-AA5A0372E28B}"/>
                </a:ext>
              </a:extLst>
            </p:cNvPr>
            <p:cNvSpPr/>
            <p:nvPr/>
          </p:nvSpPr>
          <p:spPr>
            <a:xfrm>
              <a:off x="9451861" y="4126151"/>
              <a:ext cx="1219359"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Impediment List</a:t>
              </a:r>
            </a:p>
          </p:txBody>
        </p:sp>
      </p:grpSp>
      <p:grpSp>
        <p:nvGrpSpPr>
          <p:cNvPr id="875" name="Group 874">
            <a:extLst>
              <a:ext uri="{FF2B5EF4-FFF2-40B4-BE49-F238E27FC236}">
                <a16:creationId xmlns:a16="http://schemas.microsoft.com/office/drawing/2014/main" id="{8627B9D3-8594-47D8-9534-8E233563D243}"/>
              </a:ext>
            </a:extLst>
          </p:cNvPr>
          <p:cNvGrpSpPr/>
          <p:nvPr/>
        </p:nvGrpSpPr>
        <p:grpSpPr>
          <a:xfrm>
            <a:off x="8141921" y="4470596"/>
            <a:ext cx="838958" cy="629454"/>
            <a:chOff x="10587376" y="3810233"/>
            <a:chExt cx="1115908" cy="837244"/>
          </a:xfrm>
        </p:grpSpPr>
        <p:grpSp>
          <p:nvGrpSpPr>
            <p:cNvPr id="876" name="Group 875">
              <a:extLst>
                <a:ext uri="{FF2B5EF4-FFF2-40B4-BE49-F238E27FC236}">
                  <a16:creationId xmlns:a16="http://schemas.microsoft.com/office/drawing/2014/main" id="{86726CBF-906F-44F2-BC56-540D29FCE436}"/>
                </a:ext>
              </a:extLst>
            </p:cNvPr>
            <p:cNvGrpSpPr/>
            <p:nvPr/>
          </p:nvGrpSpPr>
          <p:grpSpPr>
            <a:xfrm>
              <a:off x="10876726" y="3810233"/>
              <a:ext cx="525213" cy="410894"/>
              <a:chOff x="4480719" y="1094841"/>
              <a:chExt cx="2277304" cy="1781624"/>
            </a:xfrm>
          </p:grpSpPr>
          <p:grpSp>
            <p:nvGrpSpPr>
              <p:cNvPr id="878" name="Group 877">
                <a:extLst>
                  <a:ext uri="{FF2B5EF4-FFF2-40B4-BE49-F238E27FC236}">
                    <a16:creationId xmlns:a16="http://schemas.microsoft.com/office/drawing/2014/main" id="{D7CD99F7-320F-4068-BB50-9DE4B03ADECE}"/>
                  </a:ext>
                </a:extLst>
              </p:cNvPr>
              <p:cNvGrpSpPr/>
              <p:nvPr/>
            </p:nvGrpSpPr>
            <p:grpSpPr>
              <a:xfrm>
                <a:off x="4480719" y="1094841"/>
                <a:ext cx="2277304" cy="1781624"/>
                <a:chOff x="4920717" y="1439069"/>
                <a:chExt cx="1837306" cy="1437396"/>
              </a:xfrm>
            </p:grpSpPr>
            <p:grpSp>
              <p:nvGrpSpPr>
                <p:cNvPr id="894" name="Group 893">
                  <a:extLst>
                    <a:ext uri="{FF2B5EF4-FFF2-40B4-BE49-F238E27FC236}">
                      <a16:creationId xmlns:a16="http://schemas.microsoft.com/office/drawing/2014/main" id="{C4CEF09C-78DE-47BC-9573-7149C65884EE}"/>
                    </a:ext>
                  </a:extLst>
                </p:cNvPr>
                <p:cNvGrpSpPr/>
                <p:nvPr/>
              </p:nvGrpSpPr>
              <p:grpSpPr>
                <a:xfrm>
                  <a:off x="4920717" y="1662738"/>
                  <a:ext cx="1837306" cy="1213727"/>
                  <a:chOff x="1364343" y="2171201"/>
                  <a:chExt cx="5924088" cy="3913464"/>
                </a:xfrm>
              </p:grpSpPr>
              <p:sp>
                <p:nvSpPr>
                  <p:cNvPr id="904" name="Rounded Rectangle 28">
                    <a:extLst>
                      <a:ext uri="{FF2B5EF4-FFF2-40B4-BE49-F238E27FC236}">
                        <a16:creationId xmlns:a16="http://schemas.microsoft.com/office/drawing/2014/main" id="{16D70D9E-C259-43A8-9564-3FDCC04E15B6}"/>
                      </a:ext>
                    </a:extLst>
                  </p:cNvPr>
                  <p:cNvSpPr/>
                  <p:nvPr/>
                </p:nvSpPr>
                <p:spPr bwMode="gray">
                  <a:xfrm>
                    <a:off x="1364343" y="2171201"/>
                    <a:ext cx="5796613" cy="3804969"/>
                  </a:xfrm>
                  <a:prstGeom prst="roundRect">
                    <a:avLst>
                      <a:gd name="adj" fmla="val 1948"/>
                    </a:avLst>
                  </a:prstGeom>
                  <a:solidFill>
                    <a:schemeClr val="bg1"/>
                  </a:solidFill>
                  <a:ln w="12700" algn="ctr">
                    <a:solidFill>
                      <a:srgbClr val="86BC25"/>
                    </a:solidFill>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sp>
                <p:nvSpPr>
                  <p:cNvPr id="905" name="Rectangle 904">
                    <a:extLst>
                      <a:ext uri="{FF2B5EF4-FFF2-40B4-BE49-F238E27FC236}">
                        <a16:creationId xmlns:a16="http://schemas.microsoft.com/office/drawing/2014/main" id="{7F9231CE-25C1-4100-96FD-337C829E2B8E}"/>
                      </a:ext>
                    </a:extLst>
                  </p:cNvPr>
                  <p:cNvSpPr/>
                  <p:nvPr/>
                </p:nvSpPr>
                <p:spPr bwMode="gray">
                  <a:xfrm>
                    <a:off x="1527569" y="2323062"/>
                    <a:ext cx="5470161" cy="3501247"/>
                  </a:xfrm>
                  <a:prstGeom prst="rect">
                    <a:avLst/>
                  </a:prstGeom>
                  <a:noFill/>
                  <a:ln w="12700" algn="ctr">
                    <a:solidFill>
                      <a:srgbClr val="00ABAB"/>
                    </a:solidFill>
                    <a:prstDash val="sysDot"/>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nvGrpSpPr>
                  <p:cNvPr id="906" name="Group 905">
                    <a:extLst>
                      <a:ext uri="{FF2B5EF4-FFF2-40B4-BE49-F238E27FC236}">
                        <a16:creationId xmlns:a16="http://schemas.microsoft.com/office/drawing/2014/main" id="{D00720C1-F634-4354-A4F7-5CED59197286}"/>
                      </a:ext>
                    </a:extLst>
                  </p:cNvPr>
                  <p:cNvGrpSpPr/>
                  <p:nvPr/>
                </p:nvGrpSpPr>
                <p:grpSpPr>
                  <a:xfrm>
                    <a:off x="5868157" y="5040386"/>
                    <a:ext cx="1420274" cy="1044279"/>
                    <a:chOff x="7590809" y="5020516"/>
                    <a:chExt cx="1420274" cy="1044279"/>
                  </a:xfrm>
                </p:grpSpPr>
                <p:grpSp>
                  <p:nvGrpSpPr>
                    <p:cNvPr id="907" name="Group 906">
                      <a:extLst>
                        <a:ext uri="{FF2B5EF4-FFF2-40B4-BE49-F238E27FC236}">
                          <a16:creationId xmlns:a16="http://schemas.microsoft.com/office/drawing/2014/main" id="{F29BEA40-0C21-4CCF-A811-F7C993272130}"/>
                        </a:ext>
                      </a:extLst>
                    </p:cNvPr>
                    <p:cNvGrpSpPr/>
                    <p:nvPr/>
                  </p:nvGrpSpPr>
                  <p:grpSpPr>
                    <a:xfrm rot="2700000">
                      <a:off x="8912807" y="5102582"/>
                      <a:ext cx="97666" cy="98886"/>
                      <a:chOff x="9987239" y="5621210"/>
                      <a:chExt cx="110620" cy="112002"/>
                    </a:xfrm>
                  </p:grpSpPr>
                  <p:sp>
                    <p:nvSpPr>
                      <p:cNvPr id="918" name="Line 20">
                        <a:extLst>
                          <a:ext uri="{FF2B5EF4-FFF2-40B4-BE49-F238E27FC236}">
                            <a16:creationId xmlns:a16="http://schemas.microsoft.com/office/drawing/2014/main" id="{9D9E9A2E-6545-4CA1-9FF1-0493AFF49F11}"/>
                          </a:ext>
                        </a:extLst>
                      </p:cNvPr>
                      <p:cNvSpPr>
                        <a:spLocks noChangeShapeType="1"/>
                      </p:cNvSpPr>
                      <p:nvPr/>
                    </p:nvSpPr>
                    <p:spPr bwMode="auto">
                      <a:xfrm>
                        <a:off x="10042549" y="5621210"/>
                        <a:ext cx="0" cy="31804"/>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919" name="Line 21">
                        <a:extLst>
                          <a:ext uri="{FF2B5EF4-FFF2-40B4-BE49-F238E27FC236}">
                            <a16:creationId xmlns:a16="http://schemas.microsoft.com/office/drawing/2014/main" id="{23C9E83A-3BBC-44AD-8B1F-57DA4C9D997F}"/>
                          </a:ext>
                        </a:extLst>
                      </p:cNvPr>
                      <p:cNvSpPr>
                        <a:spLocks noChangeShapeType="1"/>
                      </p:cNvSpPr>
                      <p:nvPr/>
                    </p:nvSpPr>
                    <p:spPr bwMode="auto">
                      <a:xfrm>
                        <a:off x="10042549" y="5700026"/>
                        <a:ext cx="0" cy="33186"/>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920" name="Line 22">
                        <a:extLst>
                          <a:ext uri="{FF2B5EF4-FFF2-40B4-BE49-F238E27FC236}">
                            <a16:creationId xmlns:a16="http://schemas.microsoft.com/office/drawing/2014/main" id="{B1AB822A-2813-45F4-8C1F-A119151D884E}"/>
                          </a:ext>
                        </a:extLst>
                      </p:cNvPr>
                      <p:cNvSpPr>
                        <a:spLocks noChangeShapeType="1"/>
                      </p:cNvSpPr>
                      <p:nvPr/>
                    </p:nvSpPr>
                    <p:spPr bwMode="auto">
                      <a:xfrm flipH="1">
                        <a:off x="10064673"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921" name="Line 23">
                        <a:extLst>
                          <a:ext uri="{FF2B5EF4-FFF2-40B4-BE49-F238E27FC236}">
                            <a16:creationId xmlns:a16="http://schemas.microsoft.com/office/drawing/2014/main" id="{43133F08-95B7-4F90-B137-544FF27F6670}"/>
                          </a:ext>
                        </a:extLst>
                      </p:cNvPr>
                      <p:cNvSpPr>
                        <a:spLocks noChangeShapeType="1"/>
                      </p:cNvSpPr>
                      <p:nvPr/>
                    </p:nvSpPr>
                    <p:spPr bwMode="auto">
                      <a:xfrm flipH="1">
                        <a:off x="9987239"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grpSp>
                  <p:nvGrpSpPr>
                    <p:cNvPr id="908" name="Group 907">
                      <a:extLst>
                        <a:ext uri="{FF2B5EF4-FFF2-40B4-BE49-F238E27FC236}">
                          <a16:creationId xmlns:a16="http://schemas.microsoft.com/office/drawing/2014/main" id="{886EF5D9-BAEA-4A26-BADE-CD8C31C41575}"/>
                        </a:ext>
                      </a:extLst>
                    </p:cNvPr>
                    <p:cNvGrpSpPr/>
                    <p:nvPr/>
                  </p:nvGrpSpPr>
                  <p:grpSpPr>
                    <a:xfrm>
                      <a:off x="7590809" y="5209427"/>
                      <a:ext cx="1374405" cy="855368"/>
                      <a:chOff x="7590809" y="5209427"/>
                      <a:chExt cx="1374405" cy="855368"/>
                    </a:xfrm>
                  </p:grpSpPr>
                  <p:sp>
                    <p:nvSpPr>
                      <p:cNvPr id="912" name="Rounded Rectangle 90">
                        <a:extLst>
                          <a:ext uri="{FF2B5EF4-FFF2-40B4-BE49-F238E27FC236}">
                            <a16:creationId xmlns:a16="http://schemas.microsoft.com/office/drawing/2014/main" id="{E48F24A6-3E49-4099-B38A-24A8A61B53DE}"/>
                          </a:ext>
                        </a:extLst>
                      </p:cNvPr>
                      <p:cNvSpPr/>
                      <p:nvPr/>
                    </p:nvSpPr>
                    <p:spPr bwMode="gray">
                      <a:xfrm flipH="1" flipV="1">
                        <a:off x="8075037" y="5209427"/>
                        <a:ext cx="890177" cy="823566"/>
                      </a:xfrm>
                      <a:custGeom>
                        <a:avLst/>
                        <a:gdLst>
                          <a:gd name="connsiteX0" fmla="*/ 0 w 6095195"/>
                          <a:gd name="connsiteY0" fmla="*/ 124917 h 3804969"/>
                          <a:gd name="connsiteX1" fmla="*/ 124917 w 6095195"/>
                          <a:gd name="connsiteY1" fmla="*/ 0 h 3804969"/>
                          <a:gd name="connsiteX2" fmla="*/ 5970278 w 6095195"/>
                          <a:gd name="connsiteY2" fmla="*/ 0 h 3804969"/>
                          <a:gd name="connsiteX3" fmla="*/ 6095195 w 6095195"/>
                          <a:gd name="connsiteY3" fmla="*/ 124917 h 3804969"/>
                          <a:gd name="connsiteX4" fmla="*/ 6095195 w 6095195"/>
                          <a:gd name="connsiteY4" fmla="*/ 3680052 h 3804969"/>
                          <a:gd name="connsiteX5" fmla="*/ 5970278 w 6095195"/>
                          <a:gd name="connsiteY5" fmla="*/ 3804969 h 3804969"/>
                          <a:gd name="connsiteX6" fmla="*/ 124917 w 6095195"/>
                          <a:gd name="connsiteY6" fmla="*/ 3804969 h 3804969"/>
                          <a:gd name="connsiteX7" fmla="*/ 0 w 6095195"/>
                          <a:gd name="connsiteY7" fmla="*/ 3680052 h 3804969"/>
                          <a:gd name="connsiteX8" fmla="*/ 0 w 6095195"/>
                          <a:gd name="connsiteY8" fmla="*/ 124917 h 3804969"/>
                          <a:gd name="connsiteX0" fmla="*/ 6095195 w 6186635"/>
                          <a:gd name="connsiteY0" fmla="*/ 124917 h 3804969"/>
                          <a:gd name="connsiteX1" fmla="*/ 6095195 w 6186635"/>
                          <a:gd name="connsiteY1" fmla="*/ 3680052 h 3804969"/>
                          <a:gd name="connsiteX2" fmla="*/ 5970278 w 6186635"/>
                          <a:gd name="connsiteY2" fmla="*/ 3804969 h 3804969"/>
                          <a:gd name="connsiteX3" fmla="*/ 124917 w 6186635"/>
                          <a:gd name="connsiteY3" fmla="*/ 3804969 h 3804969"/>
                          <a:gd name="connsiteX4" fmla="*/ 0 w 6186635"/>
                          <a:gd name="connsiteY4" fmla="*/ 3680052 h 3804969"/>
                          <a:gd name="connsiteX5" fmla="*/ 0 w 6186635"/>
                          <a:gd name="connsiteY5" fmla="*/ 124917 h 3804969"/>
                          <a:gd name="connsiteX6" fmla="*/ 124917 w 6186635"/>
                          <a:gd name="connsiteY6" fmla="*/ 0 h 3804969"/>
                          <a:gd name="connsiteX7" fmla="*/ 5970278 w 6186635"/>
                          <a:gd name="connsiteY7" fmla="*/ 0 h 3804969"/>
                          <a:gd name="connsiteX8" fmla="*/ 6186635 w 6186635"/>
                          <a:gd name="connsiteY8" fmla="*/ 216357 h 3804969"/>
                          <a:gd name="connsiteX0" fmla="*/ 6095195 w 6095195"/>
                          <a:gd name="connsiteY0" fmla="*/ 124917 h 3804969"/>
                          <a:gd name="connsiteX1" fmla="*/ 6095195 w 6095195"/>
                          <a:gd name="connsiteY1" fmla="*/ 3680052 h 3804969"/>
                          <a:gd name="connsiteX2" fmla="*/ 5970278 w 6095195"/>
                          <a:gd name="connsiteY2" fmla="*/ 3804969 h 3804969"/>
                          <a:gd name="connsiteX3" fmla="*/ 124917 w 6095195"/>
                          <a:gd name="connsiteY3" fmla="*/ 3804969 h 3804969"/>
                          <a:gd name="connsiteX4" fmla="*/ 0 w 6095195"/>
                          <a:gd name="connsiteY4" fmla="*/ 3680052 h 3804969"/>
                          <a:gd name="connsiteX5" fmla="*/ 0 w 6095195"/>
                          <a:gd name="connsiteY5" fmla="*/ 124917 h 3804969"/>
                          <a:gd name="connsiteX6" fmla="*/ 124917 w 6095195"/>
                          <a:gd name="connsiteY6" fmla="*/ 0 h 3804969"/>
                          <a:gd name="connsiteX7" fmla="*/ 5970278 w 6095195"/>
                          <a:gd name="connsiteY7" fmla="*/ 0 h 3804969"/>
                          <a:gd name="connsiteX0" fmla="*/ 6095195 w 6095195"/>
                          <a:gd name="connsiteY0" fmla="*/ 3680052 h 3804969"/>
                          <a:gd name="connsiteX1" fmla="*/ 5970278 w 6095195"/>
                          <a:gd name="connsiteY1" fmla="*/ 3804969 h 3804969"/>
                          <a:gd name="connsiteX2" fmla="*/ 124917 w 6095195"/>
                          <a:gd name="connsiteY2" fmla="*/ 3804969 h 3804969"/>
                          <a:gd name="connsiteX3" fmla="*/ 0 w 6095195"/>
                          <a:gd name="connsiteY3" fmla="*/ 3680052 h 3804969"/>
                          <a:gd name="connsiteX4" fmla="*/ 0 w 6095195"/>
                          <a:gd name="connsiteY4" fmla="*/ 124917 h 3804969"/>
                          <a:gd name="connsiteX5" fmla="*/ 124917 w 6095195"/>
                          <a:gd name="connsiteY5" fmla="*/ 0 h 3804969"/>
                          <a:gd name="connsiteX6" fmla="*/ 5970278 w 6095195"/>
                          <a:gd name="connsiteY6" fmla="*/ 0 h 3804969"/>
                          <a:gd name="connsiteX0" fmla="*/ 6095195 w 6095195"/>
                          <a:gd name="connsiteY0" fmla="*/ 3680052 h 3804969"/>
                          <a:gd name="connsiteX1" fmla="*/ 5970278 w 6095195"/>
                          <a:gd name="connsiteY1" fmla="*/ 3804969 h 3804969"/>
                          <a:gd name="connsiteX2" fmla="*/ 124917 w 6095195"/>
                          <a:gd name="connsiteY2" fmla="*/ 3804969 h 3804969"/>
                          <a:gd name="connsiteX3" fmla="*/ 0 w 6095195"/>
                          <a:gd name="connsiteY3" fmla="*/ 3680052 h 3804969"/>
                          <a:gd name="connsiteX4" fmla="*/ 0 w 6095195"/>
                          <a:gd name="connsiteY4" fmla="*/ 124917 h 3804969"/>
                          <a:gd name="connsiteX5" fmla="*/ 124917 w 6095195"/>
                          <a:gd name="connsiteY5" fmla="*/ 0 h 3804969"/>
                          <a:gd name="connsiteX6" fmla="*/ 5970278 w 6095195"/>
                          <a:gd name="connsiteY6" fmla="*/ 0 h 3804969"/>
                          <a:gd name="connsiteX0" fmla="*/ 5970278 w 5970278"/>
                          <a:gd name="connsiteY0" fmla="*/ 3804969 h 3804969"/>
                          <a:gd name="connsiteX1" fmla="*/ 124917 w 5970278"/>
                          <a:gd name="connsiteY1" fmla="*/ 3804969 h 3804969"/>
                          <a:gd name="connsiteX2" fmla="*/ 0 w 5970278"/>
                          <a:gd name="connsiteY2" fmla="*/ 3680052 h 3804969"/>
                          <a:gd name="connsiteX3" fmla="*/ 0 w 5970278"/>
                          <a:gd name="connsiteY3" fmla="*/ 124917 h 3804969"/>
                          <a:gd name="connsiteX4" fmla="*/ 124917 w 5970278"/>
                          <a:gd name="connsiteY4" fmla="*/ 0 h 3804969"/>
                          <a:gd name="connsiteX5" fmla="*/ 5970278 w 5970278"/>
                          <a:gd name="connsiteY5" fmla="*/ 0 h 3804969"/>
                          <a:gd name="connsiteX0" fmla="*/ 5970278 w 5970278"/>
                          <a:gd name="connsiteY0" fmla="*/ 3804969 h 3804969"/>
                          <a:gd name="connsiteX1" fmla="*/ 0 w 5970278"/>
                          <a:gd name="connsiteY1" fmla="*/ 3680052 h 3804969"/>
                          <a:gd name="connsiteX2" fmla="*/ 0 w 5970278"/>
                          <a:gd name="connsiteY2" fmla="*/ 124917 h 3804969"/>
                          <a:gd name="connsiteX3" fmla="*/ 124917 w 5970278"/>
                          <a:gd name="connsiteY3" fmla="*/ 0 h 3804969"/>
                          <a:gd name="connsiteX4" fmla="*/ 5970278 w 5970278"/>
                          <a:gd name="connsiteY4" fmla="*/ 0 h 3804969"/>
                          <a:gd name="connsiteX0" fmla="*/ 0 w 5970278"/>
                          <a:gd name="connsiteY0" fmla="*/ 3680052 h 3680052"/>
                          <a:gd name="connsiteX1" fmla="*/ 0 w 5970278"/>
                          <a:gd name="connsiteY1" fmla="*/ 124917 h 3680052"/>
                          <a:gd name="connsiteX2" fmla="*/ 124917 w 5970278"/>
                          <a:gd name="connsiteY2" fmla="*/ 0 h 3680052"/>
                          <a:gd name="connsiteX3" fmla="*/ 5970278 w 5970278"/>
                          <a:gd name="connsiteY3" fmla="*/ 0 h 3680052"/>
                          <a:gd name="connsiteX0" fmla="*/ 0 w 5970278"/>
                          <a:gd name="connsiteY0" fmla="*/ 3680198 h 3680198"/>
                          <a:gd name="connsiteX1" fmla="*/ 0 w 5970278"/>
                          <a:gd name="connsiteY1" fmla="*/ 125063 h 3680198"/>
                          <a:gd name="connsiteX2" fmla="*/ 124917 w 5970278"/>
                          <a:gd name="connsiteY2" fmla="*/ 146 h 3680198"/>
                          <a:gd name="connsiteX3" fmla="*/ 884488 w 5970278"/>
                          <a:gd name="connsiteY3" fmla="*/ 0 h 3680198"/>
                          <a:gd name="connsiteX4" fmla="*/ 5970278 w 5970278"/>
                          <a:gd name="connsiteY4" fmla="*/ 146 h 3680198"/>
                          <a:gd name="connsiteX0" fmla="*/ 0 w 884488"/>
                          <a:gd name="connsiteY0" fmla="*/ 3680198 h 3680198"/>
                          <a:gd name="connsiteX1" fmla="*/ 0 w 884488"/>
                          <a:gd name="connsiteY1" fmla="*/ 125063 h 3680198"/>
                          <a:gd name="connsiteX2" fmla="*/ 124917 w 884488"/>
                          <a:gd name="connsiteY2" fmla="*/ 146 h 3680198"/>
                          <a:gd name="connsiteX3" fmla="*/ 884488 w 884488"/>
                          <a:gd name="connsiteY3" fmla="*/ 0 h 3680198"/>
                          <a:gd name="connsiteX0" fmla="*/ 5689 w 890177"/>
                          <a:gd name="connsiteY0" fmla="*/ 3680198 h 3680198"/>
                          <a:gd name="connsiteX1" fmla="*/ 0 w 890177"/>
                          <a:gd name="connsiteY1" fmla="*/ 823566 h 3680198"/>
                          <a:gd name="connsiteX2" fmla="*/ 5689 w 890177"/>
                          <a:gd name="connsiteY2" fmla="*/ 125063 h 3680198"/>
                          <a:gd name="connsiteX3" fmla="*/ 130606 w 890177"/>
                          <a:gd name="connsiteY3" fmla="*/ 146 h 3680198"/>
                          <a:gd name="connsiteX4" fmla="*/ 890177 w 890177"/>
                          <a:gd name="connsiteY4" fmla="*/ 0 h 3680198"/>
                          <a:gd name="connsiteX0" fmla="*/ 0 w 890177"/>
                          <a:gd name="connsiteY0" fmla="*/ 823566 h 823566"/>
                          <a:gd name="connsiteX1" fmla="*/ 5689 w 890177"/>
                          <a:gd name="connsiteY1" fmla="*/ 125063 h 823566"/>
                          <a:gd name="connsiteX2" fmla="*/ 130606 w 890177"/>
                          <a:gd name="connsiteY2" fmla="*/ 146 h 823566"/>
                          <a:gd name="connsiteX3" fmla="*/ 890177 w 890177"/>
                          <a:gd name="connsiteY3" fmla="*/ 0 h 823566"/>
                        </a:gdLst>
                        <a:ahLst/>
                        <a:cxnLst>
                          <a:cxn ang="0">
                            <a:pos x="connsiteX0" y="connsiteY0"/>
                          </a:cxn>
                          <a:cxn ang="0">
                            <a:pos x="connsiteX1" y="connsiteY1"/>
                          </a:cxn>
                          <a:cxn ang="0">
                            <a:pos x="connsiteX2" y="connsiteY2"/>
                          </a:cxn>
                          <a:cxn ang="0">
                            <a:pos x="connsiteX3" y="connsiteY3"/>
                          </a:cxn>
                        </a:cxnLst>
                        <a:rect l="l" t="t" r="r" b="b"/>
                        <a:pathLst>
                          <a:path w="890177" h="823566">
                            <a:moveTo>
                              <a:pt x="0" y="823566"/>
                            </a:moveTo>
                            <a:cubicBezTo>
                              <a:pt x="1896" y="590732"/>
                              <a:pt x="3793" y="357897"/>
                              <a:pt x="5689" y="125063"/>
                            </a:cubicBezTo>
                            <a:cubicBezTo>
                              <a:pt x="5689" y="56073"/>
                              <a:pt x="61616" y="146"/>
                              <a:pt x="130606" y="146"/>
                            </a:cubicBezTo>
                            <a:lnTo>
                              <a:pt x="890177" y="0"/>
                            </a:lnTo>
                          </a:path>
                        </a:pathLst>
                      </a:custGeom>
                      <a:noFill/>
                      <a:ln w="19050" algn="ctr">
                        <a:solidFill>
                          <a:srgbClr val="00ABAB"/>
                        </a:solidFill>
                        <a:prstDash val="sysDot"/>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sp>
                    <p:nvSpPr>
                      <p:cNvPr id="913" name="Freeform 8">
                        <a:extLst>
                          <a:ext uri="{FF2B5EF4-FFF2-40B4-BE49-F238E27FC236}">
                            <a16:creationId xmlns:a16="http://schemas.microsoft.com/office/drawing/2014/main" id="{51FEF355-ACE9-4753-A59F-5F00400BC5F6}"/>
                          </a:ext>
                        </a:extLst>
                      </p:cNvPr>
                      <p:cNvSpPr>
                        <a:spLocks/>
                      </p:cNvSpPr>
                      <p:nvPr/>
                    </p:nvSpPr>
                    <p:spPr bwMode="auto">
                      <a:xfrm>
                        <a:off x="7590809" y="6001189"/>
                        <a:ext cx="63606" cy="63606"/>
                      </a:xfrm>
                      <a:custGeom>
                        <a:avLst/>
                        <a:gdLst>
                          <a:gd name="T0" fmla="*/ 46 w 46"/>
                          <a:gd name="T1" fmla="*/ 15 h 46"/>
                          <a:gd name="T2" fmla="*/ 31 w 46"/>
                          <a:gd name="T3" fmla="*/ 46 h 46"/>
                          <a:gd name="T4" fmla="*/ 0 w 46"/>
                          <a:gd name="T5" fmla="*/ 31 h 46"/>
                          <a:gd name="T6" fmla="*/ 15 w 46"/>
                          <a:gd name="T7" fmla="*/ 0 h 46"/>
                          <a:gd name="T8" fmla="*/ 46 w 46"/>
                          <a:gd name="T9" fmla="*/ 15 h 46"/>
                        </a:gdLst>
                        <a:ahLst/>
                        <a:cxnLst>
                          <a:cxn ang="0">
                            <a:pos x="T0" y="T1"/>
                          </a:cxn>
                          <a:cxn ang="0">
                            <a:pos x="T2" y="T3"/>
                          </a:cxn>
                          <a:cxn ang="0">
                            <a:pos x="T4" y="T5"/>
                          </a:cxn>
                          <a:cxn ang="0">
                            <a:pos x="T6" y="T7"/>
                          </a:cxn>
                          <a:cxn ang="0">
                            <a:pos x="T8" y="T9"/>
                          </a:cxn>
                        </a:cxnLst>
                        <a:rect l="0" t="0" r="r" b="b"/>
                        <a:pathLst>
                          <a:path w="46" h="46">
                            <a:moveTo>
                              <a:pt x="46" y="15"/>
                            </a:moveTo>
                            <a:lnTo>
                              <a:pt x="31" y="46"/>
                            </a:lnTo>
                            <a:lnTo>
                              <a:pt x="0" y="31"/>
                            </a:lnTo>
                            <a:lnTo>
                              <a:pt x="15" y="0"/>
                            </a:lnTo>
                            <a:lnTo>
                              <a:pt x="46" y="15"/>
                            </a:lnTo>
                            <a:close/>
                          </a:path>
                        </a:pathLst>
                      </a:custGeom>
                      <a:solidFill>
                        <a:srgbClr val="000000"/>
                      </a:solidFill>
                      <a:ln w="9525">
                        <a:solidFill>
                          <a:srgbClr val="FFFFFF"/>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grpSp>
                    <p:nvGrpSpPr>
                      <p:cNvPr id="914" name="Group 913">
                        <a:extLst>
                          <a:ext uri="{FF2B5EF4-FFF2-40B4-BE49-F238E27FC236}">
                            <a16:creationId xmlns:a16="http://schemas.microsoft.com/office/drawing/2014/main" id="{AFE64242-21A4-43B7-B4E3-43E7D6186828}"/>
                          </a:ext>
                        </a:extLst>
                      </p:cNvPr>
                      <p:cNvGrpSpPr/>
                      <p:nvPr/>
                    </p:nvGrpSpPr>
                    <p:grpSpPr>
                      <a:xfrm>
                        <a:off x="7730615" y="6017525"/>
                        <a:ext cx="268222" cy="45719"/>
                        <a:chOff x="13267244" y="1468053"/>
                        <a:chExt cx="353456" cy="60248"/>
                      </a:xfrm>
                      <a:solidFill>
                        <a:srgbClr val="000000"/>
                      </a:solidFill>
                    </p:grpSpPr>
                    <p:sp>
                      <p:nvSpPr>
                        <p:cNvPr id="915" name="Freeform 24">
                          <a:extLst>
                            <a:ext uri="{FF2B5EF4-FFF2-40B4-BE49-F238E27FC236}">
                              <a16:creationId xmlns:a16="http://schemas.microsoft.com/office/drawing/2014/main" id="{B80B43BA-E990-4611-B3C1-B2DC3F7795F1}"/>
                            </a:ext>
                          </a:extLst>
                        </p:cNvPr>
                        <p:cNvSpPr>
                          <a:spLocks/>
                        </p:cNvSpPr>
                        <p:nvPr/>
                      </p:nvSpPr>
                      <p:spPr bwMode="auto">
                        <a:xfrm>
                          <a:off x="13560452"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916" name="Freeform 25">
                          <a:extLst>
                            <a:ext uri="{FF2B5EF4-FFF2-40B4-BE49-F238E27FC236}">
                              <a16:creationId xmlns:a16="http://schemas.microsoft.com/office/drawing/2014/main" id="{C0E19C96-A674-4EC6-9982-7E77DE2C007A}"/>
                            </a:ext>
                          </a:extLst>
                        </p:cNvPr>
                        <p:cNvSpPr>
                          <a:spLocks/>
                        </p:cNvSpPr>
                        <p:nvPr/>
                      </p:nvSpPr>
                      <p:spPr bwMode="auto">
                        <a:xfrm>
                          <a:off x="13413847"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917" name="Freeform 26">
                          <a:extLst>
                            <a:ext uri="{FF2B5EF4-FFF2-40B4-BE49-F238E27FC236}">
                              <a16:creationId xmlns:a16="http://schemas.microsoft.com/office/drawing/2014/main" id="{08A9E9D6-8A7C-492A-A645-3F0DA0672C4A}"/>
                            </a:ext>
                          </a:extLst>
                        </p:cNvPr>
                        <p:cNvSpPr>
                          <a:spLocks/>
                        </p:cNvSpPr>
                        <p:nvPr/>
                      </p:nvSpPr>
                      <p:spPr bwMode="auto">
                        <a:xfrm>
                          <a:off x="13267244" y="1468053"/>
                          <a:ext cx="60248" cy="60248"/>
                        </a:xfrm>
                        <a:custGeom>
                          <a:avLst/>
                          <a:gdLst>
                            <a:gd name="T0" fmla="*/ 0 w 30"/>
                            <a:gd name="T1" fmla="*/ 15 h 30"/>
                            <a:gd name="T2" fmla="*/ 15 w 30"/>
                            <a:gd name="T3" fmla="*/ 0 h 30"/>
                            <a:gd name="T4" fmla="*/ 30 w 30"/>
                            <a:gd name="T5" fmla="*/ 15 h 30"/>
                            <a:gd name="T6" fmla="*/ 15 w 30"/>
                            <a:gd name="T7" fmla="*/ 30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lnTo>
                                <a:pt x="15" y="0"/>
                              </a:lnTo>
                              <a:lnTo>
                                <a:pt x="30" y="15"/>
                              </a:lnTo>
                              <a:lnTo>
                                <a:pt x="15" y="30"/>
                              </a:lnTo>
                              <a:lnTo>
                                <a:pt x="0" y="15"/>
                              </a:lnTo>
                              <a:close/>
                            </a:path>
                          </a:pathLst>
                        </a:custGeom>
                        <a:grpFill/>
                        <a:ln w="15875" cap="flat">
                          <a:solidFill>
                            <a:srgbClr val="75787B"/>
                          </a:solidFill>
                          <a:prstDash val="solid"/>
                          <a:miter lim="800000"/>
                          <a:headEnd/>
                          <a:tailEnd/>
                        </a:ln>
                      </p:spPr>
                      <p:txBody>
                        <a:bodyPr vert="horz" wrap="square" lIns="68746" tIns="34374" rIns="68746" bIns="34374" numCol="1" anchor="t" anchorCtr="0" compatLnSpc="1">
                          <a:prstTxWarp prst="textNoShape">
                            <a:avLst/>
                          </a:prstTxWarp>
                        </a:bodyPr>
                        <a:lstStyle/>
                        <a:p>
                          <a:endParaRPr lang="en-US" sz="1354" dirty="0"/>
                        </a:p>
                      </p:txBody>
                    </p:sp>
                  </p:grpSp>
                </p:grpSp>
                <p:grpSp>
                  <p:nvGrpSpPr>
                    <p:cNvPr id="909" name="Group 908">
                      <a:extLst>
                        <a:ext uri="{FF2B5EF4-FFF2-40B4-BE49-F238E27FC236}">
                          <a16:creationId xmlns:a16="http://schemas.microsoft.com/office/drawing/2014/main" id="{344CAAF4-AA62-4E8A-80B7-C35BD3787C7B}"/>
                        </a:ext>
                      </a:extLst>
                    </p:cNvPr>
                    <p:cNvGrpSpPr/>
                    <p:nvPr/>
                  </p:nvGrpSpPr>
                  <p:grpSpPr>
                    <a:xfrm>
                      <a:off x="8923091" y="5020516"/>
                      <a:ext cx="61047" cy="61792"/>
                      <a:chOff x="11477325" y="5164988"/>
                      <a:chExt cx="164679" cy="166688"/>
                    </a:xfrm>
                    <a:noFill/>
                  </p:grpSpPr>
                  <p:sp>
                    <p:nvSpPr>
                      <p:cNvPr id="910" name="Freeform 874">
                        <a:extLst>
                          <a:ext uri="{FF2B5EF4-FFF2-40B4-BE49-F238E27FC236}">
                            <a16:creationId xmlns:a16="http://schemas.microsoft.com/office/drawing/2014/main" id="{B1009946-F920-4929-ACF4-7A48A232638E}"/>
                          </a:ext>
                        </a:extLst>
                      </p:cNvPr>
                      <p:cNvSpPr>
                        <a:spLocks/>
                      </p:cNvSpPr>
                      <p:nvPr/>
                    </p:nvSpPr>
                    <p:spPr bwMode="auto">
                      <a:xfrm>
                        <a:off x="11477325" y="5164988"/>
                        <a:ext cx="164679" cy="166688"/>
                      </a:xfrm>
                      <a:custGeom>
                        <a:avLst/>
                        <a:gdLst>
                          <a:gd name="T0" fmla="*/ 0 w 66"/>
                          <a:gd name="T1" fmla="*/ 33 h 66"/>
                          <a:gd name="T2" fmla="*/ 33 w 66"/>
                          <a:gd name="T3" fmla="*/ 0 h 66"/>
                          <a:gd name="T4" fmla="*/ 66 w 66"/>
                          <a:gd name="T5" fmla="*/ 33 h 66"/>
                          <a:gd name="T6" fmla="*/ 33 w 66"/>
                          <a:gd name="T7" fmla="*/ 66 h 66"/>
                          <a:gd name="T8" fmla="*/ 0 w 66"/>
                          <a:gd name="T9" fmla="*/ 33 h 66"/>
                        </a:gdLst>
                        <a:ahLst/>
                        <a:cxnLst>
                          <a:cxn ang="0">
                            <a:pos x="T0" y="T1"/>
                          </a:cxn>
                          <a:cxn ang="0">
                            <a:pos x="T2" y="T3"/>
                          </a:cxn>
                          <a:cxn ang="0">
                            <a:pos x="T4" y="T5"/>
                          </a:cxn>
                          <a:cxn ang="0">
                            <a:pos x="T6" y="T7"/>
                          </a:cxn>
                          <a:cxn ang="0">
                            <a:pos x="T8" y="T9"/>
                          </a:cxn>
                        </a:cxnLst>
                        <a:rect l="0" t="0" r="r" b="b"/>
                        <a:pathLst>
                          <a:path w="66" h="66">
                            <a:moveTo>
                              <a:pt x="0" y="33"/>
                            </a:moveTo>
                            <a:cubicBezTo>
                              <a:pt x="16" y="24"/>
                              <a:pt x="26" y="15"/>
                              <a:pt x="33" y="0"/>
                            </a:cubicBezTo>
                            <a:cubicBezTo>
                              <a:pt x="40" y="15"/>
                              <a:pt x="50" y="24"/>
                              <a:pt x="66" y="33"/>
                            </a:cubicBezTo>
                            <a:cubicBezTo>
                              <a:pt x="50" y="42"/>
                              <a:pt x="40" y="51"/>
                              <a:pt x="33" y="66"/>
                            </a:cubicBezTo>
                            <a:cubicBezTo>
                              <a:pt x="26" y="51"/>
                              <a:pt x="16" y="42"/>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354" dirty="0"/>
                      </a:p>
                    </p:txBody>
                  </p:sp>
                  <p:sp>
                    <p:nvSpPr>
                      <p:cNvPr id="911" name="Freeform 875">
                        <a:extLst>
                          <a:ext uri="{FF2B5EF4-FFF2-40B4-BE49-F238E27FC236}">
                            <a16:creationId xmlns:a16="http://schemas.microsoft.com/office/drawing/2014/main" id="{D3B770A0-B339-4675-A270-B534C3E5BD55}"/>
                          </a:ext>
                        </a:extLst>
                      </p:cNvPr>
                      <p:cNvSpPr>
                        <a:spLocks/>
                      </p:cNvSpPr>
                      <p:nvPr/>
                    </p:nvSpPr>
                    <p:spPr bwMode="auto">
                      <a:xfrm>
                        <a:off x="11477325" y="5164988"/>
                        <a:ext cx="164679" cy="166688"/>
                      </a:xfrm>
                      <a:custGeom>
                        <a:avLst/>
                        <a:gdLst>
                          <a:gd name="T0" fmla="*/ 0 w 66"/>
                          <a:gd name="T1" fmla="*/ 33 h 66"/>
                          <a:gd name="T2" fmla="*/ 33 w 66"/>
                          <a:gd name="T3" fmla="*/ 0 h 66"/>
                          <a:gd name="T4" fmla="*/ 66 w 66"/>
                          <a:gd name="T5" fmla="*/ 33 h 66"/>
                          <a:gd name="T6" fmla="*/ 33 w 66"/>
                          <a:gd name="T7" fmla="*/ 66 h 66"/>
                          <a:gd name="T8" fmla="*/ 0 w 66"/>
                          <a:gd name="T9" fmla="*/ 33 h 66"/>
                        </a:gdLst>
                        <a:ahLst/>
                        <a:cxnLst>
                          <a:cxn ang="0">
                            <a:pos x="T0" y="T1"/>
                          </a:cxn>
                          <a:cxn ang="0">
                            <a:pos x="T2" y="T3"/>
                          </a:cxn>
                          <a:cxn ang="0">
                            <a:pos x="T4" y="T5"/>
                          </a:cxn>
                          <a:cxn ang="0">
                            <a:pos x="T6" y="T7"/>
                          </a:cxn>
                          <a:cxn ang="0">
                            <a:pos x="T8" y="T9"/>
                          </a:cxn>
                        </a:cxnLst>
                        <a:rect l="0" t="0" r="r" b="b"/>
                        <a:pathLst>
                          <a:path w="66" h="66">
                            <a:moveTo>
                              <a:pt x="0" y="33"/>
                            </a:moveTo>
                            <a:cubicBezTo>
                              <a:pt x="16" y="24"/>
                              <a:pt x="26" y="15"/>
                              <a:pt x="33" y="0"/>
                            </a:cubicBezTo>
                            <a:cubicBezTo>
                              <a:pt x="40" y="15"/>
                              <a:pt x="50" y="24"/>
                              <a:pt x="66" y="33"/>
                            </a:cubicBezTo>
                            <a:cubicBezTo>
                              <a:pt x="50" y="42"/>
                              <a:pt x="40" y="51"/>
                              <a:pt x="33" y="66"/>
                            </a:cubicBezTo>
                            <a:cubicBezTo>
                              <a:pt x="26" y="51"/>
                              <a:pt x="16" y="42"/>
                              <a:pt x="0" y="33"/>
                            </a:cubicBezTo>
                            <a:close/>
                          </a:path>
                        </a:pathLst>
                      </a:custGeom>
                      <a:grpFill/>
                      <a:ln w="15875" cap="flat">
                        <a:solidFill>
                          <a:srgbClr val="44566B"/>
                        </a:solidFill>
                        <a:prstDash val="solid"/>
                        <a:miter lim="800000"/>
                        <a:headEnd/>
                        <a:tailEnd/>
                      </a:ln>
                    </p:spPr>
                    <p:txBody>
                      <a:bodyPr vert="horz" wrap="square" lIns="68746" tIns="34374" rIns="68746" bIns="34374" numCol="1" anchor="t" anchorCtr="0" compatLnSpc="1">
                        <a:prstTxWarp prst="textNoShape">
                          <a:avLst/>
                        </a:prstTxWarp>
                      </a:bodyPr>
                      <a:lstStyle/>
                      <a:p>
                        <a:endParaRPr lang="en-US" sz="1354" dirty="0"/>
                      </a:p>
                    </p:txBody>
                  </p:sp>
                </p:grpSp>
              </p:grpSp>
            </p:grpSp>
            <p:grpSp>
              <p:nvGrpSpPr>
                <p:cNvPr id="895" name="Group 894">
                  <a:extLst>
                    <a:ext uri="{FF2B5EF4-FFF2-40B4-BE49-F238E27FC236}">
                      <a16:creationId xmlns:a16="http://schemas.microsoft.com/office/drawing/2014/main" id="{3706C7AF-DF8E-4F36-9F63-FEF21CED6819}"/>
                    </a:ext>
                  </a:extLst>
                </p:cNvPr>
                <p:cNvGrpSpPr/>
                <p:nvPr/>
              </p:nvGrpSpPr>
              <p:grpSpPr>
                <a:xfrm>
                  <a:off x="5009328" y="1439069"/>
                  <a:ext cx="1604306" cy="110141"/>
                  <a:chOff x="798768" y="2308608"/>
                  <a:chExt cx="5172818" cy="355131"/>
                </a:xfrm>
              </p:grpSpPr>
              <p:sp>
                <p:nvSpPr>
                  <p:cNvPr id="897" name="Rounded Rectangle 569">
                    <a:extLst>
                      <a:ext uri="{FF2B5EF4-FFF2-40B4-BE49-F238E27FC236}">
                        <a16:creationId xmlns:a16="http://schemas.microsoft.com/office/drawing/2014/main" id="{B3C8B401-71CC-4547-84B3-3FBB1722B8F6}"/>
                      </a:ext>
                    </a:extLst>
                  </p:cNvPr>
                  <p:cNvSpPr/>
                  <p:nvPr/>
                </p:nvSpPr>
                <p:spPr bwMode="gray">
                  <a:xfrm>
                    <a:off x="798768" y="2308608"/>
                    <a:ext cx="5172818" cy="355131"/>
                  </a:xfrm>
                  <a:prstGeom prst="roundRect">
                    <a:avLst>
                      <a:gd name="adj" fmla="val 10551"/>
                    </a:avLst>
                  </a:prstGeom>
                  <a:noFill/>
                  <a:ln w="9525" algn="ctr">
                    <a:solidFill>
                      <a:srgbClr val="00A1DE"/>
                    </a:solidFill>
                    <a:prstDash val="sysDot"/>
                    <a:miter lim="800000"/>
                    <a:headEnd/>
                    <a:tailEnd/>
                  </a:ln>
                </p:spPr>
                <p:txBody>
                  <a:bodyPr wrap="square" lIns="66836" tIns="66836" rIns="66836" bIns="66836" rtlCol="0" anchor="ctr"/>
                  <a:lstStyle/>
                  <a:p>
                    <a:pPr algn="ctr">
                      <a:lnSpc>
                        <a:spcPct val="106000"/>
                      </a:lnSpc>
                      <a:buFont typeface="Wingdings 2" pitchFamily="18" charset="2"/>
                      <a:buNone/>
                    </a:pPr>
                    <a:endParaRPr lang="en-US" sz="1203" b="1" dirty="0">
                      <a:solidFill>
                        <a:schemeClr val="bg1"/>
                      </a:solidFill>
                    </a:endParaRPr>
                  </a:p>
                </p:txBody>
              </p:sp>
              <p:grpSp>
                <p:nvGrpSpPr>
                  <p:cNvPr id="898" name="Group 897">
                    <a:extLst>
                      <a:ext uri="{FF2B5EF4-FFF2-40B4-BE49-F238E27FC236}">
                        <a16:creationId xmlns:a16="http://schemas.microsoft.com/office/drawing/2014/main" id="{70339BAD-823C-4DC0-B6E5-7F2F4D54D3F1}"/>
                      </a:ext>
                    </a:extLst>
                  </p:cNvPr>
                  <p:cNvGrpSpPr/>
                  <p:nvPr/>
                </p:nvGrpSpPr>
                <p:grpSpPr>
                  <a:xfrm rot="2700000" flipH="1" flipV="1">
                    <a:off x="5832079" y="2533365"/>
                    <a:ext cx="89632" cy="90751"/>
                    <a:chOff x="9987239" y="5621210"/>
                    <a:chExt cx="110620" cy="112002"/>
                  </a:xfrm>
                </p:grpSpPr>
                <p:sp>
                  <p:nvSpPr>
                    <p:cNvPr id="900" name="Line 20">
                      <a:extLst>
                        <a:ext uri="{FF2B5EF4-FFF2-40B4-BE49-F238E27FC236}">
                          <a16:creationId xmlns:a16="http://schemas.microsoft.com/office/drawing/2014/main" id="{D47E6FA9-2413-437A-916B-9C95F78E76F9}"/>
                        </a:ext>
                      </a:extLst>
                    </p:cNvPr>
                    <p:cNvSpPr>
                      <a:spLocks noChangeShapeType="1"/>
                    </p:cNvSpPr>
                    <p:nvPr/>
                  </p:nvSpPr>
                  <p:spPr bwMode="auto">
                    <a:xfrm>
                      <a:off x="10042549" y="5621210"/>
                      <a:ext cx="0" cy="31804"/>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901" name="Line 21">
                      <a:extLst>
                        <a:ext uri="{FF2B5EF4-FFF2-40B4-BE49-F238E27FC236}">
                          <a16:creationId xmlns:a16="http://schemas.microsoft.com/office/drawing/2014/main" id="{1964421F-0F6C-45E3-9C89-DD5DD5694B58}"/>
                        </a:ext>
                      </a:extLst>
                    </p:cNvPr>
                    <p:cNvSpPr>
                      <a:spLocks noChangeShapeType="1"/>
                    </p:cNvSpPr>
                    <p:nvPr/>
                  </p:nvSpPr>
                  <p:spPr bwMode="auto">
                    <a:xfrm>
                      <a:off x="10042549" y="5700026"/>
                      <a:ext cx="0" cy="33186"/>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902" name="Line 22">
                      <a:extLst>
                        <a:ext uri="{FF2B5EF4-FFF2-40B4-BE49-F238E27FC236}">
                          <a16:creationId xmlns:a16="http://schemas.microsoft.com/office/drawing/2014/main" id="{005BCEE8-34AC-4320-B673-F06F231357AD}"/>
                        </a:ext>
                      </a:extLst>
                    </p:cNvPr>
                    <p:cNvSpPr>
                      <a:spLocks noChangeShapeType="1"/>
                    </p:cNvSpPr>
                    <p:nvPr/>
                  </p:nvSpPr>
                  <p:spPr bwMode="auto">
                    <a:xfrm flipH="1">
                      <a:off x="10064673"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903" name="Line 23">
                      <a:extLst>
                        <a:ext uri="{FF2B5EF4-FFF2-40B4-BE49-F238E27FC236}">
                          <a16:creationId xmlns:a16="http://schemas.microsoft.com/office/drawing/2014/main" id="{333C223E-4C37-4D43-BB2F-A452D20A6F0A}"/>
                        </a:ext>
                      </a:extLst>
                    </p:cNvPr>
                    <p:cNvSpPr>
                      <a:spLocks noChangeShapeType="1"/>
                    </p:cNvSpPr>
                    <p:nvPr/>
                  </p:nvSpPr>
                  <p:spPr bwMode="auto">
                    <a:xfrm flipH="1">
                      <a:off x="9987239" y="5676520"/>
                      <a:ext cx="33186" cy="0"/>
                    </a:xfrm>
                    <a:prstGeom prst="line">
                      <a:avLst/>
                    </a:prstGeom>
                    <a:noFill/>
                    <a:ln w="7938"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746" tIns="34374" rIns="68746" bIns="34374" numCol="1" anchor="t" anchorCtr="0" compatLnSpc="1">
                      <a:prstTxWarp prst="textNoShape">
                        <a:avLst/>
                      </a:prstTxWarp>
                    </a:bodyPr>
                    <a:lstStyle/>
                    <a:p>
                      <a:endParaRPr lang="en-US" sz="1354" dirty="0"/>
                    </a:p>
                  </p:txBody>
                </p:sp>
              </p:grpSp>
              <p:sp>
                <p:nvSpPr>
                  <p:cNvPr id="899" name="Freeform 8">
                    <a:extLst>
                      <a:ext uri="{FF2B5EF4-FFF2-40B4-BE49-F238E27FC236}">
                        <a16:creationId xmlns:a16="http://schemas.microsoft.com/office/drawing/2014/main" id="{E1C81D2D-3547-4777-B560-042E3D725A4B}"/>
                      </a:ext>
                    </a:extLst>
                  </p:cNvPr>
                  <p:cNvSpPr>
                    <a:spLocks/>
                  </p:cNvSpPr>
                  <p:nvPr/>
                </p:nvSpPr>
                <p:spPr bwMode="auto">
                  <a:xfrm flipH="1" flipV="1">
                    <a:off x="868600" y="2349295"/>
                    <a:ext cx="58373" cy="58374"/>
                  </a:xfrm>
                  <a:custGeom>
                    <a:avLst/>
                    <a:gdLst>
                      <a:gd name="T0" fmla="*/ 46 w 46"/>
                      <a:gd name="T1" fmla="*/ 15 h 46"/>
                      <a:gd name="T2" fmla="*/ 31 w 46"/>
                      <a:gd name="T3" fmla="*/ 46 h 46"/>
                      <a:gd name="T4" fmla="*/ 0 w 46"/>
                      <a:gd name="T5" fmla="*/ 31 h 46"/>
                      <a:gd name="T6" fmla="*/ 15 w 46"/>
                      <a:gd name="T7" fmla="*/ 0 h 46"/>
                      <a:gd name="T8" fmla="*/ 46 w 46"/>
                      <a:gd name="T9" fmla="*/ 15 h 46"/>
                    </a:gdLst>
                    <a:ahLst/>
                    <a:cxnLst>
                      <a:cxn ang="0">
                        <a:pos x="T0" y="T1"/>
                      </a:cxn>
                      <a:cxn ang="0">
                        <a:pos x="T2" y="T3"/>
                      </a:cxn>
                      <a:cxn ang="0">
                        <a:pos x="T4" y="T5"/>
                      </a:cxn>
                      <a:cxn ang="0">
                        <a:pos x="T6" y="T7"/>
                      </a:cxn>
                      <a:cxn ang="0">
                        <a:pos x="T8" y="T9"/>
                      </a:cxn>
                    </a:cxnLst>
                    <a:rect l="0" t="0" r="r" b="b"/>
                    <a:pathLst>
                      <a:path w="46" h="46">
                        <a:moveTo>
                          <a:pt x="46" y="15"/>
                        </a:moveTo>
                        <a:lnTo>
                          <a:pt x="31" y="46"/>
                        </a:lnTo>
                        <a:lnTo>
                          <a:pt x="0" y="31"/>
                        </a:lnTo>
                        <a:lnTo>
                          <a:pt x="15" y="0"/>
                        </a:lnTo>
                        <a:lnTo>
                          <a:pt x="46" y="15"/>
                        </a:lnTo>
                        <a:close/>
                      </a:path>
                    </a:pathLst>
                  </a:custGeom>
                  <a:solidFill>
                    <a:srgbClr val="000000"/>
                  </a:solidFill>
                  <a:ln w="9525">
                    <a:solidFill>
                      <a:srgbClr val="FFFFFF"/>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grpSp>
            <p:cxnSp>
              <p:nvCxnSpPr>
                <p:cNvPr id="896" name="Straight Connector 895">
                  <a:extLst>
                    <a:ext uri="{FF2B5EF4-FFF2-40B4-BE49-F238E27FC236}">
                      <a16:creationId xmlns:a16="http://schemas.microsoft.com/office/drawing/2014/main" id="{18996AC0-2BE7-47FF-AD40-E159CFE0E241}"/>
                    </a:ext>
                  </a:extLst>
                </p:cNvPr>
                <p:cNvCxnSpPr/>
                <p:nvPr/>
              </p:nvCxnSpPr>
              <p:spPr>
                <a:xfrm>
                  <a:off x="5090319" y="1490472"/>
                  <a:ext cx="1377397" cy="0"/>
                </a:xfrm>
                <a:prstGeom prst="line">
                  <a:avLst/>
                </a:prstGeom>
                <a:ln w="9525">
                  <a:solidFill>
                    <a:srgbClr val="00A3E0"/>
                  </a:solidFill>
                </a:ln>
              </p:spPr>
              <p:style>
                <a:lnRef idx="1">
                  <a:schemeClr val="accent1"/>
                </a:lnRef>
                <a:fillRef idx="0">
                  <a:schemeClr val="accent1"/>
                </a:fillRef>
                <a:effectRef idx="0">
                  <a:schemeClr val="accent1"/>
                </a:effectRef>
                <a:fontRef idx="minor">
                  <a:schemeClr val="tx1"/>
                </a:fontRef>
              </p:style>
            </p:cxnSp>
          </p:grpSp>
          <p:grpSp>
            <p:nvGrpSpPr>
              <p:cNvPr id="879" name="Group 878">
                <a:extLst>
                  <a:ext uri="{FF2B5EF4-FFF2-40B4-BE49-F238E27FC236}">
                    <a16:creationId xmlns:a16="http://schemas.microsoft.com/office/drawing/2014/main" id="{5A499E0E-BF09-41AB-B1A3-25E2638A9DEB}"/>
                  </a:ext>
                </a:extLst>
              </p:cNvPr>
              <p:cNvGrpSpPr/>
              <p:nvPr/>
            </p:nvGrpSpPr>
            <p:grpSpPr>
              <a:xfrm>
                <a:off x="4836112" y="1705964"/>
                <a:ext cx="1524000" cy="841685"/>
                <a:chOff x="7071519" y="3039269"/>
                <a:chExt cx="1524000" cy="841685"/>
              </a:xfrm>
            </p:grpSpPr>
            <p:sp>
              <p:nvSpPr>
                <p:cNvPr id="880" name="Freeform 844">
                  <a:extLst>
                    <a:ext uri="{FF2B5EF4-FFF2-40B4-BE49-F238E27FC236}">
                      <a16:creationId xmlns:a16="http://schemas.microsoft.com/office/drawing/2014/main" id="{0D47EDB8-A297-4D62-89B2-7657E5DB37DE}"/>
                    </a:ext>
                  </a:extLst>
                </p:cNvPr>
                <p:cNvSpPr/>
                <p:nvPr/>
              </p:nvSpPr>
              <p:spPr bwMode="gray">
                <a:xfrm>
                  <a:off x="7223919" y="3039269"/>
                  <a:ext cx="1193800" cy="628650"/>
                </a:xfrm>
                <a:custGeom>
                  <a:avLst/>
                  <a:gdLst>
                    <a:gd name="connsiteX0" fmla="*/ 0 w 1193800"/>
                    <a:gd name="connsiteY0" fmla="*/ 0 h 628650"/>
                    <a:gd name="connsiteX1" fmla="*/ 101600 w 1193800"/>
                    <a:gd name="connsiteY1" fmla="*/ 12700 h 628650"/>
                    <a:gd name="connsiteX2" fmla="*/ 146050 w 1193800"/>
                    <a:gd name="connsiteY2" fmla="*/ 25400 h 628650"/>
                    <a:gd name="connsiteX3" fmla="*/ 393700 w 1193800"/>
                    <a:gd name="connsiteY3" fmla="*/ 31750 h 628650"/>
                    <a:gd name="connsiteX4" fmla="*/ 419100 w 1193800"/>
                    <a:gd name="connsiteY4" fmla="*/ 76200 h 628650"/>
                    <a:gd name="connsiteX5" fmla="*/ 438150 w 1193800"/>
                    <a:gd name="connsiteY5" fmla="*/ 101600 h 628650"/>
                    <a:gd name="connsiteX6" fmla="*/ 450850 w 1193800"/>
                    <a:gd name="connsiteY6" fmla="*/ 127000 h 628650"/>
                    <a:gd name="connsiteX7" fmla="*/ 476250 w 1193800"/>
                    <a:gd name="connsiteY7" fmla="*/ 165100 h 628650"/>
                    <a:gd name="connsiteX8" fmla="*/ 488950 w 1193800"/>
                    <a:gd name="connsiteY8" fmla="*/ 184150 h 628650"/>
                    <a:gd name="connsiteX9" fmla="*/ 501650 w 1193800"/>
                    <a:gd name="connsiteY9" fmla="*/ 209550 h 628650"/>
                    <a:gd name="connsiteX10" fmla="*/ 527050 w 1193800"/>
                    <a:gd name="connsiteY10" fmla="*/ 234950 h 628650"/>
                    <a:gd name="connsiteX11" fmla="*/ 546100 w 1193800"/>
                    <a:gd name="connsiteY11" fmla="*/ 266700 h 628650"/>
                    <a:gd name="connsiteX12" fmla="*/ 565150 w 1193800"/>
                    <a:gd name="connsiteY12" fmla="*/ 285750 h 628650"/>
                    <a:gd name="connsiteX13" fmla="*/ 596900 w 1193800"/>
                    <a:gd name="connsiteY13" fmla="*/ 330200 h 628650"/>
                    <a:gd name="connsiteX14" fmla="*/ 622300 w 1193800"/>
                    <a:gd name="connsiteY14" fmla="*/ 349250 h 628650"/>
                    <a:gd name="connsiteX15" fmla="*/ 647700 w 1193800"/>
                    <a:gd name="connsiteY15" fmla="*/ 374650 h 628650"/>
                    <a:gd name="connsiteX16" fmla="*/ 692150 w 1193800"/>
                    <a:gd name="connsiteY16" fmla="*/ 406400 h 628650"/>
                    <a:gd name="connsiteX17" fmla="*/ 736600 w 1193800"/>
                    <a:gd name="connsiteY17" fmla="*/ 425450 h 628650"/>
                    <a:gd name="connsiteX18" fmla="*/ 774700 w 1193800"/>
                    <a:gd name="connsiteY18" fmla="*/ 431800 h 628650"/>
                    <a:gd name="connsiteX19" fmla="*/ 800100 w 1193800"/>
                    <a:gd name="connsiteY19" fmla="*/ 438150 h 628650"/>
                    <a:gd name="connsiteX20" fmla="*/ 819150 w 1193800"/>
                    <a:gd name="connsiteY20" fmla="*/ 444500 h 628650"/>
                    <a:gd name="connsiteX21" fmla="*/ 908050 w 1193800"/>
                    <a:gd name="connsiteY21" fmla="*/ 457200 h 628650"/>
                    <a:gd name="connsiteX22" fmla="*/ 933450 w 1193800"/>
                    <a:gd name="connsiteY22" fmla="*/ 476250 h 628650"/>
                    <a:gd name="connsiteX23" fmla="*/ 946150 w 1193800"/>
                    <a:gd name="connsiteY23" fmla="*/ 495300 h 628650"/>
                    <a:gd name="connsiteX24" fmla="*/ 996950 w 1193800"/>
                    <a:gd name="connsiteY24" fmla="*/ 520700 h 628650"/>
                    <a:gd name="connsiteX25" fmla="*/ 1047750 w 1193800"/>
                    <a:gd name="connsiteY25" fmla="*/ 558800 h 628650"/>
                    <a:gd name="connsiteX26" fmla="*/ 1085850 w 1193800"/>
                    <a:gd name="connsiteY26" fmla="*/ 584200 h 628650"/>
                    <a:gd name="connsiteX27" fmla="*/ 1136650 w 1193800"/>
                    <a:gd name="connsiteY27" fmla="*/ 603250 h 628650"/>
                    <a:gd name="connsiteX28" fmla="*/ 1174750 w 1193800"/>
                    <a:gd name="connsiteY28" fmla="*/ 615950 h 628650"/>
                    <a:gd name="connsiteX29" fmla="*/ 1193800 w 1193800"/>
                    <a:gd name="connsiteY29" fmla="*/ 628650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93800" h="628650">
                      <a:moveTo>
                        <a:pt x="0" y="0"/>
                      </a:moveTo>
                      <a:cubicBezTo>
                        <a:pt x="28460" y="2846"/>
                        <a:pt x="71479" y="5749"/>
                        <a:pt x="101600" y="12700"/>
                      </a:cubicBezTo>
                      <a:cubicBezTo>
                        <a:pt x="116615" y="16165"/>
                        <a:pt x="130673" y="24397"/>
                        <a:pt x="146050" y="25400"/>
                      </a:cubicBezTo>
                      <a:cubicBezTo>
                        <a:pt x="228452" y="30774"/>
                        <a:pt x="311150" y="29633"/>
                        <a:pt x="393700" y="31750"/>
                      </a:cubicBezTo>
                      <a:cubicBezTo>
                        <a:pt x="406102" y="56554"/>
                        <a:pt x="404141" y="55257"/>
                        <a:pt x="419100" y="76200"/>
                      </a:cubicBezTo>
                      <a:cubicBezTo>
                        <a:pt x="425251" y="84812"/>
                        <a:pt x="432541" y="92625"/>
                        <a:pt x="438150" y="101600"/>
                      </a:cubicBezTo>
                      <a:cubicBezTo>
                        <a:pt x="443167" y="109627"/>
                        <a:pt x="445980" y="118883"/>
                        <a:pt x="450850" y="127000"/>
                      </a:cubicBezTo>
                      <a:cubicBezTo>
                        <a:pt x="458703" y="140088"/>
                        <a:pt x="467783" y="152400"/>
                        <a:pt x="476250" y="165100"/>
                      </a:cubicBezTo>
                      <a:cubicBezTo>
                        <a:pt x="480483" y="171450"/>
                        <a:pt x="485537" y="177324"/>
                        <a:pt x="488950" y="184150"/>
                      </a:cubicBezTo>
                      <a:cubicBezTo>
                        <a:pt x="493183" y="192617"/>
                        <a:pt x="495970" y="201977"/>
                        <a:pt x="501650" y="209550"/>
                      </a:cubicBezTo>
                      <a:cubicBezTo>
                        <a:pt x="508834" y="219129"/>
                        <a:pt x="519699" y="225499"/>
                        <a:pt x="527050" y="234950"/>
                      </a:cubicBezTo>
                      <a:cubicBezTo>
                        <a:pt x="534627" y="244692"/>
                        <a:pt x="538695" y="256826"/>
                        <a:pt x="546100" y="266700"/>
                      </a:cubicBezTo>
                      <a:cubicBezTo>
                        <a:pt x="551488" y="273884"/>
                        <a:pt x="559401" y="278851"/>
                        <a:pt x="565150" y="285750"/>
                      </a:cubicBezTo>
                      <a:cubicBezTo>
                        <a:pt x="583178" y="307383"/>
                        <a:pt x="574024" y="307324"/>
                        <a:pt x="596900" y="330200"/>
                      </a:cubicBezTo>
                      <a:cubicBezTo>
                        <a:pt x="604384" y="337684"/>
                        <a:pt x="614335" y="342281"/>
                        <a:pt x="622300" y="349250"/>
                      </a:cubicBezTo>
                      <a:cubicBezTo>
                        <a:pt x="631311" y="357135"/>
                        <a:pt x="638689" y="366765"/>
                        <a:pt x="647700" y="374650"/>
                      </a:cubicBezTo>
                      <a:cubicBezTo>
                        <a:pt x="654114" y="380262"/>
                        <a:pt x="682388" y="400822"/>
                        <a:pt x="692150" y="406400"/>
                      </a:cubicBezTo>
                      <a:cubicBezTo>
                        <a:pt x="704504" y="413459"/>
                        <a:pt x="722028" y="422212"/>
                        <a:pt x="736600" y="425450"/>
                      </a:cubicBezTo>
                      <a:cubicBezTo>
                        <a:pt x="749169" y="428243"/>
                        <a:pt x="762075" y="429275"/>
                        <a:pt x="774700" y="431800"/>
                      </a:cubicBezTo>
                      <a:cubicBezTo>
                        <a:pt x="783258" y="433512"/>
                        <a:pt x="791709" y="435752"/>
                        <a:pt x="800100" y="438150"/>
                      </a:cubicBezTo>
                      <a:cubicBezTo>
                        <a:pt x="806536" y="439989"/>
                        <a:pt x="812558" y="443337"/>
                        <a:pt x="819150" y="444500"/>
                      </a:cubicBezTo>
                      <a:cubicBezTo>
                        <a:pt x="848629" y="449702"/>
                        <a:pt x="878417" y="452967"/>
                        <a:pt x="908050" y="457200"/>
                      </a:cubicBezTo>
                      <a:cubicBezTo>
                        <a:pt x="916517" y="463550"/>
                        <a:pt x="925966" y="468766"/>
                        <a:pt x="933450" y="476250"/>
                      </a:cubicBezTo>
                      <a:cubicBezTo>
                        <a:pt x="938846" y="481646"/>
                        <a:pt x="939898" y="490923"/>
                        <a:pt x="946150" y="495300"/>
                      </a:cubicBezTo>
                      <a:cubicBezTo>
                        <a:pt x="961660" y="506157"/>
                        <a:pt x="996950" y="520700"/>
                        <a:pt x="996950" y="520700"/>
                      </a:cubicBezTo>
                      <a:cubicBezTo>
                        <a:pt x="1029966" y="564721"/>
                        <a:pt x="998498" y="531935"/>
                        <a:pt x="1047750" y="558800"/>
                      </a:cubicBezTo>
                      <a:cubicBezTo>
                        <a:pt x="1061150" y="566109"/>
                        <a:pt x="1071370" y="579373"/>
                        <a:pt x="1085850" y="584200"/>
                      </a:cubicBezTo>
                      <a:cubicBezTo>
                        <a:pt x="1142466" y="603072"/>
                        <a:pt x="1053128" y="572878"/>
                        <a:pt x="1136650" y="603250"/>
                      </a:cubicBezTo>
                      <a:cubicBezTo>
                        <a:pt x="1149231" y="607825"/>
                        <a:pt x="1163611" y="608524"/>
                        <a:pt x="1174750" y="615950"/>
                      </a:cubicBezTo>
                      <a:lnTo>
                        <a:pt x="1193800" y="628650"/>
                      </a:lnTo>
                    </a:path>
                  </a:pathLst>
                </a:custGeom>
                <a:noFill/>
                <a:ln w="19050" algn="ctr">
                  <a:solidFill>
                    <a:srgbClr val="86BC25"/>
                  </a:solidFill>
                  <a:miter lim="800000"/>
                  <a:headEnd/>
                  <a:tailEnd/>
                </a:ln>
              </p:spPr>
              <p:txBody>
                <a:bodyPr rtlCol="0" anchor="ctr"/>
                <a:lstStyle/>
                <a:p>
                  <a:pPr algn="ctr"/>
                  <a:endParaRPr lang="en-US" sz="1354" dirty="0"/>
                </a:p>
              </p:txBody>
            </p:sp>
            <p:cxnSp>
              <p:nvCxnSpPr>
                <p:cNvPr id="881" name="Straight Connector 880">
                  <a:extLst>
                    <a:ext uri="{FF2B5EF4-FFF2-40B4-BE49-F238E27FC236}">
                      <a16:creationId xmlns:a16="http://schemas.microsoft.com/office/drawing/2014/main" id="{70751CAD-3F03-455D-80AE-3310456D9266}"/>
                    </a:ext>
                  </a:extLst>
                </p:cNvPr>
                <p:cNvCxnSpPr>
                  <a:stCxn id="880" idx="0"/>
                  <a:endCxn id="880" idx="27"/>
                </p:cNvCxnSpPr>
                <p:nvPr/>
              </p:nvCxnSpPr>
              <p:spPr>
                <a:xfrm>
                  <a:off x="7223919" y="3039269"/>
                  <a:ext cx="1136650" cy="60325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882" name="Straight Connector 881">
                  <a:extLst>
                    <a:ext uri="{FF2B5EF4-FFF2-40B4-BE49-F238E27FC236}">
                      <a16:creationId xmlns:a16="http://schemas.microsoft.com/office/drawing/2014/main" id="{3EE19E51-F7E4-4FB2-93F4-EE1C9136178C}"/>
                    </a:ext>
                  </a:extLst>
                </p:cNvPr>
                <p:cNvCxnSpPr/>
                <p:nvPr/>
              </p:nvCxnSpPr>
              <p:spPr>
                <a:xfrm flipH="1">
                  <a:off x="7071519" y="3667919"/>
                  <a:ext cx="152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3" name="Straight Connector 882">
                  <a:extLst>
                    <a:ext uri="{FF2B5EF4-FFF2-40B4-BE49-F238E27FC236}">
                      <a16:creationId xmlns:a16="http://schemas.microsoft.com/office/drawing/2014/main" id="{613848C0-E3BF-42D6-ACA2-4191DC98A771}"/>
                    </a:ext>
                  </a:extLst>
                </p:cNvPr>
                <p:cNvCxnSpPr/>
                <p:nvPr/>
              </p:nvCxnSpPr>
              <p:spPr>
                <a:xfrm>
                  <a:off x="70715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4" name="Straight Connector 883">
                  <a:extLst>
                    <a:ext uri="{FF2B5EF4-FFF2-40B4-BE49-F238E27FC236}">
                      <a16:creationId xmlns:a16="http://schemas.microsoft.com/office/drawing/2014/main" id="{CCA7F7A5-DC39-4508-904C-A68B2DC499C0}"/>
                    </a:ext>
                  </a:extLst>
                </p:cNvPr>
                <p:cNvCxnSpPr/>
                <p:nvPr/>
              </p:nvCxnSpPr>
              <p:spPr>
                <a:xfrm>
                  <a:off x="7223919" y="3668713"/>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5" name="Straight Connector 884">
                  <a:extLst>
                    <a:ext uri="{FF2B5EF4-FFF2-40B4-BE49-F238E27FC236}">
                      <a16:creationId xmlns:a16="http://schemas.microsoft.com/office/drawing/2014/main" id="{DE544814-B343-4FEC-9B6C-A624F19C7B4D}"/>
                    </a:ext>
                  </a:extLst>
                </p:cNvPr>
                <p:cNvCxnSpPr/>
                <p:nvPr/>
              </p:nvCxnSpPr>
              <p:spPr>
                <a:xfrm>
                  <a:off x="73763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6" name="Straight Connector 885">
                  <a:extLst>
                    <a:ext uri="{FF2B5EF4-FFF2-40B4-BE49-F238E27FC236}">
                      <a16:creationId xmlns:a16="http://schemas.microsoft.com/office/drawing/2014/main" id="{1D18352E-7EA4-428B-971D-FE652801809A}"/>
                    </a:ext>
                  </a:extLst>
                </p:cNvPr>
                <p:cNvCxnSpPr/>
                <p:nvPr/>
              </p:nvCxnSpPr>
              <p:spPr>
                <a:xfrm>
                  <a:off x="7528719" y="3671404"/>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7" name="Straight Connector 886">
                  <a:extLst>
                    <a:ext uri="{FF2B5EF4-FFF2-40B4-BE49-F238E27FC236}">
                      <a16:creationId xmlns:a16="http://schemas.microsoft.com/office/drawing/2014/main" id="{BD273A24-7AFC-4437-8ED1-FD1B8C822485}"/>
                    </a:ext>
                  </a:extLst>
                </p:cNvPr>
                <p:cNvCxnSpPr/>
                <p:nvPr/>
              </p:nvCxnSpPr>
              <p:spPr>
                <a:xfrm>
                  <a:off x="76811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8" name="Straight Connector 887">
                  <a:extLst>
                    <a:ext uri="{FF2B5EF4-FFF2-40B4-BE49-F238E27FC236}">
                      <a16:creationId xmlns:a16="http://schemas.microsoft.com/office/drawing/2014/main" id="{6468D5DD-AF84-4137-8BCC-47C4B85E5696}"/>
                    </a:ext>
                  </a:extLst>
                </p:cNvPr>
                <p:cNvCxnSpPr/>
                <p:nvPr/>
              </p:nvCxnSpPr>
              <p:spPr>
                <a:xfrm>
                  <a:off x="78335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9" name="Straight Connector 888">
                  <a:extLst>
                    <a:ext uri="{FF2B5EF4-FFF2-40B4-BE49-F238E27FC236}">
                      <a16:creationId xmlns:a16="http://schemas.microsoft.com/office/drawing/2014/main" id="{420EAB17-4ABF-4990-A01E-463FA9B1AB89}"/>
                    </a:ext>
                  </a:extLst>
                </p:cNvPr>
                <p:cNvCxnSpPr/>
                <p:nvPr/>
              </p:nvCxnSpPr>
              <p:spPr>
                <a:xfrm>
                  <a:off x="79859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0" name="Straight Connector 889">
                  <a:extLst>
                    <a:ext uri="{FF2B5EF4-FFF2-40B4-BE49-F238E27FC236}">
                      <a16:creationId xmlns:a16="http://schemas.microsoft.com/office/drawing/2014/main" id="{53A87373-CB78-4E27-B7D2-6F5626384924}"/>
                    </a:ext>
                  </a:extLst>
                </p:cNvPr>
                <p:cNvCxnSpPr/>
                <p:nvPr/>
              </p:nvCxnSpPr>
              <p:spPr>
                <a:xfrm>
                  <a:off x="81383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EAFD2E7C-9560-4F72-A62D-7904762A4100}"/>
                    </a:ext>
                  </a:extLst>
                </p:cNvPr>
                <p:cNvCxnSpPr/>
                <p:nvPr/>
              </p:nvCxnSpPr>
              <p:spPr>
                <a:xfrm>
                  <a:off x="8290719"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2" name="Straight Connector 891">
                  <a:extLst>
                    <a:ext uri="{FF2B5EF4-FFF2-40B4-BE49-F238E27FC236}">
                      <a16:creationId xmlns:a16="http://schemas.microsoft.com/office/drawing/2014/main" id="{9358843B-C576-4940-B949-5D582C82B618}"/>
                    </a:ext>
                  </a:extLst>
                </p:cNvPr>
                <p:cNvCxnSpPr/>
                <p:nvPr/>
              </p:nvCxnSpPr>
              <p:spPr>
                <a:xfrm>
                  <a:off x="8421688"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3" name="Straight Connector 892">
                  <a:extLst>
                    <a:ext uri="{FF2B5EF4-FFF2-40B4-BE49-F238E27FC236}">
                      <a16:creationId xmlns:a16="http://schemas.microsoft.com/office/drawing/2014/main" id="{7A1C8CF4-B316-4A76-9D93-EBF7C48A8113}"/>
                    </a:ext>
                  </a:extLst>
                </p:cNvPr>
                <p:cNvCxnSpPr/>
                <p:nvPr/>
              </p:nvCxnSpPr>
              <p:spPr>
                <a:xfrm>
                  <a:off x="8578057" y="3667919"/>
                  <a:ext cx="0" cy="209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877" name="Rectangle 876">
              <a:extLst>
                <a:ext uri="{FF2B5EF4-FFF2-40B4-BE49-F238E27FC236}">
                  <a16:creationId xmlns:a16="http://schemas.microsoft.com/office/drawing/2014/main" id="{A2B6882B-9697-4B7A-878A-F155E9498DC1}"/>
                </a:ext>
              </a:extLst>
            </p:cNvPr>
            <p:cNvSpPr/>
            <p:nvPr/>
          </p:nvSpPr>
          <p:spPr>
            <a:xfrm>
              <a:off x="10587376" y="4370014"/>
              <a:ext cx="1115908" cy="277463"/>
            </a:xfrm>
            <a:prstGeom prst="rect">
              <a:avLst/>
            </a:prstGeom>
          </p:spPr>
          <p:txBody>
            <a:bodyPr wrap="square">
              <a:spAutoFit/>
            </a:bodyPr>
            <a:lstStyle/>
            <a:p>
              <a:pPr algn="ctr"/>
              <a:r>
                <a:rPr lang="en-US" sz="752" b="1" dirty="0"/>
                <a:t>Burndown Chart</a:t>
              </a:r>
            </a:p>
          </p:txBody>
        </p:sp>
      </p:grpSp>
      <p:grpSp>
        <p:nvGrpSpPr>
          <p:cNvPr id="924" name="Group 923">
            <a:extLst>
              <a:ext uri="{FF2B5EF4-FFF2-40B4-BE49-F238E27FC236}">
                <a16:creationId xmlns:a16="http://schemas.microsoft.com/office/drawing/2014/main" id="{7DEDE571-67D4-43DC-B544-F6C1176F49B1}"/>
              </a:ext>
            </a:extLst>
          </p:cNvPr>
          <p:cNvGrpSpPr/>
          <p:nvPr/>
        </p:nvGrpSpPr>
        <p:grpSpPr>
          <a:xfrm>
            <a:off x="5043334" y="3427582"/>
            <a:ext cx="537071" cy="735244"/>
            <a:chOff x="8545699" y="784921"/>
            <a:chExt cx="478771" cy="655434"/>
          </a:xfrm>
        </p:grpSpPr>
        <p:sp>
          <p:nvSpPr>
            <p:cNvPr id="925" name="Rectangle 924">
              <a:extLst>
                <a:ext uri="{FF2B5EF4-FFF2-40B4-BE49-F238E27FC236}">
                  <a16:creationId xmlns:a16="http://schemas.microsoft.com/office/drawing/2014/main" id="{A03E4571-D7E7-4ADE-A9E4-F13F22594A51}"/>
                </a:ext>
              </a:extLst>
            </p:cNvPr>
            <p:cNvSpPr/>
            <p:nvPr/>
          </p:nvSpPr>
          <p:spPr>
            <a:xfrm>
              <a:off x="8545699" y="1151534"/>
              <a:ext cx="478771" cy="288821"/>
            </a:xfrm>
            <a:prstGeom prst="rect">
              <a:avLst/>
            </a:prstGeom>
          </p:spPr>
          <p:txBody>
            <a:bodyPr wrap="square" lIns="0" rIns="0">
              <a:spAutoFit/>
            </a:bodyPr>
            <a:lstStyle/>
            <a:p>
              <a:pPr algn="ctr">
                <a:buClr>
                  <a:srgbClr val="62B5E5"/>
                </a:buClr>
              </a:pPr>
              <a:r>
                <a:rPr lang="en-US" sz="752" b="1" dirty="0">
                  <a:latin typeface="+mj-lt"/>
                  <a:ea typeface="Open Sans" panose="020B0606030504020204" pitchFamily="34" charset="0"/>
                  <a:cs typeface="Open Sans" panose="020B0606030504020204" pitchFamily="34" charset="0"/>
                </a:rPr>
                <a:t>Product</a:t>
              </a:r>
              <a:br>
                <a:rPr lang="en-US" sz="752" b="1" dirty="0">
                  <a:latin typeface="+mj-lt"/>
                  <a:ea typeface="Open Sans" panose="020B0606030504020204" pitchFamily="34" charset="0"/>
                  <a:cs typeface="Open Sans" panose="020B0606030504020204" pitchFamily="34" charset="0"/>
                </a:rPr>
              </a:br>
              <a:r>
                <a:rPr lang="en-US" sz="752" b="1" dirty="0">
                  <a:latin typeface="+mj-lt"/>
                  <a:ea typeface="Open Sans" panose="020B0606030504020204" pitchFamily="34" charset="0"/>
                  <a:cs typeface="Open Sans" panose="020B0606030504020204" pitchFamily="34" charset="0"/>
                </a:rPr>
                <a:t>owner</a:t>
              </a:r>
            </a:p>
          </p:txBody>
        </p:sp>
        <p:grpSp>
          <p:nvGrpSpPr>
            <p:cNvPr id="926" name="Group 925">
              <a:extLst>
                <a:ext uri="{FF2B5EF4-FFF2-40B4-BE49-F238E27FC236}">
                  <a16:creationId xmlns:a16="http://schemas.microsoft.com/office/drawing/2014/main" id="{B4FBBC7C-1959-4549-9F19-2EC0FFADA6D2}"/>
                </a:ext>
              </a:extLst>
            </p:cNvPr>
            <p:cNvGrpSpPr/>
            <p:nvPr/>
          </p:nvGrpSpPr>
          <p:grpSpPr>
            <a:xfrm>
              <a:off x="8619128" y="784921"/>
              <a:ext cx="368776" cy="368777"/>
              <a:chOff x="8658291" y="478163"/>
              <a:chExt cx="368776" cy="368777"/>
            </a:xfrm>
          </p:grpSpPr>
          <p:grpSp>
            <p:nvGrpSpPr>
              <p:cNvPr id="927" name="Group 64">
                <a:extLst>
                  <a:ext uri="{FF2B5EF4-FFF2-40B4-BE49-F238E27FC236}">
                    <a16:creationId xmlns:a16="http://schemas.microsoft.com/office/drawing/2014/main" id="{4A7099F1-2BAB-4887-9760-DA4387F323DC}"/>
                  </a:ext>
                </a:extLst>
              </p:cNvPr>
              <p:cNvGrpSpPr>
                <a:grpSpLocks noChangeAspect="1"/>
              </p:cNvGrpSpPr>
              <p:nvPr/>
            </p:nvGrpSpPr>
            <p:grpSpPr bwMode="auto">
              <a:xfrm rot="8100000">
                <a:off x="8658291" y="478163"/>
                <a:ext cx="368776" cy="368777"/>
                <a:chOff x="701" y="2170"/>
                <a:chExt cx="587" cy="587"/>
              </a:xfrm>
            </p:grpSpPr>
            <p:sp>
              <p:nvSpPr>
                <p:cNvPr id="938" name="Oval 65">
                  <a:extLst>
                    <a:ext uri="{FF2B5EF4-FFF2-40B4-BE49-F238E27FC236}">
                      <a16:creationId xmlns:a16="http://schemas.microsoft.com/office/drawing/2014/main" id="{31CB62F8-4821-498B-8F88-530B808BD60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39" name="Line 66">
                  <a:extLst>
                    <a:ext uri="{FF2B5EF4-FFF2-40B4-BE49-F238E27FC236}">
                      <a16:creationId xmlns:a16="http://schemas.microsoft.com/office/drawing/2014/main" id="{7233AB6D-3820-4F97-9F72-28DE06268404}"/>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40" name="Line 67">
                  <a:extLst>
                    <a:ext uri="{FF2B5EF4-FFF2-40B4-BE49-F238E27FC236}">
                      <a16:creationId xmlns:a16="http://schemas.microsoft.com/office/drawing/2014/main" id="{7EF0A689-8BF6-470E-BE46-2FD137D0B697}"/>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41" name="Line 69">
                  <a:extLst>
                    <a:ext uri="{FF2B5EF4-FFF2-40B4-BE49-F238E27FC236}">
                      <a16:creationId xmlns:a16="http://schemas.microsoft.com/office/drawing/2014/main" id="{18CA6C2F-8898-422C-AB2A-80E87D52D08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42" name="Line 74">
                  <a:extLst>
                    <a:ext uri="{FF2B5EF4-FFF2-40B4-BE49-F238E27FC236}">
                      <a16:creationId xmlns:a16="http://schemas.microsoft.com/office/drawing/2014/main" id="{EE891EB6-0067-47B8-BEC7-D5B39452F94D}"/>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43" name="Freeform 78">
                  <a:extLst>
                    <a:ext uri="{FF2B5EF4-FFF2-40B4-BE49-F238E27FC236}">
                      <a16:creationId xmlns:a16="http://schemas.microsoft.com/office/drawing/2014/main" id="{B417489A-FDA0-483E-B2CA-6F1F6D93FFF9}"/>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44" name="Freeform 80">
                  <a:extLst>
                    <a:ext uri="{FF2B5EF4-FFF2-40B4-BE49-F238E27FC236}">
                      <a16:creationId xmlns:a16="http://schemas.microsoft.com/office/drawing/2014/main" id="{E2FB1F5B-6007-4CC2-8D30-CF0F9493012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A3E0"/>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nvGrpSpPr>
              <p:cNvPr id="928" name="Group 927">
                <a:extLst>
                  <a:ext uri="{FF2B5EF4-FFF2-40B4-BE49-F238E27FC236}">
                    <a16:creationId xmlns:a16="http://schemas.microsoft.com/office/drawing/2014/main" id="{FDA5301E-543D-4AB9-9170-08B46C9449FB}"/>
                  </a:ext>
                </a:extLst>
              </p:cNvPr>
              <p:cNvGrpSpPr/>
              <p:nvPr/>
            </p:nvGrpSpPr>
            <p:grpSpPr>
              <a:xfrm>
                <a:off x="8749618" y="524463"/>
                <a:ext cx="136805" cy="278689"/>
                <a:chOff x="2806700" y="2803319"/>
                <a:chExt cx="433387" cy="882861"/>
              </a:xfrm>
            </p:grpSpPr>
            <p:grpSp>
              <p:nvGrpSpPr>
                <p:cNvPr id="929" name="Group 928">
                  <a:extLst>
                    <a:ext uri="{FF2B5EF4-FFF2-40B4-BE49-F238E27FC236}">
                      <a16:creationId xmlns:a16="http://schemas.microsoft.com/office/drawing/2014/main" id="{BB4F777E-A390-47ED-97A4-BF42E4A4D7E9}"/>
                    </a:ext>
                  </a:extLst>
                </p:cNvPr>
                <p:cNvGrpSpPr>
                  <a:grpSpLocks noChangeAspect="1"/>
                </p:cNvGrpSpPr>
                <p:nvPr/>
              </p:nvGrpSpPr>
              <p:grpSpPr bwMode="auto">
                <a:xfrm>
                  <a:off x="2806700" y="3043242"/>
                  <a:ext cx="433387" cy="642938"/>
                  <a:chOff x="1768" y="1917"/>
                  <a:chExt cx="273" cy="405"/>
                </a:xfrm>
              </p:grpSpPr>
              <p:sp>
                <p:nvSpPr>
                  <p:cNvPr id="931" name="Freeform 52">
                    <a:extLst>
                      <a:ext uri="{FF2B5EF4-FFF2-40B4-BE49-F238E27FC236}">
                        <a16:creationId xmlns:a16="http://schemas.microsoft.com/office/drawing/2014/main" id="{35A40D1A-6F50-4403-B08F-11AFEA7109C4}"/>
                      </a:ext>
                    </a:extLst>
                  </p:cNvPr>
                  <p:cNvSpPr>
                    <a:spLocks/>
                  </p:cNvSpPr>
                  <p:nvPr/>
                </p:nvSpPr>
                <p:spPr bwMode="auto">
                  <a:xfrm>
                    <a:off x="1823" y="1917"/>
                    <a:ext cx="218" cy="404"/>
                  </a:xfrm>
                  <a:custGeom>
                    <a:avLst/>
                    <a:gdLst>
                      <a:gd name="T0" fmla="*/ 54 w 218"/>
                      <a:gd name="T1" fmla="*/ 218 h 404"/>
                      <a:gd name="T2" fmla="*/ 54 w 218"/>
                      <a:gd name="T3" fmla="*/ 218 h 404"/>
                      <a:gd name="T4" fmla="*/ 45 w 218"/>
                      <a:gd name="T5" fmla="*/ 217 h 404"/>
                      <a:gd name="T6" fmla="*/ 36 w 218"/>
                      <a:gd name="T7" fmla="*/ 213 h 404"/>
                      <a:gd name="T8" fmla="*/ 26 w 218"/>
                      <a:gd name="T9" fmla="*/ 208 h 404"/>
                      <a:gd name="T10" fmla="*/ 18 w 218"/>
                      <a:gd name="T11" fmla="*/ 200 h 404"/>
                      <a:gd name="T12" fmla="*/ 10 w 218"/>
                      <a:gd name="T13" fmla="*/ 192 h 404"/>
                      <a:gd name="T14" fmla="*/ 5 w 218"/>
                      <a:gd name="T15" fmla="*/ 183 h 404"/>
                      <a:gd name="T16" fmla="*/ 1 w 218"/>
                      <a:gd name="T17" fmla="*/ 173 h 404"/>
                      <a:gd name="T18" fmla="*/ 0 w 218"/>
                      <a:gd name="T19" fmla="*/ 164 h 404"/>
                      <a:gd name="T20" fmla="*/ 0 w 218"/>
                      <a:gd name="T21" fmla="*/ 76 h 404"/>
                      <a:gd name="T22" fmla="*/ 0 w 218"/>
                      <a:gd name="T23" fmla="*/ 76 h 404"/>
                      <a:gd name="T24" fmla="*/ 0 w 218"/>
                      <a:gd name="T25" fmla="*/ 68 h 404"/>
                      <a:gd name="T26" fmla="*/ 2 w 218"/>
                      <a:gd name="T27" fmla="*/ 60 h 404"/>
                      <a:gd name="T28" fmla="*/ 5 w 218"/>
                      <a:gd name="T29" fmla="*/ 52 h 404"/>
                      <a:gd name="T30" fmla="*/ 7 w 218"/>
                      <a:gd name="T31" fmla="*/ 45 h 404"/>
                      <a:gd name="T32" fmla="*/ 11 w 218"/>
                      <a:gd name="T33" fmla="*/ 38 h 404"/>
                      <a:gd name="T34" fmla="*/ 15 w 218"/>
                      <a:gd name="T35" fmla="*/ 32 h 404"/>
                      <a:gd name="T36" fmla="*/ 20 w 218"/>
                      <a:gd name="T37" fmla="*/ 26 h 404"/>
                      <a:gd name="T38" fmla="*/ 25 w 218"/>
                      <a:gd name="T39" fmla="*/ 21 h 404"/>
                      <a:gd name="T40" fmla="*/ 37 w 218"/>
                      <a:gd name="T41" fmla="*/ 12 h 404"/>
                      <a:gd name="T42" fmla="*/ 50 w 218"/>
                      <a:gd name="T43" fmla="*/ 6 h 404"/>
                      <a:gd name="T44" fmla="*/ 63 w 218"/>
                      <a:gd name="T45" fmla="*/ 1 h 404"/>
                      <a:gd name="T46" fmla="*/ 70 w 218"/>
                      <a:gd name="T47" fmla="*/ 0 h 404"/>
                      <a:gd name="T48" fmla="*/ 77 w 218"/>
                      <a:gd name="T49" fmla="*/ 0 h 404"/>
                      <a:gd name="T50" fmla="*/ 77 w 218"/>
                      <a:gd name="T51" fmla="*/ 0 h 404"/>
                      <a:gd name="T52" fmla="*/ 153 w 218"/>
                      <a:gd name="T53" fmla="*/ 0 h 404"/>
                      <a:gd name="T54" fmla="*/ 153 w 218"/>
                      <a:gd name="T55" fmla="*/ 0 h 404"/>
                      <a:gd name="T56" fmla="*/ 160 w 218"/>
                      <a:gd name="T57" fmla="*/ 0 h 404"/>
                      <a:gd name="T58" fmla="*/ 165 w 218"/>
                      <a:gd name="T59" fmla="*/ 1 h 404"/>
                      <a:gd name="T60" fmla="*/ 172 w 218"/>
                      <a:gd name="T61" fmla="*/ 3 h 404"/>
                      <a:gd name="T62" fmla="*/ 178 w 218"/>
                      <a:gd name="T63" fmla="*/ 6 h 404"/>
                      <a:gd name="T64" fmla="*/ 189 w 218"/>
                      <a:gd name="T65" fmla="*/ 12 h 404"/>
                      <a:gd name="T66" fmla="*/ 199 w 218"/>
                      <a:gd name="T67" fmla="*/ 21 h 404"/>
                      <a:gd name="T68" fmla="*/ 207 w 218"/>
                      <a:gd name="T69" fmla="*/ 32 h 404"/>
                      <a:gd name="T70" fmla="*/ 211 w 218"/>
                      <a:gd name="T71" fmla="*/ 38 h 404"/>
                      <a:gd name="T72" fmla="*/ 214 w 218"/>
                      <a:gd name="T73" fmla="*/ 45 h 404"/>
                      <a:gd name="T74" fmla="*/ 216 w 218"/>
                      <a:gd name="T75" fmla="*/ 52 h 404"/>
                      <a:gd name="T76" fmla="*/ 217 w 218"/>
                      <a:gd name="T77" fmla="*/ 60 h 404"/>
                      <a:gd name="T78" fmla="*/ 218 w 218"/>
                      <a:gd name="T79" fmla="*/ 68 h 404"/>
                      <a:gd name="T80" fmla="*/ 218 w 218"/>
                      <a:gd name="T81" fmla="*/ 76 h 404"/>
                      <a:gd name="T82" fmla="*/ 218 w 218"/>
                      <a:gd name="T83" fmla="*/ 70 h 404"/>
                      <a:gd name="T84" fmla="*/ 218 w 218"/>
                      <a:gd name="T85" fmla="*/ 175 h 404"/>
                      <a:gd name="T86" fmla="*/ 218 w 218"/>
                      <a:gd name="T87" fmla="*/ 175 h 404"/>
                      <a:gd name="T88" fmla="*/ 218 w 218"/>
                      <a:gd name="T89" fmla="*/ 183 h 404"/>
                      <a:gd name="T90" fmla="*/ 217 w 218"/>
                      <a:gd name="T91" fmla="*/ 192 h 404"/>
                      <a:gd name="T92" fmla="*/ 215 w 218"/>
                      <a:gd name="T93" fmla="*/ 199 h 404"/>
                      <a:gd name="T94" fmla="*/ 212 w 218"/>
                      <a:gd name="T95" fmla="*/ 205 h 404"/>
                      <a:gd name="T96" fmla="*/ 207 w 218"/>
                      <a:gd name="T97" fmla="*/ 211 h 404"/>
                      <a:gd name="T98" fmla="*/ 201 w 218"/>
                      <a:gd name="T99" fmla="*/ 214 h 404"/>
                      <a:gd name="T100" fmla="*/ 195 w 218"/>
                      <a:gd name="T101" fmla="*/ 218 h 404"/>
                      <a:gd name="T102" fmla="*/ 186 w 218"/>
                      <a:gd name="T103" fmla="*/ 218 h 404"/>
                      <a:gd name="T104" fmla="*/ 186 w 218"/>
                      <a:gd name="T105" fmla="*/ 404 h 404"/>
                      <a:gd name="T106" fmla="*/ 54 w 218"/>
                      <a:gd name="T107" fmla="*/ 404 h 404"/>
                      <a:gd name="T108" fmla="*/ 54 w 218"/>
                      <a:gd name="T109" fmla="*/ 2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404">
                        <a:moveTo>
                          <a:pt x="54" y="218"/>
                        </a:moveTo>
                        <a:lnTo>
                          <a:pt x="54" y="218"/>
                        </a:lnTo>
                        <a:lnTo>
                          <a:pt x="45" y="217"/>
                        </a:lnTo>
                        <a:lnTo>
                          <a:pt x="36" y="213"/>
                        </a:lnTo>
                        <a:lnTo>
                          <a:pt x="26" y="208"/>
                        </a:lnTo>
                        <a:lnTo>
                          <a:pt x="18" y="200"/>
                        </a:lnTo>
                        <a:lnTo>
                          <a:pt x="10" y="192"/>
                        </a:lnTo>
                        <a:lnTo>
                          <a:pt x="5" y="183"/>
                        </a:lnTo>
                        <a:lnTo>
                          <a:pt x="1" y="173"/>
                        </a:lnTo>
                        <a:lnTo>
                          <a:pt x="0" y="164"/>
                        </a:lnTo>
                        <a:lnTo>
                          <a:pt x="0" y="76"/>
                        </a:lnTo>
                        <a:lnTo>
                          <a:pt x="0" y="76"/>
                        </a:lnTo>
                        <a:lnTo>
                          <a:pt x="0" y="68"/>
                        </a:lnTo>
                        <a:lnTo>
                          <a:pt x="2" y="60"/>
                        </a:lnTo>
                        <a:lnTo>
                          <a:pt x="5" y="52"/>
                        </a:lnTo>
                        <a:lnTo>
                          <a:pt x="7" y="45"/>
                        </a:lnTo>
                        <a:lnTo>
                          <a:pt x="11" y="38"/>
                        </a:lnTo>
                        <a:lnTo>
                          <a:pt x="15" y="32"/>
                        </a:lnTo>
                        <a:lnTo>
                          <a:pt x="20" y="26"/>
                        </a:lnTo>
                        <a:lnTo>
                          <a:pt x="25" y="21"/>
                        </a:lnTo>
                        <a:lnTo>
                          <a:pt x="37" y="12"/>
                        </a:lnTo>
                        <a:lnTo>
                          <a:pt x="50" y="6"/>
                        </a:lnTo>
                        <a:lnTo>
                          <a:pt x="63" y="1"/>
                        </a:lnTo>
                        <a:lnTo>
                          <a:pt x="70" y="0"/>
                        </a:lnTo>
                        <a:lnTo>
                          <a:pt x="77" y="0"/>
                        </a:lnTo>
                        <a:lnTo>
                          <a:pt x="77" y="0"/>
                        </a:lnTo>
                        <a:lnTo>
                          <a:pt x="153" y="0"/>
                        </a:lnTo>
                        <a:lnTo>
                          <a:pt x="153" y="0"/>
                        </a:lnTo>
                        <a:lnTo>
                          <a:pt x="160" y="0"/>
                        </a:lnTo>
                        <a:lnTo>
                          <a:pt x="165" y="1"/>
                        </a:lnTo>
                        <a:lnTo>
                          <a:pt x="172" y="3"/>
                        </a:lnTo>
                        <a:lnTo>
                          <a:pt x="178" y="6"/>
                        </a:lnTo>
                        <a:lnTo>
                          <a:pt x="189" y="12"/>
                        </a:lnTo>
                        <a:lnTo>
                          <a:pt x="199" y="21"/>
                        </a:lnTo>
                        <a:lnTo>
                          <a:pt x="207" y="32"/>
                        </a:lnTo>
                        <a:lnTo>
                          <a:pt x="211" y="38"/>
                        </a:lnTo>
                        <a:lnTo>
                          <a:pt x="214" y="45"/>
                        </a:lnTo>
                        <a:lnTo>
                          <a:pt x="216" y="52"/>
                        </a:lnTo>
                        <a:lnTo>
                          <a:pt x="217" y="60"/>
                        </a:lnTo>
                        <a:lnTo>
                          <a:pt x="218" y="68"/>
                        </a:lnTo>
                        <a:lnTo>
                          <a:pt x="218" y="76"/>
                        </a:lnTo>
                        <a:lnTo>
                          <a:pt x="218" y="70"/>
                        </a:lnTo>
                        <a:lnTo>
                          <a:pt x="218" y="175"/>
                        </a:lnTo>
                        <a:lnTo>
                          <a:pt x="218" y="175"/>
                        </a:lnTo>
                        <a:lnTo>
                          <a:pt x="218" y="183"/>
                        </a:lnTo>
                        <a:lnTo>
                          <a:pt x="217" y="192"/>
                        </a:lnTo>
                        <a:lnTo>
                          <a:pt x="215" y="199"/>
                        </a:lnTo>
                        <a:lnTo>
                          <a:pt x="212" y="205"/>
                        </a:lnTo>
                        <a:lnTo>
                          <a:pt x="207" y="211"/>
                        </a:lnTo>
                        <a:lnTo>
                          <a:pt x="201" y="214"/>
                        </a:lnTo>
                        <a:lnTo>
                          <a:pt x="195" y="218"/>
                        </a:lnTo>
                        <a:lnTo>
                          <a:pt x="186" y="218"/>
                        </a:lnTo>
                        <a:lnTo>
                          <a:pt x="186" y="404"/>
                        </a:lnTo>
                        <a:lnTo>
                          <a:pt x="54" y="404"/>
                        </a:lnTo>
                        <a:lnTo>
                          <a:pt x="54" y="218"/>
                        </a:lnTo>
                        <a:close/>
                      </a:path>
                    </a:pathLst>
                  </a:custGeom>
                  <a:solidFill>
                    <a:srgbClr val="00A3E0"/>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32" name="Line 54">
                    <a:extLst>
                      <a:ext uri="{FF2B5EF4-FFF2-40B4-BE49-F238E27FC236}">
                        <a16:creationId xmlns:a16="http://schemas.microsoft.com/office/drawing/2014/main" id="{A8C1645E-0C2F-4E74-9744-866FA742FB64}"/>
                      </a:ext>
                    </a:extLst>
                  </p:cNvPr>
                  <p:cNvSpPr>
                    <a:spLocks noChangeShapeType="1"/>
                  </p:cNvSpPr>
                  <p:nvPr/>
                </p:nvSpPr>
                <p:spPr bwMode="auto">
                  <a:xfrm flipV="1">
                    <a:off x="1877" y="1995"/>
                    <a:ext cx="0" cy="327"/>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33" name="Line 55">
                    <a:extLst>
                      <a:ext uri="{FF2B5EF4-FFF2-40B4-BE49-F238E27FC236}">
                        <a16:creationId xmlns:a16="http://schemas.microsoft.com/office/drawing/2014/main" id="{7862029D-2EFC-4C57-A838-B6532EC21937}"/>
                      </a:ext>
                    </a:extLst>
                  </p:cNvPr>
                  <p:cNvSpPr>
                    <a:spLocks noChangeShapeType="1"/>
                  </p:cNvSpPr>
                  <p:nvPr/>
                </p:nvSpPr>
                <p:spPr bwMode="auto">
                  <a:xfrm flipV="1">
                    <a:off x="2009" y="1995"/>
                    <a:ext cx="0" cy="153"/>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34" name="Freeform 56">
                    <a:extLst>
                      <a:ext uri="{FF2B5EF4-FFF2-40B4-BE49-F238E27FC236}">
                        <a16:creationId xmlns:a16="http://schemas.microsoft.com/office/drawing/2014/main" id="{287205EC-30D2-45C1-A45C-852B26BE3E02}"/>
                      </a:ext>
                    </a:extLst>
                  </p:cNvPr>
                  <p:cNvSpPr>
                    <a:spLocks/>
                  </p:cNvSpPr>
                  <p:nvPr/>
                </p:nvSpPr>
                <p:spPr bwMode="auto">
                  <a:xfrm>
                    <a:off x="2009" y="1987"/>
                    <a:ext cx="32" cy="334"/>
                  </a:xfrm>
                  <a:custGeom>
                    <a:avLst/>
                    <a:gdLst>
                      <a:gd name="T0" fmla="*/ 32 w 32"/>
                      <a:gd name="T1" fmla="*/ 0 h 334"/>
                      <a:gd name="T2" fmla="*/ 32 w 32"/>
                      <a:gd name="T3" fmla="*/ 105 h 334"/>
                      <a:gd name="T4" fmla="*/ 32 w 32"/>
                      <a:gd name="T5" fmla="*/ 105 h 334"/>
                      <a:gd name="T6" fmla="*/ 32 w 32"/>
                      <a:gd name="T7" fmla="*/ 113 h 334"/>
                      <a:gd name="T8" fmla="*/ 31 w 32"/>
                      <a:gd name="T9" fmla="*/ 122 h 334"/>
                      <a:gd name="T10" fmla="*/ 29 w 32"/>
                      <a:gd name="T11" fmla="*/ 129 h 334"/>
                      <a:gd name="T12" fmla="*/ 26 w 32"/>
                      <a:gd name="T13" fmla="*/ 135 h 334"/>
                      <a:gd name="T14" fmla="*/ 21 w 32"/>
                      <a:gd name="T15" fmla="*/ 141 h 334"/>
                      <a:gd name="T16" fmla="*/ 15 w 32"/>
                      <a:gd name="T17" fmla="*/ 144 h 334"/>
                      <a:gd name="T18" fmla="*/ 9 w 32"/>
                      <a:gd name="T19" fmla="*/ 148 h 334"/>
                      <a:gd name="T20" fmla="*/ 0 w 32"/>
                      <a:gd name="T21" fmla="*/ 148 h 334"/>
                      <a:gd name="T22" fmla="*/ 0 w 32"/>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34">
                        <a:moveTo>
                          <a:pt x="32" y="0"/>
                        </a:moveTo>
                        <a:lnTo>
                          <a:pt x="32" y="105"/>
                        </a:lnTo>
                        <a:lnTo>
                          <a:pt x="32" y="105"/>
                        </a:lnTo>
                        <a:lnTo>
                          <a:pt x="32" y="113"/>
                        </a:lnTo>
                        <a:lnTo>
                          <a:pt x="31" y="122"/>
                        </a:lnTo>
                        <a:lnTo>
                          <a:pt x="29" y="129"/>
                        </a:lnTo>
                        <a:lnTo>
                          <a:pt x="26" y="135"/>
                        </a:lnTo>
                        <a:lnTo>
                          <a:pt x="21" y="141"/>
                        </a:lnTo>
                        <a:lnTo>
                          <a:pt x="15" y="144"/>
                        </a:lnTo>
                        <a:lnTo>
                          <a:pt x="9" y="148"/>
                        </a:lnTo>
                        <a:lnTo>
                          <a:pt x="0" y="148"/>
                        </a:lnTo>
                        <a:lnTo>
                          <a:pt x="0" y="334"/>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35" name="Line 57">
                    <a:extLst>
                      <a:ext uri="{FF2B5EF4-FFF2-40B4-BE49-F238E27FC236}">
                        <a16:creationId xmlns:a16="http://schemas.microsoft.com/office/drawing/2014/main" id="{ECD84F42-356C-4295-9C60-37D6EF815DAF}"/>
                      </a:ext>
                    </a:extLst>
                  </p:cNvPr>
                  <p:cNvSpPr>
                    <a:spLocks noChangeShapeType="1"/>
                  </p:cNvSpPr>
                  <p:nvPr/>
                </p:nvSpPr>
                <p:spPr bwMode="auto">
                  <a:xfrm>
                    <a:off x="1943" y="2135"/>
                    <a:ext cx="0" cy="186"/>
                  </a:xfrm>
                  <a:prstGeom prst="line">
                    <a:avLst/>
                  </a:prstGeom>
                  <a:noFill/>
                  <a:ln w="1587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36" name="Freeform 58">
                    <a:extLst>
                      <a:ext uri="{FF2B5EF4-FFF2-40B4-BE49-F238E27FC236}">
                        <a16:creationId xmlns:a16="http://schemas.microsoft.com/office/drawing/2014/main" id="{B490F7BE-7A5D-4738-89CA-6DCF4E4E7309}"/>
                      </a:ext>
                    </a:extLst>
                  </p:cNvPr>
                  <p:cNvSpPr>
                    <a:spLocks/>
                  </p:cNvSpPr>
                  <p:nvPr/>
                </p:nvSpPr>
                <p:spPr bwMode="auto">
                  <a:xfrm>
                    <a:off x="1823" y="1917"/>
                    <a:ext cx="218" cy="218"/>
                  </a:xfrm>
                  <a:custGeom>
                    <a:avLst/>
                    <a:gdLst>
                      <a:gd name="T0" fmla="*/ 218 w 218"/>
                      <a:gd name="T1" fmla="*/ 76 h 218"/>
                      <a:gd name="T2" fmla="*/ 218 w 218"/>
                      <a:gd name="T3" fmla="*/ 76 h 218"/>
                      <a:gd name="T4" fmla="*/ 218 w 218"/>
                      <a:gd name="T5" fmla="*/ 68 h 218"/>
                      <a:gd name="T6" fmla="*/ 217 w 218"/>
                      <a:gd name="T7" fmla="*/ 60 h 218"/>
                      <a:gd name="T8" fmla="*/ 216 w 218"/>
                      <a:gd name="T9" fmla="*/ 52 h 218"/>
                      <a:gd name="T10" fmla="*/ 214 w 218"/>
                      <a:gd name="T11" fmla="*/ 45 h 218"/>
                      <a:gd name="T12" fmla="*/ 211 w 218"/>
                      <a:gd name="T13" fmla="*/ 38 h 218"/>
                      <a:gd name="T14" fmla="*/ 207 w 218"/>
                      <a:gd name="T15" fmla="*/ 32 h 218"/>
                      <a:gd name="T16" fmla="*/ 199 w 218"/>
                      <a:gd name="T17" fmla="*/ 21 h 218"/>
                      <a:gd name="T18" fmla="*/ 189 w 218"/>
                      <a:gd name="T19" fmla="*/ 12 h 218"/>
                      <a:gd name="T20" fmla="*/ 178 w 218"/>
                      <a:gd name="T21" fmla="*/ 6 h 218"/>
                      <a:gd name="T22" fmla="*/ 172 w 218"/>
                      <a:gd name="T23" fmla="*/ 3 h 218"/>
                      <a:gd name="T24" fmla="*/ 165 w 218"/>
                      <a:gd name="T25" fmla="*/ 1 h 218"/>
                      <a:gd name="T26" fmla="*/ 160 w 218"/>
                      <a:gd name="T27" fmla="*/ 0 h 218"/>
                      <a:gd name="T28" fmla="*/ 153 w 218"/>
                      <a:gd name="T29" fmla="*/ 0 h 218"/>
                      <a:gd name="T30" fmla="*/ 153 w 218"/>
                      <a:gd name="T31" fmla="*/ 0 h 218"/>
                      <a:gd name="T32" fmla="*/ 77 w 218"/>
                      <a:gd name="T33" fmla="*/ 0 h 218"/>
                      <a:gd name="T34" fmla="*/ 77 w 218"/>
                      <a:gd name="T35" fmla="*/ 0 h 218"/>
                      <a:gd name="T36" fmla="*/ 70 w 218"/>
                      <a:gd name="T37" fmla="*/ 0 h 218"/>
                      <a:gd name="T38" fmla="*/ 63 w 218"/>
                      <a:gd name="T39" fmla="*/ 1 h 218"/>
                      <a:gd name="T40" fmla="*/ 50 w 218"/>
                      <a:gd name="T41" fmla="*/ 6 h 218"/>
                      <a:gd name="T42" fmla="*/ 37 w 218"/>
                      <a:gd name="T43" fmla="*/ 12 h 218"/>
                      <a:gd name="T44" fmla="*/ 25 w 218"/>
                      <a:gd name="T45" fmla="*/ 21 h 218"/>
                      <a:gd name="T46" fmla="*/ 20 w 218"/>
                      <a:gd name="T47" fmla="*/ 26 h 218"/>
                      <a:gd name="T48" fmla="*/ 15 w 218"/>
                      <a:gd name="T49" fmla="*/ 32 h 218"/>
                      <a:gd name="T50" fmla="*/ 11 w 218"/>
                      <a:gd name="T51" fmla="*/ 38 h 218"/>
                      <a:gd name="T52" fmla="*/ 7 w 218"/>
                      <a:gd name="T53" fmla="*/ 45 h 218"/>
                      <a:gd name="T54" fmla="*/ 5 w 218"/>
                      <a:gd name="T55" fmla="*/ 52 h 218"/>
                      <a:gd name="T56" fmla="*/ 2 w 218"/>
                      <a:gd name="T57" fmla="*/ 60 h 218"/>
                      <a:gd name="T58" fmla="*/ 0 w 218"/>
                      <a:gd name="T59" fmla="*/ 68 h 218"/>
                      <a:gd name="T60" fmla="*/ 0 w 218"/>
                      <a:gd name="T61" fmla="*/ 76 h 218"/>
                      <a:gd name="T62" fmla="*/ 0 w 218"/>
                      <a:gd name="T63" fmla="*/ 164 h 218"/>
                      <a:gd name="T64" fmla="*/ 0 w 218"/>
                      <a:gd name="T65" fmla="*/ 164 h 218"/>
                      <a:gd name="T66" fmla="*/ 1 w 218"/>
                      <a:gd name="T67" fmla="*/ 173 h 218"/>
                      <a:gd name="T68" fmla="*/ 5 w 218"/>
                      <a:gd name="T69" fmla="*/ 183 h 218"/>
                      <a:gd name="T70" fmla="*/ 10 w 218"/>
                      <a:gd name="T71" fmla="*/ 192 h 218"/>
                      <a:gd name="T72" fmla="*/ 18 w 218"/>
                      <a:gd name="T73" fmla="*/ 200 h 218"/>
                      <a:gd name="T74" fmla="*/ 26 w 218"/>
                      <a:gd name="T75" fmla="*/ 208 h 218"/>
                      <a:gd name="T76" fmla="*/ 36 w 218"/>
                      <a:gd name="T77" fmla="*/ 213 h 218"/>
                      <a:gd name="T78" fmla="*/ 45 w 218"/>
                      <a:gd name="T79" fmla="*/ 217 h 218"/>
                      <a:gd name="T80" fmla="*/ 54 w 218"/>
                      <a:gd name="T8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18">
                        <a:moveTo>
                          <a:pt x="218" y="76"/>
                        </a:moveTo>
                        <a:lnTo>
                          <a:pt x="218" y="76"/>
                        </a:lnTo>
                        <a:lnTo>
                          <a:pt x="218" y="68"/>
                        </a:lnTo>
                        <a:lnTo>
                          <a:pt x="217" y="60"/>
                        </a:lnTo>
                        <a:lnTo>
                          <a:pt x="216" y="52"/>
                        </a:lnTo>
                        <a:lnTo>
                          <a:pt x="214" y="45"/>
                        </a:lnTo>
                        <a:lnTo>
                          <a:pt x="211" y="38"/>
                        </a:lnTo>
                        <a:lnTo>
                          <a:pt x="207" y="32"/>
                        </a:lnTo>
                        <a:lnTo>
                          <a:pt x="199" y="21"/>
                        </a:lnTo>
                        <a:lnTo>
                          <a:pt x="189" y="12"/>
                        </a:lnTo>
                        <a:lnTo>
                          <a:pt x="178" y="6"/>
                        </a:lnTo>
                        <a:lnTo>
                          <a:pt x="172" y="3"/>
                        </a:lnTo>
                        <a:lnTo>
                          <a:pt x="165" y="1"/>
                        </a:lnTo>
                        <a:lnTo>
                          <a:pt x="160" y="0"/>
                        </a:lnTo>
                        <a:lnTo>
                          <a:pt x="153" y="0"/>
                        </a:lnTo>
                        <a:lnTo>
                          <a:pt x="153" y="0"/>
                        </a:lnTo>
                        <a:lnTo>
                          <a:pt x="77" y="0"/>
                        </a:lnTo>
                        <a:lnTo>
                          <a:pt x="77" y="0"/>
                        </a:lnTo>
                        <a:lnTo>
                          <a:pt x="70" y="0"/>
                        </a:lnTo>
                        <a:lnTo>
                          <a:pt x="63" y="1"/>
                        </a:lnTo>
                        <a:lnTo>
                          <a:pt x="50" y="6"/>
                        </a:lnTo>
                        <a:lnTo>
                          <a:pt x="37" y="12"/>
                        </a:lnTo>
                        <a:lnTo>
                          <a:pt x="25" y="21"/>
                        </a:lnTo>
                        <a:lnTo>
                          <a:pt x="20" y="26"/>
                        </a:lnTo>
                        <a:lnTo>
                          <a:pt x="15" y="32"/>
                        </a:lnTo>
                        <a:lnTo>
                          <a:pt x="11" y="38"/>
                        </a:lnTo>
                        <a:lnTo>
                          <a:pt x="7" y="45"/>
                        </a:lnTo>
                        <a:lnTo>
                          <a:pt x="5" y="52"/>
                        </a:lnTo>
                        <a:lnTo>
                          <a:pt x="2" y="60"/>
                        </a:lnTo>
                        <a:lnTo>
                          <a:pt x="0" y="68"/>
                        </a:lnTo>
                        <a:lnTo>
                          <a:pt x="0" y="76"/>
                        </a:lnTo>
                        <a:lnTo>
                          <a:pt x="0" y="164"/>
                        </a:lnTo>
                        <a:lnTo>
                          <a:pt x="0" y="164"/>
                        </a:lnTo>
                        <a:lnTo>
                          <a:pt x="1" y="173"/>
                        </a:lnTo>
                        <a:lnTo>
                          <a:pt x="5" y="183"/>
                        </a:lnTo>
                        <a:lnTo>
                          <a:pt x="10" y="192"/>
                        </a:lnTo>
                        <a:lnTo>
                          <a:pt x="18" y="200"/>
                        </a:lnTo>
                        <a:lnTo>
                          <a:pt x="26" y="208"/>
                        </a:lnTo>
                        <a:lnTo>
                          <a:pt x="36" y="213"/>
                        </a:lnTo>
                        <a:lnTo>
                          <a:pt x="45" y="217"/>
                        </a:lnTo>
                        <a:lnTo>
                          <a:pt x="54" y="218"/>
                        </a:lnTo>
                      </a:path>
                    </a:pathLst>
                  </a:custGeom>
                  <a:noFill/>
                  <a:ln w="1587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37" name="Rectangle 936">
                    <a:extLst>
                      <a:ext uri="{FF2B5EF4-FFF2-40B4-BE49-F238E27FC236}">
                        <a16:creationId xmlns:a16="http://schemas.microsoft.com/office/drawing/2014/main" id="{CA9D2E69-9F72-46B7-B8C8-662F0DA563E3}"/>
                      </a:ext>
                    </a:extLst>
                  </p:cNvPr>
                  <p:cNvSpPr>
                    <a:spLocks noChangeArrowheads="1"/>
                  </p:cNvSpPr>
                  <p:nvPr/>
                </p:nvSpPr>
                <p:spPr bwMode="auto">
                  <a:xfrm>
                    <a:off x="1768" y="2102"/>
                    <a:ext cx="132" cy="109"/>
                  </a:xfrm>
                  <a:prstGeom prst="rect">
                    <a:avLst/>
                  </a:prstGeom>
                  <a:solidFill>
                    <a:schemeClr val="tx1">
                      <a:lumMod val="50000"/>
                      <a:lumOff val="50000"/>
                    </a:schemeClr>
                  </a:solidFill>
                  <a:ln w="14288">
                    <a:solidFill>
                      <a:schemeClr val="tx1">
                        <a:lumMod val="65000"/>
                        <a:lumOff val="35000"/>
                      </a:schemeClr>
                    </a:solidFill>
                    <a:prstDash val="solid"/>
                    <a:miter lim="800000"/>
                    <a:headEnd/>
                    <a:tailEnd/>
                  </a:ln>
                </p:spPr>
                <p:txBody>
                  <a:bodyPr vert="horz" wrap="square" lIns="46752" tIns="23377" rIns="46752" bIns="23377" numCol="1" anchor="t" anchorCtr="0" compatLnSpc="1">
                    <a:prstTxWarp prst="textNoShape">
                      <a:avLst/>
                    </a:prstTxWarp>
                  </a:bodyPr>
                  <a:lstStyle/>
                  <a:p>
                    <a:endParaRPr lang="en-US" sz="1227" dirty="0"/>
                  </a:p>
                </p:txBody>
              </p:sp>
            </p:grpSp>
            <p:sp>
              <p:nvSpPr>
                <p:cNvPr id="930" name="Oval 929">
                  <a:extLst>
                    <a:ext uri="{FF2B5EF4-FFF2-40B4-BE49-F238E27FC236}">
                      <a16:creationId xmlns:a16="http://schemas.microsoft.com/office/drawing/2014/main" id="{E14DC1BD-DA64-4FF8-BECC-AC65ADCF55DD}"/>
                    </a:ext>
                  </a:extLst>
                </p:cNvPr>
                <p:cNvSpPr/>
                <p:nvPr/>
              </p:nvSpPr>
              <p:spPr bwMode="gray">
                <a:xfrm>
                  <a:off x="2981633" y="2803319"/>
                  <a:ext cx="193842" cy="193842"/>
                </a:xfrm>
                <a:prstGeom prst="ellipse">
                  <a:avLst/>
                </a:prstGeom>
                <a:solidFill>
                  <a:srgbClr val="00A3E0"/>
                </a:solidFill>
                <a:ln w="15875">
                  <a:solidFill>
                    <a:schemeClr val="tx1">
                      <a:lumMod val="65000"/>
                      <a:lumOff val="35000"/>
                    </a:schemeClr>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grpSp>
        </p:grpSp>
      </p:grpSp>
      <p:grpSp>
        <p:nvGrpSpPr>
          <p:cNvPr id="945" name="Group 944">
            <a:extLst>
              <a:ext uri="{FF2B5EF4-FFF2-40B4-BE49-F238E27FC236}">
                <a16:creationId xmlns:a16="http://schemas.microsoft.com/office/drawing/2014/main" id="{0B58B9AD-4242-4982-BC58-A51324A13739}"/>
              </a:ext>
            </a:extLst>
          </p:cNvPr>
          <p:cNvGrpSpPr/>
          <p:nvPr/>
        </p:nvGrpSpPr>
        <p:grpSpPr>
          <a:xfrm>
            <a:off x="5743138" y="2441929"/>
            <a:ext cx="838958" cy="762862"/>
            <a:chOff x="8994581" y="422468"/>
            <a:chExt cx="747890" cy="680054"/>
          </a:xfrm>
        </p:grpSpPr>
        <p:grpSp>
          <p:nvGrpSpPr>
            <p:cNvPr id="946" name="Group 945">
              <a:extLst>
                <a:ext uri="{FF2B5EF4-FFF2-40B4-BE49-F238E27FC236}">
                  <a16:creationId xmlns:a16="http://schemas.microsoft.com/office/drawing/2014/main" id="{4AD23E3E-61CB-4B6D-A2B5-12FB48DC7C83}"/>
                </a:ext>
              </a:extLst>
            </p:cNvPr>
            <p:cNvGrpSpPr/>
            <p:nvPr/>
          </p:nvGrpSpPr>
          <p:grpSpPr>
            <a:xfrm>
              <a:off x="9125469" y="422468"/>
              <a:ext cx="473625" cy="473627"/>
              <a:chOff x="2866777" y="2597362"/>
              <a:chExt cx="473625" cy="473627"/>
            </a:xfrm>
          </p:grpSpPr>
          <p:grpSp>
            <p:nvGrpSpPr>
              <p:cNvPr id="948" name="Group 64">
                <a:extLst>
                  <a:ext uri="{FF2B5EF4-FFF2-40B4-BE49-F238E27FC236}">
                    <a16:creationId xmlns:a16="http://schemas.microsoft.com/office/drawing/2014/main" id="{5060F1CA-7A52-4ABF-8472-CE4927F0EF3D}"/>
                  </a:ext>
                </a:extLst>
              </p:cNvPr>
              <p:cNvGrpSpPr>
                <a:grpSpLocks noChangeAspect="1"/>
              </p:cNvGrpSpPr>
              <p:nvPr/>
            </p:nvGrpSpPr>
            <p:grpSpPr bwMode="auto">
              <a:xfrm rot="8100000">
                <a:off x="2866777" y="2597362"/>
                <a:ext cx="473625" cy="473627"/>
                <a:chOff x="701" y="2170"/>
                <a:chExt cx="587" cy="587"/>
              </a:xfrm>
            </p:grpSpPr>
            <p:sp>
              <p:nvSpPr>
                <p:cNvPr id="980" name="Oval 65">
                  <a:extLst>
                    <a:ext uri="{FF2B5EF4-FFF2-40B4-BE49-F238E27FC236}">
                      <a16:creationId xmlns:a16="http://schemas.microsoft.com/office/drawing/2014/main" id="{9C0743CB-8890-41F1-8B70-20A315948079}"/>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81" name="Line 66">
                  <a:extLst>
                    <a:ext uri="{FF2B5EF4-FFF2-40B4-BE49-F238E27FC236}">
                      <a16:creationId xmlns:a16="http://schemas.microsoft.com/office/drawing/2014/main" id="{F92721A5-80D5-4E96-90A4-6BBEE1769978}"/>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82" name="Line 67">
                  <a:extLst>
                    <a:ext uri="{FF2B5EF4-FFF2-40B4-BE49-F238E27FC236}">
                      <a16:creationId xmlns:a16="http://schemas.microsoft.com/office/drawing/2014/main" id="{9876FCF6-5612-49CE-A0A8-39FD9B1A58F0}"/>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83" name="Line 69">
                  <a:extLst>
                    <a:ext uri="{FF2B5EF4-FFF2-40B4-BE49-F238E27FC236}">
                      <a16:creationId xmlns:a16="http://schemas.microsoft.com/office/drawing/2014/main" id="{2087B1DE-D334-4C84-A6CE-AB50CAE03042}"/>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84" name="Line 74">
                  <a:extLst>
                    <a:ext uri="{FF2B5EF4-FFF2-40B4-BE49-F238E27FC236}">
                      <a16:creationId xmlns:a16="http://schemas.microsoft.com/office/drawing/2014/main" id="{74E675F6-01C1-4208-89BD-38948209DE79}"/>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85" name="Freeform 78">
                  <a:extLst>
                    <a:ext uri="{FF2B5EF4-FFF2-40B4-BE49-F238E27FC236}">
                      <a16:creationId xmlns:a16="http://schemas.microsoft.com/office/drawing/2014/main" id="{7AF4756C-F0DD-489C-A3F1-C6F56F1D41E8}"/>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86" name="Freeform 80">
                  <a:extLst>
                    <a:ext uri="{FF2B5EF4-FFF2-40B4-BE49-F238E27FC236}">
                      <a16:creationId xmlns:a16="http://schemas.microsoft.com/office/drawing/2014/main" id="{75FAF902-E315-4CC2-9D1C-CB7EDF138493}"/>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009A44"/>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nvGrpSpPr>
              <p:cNvPr id="949" name="Group 948">
                <a:extLst>
                  <a:ext uri="{FF2B5EF4-FFF2-40B4-BE49-F238E27FC236}">
                    <a16:creationId xmlns:a16="http://schemas.microsoft.com/office/drawing/2014/main" id="{055FFEFD-8077-4D79-A27D-27FE150C3820}"/>
                  </a:ext>
                </a:extLst>
              </p:cNvPr>
              <p:cNvGrpSpPr/>
              <p:nvPr/>
            </p:nvGrpSpPr>
            <p:grpSpPr>
              <a:xfrm>
                <a:off x="2923050" y="2665148"/>
                <a:ext cx="356509" cy="349884"/>
                <a:chOff x="468738" y="2241878"/>
                <a:chExt cx="1655483" cy="1624719"/>
              </a:xfrm>
            </p:grpSpPr>
            <p:sp>
              <p:nvSpPr>
                <p:cNvPr id="950" name="Freeform 5">
                  <a:extLst>
                    <a:ext uri="{FF2B5EF4-FFF2-40B4-BE49-F238E27FC236}">
                      <a16:creationId xmlns:a16="http://schemas.microsoft.com/office/drawing/2014/main" id="{85304F2B-7F59-4260-AB88-0E63DD2B2865}"/>
                    </a:ext>
                  </a:extLst>
                </p:cNvPr>
                <p:cNvSpPr>
                  <a:spLocks/>
                </p:cNvSpPr>
                <p:nvPr/>
              </p:nvSpPr>
              <p:spPr bwMode="auto">
                <a:xfrm>
                  <a:off x="706072" y="2479213"/>
                  <a:ext cx="1180814" cy="1180814"/>
                </a:xfrm>
                <a:custGeom>
                  <a:avLst/>
                  <a:gdLst>
                    <a:gd name="T0" fmla="*/ 382 w 806"/>
                    <a:gd name="T1" fmla="*/ 0 h 806"/>
                    <a:gd name="T2" fmla="*/ 322 w 806"/>
                    <a:gd name="T3" fmla="*/ 8 h 806"/>
                    <a:gd name="T4" fmla="*/ 266 w 806"/>
                    <a:gd name="T5" fmla="*/ 24 h 806"/>
                    <a:gd name="T6" fmla="*/ 213 w 806"/>
                    <a:gd name="T7" fmla="*/ 47 h 806"/>
                    <a:gd name="T8" fmla="*/ 163 w 806"/>
                    <a:gd name="T9" fmla="*/ 79 h 806"/>
                    <a:gd name="T10" fmla="*/ 118 w 806"/>
                    <a:gd name="T11" fmla="*/ 119 h 806"/>
                    <a:gd name="T12" fmla="*/ 90 w 806"/>
                    <a:gd name="T13" fmla="*/ 148 h 806"/>
                    <a:gd name="T14" fmla="*/ 55 w 806"/>
                    <a:gd name="T15" fmla="*/ 197 h 806"/>
                    <a:gd name="T16" fmla="*/ 29 w 806"/>
                    <a:gd name="T17" fmla="*/ 249 h 806"/>
                    <a:gd name="T18" fmla="*/ 12 w 806"/>
                    <a:gd name="T19" fmla="*/ 304 h 806"/>
                    <a:gd name="T20" fmla="*/ 1 w 806"/>
                    <a:gd name="T21" fmla="*/ 362 h 806"/>
                    <a:gd name="T22" fmla="*/ 0 w 806"/>
                    <a:gd name="T23" fmla="*/ 403 h 806"/>
                    <a:gd name="T24" fmla="*/ 4 w 806"/>
                    <a:gd name="T25" fmla="*/ 464 h 806"/>
                    <a:gd name="T26" fmla="*/ 17 w 806"/>
                    <a:gd name="T27" fmla="*/ 521 h 806"/>
                    <a:gd name="T28" fmla="*/ 37 w 806"/>
                    <a:gd name="T29" fmla="*/ 575 h 806"/>
                    <a:gd name="T30" fmla="*/ 65 w 806"/>
                    <a:gd name="T31" fmla="*/ 626 h 806"/>
                    <a:gd name="T32" fmla="*/ 104 w 806"/>
                    <a:gd name="T33" fmla="*/ 673 h 806"/>
                    <a:gd name="T34" fmla="*/ 132 w 806"/>
                    <a:gd name="T35" fmla="*/ 702 h 806"/>
                    <a:gd name="T36" fmla="*/ 180 w 806"/>
                    <a:gd name="T37" fmla="*/ 739 h 806"/>
                    <a:gd name="T38" fmla="*/ 230 w 806"/>
                    <a:gd name="T39" fmla="*/ 769 h 806"/>
                    <a:gd name="T40" fmla="*/ 284 w 806"/>
                    <a:gd name="T41" fmla="*/ 790 h 806"/>
                    <a:gd name="T42" fmla="*/ 342 w 806"/>
                    <a:gd name="T43" fmla="*/ 802 h 806"/>
                    <a:gd name="T44" fmla="*/ 402 w 806"/>
                    <a:gd name="T45" fmla="*/ 806 h 806"/>
                    <a:gd name="T46" fmla="*/ 443 w 806"/>
                    <a:gd name="T47" fmla="*/ 804 h 806"/>
                    <a:gd name="T48" fmla="*/ 502 w 806"/>
                    <a:gd name="T49" fmla="*/ 795 h 806"/>
                    <a:gd name="T50" fmla="*/ 558 w 806"/>
                    <a:gd name="T51" fmla="*/ 777 h 806"/>
                    <a:gd name="T52" fmla="*/ 609 w 806"/>
                    <a:gd name="T53" fmla="*/ 751 h 806"/>
                    <a:gd name="T54" fmla="*/ 658 w 806"/>
                    <a:gd name="T55" fmla="*/ 716 h 806"/>
                    <a:gd name="T56" fmla="*/ 687 w 806"/>
                    <a:gd name="T57" fmla="*/ 688 h 806"/>
                    <a:gd name="T58" fmla="*/ 727 w 806"/>
                    <a:gd name="T59" fmla="*/ 642 h 806"/>
                    <a:gd name="T60" fmla="*/ 759 w 806"/>
                    <a:gd name="T61" fmla="*/ 593 h 806"/>
                    <a:gd name="T62" fmla="*/ 783 w 806"/>
                    <a:gd name="T63" fmla="*/ 540 h 806"/>
                    <a:gd name="T64" fmla="*/ 798 w 806"/>
                    <a:gd name="T65" fmla="*/ 484 h 806"/>
                    <a:gd name="T66" fmla="*/ 806 w 806"/>
                    <a:gd name="T67" fmla="*/ 423 h 806"/>
                    <a:gd name="T68" fmla="*/ 806 w 806"/>
                    <a:gd name="T69" fmla="*/ 382 h 806"/>
                    <a:gd name="T70" fmla="*/ 798 w 806"/>
                    <a:gd name="T71" fmla="*/ 323 h 806"/>
                    <a:gd name="T72" fmla="*/ 783 w 806"/>
                    <a:gd name="T73" fmla="*/ 267 h 806"/>
                    <a:gd name="T74" fmla="*/ 759 w 806"/>
                    <a:gd name="T75" fmla="*/ 214 h 806"/>
                    <a:gd name="T76" fmla="*/ 727 w 806"/>
                    <a:gd name="T77" fmla="*/ 165 h 806"/>
                    <a:gd name="T78" fmla="*/ 687 w 806"/>
                    <a:gd name="T79" fmla="*/ 119 h 806"/>
                    <a:gd name="T80" fmla="*/ 658 w 806"/>
                    <a:gd name="T81" fmla="*/ 90 h 806"/>
                    <a:gd name="T82" fmla="*/ 609 w 806"/>
                    <a:gd name="T83" fmla="*/ 57 h 806"/>
                    <a:gd name="T84" fmla="*/ 558 w 806"/>
                    <a:gd name="T85" fmla="*/ 30 h 806"/>
                    <a:gd name="T86" fmla="*/ 502 w 806"/>
                    <a:gd name="T87" fmla="*/ 12 h 806"/>
                    <a:gd name="T88" fmla="*/ 443 w 806"/>
                    <a:gd name="T89" fmla="*/ 3 h 806"/>
                    <a:gd name="T90" fmla="*/ 402 w 806"/>
                    <a:gd name="T91"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6" h="806">
                      <a:moveTo>
                        <a:pt x="402" y="0"/>
                      </a:moveTo>
                      <a:lnTo>
                        <a:pt x="402" y="0"/>
                      </a:lnTo>
                      <a:lnTo>
                        <a:pt x="382" y="0"/>
                      </a:lnTo>
                      <a:lnTo>
                        <a:pt x="361" y="3"/>
                      </a:lnTo>
                      <a:lnTo>
                        <a:pt x="342" y="4"/>
                      </a:lnTo>
                      <a:lnTo>
                        <a:pt x="322" y="8"/>
                      </a:lnTo>
                      <a:lnTo>
                        <a:pt x="303" y="12"/>
                      </a:lnTo>
                      <a:lnTo>
                        <a:pt x="284" y="17"/>
                      </a:lnTo>
                      <a:lnTo>
                        <a:pt x="266" y="24"/>
                      </a:lnTo>
                      <a:lnTo>
                        <a:pt x="248" y="30"/>
                      </a:lnTo>
                      <a:lnTo>
                        <a:pt x="230" y="38"/>
                      </a:lnTo>
                      <a:lnTo>
                        <a:pt x="213" y="47"/>
                      </a:lnTo>
                      <a:lnTo>
                        <a:pt x="197" y="57"/>
                      </a:lnTo>
                      <a:lnTo>
                        <a:pt x="180" y="67"/>
                      </a:lnTo>
                      <a:lnTo>
                        <a:pt x="163" y="79"/>
                      </a:lnTo>
                      <a:lnTo>
                        <a:pt x="148" y="90"/>
                      </a:lnTo>
                      <a:lnTo>
                        <a:pt x="132" y="105"/>
                      </a:lnTo>
                      <a:lnTo>
                        <a:pt x="118" y="119"/>
                      </a:lnTo>
                      <a:lnTo>
                        <a:pt x="118" y="119"/>
                      </a:lnTo>
                      <a:lnTo>
                        <a:pt x="104" y="134"/>
                      </a:lnTo>
                      <a:lnTo>
                        <a:pt x="90" y="148"/>
                      </a:lnTo>
                      <a:lnTo>
                        <a:pt x="77" y="165"/>
                      </a:lnTo>
                      <a:lnTo>
                        <a:pt x="65" y="180"/>
                      </a:lnTo>
                      <a:lnTo>
                        <a:pt x="55" y="197"/>
                      </a:lnTo>
                      <a:lnTo>
                        <a:pt x="46" y="214"/>
                      </a:lnTo>
                      <a:lnTo>
                        <a:pt x="37" y="231"/>
                      </a:lnTo>
                      <a:lnTo>
                        <a:pt x="29" y="249"/>
                      </a:lnTo>
                      <a:lnTo>
                        <a:pt x="22" y="267"/>
                      </a:lnTo>
                      <a:lnTo>
                        <a:pt x="17" y="285"/>
                      </a:lnTo>
                      <a:lnTo>
                        <a:pt x="12" y="304"/>
                      </a:lnTo>
                      <a:lnTo>
                        <a:pt x="8" y="323"/>
                      </a:lnTo>
                      <a:lnTo>
                        <a:pt x="4" y="342"/>
                      </a:lnTo>
                      <a:lnTo>
                        <a:pt x="1" y="362"/>
                      </a:lnTo>
                      <a:lnTo>
                        <a:pt x="0" y="382"/>
                      </a:lnTo>
                      <a:lnTo>
                        <a:pt x="0" y="403"/>
                      </a:lnTo>
                      <a:lnTo>
                        <a:pt x="0" y="403"/>
                      </a:lnTo>
                      <a:lnTo>
                        <a:pt x="0" y="423"/>
                      </a:lnTo>
                      <a:lnTo>
                        <a:pt x="1" y="444"/>
                      </a:lnTo>
                      <a:lnTo>
                        <a:pt x="4" y="464"/>
                      </a:lnTo>
                      <a:lnTo>
                        <a:pt x="8" y="484"/>
                      </a:lnTo>
                      <a:lnTo>
                        <a:pt x="12" y="503"/>
                      </a:lnTo>
                      <a:lnTo>
                        <a:pt x="17" y="521"/>
                      </a:lnTo>
                      <a:lnTo>
                        <a:pt x="22" y="540"/>
                      </a:lnTo>
                      <a:lnTo>
                        <a:pt x="29" y="558"/>
                      </a:lnTo>
                      <a:lnTo>
                        <a:pt x="37" y="575"/>
                      </a:lnTo>
                      <a:lnTo>
                        <a:pt x="46" y="593"/>
                      </a:lnTo>
                      <a:lnTo>
                        <a:pt x="55" y="610"/>
                      </a:lnTo>
                      <a:lnTo>
                        <a:pt x="65" y="626"/>
                      </a:lnTo>
                      <a:lnTo>
                        <a:pt x="77" y="642"/>
                      </a:lnTo>
                      <a:lnTo>
                        <a:pt x="90" y="658"/>
                      </a:lnTo>
                      <a:lnTo>
                        <a:pt x="104" y="673"/>
                      </a:lnTo>
                      <a:lnTo>
                        <a:pt x="118" y="688"/>
                      </a:lnTo>
                      <a:lnTo>
                        <a:pt x="118" y="688"/>
                      </a:lnTo>
                      <a:lnTo>
                        <a:pt x="132" y="702"/>
                      </a:lnTo>
                      <a:lnTo>
                        <a:pt x="148" y="716"/>
                      </a:lnTo>
                      <a:lnTo>
                        <a:pt x="163" y="728"/>
                      </a:lnTo>
                      <a:lnTo>
                        <a:pt x="180" y="739"/>
                      </a:lnTo>
                      <a:lnTo>
                        <a:pt x="197" y="751"/>
                      </a:lnTo>
                      <a:lnTo>
                        <a:pt x="213" y="760"/>
                      </a:lnTo>
                      <a:lnTo>
                        <a:pt x="230" y="769"/>
                      </a:lnTo>
                      <a:lnTo>
                        <a:pt x="248" y="777"/>
                      </a:lnTo>
                      <a:lnTo>
                        <a:pt x="266" y="783"/>
                      </a:lnTo>
                      <a:lnTo>
                        <a:pt x="284" y="790"/>
                      </a:lnTo>
                      <a:lnTo>
                        <a:pt x="303" y="795"/>
                      </a:lnTo>
                      <a:lnTo>
                        <a:pt x="322" y="799"/>
                      </a:lnTo>
                      <a:lnTo>
                        <a:pt x="342" y="802"/>
                      </a:lnTo>
                      <a:lnTo>
                        <a:pt x="361" y="804"/>
                      </a:lnTo>
                      <a:lnTo>
                        <a:pt x="382" y="806"/>
                      </a:lnTo>
                      <a:lnTo>
                        <a:pt x="402" y="806"/>
                      </a:lnTo>
                      <a:lnTo>
                        <a:pt x="402" y="806"/>
                      </a:lnTo>
                      <a:lnTo>
                        <a:pt x="423" y="806"/>
                      </a:lnTo>
                      <a:lnTo>
                        <a:pt x="443" y="804"/>
                      </a:lnTo>
                      <a:lnTo>
                        <a:pt x="464" y="802"/>
                      </a:lnTo>
                      <a:lnTo>
                        <a:pt x="483" y="799"/>
                      </a:lnTo>
                      <a:lnTo>
                        <a:pt x="502" y="795"/>
                      </a:lnTo>
                      <a:lnTo>
                        <a:pt x="520" y="790"/>
                      </a:lnTo>
                      <a:lnTo>
                        <a:pt x="540" y="783"/>
                      </a:lnTo>
                      <a:lnTo>
                        <a:pt x="558" y="777"/>
                      </a:lnTo>
                      <a:lnTo>
                        <a:pt x="574" y="769"/>
                      </a:lnTo>
                      <a:lnTo>
                        <a:pt x="592" y="760"/>
                      </a:lnTo>
                      <a:lnTo>
                        <a:pt x="609" y="751"/>
                      </a:lnTo>
                      <a:lnTo>
                        <a:pt x="626" y="739"/>
                      </a:lnTo>
                      <a:lnTo>
                        <a:pt x="641" y="728"/>
                      </a:lnTo>
                      <a:lnTo>
                        <a:pt x="658" y="716"/>
                      </a:lnTo>
                      <a:lnTo>
                        <a:pt x="672" y="702"/>
                      </a:lnTo>
                      <a:lnTo>
                        <a:pt x="687" y="688"/>
                      </a:lnTo>
                      <a:lnTo>
                        <a:pt x="687" y="688"/>
                      </a:lnTo>
                      <a:lnTo>
                        <a:pt x="702" y="673"/>
                      </a:lnTo>
                      <a:lnTo>
                        <a:pt x="716" y="658"/>
                      </a:lnTo>
                      <a:lnTo>
                        <a:pt x="727" y="642"/>
                      </a:lnTo>
                      <a:lnTo>
                        <a:pt x="739" y="626"/>
                      </a:lnTo>
                      <a:lnTo>
                        <a:pt x="750" y="610"/>
                      </a:lnTo>
                      <a:lnTo>
                        <a:pt x="759" y="593"/>
                      </a:lnTo>
                      <a:lnTo>
                        <a:pt x="768" y="575"/>
                      </a:lnTo>
                      <a:lnTo>
                        <a:pt x="776" y="558"/>
                      </a:lnTo>
                      <a:lnTo>
                        <a:pt x="783" y="540"/>
                      </a:lnTo>
                      <a:lnTo>
                        <a:pt x="789" y="521"/>
                      </a:lnTo>
                      <a:lnTo>
                        <a:pt x="794" y="503"/>
                      </a:lnTo>
                      <a:lnTo>
                        <a:pt x="798" y="484"/>
                      </a:lnTo>
                      <a:lnTo>
                        <a:pt x="802" y="464"/>
                      </a:lnTo>
                      <a:lnTo>
                        <a:pt x="804" y="444"/>
                      </a:lnTo>
                      <a:lnTo>
                        <a:pt x="806" y="423"/>
                      </a:lnTo>
                      <a:lnTo>
                        <a:pt x="806" y="403"/>
                      </a:lnTo>
                      <a:lnTo>
                        <a:pt x="806" y="403"/>
                      </a:lnTo>
                      <a:lnTo>
                        <a:pt x="806" y="382"/>
                      </a:lnTo>
                      <a:lnTo>
                        <a:pt x="804" y="362"/>
                      </a:lnTo>
                      <a:lnTo>
                        <a:pt x="802" y="342"/>
                      </a:lnTo>
                      <a:lnTo>
                        <a:pt x="798" y="323"/>
                      </a:lnTo>
                      <a:lnTo>
                        <a:pt x="794" y="304"/>
                      </a:lnTo>
                      <a:lnTo>
                        <a:pt x="789" y="285"/>
                      </a:lnTo>
                      <a:lnTo>
                        <a:pt x="783" y="267"/>
                      </a:lnTo>
                      <a:lnTo>
                        <a:pt x="776" y="249"/>
                      </a:lnTo>
                      <a:lnTo>
                        <a:pt x="768" y="231"/>
                      </a:lnTo>
                      <a:lnTo>
                        <a:pt x="759" y="214"/>
                      </a:lnTo>
                      <a:lnTo>
                        <a:pt x="750" y="197"/>
                      </a:lnTo>
                      <a:lnTo>
                        <a:pt x="739" y="180"/>
                      </a:lnTo>
                      <a:lnTo>
                        <a:pt x="727" y="165"/>
                      </a:lnTo>
                      <a:lnTo>
                        <a:pt x="716" y="148"/>
                      </a:lnTo>
                      <a:lnTo>
                        <a:pt x="702" y="134"/>
                      </a:lnTo>
                      <a:lnTo>
                        <a:pt x="687" y="119"/>
                      </a:lnTo>
                      <a:lnTo>
                        <a:pt x="687" y="119"/>
                      </a:lnTo>
                      <a:lnTo>
                        <a:pt x="672" y="105"/>
                      </a:lnTo>
                      <a:lnTo>
                        <a:pt x="658" y="90"/>
                      </a:lnTo>
                      <a:lnTo>
                        <a:pt x="641" y="79"/>
                      </a:lnTo>
                      <a:lnTo>
                        <a:pt x="626" y="67"/>
                      </a:lnTo>
                      <a:lnTo>
                        <a:pt x="609" y="57"/>
                      </a:lnTo>
                      <a:lnTo>
                        <a:pt x="592" y="47"/>
                      </a:lnTo>
                      <a:lnTo>
                        <a:pt x="574" y="38"/>
                      </a:lnTo>
                      <a:lnTo>
                        <a:pt x="558" y="30"/>
                      </a:lnTo>
                      <a:lnTo>
                        <a:pt x="540" y="24"/>
                      </a:lnTo>
                      <a:lnTo>
                        <a:pt x="520" y="17"/>
                      </a:lnTo>
                      <a:lnTo>
                        <a:pt x="502" y="12"/>
                      </a:lnTo>
                      <a:lnTo>
                        <a:pt x="483" y="8"/>
                      </a:lnTo>
                      <a:lnTo>
                        <a:pt x="464" y="4"/>
                      </a:lnTo>
                      <a:lnTo>
                        <a:pt x="443" y="3"/>
                      </a:lnTo>
                      <a:lnTo>
                        <a:pt x="423" y="0"/>
                      </a:lnTo>
                      <a:lnTo>
                        <a:pt x="402" y="0"/>
                      </a:lnTo>
                      <a:lnTo>
                        <a:pt x="402" y="0"/>
                      </a:lnTo>
                      <a:close/>
                    </a:path>
                  </a:pathLst>
                </a:custGeom>
                <a:solidFill>
                  <a:srgbClr val="E3E48D"/>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51" name="Freeform 6">
                  <a:extLst>
                    <a:ext uri="{FF2B5EF4-FFF2-40B4-BE49-F238E27FC236}">
                      <a16:creationId xmlns:a16="http://schemas.microsoft.com/office/drawing/2014/main" id="{7076BE78-C5E4-428A-8865-CF427BD217BA}"/>
                    </a:ext>
                  </a:extLst>
                </p:cNvPr>
                <p:cNvSpPr>
                  <a:spLocks/>
                </p:cNvSpPr>
                <p:nvPr/>
              </p:nvSpPr>
              <p:spPr bwMode="auto">
                <a:xfrm>
                  <a:off x="2036319" y="2980254"/>
                  <a:ext cx="87902" cy="178734"/>
                </a:xfrm>
                <a:custGeom>
                  <a:avLst/>
                  <a:gdLst>
                    <a:gd name="T0" fmla="*/ 0 w 62"/>
                    <a:gd name="T1" fmla="*/ 122 h 122"/>
                    <a:gd name="T2" fmla="*/ 62 w 62"/>
                    <a:gd name="T3" fmla="*/ 61 h 122"/>
                    <a:gd name="T4" fmla="*/ 0 w 62"/>
                    <a:gd name="T5" fmla="*/ 0 h 122"/>
                  </a:gdLst>
                  <a:ahLst/>
                  <a:cxnLst>
                    <a:cxn ang="0">
                      <a:pos x="T0" y="T1"/>
                    </a:cxn>
                    <a:cxn ang="0">
                      <a:pos x="T2" y="T3"/>
                    </a:cxn>
                    <a:cxn ang="0">
                      <a:pos x="T4" y="T5"/>
                    </a:cxn>
                  </a:cxnLst>
                  <a:rect l="0" t="0" r="r" b="b"/>
                  <a:pathLst>
                    <a:path w="62" h="122">
                      <a:moveTo>
                        <a:pt x="0" y="122"/>
                      </a:moveTo>
                      <a:lnTo>
                        <a:pt x="62" y="61"/>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52" name="Line 7">
                  <a:extLst>
                    <a:ext uri="{FF2B5EF4-FFF2-40B4-BE49-F238E27FC236}">
                      <a16:creationId xmlns:a16="http://schemas.microsoft.com/office/drawing/2014/main" id="{6B55D0CC-30C0-4DC6-93E9-21365F9337D4}"/>
                    </a:ext>
                  </a:extLst>
                </p:cNvPr>
                <p:cNvSpPr>
                  <a:spLocks noChangeShapeType="1"/>
                </p:cNvSpPr>
                <p:nvPr/>
              </p:nvSpPr>
              <p:spPr bwMode="auto">
                <a:xfrm flipH="1">
                  <a:off x="1772614" y="3068155"/>
                  <a:ext cx="32523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53" name="Freeform 8">
                  <a:extLst>
                    <a:ext uri="{FF2B5EF4-FFF2-40B4-BE49-F238E27FC236}">
                      <a16:creationId xmlns:a16="http://schemas.microsoft.com/office/drawing/2014/main" id="{324ABB5E-4EF5-49EF-B7A9-70EA9CA17A15}"/>
                    </a:ext>
                  </a:extLst>
                </p:cNvPr>
                <p:cNvSpPr>
                  <a:spLocks/>
                </p:cNvSpPr>
                <p:nvPr/>
              </p:nvSpPr>
              <p:spPr bwMode="auto">
                <a:xfrm>
                  <a:off x="468738" y="2980254"/>
                  <a:ext cx="87902" cy="178734"/>
                </a:xfrm>
                <a:custGeom>
                  <a:avLst/>
                  <a:gdLst>
                    <a:gd name="T0" fmla="*/ 60 w 60"/>
                    <a:gd name="T1" fmla="*/ 0 h 122"/>
                    <a:gd name="T2" fmla="*/ 0 w 60"/>
                    <a:gd name="T3" fmla="*/ 61 h 122"/>
                    <a:gd name="T4" fmla="*/ 60 w 60"/>
                    <a:gd name="T5" fmla="*/ 122 h 122"/>
                  </a:gdLst>
                  <a:ahLst/>
                  <a:cxnLst>
                    <a:cxn ang="0">
                      <a:pos x="T0" y="T1"/>
                    </a:cxn>
                    <a:cxn ang="0">
                      <a:pos x="T2" y="T3"/>
                    </a:cxn>
                    <a:cxn ang="0">
                      <a:pos x="T4" y="T5"/>
                    </a:cxn>
                  </a:cxnLst>
                  <a:rect l="0" t="0" r="r" b="b"/>
                  <a:pathLst>
                    <a:path w="60" h="122">
                      <a:moveTo>
                        <a:pt x="60" y="0"/>
                      </a:moveTo>
                      <a:lnTo>
                        <a:pt x="0" y="61"/>
                      </a:lnTo>
                      <a:lnTo>
                        <a:pt x="60" y="122"/>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54" name="Line 9">
                  <a:extLst>
                    <a:ext uri="{FF2B5EF4-FFF2-40B4-BE49-F238E27FC236}">
                      <a16:creationId xmlns:a16="http://schemas.microsoft.com/office/drawing/2014/main" id="{246ECD0A-9761-4658-8649-3605D4E3B055}"/>
                    </a:ext>
                  </a:extLst>
                </p:cNvPr>
                <p:cNvSpPr>
                  <a:spLocks noChangeShapeType="1"/>
                </p:cNvSpPr>
                <p:nvPr/>
              </p:nvSpPr>
              <p:spPr bwMode="auto">
                <a:xfrm>
                  <a:off x="492178" y="3068155"/>
                  <a:ext cx="328167" cy="0"/>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nvGrpSpPr>
                <p:cNvPr id="955" name="Group 954">
                  <a:extLst>
                    <a:ext uri="{FF2B5EF4-FFF2-40B4-BE49-F238E27FC236}">
                      <a16:creationId xmlns:a16="http://schemas.microsoft.com/office/drawing/2014/main" id="{62445874-1D57-4F51-8CFF-80D210A27FD5}"/>
                    </a:ext>
                  </a:extLst>
                </p:cNvPr>
                <p:cNvGrpSpPr/>
                <p:nvPr/>
              </p:nvGrpSpPr>
              <p:grpSpPr>
                <a:xfrm>
                  <a:off x="1207113" y="2241878"/>
                  <a:ext cx="178734" cy="348678"/>
                  <a:chOff x="1207113" y="2241878"/>
                  <a:chExt cx="178734" cy="348678"/>
                </a:xfrm>
              </p:grpSpPr>
              <p:sp>
                <p:nvSpPr>
                  <p:cNvPr id="978" name="Freeform 10">
                    <a:extLst>
                      <a:ext uri="{FF2B5EF4-FFF2-40B4-BE49-F238E27FC236}">
                        <a16:creationId xmlns:a16="http://schemas.microsoft.com/office/drawing/2014/main" id="{0B1585A1-7D51-47AC-AFCE-39C675648A7D}"/>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79" name="Line 11">
                    <a:extLst>
                      <a:ext uri="{FF2B5EF4-FFF2-40B4-BE49-F238E27FC236}">
                        <a16:creationId xmlns:a16="http://schemas.microsoft.com/office/drawing/2014/main" id="{28B42FF1-A816-4A05-A060-A9A42D37AF4D}"/>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sp>
              <p:nvSpPr>
                <p:cNvPr id="956" name="Freeform 12">
                  <a:extLst>
                    <a:ext uri="{FF2B5EF4-FFF2-40B4-BE49-F238E27FC236}">
                      <a16:creationId xmlns:a16="http://schemas.microsoft.com/office/drawing/2014/main" id="{3AB2E275-A633-441B-81C3-4FC54FED383E}"/>
                    </a:ext>
                  </a:extLst>
                </p:cNvPr>
                <p:cNvSpPr>
                  <a:spLocks/>
                </p:cNvSpPr>
                <p:nvPr/>
              </p:nvSpPr>
              <p:spPr bwMode="auto">
                <a:xfrm>
                  <a:off x="1755034" y="2485073"/>
                  <a:ext cx="128923" cy="125993"/>
                </a:xfrm>
                <a:custGeom>
                  <a:avLst/>
                  <a:gdLst>
                    <a:gd name="T0" fmla="*/ 87 w 87"/>
                    <a:gd name="T1" fmla="*/ 86 h 86"/>
                    <a:gd name="T2" fmla="*/ 87 w 87"/>
                    <a:gd name="T3" fmla="*/ 0 h 86"/>
                    <a:gd name="T4" fmla="*/ 0 w 87"/>
                    <a:gd name="T5" fmla="*/ 0 h 86"/>
                  </a:gdLst>
                  <a:ahLst/>
                  <a:cxnLst>
                    <a:cxn ang="0">
                      <a:pos x="T0" y="T1"/>
                    </a:cxn>
                    <a:cxn ang="0">
                      <a:pos x="T2" y="T3"/>
                    </a:cxn>
                    <a:cxn ang="0">
                      <a:pos x="T4" y="T5"/>
                    </a:cxn>
                  </a:cxnLst>
                  <a:rect l="0" t="0" r="r" b="b"/>
                  <a:pathLst>
                    <a:path w="87" h="86">
                      <a:moveTo>
                        <a:pt x="87" y="86"/>
                      </a:moveTo>
                      <a:lnTo>
                        <a:pt x="87" y="0"/>
                      </a:lnTo>
                      <a:lnTo>
                        <a:pt x="0"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57" name="Line 13">
                  <a:extLst>
                    <a:ext uri="{FF2B5EF4-FFF2-40B4-BE49-F238E27FC236}">
                      <a16:creationId xmlns:a16="http://schemas.microsoft.com/office/drawing/2014/main" id="{7B41B5B2-3DF8-4358-AFD0-05FC51941C85}"/>
                    </a:ext>
                  </a:extLst>
                </p:cNvPr>
                <p:cNvSpPr>
                  <a:spLocks noChangeShapeType="1"/>
                </p:cNvSpPr>
                <p:nvPr/>
              </p:nvSpPr>
              <p:spPr bwMode="auto">
                <a:xfrm flipH="1">
                  <a:off x="1634901"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58" name="Freeform 14">
                  <a:extLst>
                    <a:ext uri="{FF2B5EF4-FFF2-40B4-BE49-F238E27FC236}">
                      <a16:creationId xmlns:a16="http://schemas.microsoft.com/office/drawing/2014/main" id="{40C89E04-34E0-47FA-A8F4-E7B791292429}"/>
                    </a:ext>
                  </a:extLst>
                </p:cNvPr>
                <p:cNvSpPr>
                  <a:spLocks/>
                </p:cNvSpPr>
                <p:nvPr/>
              </p:nvSpPr>
              <p:spPr bwMode="auto">
                <a:xfrm>
                  <a:off x="709003" y="3528175"/>
                  <a:ext cx="128923" cy="125993"/>
                </a:xfrm>
                <a:custGeom>
                  <a:avLst/>
                  <a:gdLst>
                    <a:gd name="T0" fmla="*/ 0 w 87"/>
                    <a:gd name="T1" fmla="*/ 0 h 88"/>
                    <a:gd name="T2" fmla="*/ 0 w 87"/>
                    <a:gd name="T3" fmla="*/ 88 h 88"/>
                    <a:gd name="T4" fmla="*/ 87 w 87"/>
                    <a:gd name="T5" fmla="*/ 88 h 88"/>
                  </a:gdLst>
                  <a:ahLst/>
                  <a:cxnLst>
                    <a:cxn ang="0">
                      <a:pos x="T0" y="T1"/>
                    </a:cxn>
                    <a:cxn ang="0">
                      <a:pos x="T2" y="T3"/>
                    </a:cxn>
                    <a:cxn ang="0">
                      <a:pos x="T4" y="T5"/>
                    </a:cxn>
                  </a:cxnLst>
                  <a:rect l="0" t="0" r="r" b="b"/>
                  <a:pathLst>
                    <a:path w="87" h="88">
                      <a:moveTo>
                        <a:pt x="0" y="0"/>
                      </a:moveTo>
                      <a:lnTo>
                        <a:pt x="0" y="88"/>
                      </a:lnTo>
                      <a:lnTo>
                        <a:pt x="87" y="88"/>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59" name="Line 15">
                  <a:extLst>
                    <a:ext uri="{FF2B5EF4-FFF2-40B4-BE49-F238E27FC236}">
                      <a16:creationId xmlns:a16="http://schemas.microsoft.com/office/drawing/2014/main" id="{F6CD0603-3123-4156-B123-432038810F72}"/>
                    </a:ext>
                  </a:extLst>
                </p:cNvPr>
                <p:cNvSpPr>
                  <a:spLocks noChangeShapeType="1"/>
                </p:cNvSpPr>
                <p:nvPr/>
              </p:nvSpPr>
              <p:spPr bwMode="auto">
                <a:xfrm flipV="1">
                  <a:off x="726583"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60" name="Freeform 16">
                  <a:extLst>
                    <a:ext uri="{FF2B5EF4-FFF2-40B4-BE49-F238E27FC236}">
                      <a16:creationId xmlns:a16="http://schemas.microsoft.com/office/drawing/2014/main" id="{06335BC0-90D2-41ED-A74D-AE3633491586}"/>
                    </a:ext>
                  </a:extLst>
                </p:cNvPr>
                <p:cNvSpPr>
                  <a:spLocks/>
                </p:cNvSpPr>
                <p:nvPr/>
              </p:nvSpPr>
              <p:spPr bwMode="auto">
                <a:xfrm>
                  <a:off x="1755034" y="3528175"/>
                  <a:ext cx="128923" cy="125993"/>
                </a:xfrm>
                <a:custGeom>
                  <a:avLst/>
                  <a:gdLst>
                    <a:gd name="T0" fmla="*/ 0 w 87"/>
                    <a:gd name="T1" fmla="*/ 88 h 88"/>
                    <a:gd name="T2" fmla="*/ 87 w 87"/>
                    <a:gd name="T3" fmla="*/ 88 h 88"/>
                    <a:gd name="T4" fmla="*/ 87 w 87"/>
                    <a:gd name="T5" fmla="*/ 0 h 88"/>
                  </a:gdLst>
                  <a:ahLst/>
                  <a:cxnLst>
                    <a:cxn ang="0">
                      <a:pos x="T0" y="T1"/>
                    </a:cxn>
                    <a:cxn ang="0">
                      <a:pos x="T2" y="T3"/>
                    </a:cxn>
                    <a:cxn ang="0">
                      <a:pos x="T4" y="T5"/>
                    </a:cxn>
                  </a:cxnLst>
                  <a:rect l="0" t="0" r="r" b="b"/>
                  <a:pathLst>
                    <a:path w="87" h="88">
                      <a:moveTo>
                        <a:pt x="0" y="88"/>
                      </a:moveTo>
                      <a:lnTo>
                        <a:pt x="87" y="88"/>
                      </a:lnTo>
                      <a:lnTo>
                        <a:pt x="87" y="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61" name="Line 17">
                  <a:extLst>
                    <a:ext uri="{FF2B5EF4-FFF2-40B4-BE49-F238E27FC236}">
                      <a16:creationId xmlns:a16="http://schemas.microsoft.com/office/drawing/2014/main" id="{399D729A-9106-4BF6-8E07-394026D00AD3}"/>
                    </a:ext>
                  </a:extLst>
                </p:cNvPr>
                <p:cNvSpPr>
                  <a:spLocks noChangeShapeType="1"/>
                </p:cNvSpPr>
                <p:nvPr/>
              </p:nvSpPr>
              <p:spPr bwMode="auto">
                <a:xfrm flipH="1" flipV="1">
                  <a:off x="1634901" y="3408042"/>
                  <a:ext cx="231475" cy="22854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62" name="Freeform 18">
                  <a:extLst>
                    <a:ext uri="{FF2B5EF4-FFF2-40B4-BE49-F238E27FC236}">
                      <a16:creationId xmlns:a16="http://schemas.microsoft.com/office/drawing/2014/main" id="{55FDDD95-FB95-4448-90A6-3EAC6EF8C770}"/>
                    </a:ext>
                  </a:extLst>
                </p:cNvPr>
                <p:cNvSpPr>
                  <a:spLocks/>
                </p:cNvSpPr>
                <p:nvPr/>
              </p:nvSpPr>
              <p:spPr bwMode="auto">
                <a:xfrm>
                  <a:off x="709003" y="2485073"/>
                  <a:ext cx="128923" cy="125993"/>
                </a:xfrm>
                <a:custGeom>
                  <a:avLst/>
                  <a:gdLst>
                    <a:gd name="T0" fmla="*/ 87 w 87"/>
                    <a:gd name="T1" fmla="*/ 0 h 86"/>
                    <a:gd name="T2" fmla="*/ 0 w 87"/>
                    <a:gd name="T3" fmla="*/ 0 h 86"/>
                    <a:gd name="T4" fmla="*/ 0 w 87"/>
                    <a:gd name="T5" fmla="*/ 86 h 86"/>
                  </a:gdLst>
                  <a:ahLst/>
                  <a:cxnLst>
                    <a:cxn ang="0">
                      <a:pos x="T0" y="T1"/>
                    </a:cxn>
                    <a:cxn ang="0">
                      <a:pos x="T2" y="T3"/>
                    </a:cxn>
                    <a:cxn ang="0">
                      <a:pos x="T4" y="T5"/>
                    </a:cxn>
                  </a:cxnLst>
                  <a:rect l="0" t="0" r="r" b="b"/>
                  <a:pathLst>
                    <a:path w="87" h="86">
                      <a:moveTo>
                        <a:pt x="87" y="0"/>
                      </a:moveTo>
                      <a:lnTo>
                        <a:pt x="0" y="0"/>
                      </a:lnTo>
                      <a:lnTo>
                        <a:pt x="0" y="86"/>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63" name="Line 19">
                  <a:extLst>
                    <a:ext uri="{FF2B5EF4-FFF2-40B4-BE49-F238E27FC236}">
                      <a16:creationId xmlns:a16="http://schemas.microsoft.com/office/drawing/2014/main" id="{A1AA1CB1-330D-4755-91EA-C5DAB9D08927}"/>
                    </a:ext>
                  </a:extLst>
                </p:cNvPr>
                <p:cNvSpPr>
                  <a:spLocks noChangeShapeType="1"/>
                </p:cNvSpPr>
                <p:nvPr/>
              </p:nvSpPr>
              <p:spPr bwMode="auto">
                <a:xfrm>
                  <a:off x="726583" y="2499724"/>
                  <a:ext cx="231475" cy="231475"/>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64" name="Freeform 35">
                  <a:extLst>
                    <a:ext uri="{FF2B5EF4-FFF2-40B4-BE49-F238E27FC236}">
                      <a16:creationId xmlns:a16="http://schemas.microsoft.com/office/drawing/2014/main" id="{793D32DD-0FFE-4E37-94AC-FF7AF8112937}"/>
                    </a:ext>
                  </a:extLst>
                </p:cNvPr>
                <p:cNvSpPr>
                  <a:spLocks noEditPoints="1"/>
                </p:cNvSpPr>
                <p:nvPr/>
              </p:nvSpPr>
              <p:spPr bwMode="auto">
                <a:xfrm>
                  <a:off x="955127" y="2731198"/>
                  <a:ext cx="668054" cy="577222"/>
                </a:xfrm>
                <a:custGeom>
                  <a:avLst/>
                  <a:gdLst>
                    <a:gd name="T0" fmla="*/ 118 w 455"/>
                    <a:gd name="T1" fmla="*/ 28 h 393"/>
                    <a:gd name="T2" fmla="*/ 65 w 455"/>
                    <a:gd name="T3" fmla="*/ 69 h 393"/>
                    <a:gd name="T4" fmla="*/ 37 w 455"/>
                    <a:gd name="T5" fmla="*/ 104 h 393"/>
                    <a:gd name="T6" fmla="*/ 17 w 455"/>
                    <a:gd name="T7" fmla="*/ 143 h 393"/>
                    <a:gd name="T8" fmla="*/ 1 w 455"/>
                    <a:gd name="T9" fmla="*/ 207 h 393"/>
                    <a:gd name="T10" fmla="*/ 1 w 455"/>
                    <a:gd name="T11" fmla="*/ 252 h 393"/>
                    <a:gd name="T12" fmla="*/ 18 w 455"/>
                    <a:gd name="T13" fmla="*/ 316 h 393"/>
                    <a:gd name="T14" fmla="*/ 38 w 455"/>
                    <a:gd name="T15" fmla="*/ 355 h 393"/>
                    <a:gd name="T16" fmla="*/ 65 w 455"/>
                    <a:gd name="T17" fmla="*/ 323 h 393"/>
                    <a:gd name="T18" fmla="*/ 68 w 455"/>
                    <a:gd name="T19" fmla="*/ 306 h 393"/>
                    <a:gd name="T20" fmla="*/ 77 w 455"/>
                    <a:gd name="T21" fmla="*/ 289 h 393"/>
                    <a:gd name="T22" fmla="*/ 98 w 455"/>
                    <a:gd name="T23" fmla="*/ 270 h 393"/>
                    <a:gd name="T24" fmla="*/ 135 w 455"/>
                    <a:gd name="T25" fmla="*/ 258 h 393"/>
                    <a:gd name="T26" fmla="*/ 223 w 455"/>
                    <a:gd name="T27" fmla="*/ 248 h 393"/>
                    <a:gd name="T28" fmla="*/ 312 w 455"/>
                    <a:gd name="T29" fmla="*/ 257 h 393"/>
                    <a:gd name="T30" fmla="*/ 349 w 455"/>
                    <a:gd name="T31" fmla="*/ 269 h 393"/>
                    <a:gd name="T32" fmla="*/ 370 w 455"/>
                    <a:gd name="T33" fmla="*/ 287 h 393"/>
                    <a:gd name="T34" fmla="*/ 379 w 455"/>
                    <a:gd name="T35" fmla="*/ 303 h 393"/>
                    <a:gd name="T36" fmla="*/ 383 w 455"/>
                    <a:gd name="T37" fmla="*/ 393 h 393"/>
                    <a:gd name="T38" fmla="*/ 405 w 455"/>
                    <a:gd name="T39" fmla="*/ 370 h 393"/>
                    <a:gd name="T40" fmla="*/ 438 w 455"/>
                    <a:gd name="T41" fmla="*/ 312 h 393"/>
                    <a:gd name="T42" fmla="*/ 451 w 455"/>
                    <a:gd name="T43" fmla="*/ 270 h 393"/>
                    <a:gd name="T44" fmla="*/ 455 w 455"/>
                    <a:gd name="T45" fmla="*/ 226 h 393"/>
                    <a:gd name="T46" fmla="*/ 444 w 455"/>
                    <a:gd name="T47" fmla="*/ 161 h 393"/>
                    <a:gd name="T48" fmla="*/ 426 w 455"/>
                    <a:gd name="T49" fmla="*/ 120 h 393"/>
                    <a:gd name="T50" fmla="*/ 387 w 455"/>
                    <a:gd name="T51" fmla="*/ 66 h 393"/>
                    <a:gd name="T52" fmla="*/ 352 w 455"/>
                    <a:gd name="T53" fmla="*/ 37 h 393"/>
                    <a:gd name="T54" fmla="*/ 312 w 455"/>
                    <a:gd name="T55" fmla="*/ 17 h 393"/>
                    <a:gd name="T56" fmla="*/ 248 w 455"/>
                    <a:gd name="T57" fmla="*/ 1 h 393"/>
                    <a:gd name="T58" fmla="*/ 203 w 455"/>
                    <a:gd name="T59" fmla="*/ 1 h 393"/>
                    <a:gd name="T60" fmla="*/ 139 w 455"/>
                    <a:gd name="T61" fmla="*/ 18 h 393"/>
                    <a:gd name="T62" fmla="*/ 214 w 455"/>
                    <a:gd name="T63" fmla="*/ 245 h 393"/>
                    <a:gd name="T64" fmla="*/ 193 w 455"/>
                    <a:gd name="T65" fmla="*/ 240 h 393"/>
                    <a:gd name="T66" fmla="*/ 166 w 455"/>
                    <a:gd name="T67" fmla="*/ 222 h 393"/>
                    <a:gd name="T68" fmla="*/ 151 w 455"/>
                    <a:gd name="T69" fmla="*/ 204 h 393"/>
                    <a:gd name="T70" fmla="*/ 144 w 455"/>
                    <a:gd name="T71" fmla="*/ 182 h 393"/>
                    <a:gd name="T72" fmla="*/ 142 w 455"/>
                    <a:gd name="T73" fmla="*/ 158 h 393"/>
                    <a:gd name="T74" fmla="*/ 148 w 455"/>
                    <a:gd name="T75" fmla="*/ 135 h 393"/>
                    <a:gd name="T76" fmla="*/ 166 w 455"/>
                    <a:gd name="T77" fmla="*/ 109 h 393"/>
                    <a:gd name="T78" fmla="*/ 184 w 455"/>
                    <a:gd name="T79" fmla="*/ 95 h 393"/>
                    <a:gd name="T80" fmla="*/ 205 w 455"/>
                    <a:gd name="T81" fmla="*/ 87 h 393"/>
                    <a:gd name="T82" fmla="*/ 238 w 455"/>
                    <a:gd name="T83" fmla="*/ 86 h 393"/>
                    <a:gd name="T84" fmla="*/ 259 w 455"/>
                    <a:gd name="T85" fmla="*/ 94 h 393"/>
                    <a:gd name="T86" fmla="*/ 279 w 455"/>
                    <a:gd name="T87" fmla="*/ 108 h 393"/>
                    <a:gd name="T88" fmla="*/ 297 w 455"/>
                    <a:gd name="T89" fmla="*/ 134 h 393"/>
                    <a:gd name="T90" fmla="*/ 303 w 455"/>
                    <a:gd name="T91" fmla="*/ 164 h 393"/>
                    <a:gd name="T92" fmla="*/ 302 w 455"/>
                    <a:gd name="T93" fmla="*/ 181 h 393"/>
                    <a:gd name="T94" fmla="*/ 294 w 455"/>
                    <a:gd name="T95" fmla="*/ 203 h 393"/>
                    <a:gd name="T96" fmla="*/ 280 w 455"/>
                    <a:gd name="T97" fmla="*/ 222 h 393"/>
                    <a:gd name="T98" fmla="*/ 254 w 455"/>
                    <a:gd name="T99" fmla="*/ 239 h 393"/>
                    <a:gd name="T100" fmla="*/ 223 w 455"/>
                    <a:gd name="T101" fmla="*/ 24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close/>
                      <a:moveTo>
                        <a:pt x="223" y="245"/>
                      </a:moveTo>
                      <a:lnTo>
                        <a:pt x="223" y="245"/>
                      </a:lnTo>
                      <a:lnTo>
                        <a:pt x="214" y="245"/>
                      </a:lnTo>
                      <a:lnTo>
                        <a:pt x="207" y="244"/>
                      </a:lnTo>
                      <a:lnTo>
                        <a:pt x="199" y="243"/>
                      </a:lnTo>
                      <a:lnTo>
                        <a:pt x="193" y="240"/>
                      </a:lnTo>
                      <a:lnTo>
                        <a:pt x="185" y="236"/>
                      </a:lnTo>
                      <a:lnTo>
                        <a:pt x="178" y="233"/>
                      </a:lnTo>
                      <a:lnTo>
                        <a:pt x="166" y="222"/>
                      </a:lnTo>
                      <a:lnTo>
                        <a:pt x="166" y="222"/>
                      </a:lnTo>
                      <a:lnTo>
                        <a:pt x="155" y="211"/>
                      </a:lnTo>
                      <a:lnTo>
                        <a:pt x="151" y="204"/>
                      </a:lnTo>
                      <a:lnTo>
                        <a:pt x="148" y="197"/>
                      </a:lnTo>
                      <a:lnTo>
                        <a:pt x="145" y="190"/>
                      </a:lnTo>
                      <a:lnTo>
                        <a:pt x="144" y="182"/>
                      </a:lnTo>
                      <a:lnTo>
                        <a:pt x="142" y="166"/>
                      </a:lnTo>
                      <a:lnTo>
                        <a:pt x="142" y="166"/>
                      </a:lnTo>
                      <a:lnTo>
                        <a:pt x="142" y="158"/>
                      </a:lnTo>
                      <a:lnTo>
                        <a:pt x="144" y="150"/>
                      </a:lnTo>
                      <a:lnTo>
                        <a:pt x="145" y="143"/>
                      </a:lnTo>
                      <a:lnTo>
                        <a:pt x="148" y="135"/>
                      </a:lnTo>
                      <a:lnTo>
                        <a:pt x="151" y="129"/>
                      </a:lnTo>
                      <a:lnTo>
                        <a:pt x="155" y="122"/>
                      </a:lnTo>
                      <a:lnTo>
                        <a:pt x="166" y="109"/>
                      </a:lnTo>
                      <a:lnTo>
                        <a:pt x="166" y="109"/>
                      </a:lnTo>
                      <a:lnTo>
                        <a:pt x="177" y="99"/>
                      </a:lnTo>
                      <a:lnTo>
                        <a:pt x="184" y="95"/>
                      </a:lnTo>
                      <a:lnTo>
                        <a:pt x="191" y="91"/>
                      </a:lnTo>
                      <a:lnTo>
                        <a:pt x="198" y="89"/>
                      </a:lnTo>
                      <a:lnTo>
                        <a:pt x="205" y="87"/>
                      </a:lnTo>
                      <a:lnTo>
                        <a:pt x="222" y="85"/>
                      </a:lnTo>
                      <a:lnTo>
                        <a:pt x="222" y="85"/>
                      </a:lnTo>
                      <a:lnTo>
                        <a:pt x="238" y="86"/>
                      </a:lnTo>
                      <a:lnTo>
                        <a:pt x="245" y="89"/>
                      </a:lnTo>
                      <a:lnTo>
                        <a:pt x="253" y="91"/>
                      </a:lnTo>
                      <a:lnTo>
                        <a:pt x="259" y="94"/>
                      </a:lnTo>
                      <a:lnTo>
                        <a:pt x="266" y="98"/>
                      </a:lnTo>
                      <a:lnTo>
                        <a:pt x="279" y="108"/>
                      </a:lnTo>
                      <a:lnTo>
                        <a:pt x="279" y="108"/>
                      </a:lnTo>
                      <a:lnTo>
                        <a:pt x="289" y="121"/>
                      </a:lnTo>
                      <a:lnTo>
                        <a:pt x="293" y="127"/>
                      </a:lnTo>
                      <a:lnTo>
                        <a:pt x="297" y="134"/>
                      </a:lnTo>
                      <a:lnTo>
                        <a:pt x="299" y="141"/>
                      </a:lnTo>
                      <a:lnTo>
                        <a:pt x="302" y="149"/>
                      </a:lnTo>
                      <a:lnTo>
                        <a:pt x="303" y="164"/>
                      </a:lnTo>
                      <a:lnTo>
                        <a:pt x="303" y="164"/>
                      </a:lnTo>
                      <a:lnTo>
                        <a:pt x="303" y="173"/>
                      </a:lnTo>
                      <a:lnTo>
                        <a:pt x="302" y="181"/>
                      </a:lnTo>
                      <a:lnTo>
                        <a:pt x="299" y="189"/>
                      </a:lnTo>
                      <a:lnTo>
                        <a:pt x="297" y="195"/>
                      </a:lnTo>
                      <a:lnTo>
                        <a:pt x="294" y="203"/>
                      </a:lnTo>
                      <a:lnTo>
                        <a:pt x="290" y="209"/>
                      </a:lnTo>
                      <a:lnTo>
                        <a:pt x="280" y="222"/>
                      </a:lnTo>
                      <a:lnTo>
                        <a:pt x="280" y="222"/>
                      </a:lnTo>
                      <a:lnTo>
                        <a:pt x="267" y="233"/>
                      </a:lnTo>
                      <a:lnTo>
                        <a:pt x="261" y="236"/>
                      </a:lnTo>
                      <a:lnTo>
                        <a:pt x="254" y="239"/>
                      </a:lnTo>
                      <a:lnTo>
                        <a:pt x="247" y="242"/>
                      </a:lnTo>
                      <a:lnTo>
                        <a:pt x="239" y="244"/>
                      </a:lnTo>
                      <a:lnTo>
                        <a:pt x="223" y="245"/>
                      </a:lnTo>
                      <a:lnTo>
                        <a:pt x="223" y="245"/>
                      </a:lnTo>
                      <a:close/>
                    </a:path>
                  </a:pathLst>
                </a:custGeom>
                <a:solidFill>
                  <a:srgbClr val="47B8EB"/>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65" name="Freeform 36">
                  <a:extLst>
                    <a:ext uri="{FF2B5EF4-FFF2-40B4-BE49-F238E27FC236}">
                      <a16:creationId xmlns:a16="http://schemas.microsoft.com/office/drawing/2014/main" id="{656FEB53-61DD-4D9C-B3D3-E947DF6AA787}"/>
                    </a:ext>
                  </a:extLst>
                </p:cNvPr>
                <p:cNvSpPr>
                  <a:spLocks/>
                </p:cNvSpPr>
                <p:nvPr/>
              </p:nvSpPr>
              <p:spPr bwMode="auto">
                <a:xfrm>
                  <a:off x="955127" y="2731198"/>
                  <a:ext cx="668054" cy="577222"/>
                </a:xfrm>
                <a:custGeom>
                  <a:avLst/>
                  <a:gdLst>
                    <a:gd name="T0" fmla="*/ 139 w 455"/>
                    <a:gd name="T1" fmla="*/ 18 h 393"/>
                    <a:gd name="T2" fmla="*/ 99 w 455"/>
                    <a:gd name="T3" fmla="*/ 40 h 393"/>
                    <a:gd name="T4" fmla="*/ 65 w 455"/>
                    <a:gd name="T5" fmla="*/ 69 h 393"/>
                    <a:gd name="T6" fmla="*/ 50 w 455"/>
                    <a:gd name="T7" fmla="*/ 86 h 393"/>
                    <a:gd name="T8" fmla="*/ 26 w 455"/>
                    <a:gd name="T9" fmla="*/ 122 h 393"/>
                    <a:gd name="T10" fmla="*/ 17 w 455"/>
                    <a:gd name="T11" fmla="*/ 143 h 393"/>
                    <a:gd name="T12" fmla="*/ 4 w 455"/>
                    <a:gd name="T13" fmla="*/ 185 h 393"/>
                    <a:gd name="T14" fmla="*/ 0 w 455"/>
                    <a:gd name="T15" fmla="*/ 230 h 393"/>
                    <a:gd name="T16" fmla="*/ 1 w 455"/>
                    <a:gd name="T17" fmla="*/ 252 h 393"/>
                    <a:gd name="T18" fmla="*/ 10 w 455"/>
                    <a:gd name="T19" fmla="*/ 296 h 393"/>
                    <a:gd name="T20" fmla="*/ 18 w 455"/>
                    <a:gd name="T21" fmla="*/ 316 h 393"/>
                    <a:gd name="T22" fmla="*/ 38 w 455"/>
                    <a:gd name="T23" fmla="*/ 355 h 393"/>
                    <a:gd name="T24" fmla="*/ 67 w 455"/>
                    <a:gd name="T25" fmla="*/ 388 h 393"/>
                    <a:gd name="T26" fmla="*/ 65 w 455"/>
                    <a:gd name="T27" fmla="*/ 323 h 393"/>
                    <a:gd name="T28" fmla="*/ 68 w 455"/>
                    <a:gd name="T29" fmla="*/ 306 h 393"/>
                    <a:gd name="T30" fmla="*/ 77 w 455"/>
                    <a:gd name="T31" fmla="*/ 289 h 393"/>
                    <a:gd name="T32" fmla="*/ 83 w 455"/>
                    <a:gd name="T33" fmla="*/ 281 h 393"/>
                    <a:gd name="T34" fmla="*/ 98 w 455"/>
                    <a:gd name="T35" fmla="*/ 270 h 393"/>
                    <a:gd name="T36" fmla="*/ 105 w 455"/>
                    <a:gd name="T37" fmla="*/ 267 h 393"/>
                    <a:gd name="T38" fmla="*/ 164 w 455"/>
                    <a:gd name="T39" fmla="*/ 253 h 393"/>
                    <a:gd name="T40" fmla="*/ 223 w 455"/>
                    <a:gd name="T41" fmla="*/ 248 h 393"/>
                    <a:gd name="T42" fmla="*/ 283 w 455"/>
                    <a:gd name="T43" fmla="*/ 252 h 393"/>
                    <a:gd name="T44" fmla="*/ 342 w 455"/>
                    <a:gd name="T45" fmla="*/ 265 h 393"/>
                    <a:gd name="T46" fmla="*/ 349 w 455"/>
                    <a:gd name="T47" fmla="*/ 269 h 393"/>
                    <a:gd name="T48" fmla="*/ 364 w 455"/>
                    <a:gd name="T49" fmla="*/ 279 h 393"/>
                    <a:gd name="T50" fmla="*/ 370 w 455"/>
                    <a:gd name="T51" fmla="*/ 287 h 393"/>
                    <a:gd name="T52" fmla="*/ 379 w 455"/>
                    <a:gd name="T53" fmla="*/ 303 h 393"/>
                    <a:gd name="T54" fmla="*/ 382 w 455"/>
                    <a:gd name="T55" fmla="*/ 320 h 393"/>
                    <a:gd name="T56" fmla="*/ 389 w 455"/>
                    <a:gd name="T57" fmla="*/ 387 h 393"/>
                    <a:gd name="T58" fmla="*/ 405 w 455"/>
                    <a:gd name="T59" fmla="*/ 370 h 393"/>
                    <a:gd name="T60" fmla="*/ 429 w 455"/>
                    <a:gd name="T61" fmla="*/ 333 h 393"/>
                    <a:gd name="T62" fmla="*/ 438 w 455"/>
                    <a:gd name="T63" fmla="*/ 312 h 393"/>
                    <a:gd name="T64" fmla="*/ 451 w 455"/>
                    <a:gd name="T65" fmla="*/ 270 h 393"/>
                    <a:gd name="T66" fmla="*/ 455 w 455"/>
                    <a:gd name="T67" fmla="*/ 226 h 393"/>
                    <a:gd name="T68" fmla="*/ 453 w 455"/>
                    <a:gd name="T69" fmla="*/ 203 h 393"/>
                    <a:gd name="T70" fmla="*/ 444 w 455"/>
                    <a:gd name="T71" fmla="*/ 161 h 393"/>
                    <a:gd name="T72" fmla="*/ 437 w 455"/>
                    <a:gd name="T73" fmla="*/ 139 h 393"/>
                    <a:gd name="T74" fmla="*/ 415 w 455"/>
                    <a:gd name="T75" fmla="*/ 100 h 393"/>
                    <a:gd name="T76" fmla="*/ 387 w 455"/>
                    <a:gd name="T77" fmla="*/ 66 h 393"/>
                    <a:gd name="T78" fmla="*/ 370 w 455"/>
                    <a:gd name="T79" fmla="*/ 50 h 393"/>
                    <a:gd name="T80" fmla="*/ 333 w 455"/>
                    <a:gd name="T81" fmla="*/ 27 h 393"/>
                    <a:gd name="T82" fmla="*/ 312 w 455"/>
                    <a:gd name="T83" fmla="*/ 17 h 393"/>
                    <a:gd name="T84" fmla="*/ 270 w 455"/>
                    <a:gd name="T85" fmla="*/ 5 h 393"/>
                    <a:gd name="T86" fmla="*/ 225 w 455"/>
                    <a:gd name="T87" fmla="*/ 0 h 393"/>
                    <a:gd name="T88" fmla="*/ 203 w 455"/>
                    <a:gd name="T89" fmla="*/ 1 h 393"/>
                    <a:gd name="T90" fmla="*/ 159 w 455"/>
                    <a:gd name="T91"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5" h="393">
                      <a:moveTo>
                        <a:pt x="139" y="18"/>
                      </a:move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2"/>
                      </a:lnTo>
                      <a:lnTo>
                        <a:pt x="5" y="274"/>
                      </a:lnTo>
                      <a:lnTo>
                        <a:pt x="10" y="296"/>
                      </a:lnTo>
                      <a:lnTo>
                        <a:pt x="18" y="316"/>
                      </a:lnTo>
                      <a:lnTo>
                        <a:pt x="18" y="316"/>
                      </a:lnTo>
                      <a:lnTo>
                        <a:pt x="28" y="337"/>
                      </a:lnTo>
                      <a:lnTo>
                        <a:pt x="38" y="355"/>
                      </a:lnTo>
                      <a:lnTo>
                        <a:pt x="51" y="371"/>
                      </a:lnTo>
                      <a:lnTo>
                        <a:pt x="67" y="388"/>
                      </a:lnTo>
                      <a:lnTo>
                        <a:pt x="65" y="323"/>
                      </a:lnTo>
                      <a:lnTo>
                        <a:pt x="65" y="323"/>
                      </a:lnTo>
                      <a:lnTo>
                        <a:pt x="67" y="314"/>
                      </a:lnTo>
                      <a:lnTo>
                        <a:pt x="68" y="306"/>
                      </a:lnTo>
                      <a:lnTo>
                        <a:pt x="72" y="297"/>
                      </a:lnTo>
                      <a:lnTo>
                        <a:pt x="77" y="289"/>
                      </a:lnTo>
                      <a:lnTo>
                        <a:pt x="77" y="289"/>
                      </a:lnTo>
                      <a:lnTo>
                        <a:pt x="83" y="281"/>
                      </a:lnTo>
                      <a:lnTo>
                        <a:pt x="90" y="275"/>
                      </a:lnTo>
                      <a:lnTo>
                        <a:pt x="98" y="270"/>
                      </a:lnTo>
                      <a:lnTo>
                        <a:pt x="105" y="267"/>
                      </a:lnTo>
                      <a:lnTo>
                        <a:pt x="105" y="267"/>
                      </a:lnTo>
                      <a:lnTo>
                        <a:pt x="135" y="258"/>
                      </a:lnTo>
                      <a:lnTo>
                        <a:pt x="164" y="253"/>
                      </a:lnTo>
                      <a:lnTo>
                        <a:pt x="194" y="249"/>
                      </a:lnTo>
                      <a:lnTo>
                        <a:pt x="223" y="248"/>
                      </a:lnTo>
                      <a:lnTo>
                        <a:pt x="253" y="249"/>
                      </a:lnTo>
                      <a:lnTo>
                        <a:pt x="283" y="252"/>
                      </a:lnTo>
                      <a:lnTo>
                        <a:pt x="312" y="257"/>
                      </a:lnTo>
                      <a:lnTo>
                        <a:pt x="342" y="265"/>
                      </a:lnTo>
                      <a:lnTo>
                        <a:pt x="342" y="265"/>
                      </a:lnTo>
                      <a:lnTo>
                        <a:pt x="349" y="269"/>
                      </a:lnTo>
                      <a:lnTo>
                        <a:pt x="357" y="272"/>
                      </a:lnTo>
                      <a:lnTo>
                        <a:pt x="364" y="279"/>
                      </a:lnTo>
                      <a:lnTo>
                        <a:pt x="370" y="287"/>
                      </a:lnTo>
                      <a:lnTo>
                        <a:pt x="370" y="287"/>
                      </a:lnTo>
                      <a:lnTo>
                        <a:pt x="375" y="294"/>
                      </a:lnTo>
                      <a:lnTo>
                        <a:pt x="379" y="303"/>
                      </a:lnTo>
                      <a:lnTo>
                        <a:pt x="382" y="311"/>
                      </a:lnTo>
                      <a:lnTo>
                        <a:pt x="382" y="320"/>
                      </a:lnTo>
                      <a:lnTo>
                        <a:pt x="383" y="393"/>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lnTo>
                        <a:pt x="203" y="1"/>
                      </a:lnTo>
                      <a:lnTo>
                        <a:pt x="181" y="5"/>
                      </a:lnTo>
                      <a:lnTo>
                        <a:pt x="159" y="10"/>
                      </a:lnTo>
                      <a:lnTo>
                        <a:pt x="139" y="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66" name="Freeform 37">
                  <a:extLst>
                    <a:ext uri="{FF2B5EF4-FFF2-40B4-BE49-F238E27FC236}">
                      <a16:creationId xmlns:a16="http://schemas.microsoft.com/office/drawing/2014/main" id="{17C10C76-6B3D-49F9-B768-B40BCB2A4EFB}"/>
                    </a:ext>
                  </a:extLst>
                </p:cNvPr>
                <p:cNvSpPr>
                  <a:spLocks/>
                </p:cNvSpPr>
                <p:nvPr/>
              </p:nvSpPr>
              <p:spPr bwMode="auto">
                <a:xfrm>
                  <a:off x="1166092" y="2857191"/>
                  <a:ext cx="234405" cy="234405"/>
                </a:xfrm>
                <a:custGeom>
                  <a:avLst/>
                  <a:gdLst>
                    <a:gd name="T0" fmla="*/ 81 w 161"/>
                    <a:gd name="T1" fmla="*/ 160 h 160"/>
                    <a:gd name="T2" fmla="*/ 81 w 161"/>
                    <a:gd name="T3" fmla="*/ 160 h 160"/>
                    <a:gd name="T4" fmla="*/ 72 w 161"/>
                    <a:gd name="T5" fmla="*/ 160 h 160"/>
                    <a:gd name="T6" fmla="*/ 65 w 161"/>
                    <a:gd name="T7" fmla="*/ 159 h 160"/>
                    <a:gd name="T8" fmla="*/ 57 w 161"/>
                    <a:gd name="T9" fmla="*/ 158 h 160"/>
                    <a:gd name="T10" fmla="*/ 51 w 161"/>
                    <a:gd name="T11" fmla="*/ 155 h 160"/>
                    <a:gd name="T12" fmla="*/ 43 w 161"/>
                    <a:gd name="T13" fmla="*/ 151 h 160"/>
                    <a:gd name="T14" fmla="*/ 36 w 161"/>
                    <a:gd name="T15" fmla="*/ 148 h 160"/>
                    <a:gd name="T16" fmla="*/ 24 w 161"/>
                    <a:gd name="T17" fmla="*/ 137 h 160"/>
                    <a:gd name="T18" fmla="*/ 24 w 161"/>
                    <a:gd name="T19" fmla="*/ 137 h 160"/>
                    <a:gd name="T20" fmla="*/ 13 w 161"/>
                    <a:gd name="T21" fmla="*/ 126 h 160"/>
                    <a:gd name="T22" fmla="*/ 9 w 161"/>
                    <a:gd name="T23" fmla="*/ 119 h 160"/>
                    <a:gd name="T24" fmla="*/ 6 w 161"/>
                    <a:gd name="T25" fmla="*/ 112 h 160"/>
                    <a:gd name="T26" fmla="*/ 3 w 161"/>
                    <a:gd name="T27" fmla="*/ 105 h 160"/>
                    <a:gd name="T28" fmla="*/ 2 w 161"/>
                    <a:gd name="T29" fmla="*/ 97 h 160"/>
                    <a:gd name="T30" fmla="*/ 0 w 161"/>
                    <a:gd name="T31" fmla="*/ 81 h 160"/>
                    <a:gd name="T32" fmla="*/ 0 w 161"/>
                    <a:gd name="T33" fmla="*/ 81 h 160"/>
                    <a:gd name="T34" fmla="*/ 0 w 161"/>
                    <a:gd name="T35" fmla="*/ 73 h 160"/>
                    <a:gd name="T36" fmla="*/ 2 w 161"/>
                    <a:gd name="T37" fmla="*/ 65 h 160"/>
                    <a:gd name="T38" fmla="*/ 3 w 161"/>
                    <a:gd name="T39" fmla="*/ 58 h 160"/>
                    <a:gd name="T40" fmla="*/ 6 w 161"/>
                    <a:gd name="T41" fmla="*/ 50 h 160"/>
                    <a:gd name="T42" fmla="*/ 9 w 161"/>
                    <a:gd name="T43" fmla="*/ 44 h 160"/>
                    <a:gd name="T44" fmla="*/ 13 w 161"/>
                    <a:gd name="T45" fmla="*/ 37 h 160"/>
                    <a:gd name="T46" fmla="*/ 24 w 161"/>
                    <a:gd name="T47" fmla="*/ 24 h 160"/>
                    <a:gd name="T48" fmla="*/ 24 w 161"/>
                    <a:gd name="T49" fmla="*/ 24 h 160"/>
                    <a:gd name="T50" fmla="*/ 35 w 161"/>
                    <a:gd name="T51" fmla="*/ 14 h 160"/>
                    <a:gd name="T52" fmla="*/ 42 w 161"/>
                    <a:gd name="T53" fmla="*/ 10 h 160"/>
                    <a:gd name="T54" fmla="*/ 49 w 161"/>
                    <a:gd name="T55" fmla="*/ 6 h 160"/>
                    <a:gd name="T56" fmla="*/ 56 w 161"/>
                    <a:gd name="T57" fmla="*/ 4 h 160"/>
                    <a:gd name="T58" fmla="*/ 63 w 161"/>
                    <a:gd name="T59" fmla="*/ 2 h 160"/>
                    <a:gd name="T60" fmla="*/ 80 w 161"/>
                    <a:gd name="T61" fmla="*/ 0 h 160"/>
                    <a:gd name="T62" fmla="*/ 80 w 161"/>
                    <a:gd name="T63" fmla="*/ 0 h 160"/>
                    <a:gd name="T64" fmla="*/ 96 w 161"/>
                    <a:gd name="T65" fmla="*/ 1 h 160"/>
                    <a:gd name="T66" fmla="*/ 103 w 161"/>
                    <a:gd name="T67" fmla="*/ 4 h 160"/>
                    <a:gd name="T68" fmla="*/ 111 w 161"/>
                    <a:gd name="T69" fmla="*/ 6 h 160"/>
                    <a:gd name="T70" fmla="*/ 117 w 161"/>
                    <a:gd name="T71" fmla="*/ 9 h 160"/>
                    <a:gd name="T72" fmla="*/ 124 w 161"/>
                    <a:gd name="T73" fmla="*/ 13 h 160"/>
                    <a:gd name="T74" fmla="*/ 137 w 161"/>
                    <a:gd name="T75" fmla="*/ 23 h 160"/>
                    <a:gd name="T76" fmla="*/ 137 w 161"/>
                    <a:gd name="T77" fmla="*/ 23 h 160"/>
                    <a:gd name="T78" fmla="*/ 147 w 161"/>
                    <a:gd name="T79" fmla="*/ 36 h 160"/>
                    <a:gd name="T80" fmla="*/ 151 w 161"/>
                    <a:gd name="T81" fmla="*/ 42 h 160"/>
                    <a:gd name="T82" fmla="*/ 155 w 161"/>
                    <a:gd name="T83" fmla="*/ 49 h 160"/>
                    <a:gd name="T84" fmla="*/ 157 w 161"/>
                    <a:gd name="T85" fmla="*/ 56 h 160"/>
                    <a:gd name="T86" fmla="*/ 160 w 161"/>
                    <a:gd name="T87" fmla="*/ 64 h 160"/>
                    <a:gd name="T88" fmla="*/ 161 w 161"/>
                    <a:gd name="T89" fmla="*/ 79 h 160"/>
                    <a:gd name="T90" fmla="*/ 161 w 161"/>
                    <a:gd name="T91" fmla="*/ 79 h 160"/>
                    <a:gd name="T92" fmla="*/ 161 w 161"/>
                    <a:gd name="T93" fmla="*/ 88 h 160"/>
                    <a:gd name="T94" fmla="*/ 160 w 161"/>
                    <a:gd name="T95" fmla="*/ 96 h 160"/>
                    <a:gd name="T96" fmla="*/ 157 w 161"/>
                    <a:gd name="T97" fmla="*/ 104 h 160"/>
                    <a:gd name="T98" fmla="*/ 155 w 161"/>
                    <a:gd name="T99" fmla="*/ 110 h 160"/>
                    <a:gd name="T100" fmla="*/ 152 w 161"/>
                    <a:gd name="T101" fmla="*/ 118 h 160"/>
                    <a:gd name="T102" fmla="*/ 148 w 161"/>
                    <a:gd name="T103" fmla="*/ 124 h 160"/>
                    <a:gd name="T104" fmla="*/ 138 w 161"/>
                    <a:gd name="T105" fmla="*/ 137 h 160"/>
                    <a:gd name="T106" fmla="*/ 138 w 161"/>
                    <a:gd name="T107" fmla="*/ 137 h 160"/>
                    <a:gd name="T108" fmla="*/ 125 w 161"/>
                    <a:gd name="T109" fmla="*/ 148 h 160"/>
                    <a:gd name="T110" fmla="*/ 119 w 161"/>
                    <a:gd name="T111" fmla="*/ 151 h 160"/>
                    <a:gd name="T112" fmla="*/ 112 w 161"/>
                    <a:gd name="T113" fmla="*/ 154 h 160"/>
                    <a:gd name="T114" fmla="*/ 105 w 161"/>
                    <a:gd name="T115" fmla="*/ 157 h 160"/>
                    <a:gd name="T116" fmla="*/ 97 w 161"/>
                    <a:gd name="T117" fmla="*/ 159 h 160"/>
                    <a:gd name="T118" fmla="*/ 81 w 161"/>
                    <a:gd name="T119" fmla="*/ 160 h 160"/>
                    <a:gd name="T120" fmla="*/ 81 w 161"/>
                    <a:gd name="T1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81" y="160"/>
                      </a:moveTo>
                      <a:lnTo>
                        <a:pt x="81" y="160"/>
                      </a:lnTo>
                      <a:lnTo>
                        <a:pt x="72" y="160"/>
                      </a:lnTo>
                      <a:lnTo>
                        <a:pt x="65" y="159"/>
                      </a:lnTo>
                      <a:lnTo>
                        <a:pt x="57" y="158"/>
                      </a:lnTo>
                      <a:lnTo>
                        <a:pt x="51" y="155"/>
                      </a:lnTo>
                      <a:lnTo>
                        <a:pt x="43" y="151"/>
                      </a:lnTo>
                      <a:lnTo>
                        <a:pt x="36" y="148"/>
                      </a:lnTo>
                      <a:lnTo>
                        <a:pt x="24" y="137"/>
                      </a:lnTo>
                      <a:lnTo>
                        <a:pt x="24" y="137"/>
                      </a:lnTo>
                      <a:lnTo>
                        <a:pt x="13" y="126"/>
                      </a:lnTo>
                      <a:lnTo>
                        <a:pt x="9" y="119"/>
                      </a:lnTo>
                      <a:lnTo>
                        <a:pt x="6" y="112"/>
                      </a:lnTo>
                      <a:lnTo>
                        <a:pt x="3" y="105"/>
                      </a:lnTo>
                      <a:lnTo>
                        <a:pt x="2" y="97"/>
                      </a:lnTo>
                      <a:lnTo>
                        <a:pt x="0" y="81"/>
                      </a:lnTo>
                      <a:lnTo>
                        <a:pt x="0" y="81"/>
                      </a:lnTo>
                      <a:lnTo>
                        <a:pt x="0" y="73"/>
                      </a:lnTo>
                      <a:lnTo>
                        <a:pt x="2" y="65"/>
                      </a:lnTo>
                      <a:lnTo>
                        <a:pt x="3" y="58"/>
                      </a:lnTo>
                      <a:lnTo>
                        <a:pt x="6" y="50"/>
                      </a:lnTo>
                      <a:lnTo>
                        <a:pt x="9" y="44"/>
                      </a:lnTo>
                      <a:lnTo>
                        <a:pt x="13" y="37"/>
                      </a:lnTo>
                      <a:lnTo>
                        <a:pt x="24" y="24"/>
                      </a:lnTo>
                      <a:lnTo>
                        <a:pt x="24" y="24"/>
                      </a:lnTo>
                      <a:lnTo>
                        <a:pt x="35" y="14"/>
                      </a:lnTo>
                      <a:lnTo>
                        <a:pt x="42" y="10"/>
                      </a:lnTo>
                      <a:lnTo>
                        <a:pt x="49" y="6"/>
                      </a:lnTo>
                      <a:lnTo>
                        <a:pt x="56" y="4"/>
                      </a:lnTo>
                      <a:lnTo>
                        <a:pt x="63" y="2"/>
                      </a:lnTo>
                      <a:lnTo>
                        <a:pt x="80" y="0"/>
                      </a:lnTo>
                      <a:lnTo>
                        <a:pt x="80" y="0"/>
                      </a:lnTo>
                      <a:lnTo>
                        <a:pt x="96" y="1"/>
                      </a:lnTo>
                      <a:lnTo>
                        <a:pt x="103" y="4"/>
                      </a:lnTo>
                      <a:lnTo>
                        <a:pt x="111" y="6"/>
                      </a:lnTo>
                      <a:lnTo>
                        <a:pt x="117" y="9"/>
                      </a:lnTo>
                      <a:lnTo>
                        <a:pt x="124" y="13"/>
                      </a:lnTo>
                      <a:lnTo>
                        <a:pt x="137" y="23"/>
                      </a:lnTo>
                      <a:lnTo>
                        <a:pt x="137" y="23"/>
                      </a:lnTo>
                      <a:lnTo>
                        <a:pt x="147" y="36"/>
                      </a:lnTo>
                      <a:lnTo>
                        <a:pt x="151" y="42"/>
                      </a:lnTo>
                      <a:lnTo>
                        <a:pt x="155" y="49"/>
                      </a:lnTo>
                      <a:lnTo>
                        <a:pt x="157" y="56"/>
                      </a:lnTo>
                      <a:lnTo>
                        <a:pt x="160" y="64"/>
                      </a:lnTo>
                      <a:lnTo>
                        <a:pt x="161" y="79"/>
                      </a:lnTo>
                      <a:lnTo>
                        <a:pt x="161" y="79"/>
                      </a:lnTo>
                      <a:lnTo>
                        <a:pt x="161" y="88"/>
                      </a:lnTo>
                      <a:lnTo>
                        <a:pt x="160" y="96"/>
                      </a:lnTo>
                      <a:lnTo>
                        <a:pt x="157" y="104"/>
                      </a:lnTo>
                      <a:lnTo>
                        <a:pt x="155" y="110"/>
                      </a:lnTo>
                      <a:lnTo>
                        <a:pt x="152" y="118"/>
                      </a:lnTo>
                      <a:lnTo>
                        <a:pt x="148" y="124"/>
                      </a:lnTo>
                      <a:lnTo>
                        <a:pt x="138" y="137"/>
                      </a:lnTo>
                      <a:lnTo>
                        <a:pt x="138" y="137"/>
                      </a:lnTo>
                      <a:lnTo>
                        <a:pt x="125" y="148"/>
                      </a:lnTo>
                      <a:lnTo>
                        <a:pt x="119" y="151"/>
                      </a:lnTo>
                      <a:lnTo>
                        <a:pt x="112" y="154"/>
                      </a:lnTo>
                      <a:lnTo>
                        <a:pt x="105" y="157"/>
                      </a:lnTo>
                      <a:lnTo>
                        <a:pt x="97" y="159"/>
                      </a:lnTo>
                      <a:lnTo>
                        <a:pt x="81" y="160"/>
                      </a:lnTo>
                      <a:lnTo>
                        <a:pt x="81" y="16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67" name="Freeform 38">
                  <a:extLst>
                    <a:ext uri="{FF2B5EF4-FFF2-40B4-BE49-F238E27FC236}">
                      <a16:creationId xmlns:a16="http://schemas.microsoft.com/office/drawing/2014/main" id="{4573867C-76A5-469B-8953-127BD4680970}"/>
                    </a:ext>
                  </a:extLst>
                </p:cNvPr>
                <p:cNvSpPr>
                  <a:spLocks/>
                </p:cNvSpPr>
                <p:nvPr/>
              </p:nvSpPr>
              <p:spPr bwMode="auto">
                <a:xfrm>
                  <a:off x="955127" y="2731198"/>
                  <a:ext cx="668054" cy="668054"/>
                </a:xfrm>
                <a:custGeom>
                  <a:avLst/>
                  <a:gdLst>
                    <a:gd name="T0" fmla="*/ 225 w 455"/>
                    <a:gd name="T1" fmla="*/ 0 h 455"/>
                    <a:gd name="T2" fmla="*/ 181 w 455"/>
                    <a:gd name="T3" fmla="*/ 5 h 455"/>
                    <a:gd name="T4" fmla="*/ 139 w 455"/>
                    <a:gd name="T5" fmla="*/ 18 h 455"/>
                    <a:gd name="T6" fmla="*/ 118 w 455"/>
                    <a:gd name="T7" fmla="*/ 28 h 455"/>
                    <a:gd name="T8" fmla="*/ 82 w 455"/>
                    <a:gd name="T9" fmla="*/ 54 h 455"/>
                    <a:gd name="T10" fmla="*/ 65 w 455"/>
                    <a:gd name="T11" fmla="*/ 69 h 455"/>
                    <a:gd name="T12" fmla="*/ 37 w 455"/>
                    <a:gd name="T13" fmla="*/ 104 h 455"/>
                    <a:gd name="T14" fmla="*/ 17 w 455"/>
                    <a:gd name="T15" fmla="*/ 143 h 455"/>
                    <a:gd name="T16" fmla="*/ 9 w 455"/>
                    <a:gd name="T17" fmla="*/ 163 h 455"/>
                    <a:gd name="T18" fmla="*/ 1 w 455"/>
                    <a:gd name="T19" fmla="*/ 207 h 455"/>
                    <a:gd name="T20" fmla="*/ 0 w 455"/>
                    <a:gd name="T21" fmla="*/ 230 h 455"/>
                    <a:gd name="T22" fmla="*/ 5 w 455"/>
                    <a:gd name="T23" fmla="*/ 275 h 455"/>
                    <a:gd name="T24" fmla="*/ 18 w 455"/>
                    <a:gd name="T25" fmla="*/ 316 h 455"/>
                    <a:gd name="T26" fmla="*/ 38 w 455"/>
                    <a:gd name="T27" fmla="*/ 355 h 455"/>
                    <a:gd name="T28" fmla="*/ 68 w 455"/>
                    <a:gd name="T29" fmla="*/ 389 h 455"/>
                    <a:gd name="T30" fmla="*/ 86 w 455"/>
                    <a:gd name="T31" fmla="*/ 405 h 455"/>
                    <a:gd name="T32" fmla="*/ 122 w 455"/>
                    <a:gd name="T33" fmla="*/ 429 h 455"/>
                    <a:gd name="T34" fmla="*/ 163 w 455"/>
                    <a:gd name="T35" fmla="*/ 446 h 455"/>
                    <a:gd name="T36" fmla="*/ 205 w 455"/>
                    <a:gd name="T37" fmla="*/ 454 h 455"/>
                    <a:gd name="T38" fmla="*/ 229 w 455"/>
                    <a:gd name="T39" fmla="*/ 455 h 455"/>
                    <a:gd name="T40" fmla="*/ 274 w 455"/>
                    <a:gd name="T41" fmla="*/ 450 h 455"/>
                    <a:gd name="T42" fmla="*/ 316 w 455"/>
                    <a:gd name="T43" fmla="*/ 437 h 455"/>
                    <a:gd name="T44" fmla="*/ 337 w 455"/>
                    <a:gd name="T45" fmla="*/ 427 h 455"/>
                    <a:gd name="T46" fmla="*/ 373 w 455"/>
                    <a:gd name="T47" fmla="*/ 402 h 455"/>
                    <a:gd name="T48" fmla="*/ 389 w 455"/>
                    <a:gd name="T49" fmla="*/ 387 h 455"/>
                    <a:gd name="T50" fmla="*/ 417 w 455"/>
                    <a:gd name="T51" fmla="*/ 352 h 455"/>
                    <a:gd name="T52" fmla="*/ 438 w 455"/>
                    <a:gd name="T53" fmla="*/ 312 h 455"/>
                    <a:gd name="T54" fmla="*/ 446 w 455"/>
                    <a:gd name="T55" fmla="*/ 292 h 455"/>
                    <a:gd name="T56" fmla="*/ 453 w 455"/>
                    <a:gd name="T57" fmla="*/ 248 h 455"/>
                    <a:gd name="T58" fmla="*/ 455 w 455"/>
                    <a:gd name="T59" fmla="*/ 226 h 455"/>
                    <a:gd name="T60" fmla="*/ 450 w 455"/>
                    <a:gd name="T61" fmla="*/ 181 h 455"/>
                    <a:gd name="T62" fmla="*/ 437 w 455"/>
                    <a:gd name="T63" fmla="*/ 139 h 455"/>
                    <a:gd name="T64" fmla="*/ 426 w 455"/>
                    <a:gd name="T65" fmla="*/ 120 h 455"/>
                    <a:gd name="T66" fmla="*/ 402 w 455"/>
                    <a:gd name="T67" fmla="*/ 82 h 455"/>
                    <a:gd name="T68" fmla="*/ 387 w 455"/>
                    <a:gd name="T69" fmla="*/ 66 h 455"/>
                    <a:gd name="T70" fmla="*/ 352 w 455"/>
                    <a:gd name="T71" fmla="*/ 37 h 455"/>
                    <a:gd name="T72" fmla="*/ 312 w 455"/>
                    <a:gd name="T73" fmla="*/ 17 h 455"/>
                    <a:gd name="T74" fmla="*/ 292 w 455"/>
                    <a:gd name="T75" fmla="*/ 10 h 455"/>
                    <a:gd name="T76" fmla="*/ 248 w 455"/>
                    <a:gd name="T77" fmla="*/ 1 h 455"/>
                    <a:gd name="T78" fmla="*/ 225 w 455"/>
                    <a:gd name="T7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5">
                      <a:moveTo>
                        <a:pt x="225" y="0"/>
                      </a:moveTo>
                      <a:lnTo>
                        <a:pt x="225" y="0"/>
                      </a:lnTo>
                      <a:lnTo>
                        <a:pt x="203" y="1"/>
                      </a:lnTo>
                      <a:lnTo>
                        <a:pt x="181" y="5"/>
                      </a:lnTo>
                      <a:lnTo>
                        <a:pt x="159" y="10"/>
                      </a:lnTo>
                      <a:lnTo>
                        <a:pt x="139" y="18"/>
                      </a:lnTo>
                      <a:lnTo>
                        <a:pt x="139" y="18"/>
                      </a:lnTo>
                      <a:lnTo>
                        <a:pt x="118" y="28"/>
                      </a:lnTo>
                      <a:lnTo>
                        <a:pt x="99" y="40"/>
                      </a:lnTo>
                      <a:lnTo>
                        <a:pt x="82" y="54"/>
                      </a:lnTo>
                      <a:lnTo>
                        <a:pt x="65" y="69"/>
                      </a:lnTo>
                      <a:lnTo>
                        <a:pt x="65" y="69"/>
                      </a:lnTo>
                      <a:lnTo>
                        <a:pt x="50" y="86"/>
                      </a:lnTo>
                      <a:lnTo>
                        <a:pt x="37" y="104"/>
                      </a:lnTo>
                      <a:lnTo>
                        <a:pt x="26" y="122"/>
                      </a:lnTo>
                      <a:lnTo>
                        <a:pt x="17" y="143"/>
                      </a:lnTo>
                      <a:lnTo>
                        <a:pt x="17" y="143"/>
                      </a:lnTo>
                      <a:lnTo>
                        <a:pt x="9" y="163"/>
                      </a:lnTo>
                      <a:lnTo>
                        <a:pt x="4" y="185"/>
                      </a:lnTo>
                      <a:lnTo>
                        <a:pt x="1" y="207"/>
                      </a:lnTo>
                      <a:lnTo>
                        <a:pt x="0" y="230"/>
                      </a:lnTo>
                      <a:lnTo>
                        <a:pt x="0" y="230"/>
                      </a:lnTo>
                      <a:lnTo>
                        <a:pt x="1" y="253"/>
                      </a:lnTo>
                      <a:lnTo>
                        <a:pt x="5" y="275"/>
                      </a:lnTo>
                      <a:lnTo>
                        <a:pt x="10" y="296"/>
                      </a:lnTo>
                      <a:lnTo>
                        <a:pt x="18" y="316"/>
                      </a:lnTo>
                      <a:lnTo>
                        <a:pt x="27" y="337"/>
                      </a:lnTo>
                      <a:lnTo>
                        <a:pt x="38" y="355"/>
                      </a:lnTo>
                      <a:lnTo>
                        <a:pt x="53" y="373"/>
                      </a:lnTo>
                      <a:lnTo>
                        <a:pt x="68" y="389"/>
                      </a:lnTo>
                      <a:lnTo>
                        <a:pt x="68" y="389"/>
                      </a:lnTo>
                      <a:lnTo>
                        <a:pt x="86" y="405"/>
                      </a:lnTo>
                      <a:lnTo>
                        <a:pt x="104" y="419"/>
                      </a:lnTo>
                      <a:lnTo>
                        <a:pt x="122" y="429"/>
                      </a:lnTo>
                      <a:lnTo>
                        <a:pt x="142" y="440"/>
                      </a:lnTo>
                      <a:lnTo>
                        <a:pt x="163" y="446"/>
                      </a:lnTo>
                      <a:lnTo>
                        <a:pt x="184" y="451"/>
                      </a:lnTo>
                      <a:lnTo>
                        <a:pt x="205" y="454"/>
                      </a:lnTo>
                      <a:lnTo>
                        <a:pt x="229" y="455"/>
                      </a:lnTo>
                      <a:lnTo>
                        <a:pt x="229" y="455"/>
                      </a:lnTo>
                      <a:lnTo>
                        <a:pt x="252" y="454"/>
                      </a:lnTo>
                      <a:lnTo>
                        <a:pt x="274" y="450"/>
                      </a:lnTo>
                      <a:lnTo>
                        <a:pt x="295" y="445"/>
                      </a:lnTo>
                      <a:lnTo>
                        <a:pt x="316" y="437"/>
                      </a:lnTo>
                      <a:lnTo>
                        <a:pt x="316" y="437"/>
                      </a:lnTo>
                      <a:lnTo>
                        <a:pt x="337" y="427"/>
                      </a:lnTo>
                      <a:lnTo>
                        <a:pt x="356" y="415"/>
                      </a:lnTo>
                      <a:lnTo>
                        <a:pt x="373" y="402"/>
                      </a:lnTo>
                      <a:lnTo>
                        <a:pt x="389" y="387"/>
                      </a:lnTo>
                      <a:lnTo>
                        <a:pt x="389" y="387"/>
                      </a:lnTo>
                      <a:lnTo>
                        <a:pt x="405" y="370"/>
                      </a:lnTo>
                      <a:lnTo>
                        <a:pt x="417" y="352"/>
                      </a:lnTo>
                      <a:lnTo>
                        <a:pt x="429" y="333"/>
                      </a:lnTo>
                      <a:lnTo>
                        <a:pt x="438" y="312"/>
                      </a:lnTo>
                      <a:lnTo>
                        <a:pt x="438" y="312"/>
                      </a:lnTo>
                      <a:lnTo>
                        <a:pt x="446" y="292"/>
                      </a:lnTo>
                      <a:lnTo>
                        <a:pt x="451" y="270"/>
                      </a:lnTo>
                      <a:lnTo>
                        <a:pt x="453" y="248"/>
                      </a:lnTo>
                      <a:lnTo>
                        <a:pt x="455" y="226"/>
                      </a:lnTo>
                      <a:lnTo>
                        <a:pt x="455" y="226"/>
                      </a:lnTo>
                      <a:lnTo>
                        <a:pt x="453" y="203"/>
                      </a:lnTo>
                      <a:lnTo>
                        <a:pt x="450" y="181"/>
                      </a:lnTo>
                      <a:lnTo>
                        <a:pt x="444" y="161"/>
                      </a:lnTo>
                      <a:lnTo>
                        <a:pt x="437" y="139"/>
                      </a:lnTo>
                      <a:lnTo>
                        <a:pt x="437" y="139"/>
                      </a:lnTo>
                      <a:lnTo>
                        <a:pt x="426" y="120"/>
                      </a:lnTo>
                      <a:lnTo>
                        <a:pt x="415" y="100"/>
                      </a:lnTo>
                      <a:lnTo>
                        <a:pt x="402" y="82"/>
                      </a:lnTo>
                      <a:lnTo>
                        <a:pt x="387" y="66"/>
                      </a:lnTo>
                      <a:lnTo>
                        <a:pt x="387" y="66"/>
                      </a:lnTo>
                      <a:lnTo>
                        <a:pt x="370" y="50"/>
                      </a:lnTo>
                      <a:lnTo>
                        <a:pt x="352" y="37"/>
                      </a:lnTo>
                      <a:lnTo>
                        <a:pt x="333" y="27"/>
                      </a:lnTo>
                      <a:lnTo>
                        <a:pt x="312" y="17"/>
                      </a:lnTo>
                      <a:lnTo>
                        <a:pt x="312" y="17"/>
                      </a:lnTo>
                      <a:lnTo>
                        <a:pt x="292" y="10"/>
                      </a:lnTo>
                      <a:lnTo>
                        <a:pt x="270" y="5"/>
                      </a:lnTo>
                      <a:lnTo>
                        <a:pt x="248" y="1"/>
                      </a:lnTo>
                      <a:lnTo>
                        <a:pt x="225" y="0"/>
                      </a:lnTo>
                      <a:lnTo>
                        <a:pt x="225" y="0"/>
                      </a:lnTo>
                      <a:close/>
                    </a:path>
                  </a:pathLst>
                </a:custGeom>
                <a:solidFill>
                  <a:srgbClr val="FFFFFF"/>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68" name="Freeform 39">
                  <a:extLst>
                    <a:ext uri="{FF2B5EF4-FFF2-40B4-BE49-F238E27FC236}">
                      <a16:creationId xmlns:a16="http://schemas.microsoft.com/office/drawing/2014/main" id="{7DE8AAE1-1E1D-42D7-AFAA-0508570E7B5B}"/>
                    </a:ext>
                  </a:extLst>
                </p:cNvPr>
                <p:cNvSpPr>
                  <a:spLocks/>
                </p:cNvSpPr>
                <p:nvPr/>
              </p:nvSpPr>
              <p:spPr bwMode="auto">
                <a:xfrm>
                  <a:off x="955127" y="2734129"/>
                  <a:ext cx="668054" cy="665124"/>
                </a:xfrm>
                <a:custGeom>
                  <a:avLst/>
                  <a:gdLst>
                    <a:gd name="T0" fmla="*/ 389 w 455"/>
                    <a:gd name="T1" fmla="*/ 386 h 454"/>
                    <a:gd name="T2" fmla="*/ 356 w 455"/>
                    <a:gd name="T3" fmla="*/ 414 h 454"/>
                    <a:gd name="T4" fmla="*/ 316 w 455"/>
                    <a:gd name="T5" fmla="*/ 436 h 454"/>
                    <a:gd name="T6" fmla="*/ 295 w 455"/>
                    <a:gd name="T7" fmla="*/ 444 h 454"/>
                    <a:gd name="T8" fmla="*/ 252 w 455"/>
                    <a:gd name="T9" fmla="*/ 453 h 454"/>
                    <a:gd name="T10" fmla="*/ 229 w 455"/>
                    <a:gd name="T11" fmla="*/ 454 h 454"/>
                    <a:gd name="T12" fmla="*/ 184 w 455"/>
                    <a:gd name="T13" fmla="*/ 450 h 454"/>
                    <a:gd name="T14" fmla="*/ 142 w 455"/>
                    <a:gd name="T15" fmla="*/ 439 h 454"/>
                    <a:gd name="T16" fmla="*/ 104 w 455"/>
                    <a:gd name="T17" fmla="*/ 418 h 454"/>
                    <a:gd name="T18" fmla="*/ 68 w 455"/>
                    <a:gd name="T19" fmla="*/ 388 h 454"/>
                    <a:gd name="T20" fmla="*/ 53 w 455"/>
                    <a:gd name="T21" fmla="*/ 372 h 454"/>
                    <a:gd name="T22" fmla="*/ 27 w 455"/>
                    <a:gd name="T23" fmla="*/ 336 h 454"/>
                    <a:gd name="T24" fmla="*/ 10 w 455"/>
                    <a:gd name="T25" fmla="*/ 296 h 454"/>
                    <a:gd name="T26" fmla="*/ 1 w 455"/>
                    <a:gd name="T27" fmla="*/ 252 h 454"/>
                    <a:gd name="T28" fmla="*/ 0 w 455"/>
                    <a:gd name="T29" fmla="*/ 229 h 454"/>
                    <a:gd name="T30" fmla="*/ 4 w 455"/>
                    <a:gd name="T31" fmla="*/ 184 h 454"/>
                    <a:gd name="T32" fmla="*/ 17 w 455"/>
                    <a:gd name="T33" fmla="*/ 142 h 454"/>
                    <a:gd name="T34" fmla="*/ 26 w 455"/>
                    <a:gd name="T35" fmla="*/ 121 h 454"/>
                    <a:gd name="T36" fmla="*/ 50 w 455"/>
                    <a:gd name="T37" fmla="*/ 85 h 454"/>
                    <a:gd name="T38" fmla="*/ 65 w 455"/>
                    <a:gd name="T39" fmla="*/ 68 h 454"/>
                    <a:gd name="T40" fmla="*/ 100 w 455"/>
                    <a:gd name="T41" fmla="*/ 39 h 454"/>
                    <a:gd name="T42" fmla="*/ 139 w 455"/>
                    <a:gd name="T43" fmla="*/ 18 h 454"/>
                    <a:gd name="T44" fmla="*/ 159 w 455"/>
                    <a:gd name="T45" fmla="*/ 11 h 454"/>
                    <a:gd name="T46" fmla="*/ 203 w 455"/>
                    <a:gd name="T47" fmla="*/ 2 h 454"/>
                    <a:gd name="T48" fmla="*/ 225 w 455"/>
                    <a:gd name="T49" fmla="*/ 0 h 454"/>
                    <a:gd name="T50" fmla="*/ 270 w 455"/>
                    <a:gd name="T51" fmla="*/ 4 h 454"/>
                    <a:gd name="T52" fmla="*/ 312 w 455"/>
                    <a:gd name="T53" fmla="*/ 16 h 454"/>
                    <a:gd name="T54" fmla="*/ 333 w 455"/>
                    <a:gd name="T55" fmla="*/ 26 h 454"/>
                    <a:gd name="T56" fmla="*/ 370 w 455"/>
                    <a:gd name="T57" fmla="*/ 50 h 454"/>
                    <a:gd name="T58" fmla="*/ 387 w 455"/>
                    <a:gd name="T59" fmla="*/ 65 h 454"/>
                    <a:gd name="T60" fmla="*/ 415 w 455"/>
                    <a:gd name="T61" fmla="*/ 99 h 454"/>
                    <a:gd name="T62" fmla="*/ 437 w 455"/>
                    <a:gd name="T63" fmla="*/ 138 h 454"/>
                    <a:gd name="T64" fmla="*/ 444 w 455"/>
                    <a:gd name="T65" fmla="*/ 160 h 454"/>
                    <a:gd name="T66" fmla="*/ 453 w 455"/>
                    <a:gd name="T67" fmla="*/ 202 h 454"/>
                    <a:gd name="T68" fmla="*/ 455 w 455"/>
                    <a:gd name="T69" fmla="*/ 225 h 454"/>
                    <a:gd name="T70" fmla="*/ 451 w 455"/>
                    <a:gd name="T71" fmla="*/ 269 h 454"/>
                    <a:gd name="T72" fmla="*/ 438 w 455"/>
                    <a:gd name="T73" fmla="*/ 311 h 454"/>
                    <a:gd name="T74" fmla="*/ 429 w 455"/>
                    <a:gd name="T75" fmla="*/ 332 h 454"/>
                    <a:gd name="T76" fmla="*/ 405 w 455"/>
                    <a:gd name="T77" fmla="*/ 369 h 454"/>
                    <a:gd name="T78" fmla="*/ 389 w 455"/>
                    <a:gd name="T79" fmla="*/ 38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 h="454">
                      <a:moveTo>
                        <a:pt x="389" y="386"/>
                      </a:moveTo>
                      <a:lnTo>
                        <a:pt x="389" y="386"/>
                      </a:lnTo>
                      <a:lnTo>
                        <a:pt x="373" y="401"/>
                      </a:lnTo>
                      <a:lnTo>
                        <a:pt x="356" y="414"/>
                      </a:lnTo>
                      <a:lnTo>
                        <a:pt x="337" y="426"/>
                      </a:lnTo>
                      <a:lnTo>
                        <a:pt x="316" y="436"/>
                      </a:lnTo>
                      <a:lnTo>
                        <a:pt x="316" y="436"/>
                      </a:lnTo>
                      <a:lnTo>
                        <a:pt x="295" y="444"/>
                      </a:lnTo>
                      <a:lnTo>
                        <a:pt x="274" y="449"/>
                      </a:lnTo>
                      <a:lnTo>
                        <a:pt x="252" y="453"/>
                      </a:lnTo>
                      <a:lnTo>
                        <a:pt x="229" y="454"/>
                      </a:lnTo>
                      <a:lnTo>
                        <a:pt x="229" y="454"/>
                      </a:lnTo>
                      <a:lnTo>
                        <a:pt x="207" y="453"/>
                      </a:lnTo>
                      <a:lnTo>
                        <a:pt x="184" y="450"/>
                      </a:lnTo>
                      <a:lnTo>
                        <a:pt x="163" y="445"/>
                      </a:lnTo>
                      <a:lnTo>
                        <a:pt x="142" y="439"/>
                      </a:lnTo>
                      <a:lnTo>
                        <a:pt x="122" y="428"/>
                      </a:lnTo>
                      <a:lnTo>
                        <a:pt x="104" y="418"/>
                      </a:lnTo>
                      <a:lnTo>
                        <a:pt x="86" y="404"/>
                      </a:lnTo>
                      <a:lnTo>
                        <a:pt x="68" y="388"/>
                      </a:lnTo>
                      <a:lnTo>
                        <a:pt x="68" y="388"/>
                      </a:lnTo>
                      <a:lnTo>
                        <a:pt x="53" y="372"/>
                      </a:lnTo>
                      <a:lnTo>
                        <a:pt x="38" y="354"/>
                      </a:lnTo>
                      <a:lnTo>
                        <a:pt x="27" y="336"/>
                      </a:lnTo>
                      <a:lnTo>
                        <a:pt x="18" y="315"/>
                      </a:lnTo>
                      <a:lnTo>
                        <a:pt x="10" y="296"/>
                      </a:lnTo>
                      <a:lnTo>
                        <a:pt x="5" y="274"/>
                      </a:lnTo>
                      <a:lnTo>
                        <a:pt x="1" y="252"/>
                      </a:lnTo>
                      <a:lnTo>
                        <a:pt x="0" y="229"/>
                      </a:lnTo>
                      <a:lnTo>
                        <a:pt x="0" y="229"/>
                      </a:lnTo>
                      <a:lnTo>
                        <a:pt x="1" y="206"/>
                      </a:lnTo>
                      <a:lnTo>
                        <a:pt x="4" y="184"/>
                      </a:lnTo>
                      <a:lnTo>
                        <a:pt x="9" y="163"/>
                      </a:lnTo>
                      <a:lnTo>
                        <a:pt x="17" y="142"/>
                      </a:lnTo>
                      <a:lnTo>
                        <a:pt x="17" y="142"/>
                      </a:lnTo>
                      <a:lnTo>
                        <a:pt x="26" y="121"/>
                      </a:lnTo>
                      <a:lnTo>
                        <a:pt x="37" y="103"/>
                      </a:lnTo>
                      <a:lnTo>
                        <a:pt x="50" y="85"/>
                      </a:lnTo>
                      <a:lnTo>
                        <a:pt x="65" y="68"/>
                      </a:lnTo>
                      <a:lnTo>
                        <a:pt x="65" y="68"/>
                      </a:lnTo>
                      <a:lnTo>
                        <a:pt x="82" y="53"/>
                      </a:lnTo>
                      <a:lnTo>
                        <a:pt x="100" y="39"/>
                      </a:lnTo>
                      <a:lnTo>
                        <a:pt x="118" y="27"/>
                      </a:lnTo>
                      <a:lnTo>
                        <a:pt x="139" y="18"/>
                      </a:lnTo>
                      <a:lnTo>
                        <a:pt x="139" y="18"/>
                      </a:lnTo>
                      <a:lnTo>
                        <a:pt x="159" y="11"/>
                      </a:lnTo>
                      <a:lnTo>
                        <a:pt x="181" y="4"/>
                      </a:lnTo>
                      <a:lnTo>
                        <a:pt x="203" y="2"/>
                      </a:lnTo>
                      <a:lnTo>
                        <a:pt x="225" y="0"/>
                      </a:lnTo>
                      <a:lnTo>
                        <a:pt x="225" y="0"/>
                      </a:lnTo>
                      <a:lnTo>
                        <a:pt x="248" y="0"/>
                      </a:lnTo>
                      <a:lnTo>
                        <a:pt x="270" y="4"/>
                      </a:lnTo>
                      <a:lnTo>
                        <a:pt x="292" y="9"/>
                      </a:lnTo>
                      <a:lnTo>
                        <a:pt x="312" y="16"/>
                      </a:lnTo>
                      <a:lnTo>
                        <a:pt x="312" y="16"/>
                      </a:lnTo>
                      <a:lnTo>
                        <a:pt x="333" y="26"/>
                      </a:lnTo>
                      <a:lnTo>
                        <a:pt x="352" y="36"/>
                      </a:lnTo>
                      <a:lnTo>
                        <a:pt x="370" y="50"/>
                      </a:lnTo>
                      <a:lnTo>
                        <a:pt x="387" y="65"/>
                      </a:lnTo>
                      <a:lnTo>
                        <a:pt x="387" y="65"/>
                      </a:lnTo>
                      <a:lnTo>
                        <a:pt x="402" y="81"/>
                      </a:lnTo>
                      <a:lnTo>
                        <a:pt x="415" y="99"/>
                      </a:lnTo>
                      <a:lnTo>
                        <a:pt x="426" y="119"/>
                      </a:lnTo>
                      <a:lnTo>
                        <a:pt x="437" y="138"/>
                      </a:lnTo>
                      <a:lnTo>
                        <a:pt x="437" y="138"/>
                      </a:lnTo>
                      <a:lnTo>
                        <a:pt x="444" y="160"/>
                      </a:lnTo>
                      <a:lnTo>
                        <a:pt x="450" y="180"/>
                      </a:lnTo>
                      <a:lnTo>
                        <a:pt x="453" y="202"/>
                      </a:lnTo>
                      <a:lnTo>
                        <a:pt x="455" y="225"/>
                      </a:lnTo>
                      <a:lnTo>
                        <a:pt x="455" y="225"/>
                      </a:lnTo>
                      <a:lnTo>
                        <a:pt x="453" y="247"/>
                      </a:lnTo>
                      <a:lnTo>
                        <a:pt x="451" y="269"/>
                      </a:lnTo>
                      <a:lnTo>
                        <a:pt x="446" y="291"/>
                      </a:lnTo>
                      <a:lnTo>
                        <a:pt x="438" y="311"/>
                      </a:lnTo>
                      <a:lnTo>
                        <a:pt x="438" y="311"/>
                      </a:lnTo>
                      <a:lnTo>
                        <a:pt x="429" y="332"/>
                      </a:lnTo>
                      <a:lnTo>
                        <a:pt x="417" y="351"/>
                      </a:lnTo>
                      <a:lnTo>
                        <a:pt x="405" y="369"/>
                      </a:lnTo>
                      <a:lnTo>
                        <a:pt x="389" y="386"/>
                      </a:lnTo>
                      <a:lnTo>
                        <a:pt x="389" y="386"/>
                      </a:lnTo>
                      <a:close/>
                    </a:path>
                  </a:pathLst>
                </a:custGeom>
                <a:solidFill>
                  <a:srgbClr val="FFFFFF"/>
                </a:solidFill>
                <a:ln w="9525">
                  <a:solidFill>
                    <a:srgbClr val="484F59"/>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69" name="Freeform 40">
                  <a:extLst>
                    <a:ext uri="{FF2B5EF4-FFF2-40B4-BE49-F238E27FC236}">
                      <a16:creationId xmlns:a16="http://schemas.microsoft.com/office/drawing/2014/main" id="{392F076C-1378-4C43-8A4D-108A19C43175}"/>
                    </a:ext>
                  </a:extLst>
                </p:cNvPr>
                <p:cNvSpPr>
                  <a:spLocks/>
                </p:cNvSpPr>
                <p:nvPr/>
              </p:nvSpPr>
              <p:spPr bwMode="auto">
                <a:xfrm>
                  <a:off x="1051819" y="3097456"/>
                  <a:ext cx="465879" cy="301796"/>
                </a:xfrm>
                <a:custGeom>
                  <a:avLst/>
                  <a:gdLst>
                    <a:gd name="T0" fmla="*/ 75 w 318"/>
                    <a:gd name="T1" fmla="*/ 189 h 207"/>
                    <a:gd name="T2" fmla="*/ 75 w 318"/>
                    <a:gd name="T3" fmla="*/ 189 h 207"/>
                    <a:gd name="T4" fmla="*/ 95 w 318"/>
                    <a:gd name="T5" fmla="*/ 197 h 207"/>
                    <a:gd name="T6" fmla="*/ 119 w 318"/>
                    <a:gd name="T7" fmla="*/ 203 h 207"/>
                    <a:gd name="T8" fmla="*/ 140 w 318"/>
                    <a:gd name="T9" fmla="*/ 206 h 207"/>
                    <a:gd name="T10" fmla="*/ 164 w 318"/>
                    <a:gd name="T11" fmla="*/ 207 h 207"/>
                    <a:gd name="T12" fmla="*/ 164 w 318"/>
                    <a:gd name="T13" fmla="*/ 207 h 207"/>
                    <a:gd name="T14" fmla="*/ 184 w 318"/>
                    <a:gd name="T15" fmla="*/ 206 h 207"/>
                    <a:gd name="T16" fmla="*/ 205 w 318"/>
                    <a:gd name="T17" fmla="*/ 203 h 207"/>
                    <a:gd name="T18" fmla="*/ 225 w 318"/>
                    <a:gd name="T19" fmla="*/ 198 h 207"/>
                    <a:gd name="T20" fmla="*/ 246 w 318"/>
                    <a:gd name="T21" fmla="*/ 192 h 207"/>
                    <a:gd name="T22" fmla="*/ 245 w 318"/>
                    <a:gd name="T23" fmla="*/ 86 h 207"/>
                    <a:gd name="T24" fmla="*/ 246 w 318"/>
                    <a:gd name="T25" fmla="*/ 192 h 207"/>
                    <a:gd name="T26" fmla="*/ 246 w 318"/>
                    <a:gd name="T27" fmla="*/ 192 h 207"/>
                    <a:gd name="T28" fmla="*/ 265 w 318"/>
                    <a:gd name="T29" fmla="*/ 183 h 207"/>
                    <a:gd name="T30" fmla="*/ 283 w 318"/>
                    <a:gd name="T31" fmla="*/ 171 h 207"/>
                    <a:gd name="T32" fmla="*/ 301 w 318"/>
                    <a:gd name="T33" fmla="*/ 159 h 207"/>
                    <a:gd name="T34" fmla="*/ 318 w 318"/>
                    <a:gd name="T35" fmla="*/ 145 h 207"/>
                    <a:gd name="T36" fmla="*/ 317 w 318"/>
                    <a:gd name="T37" fmla="*/ 72 h 207"/>
                    <a:gd name="T38" fmla="*/ 317 w 318"/>
                    <a:gd name="T39" fmla="*/ 72 h 207"/>
                    <a:gd name="T40" fmla="*/ 317 w 318"/>
                    <a:gd name="T41" fmla="*/ 63 h 207"/>
                    <a:gd name="T42" fmla="*/ 314 w 318"/>
                    <a:gd name="T43" fmla="*/ 55 h 207"/>
                    <a:gd name="T44" fmla="*/ 310 w 318"/>
                    <a:gd name="T45" fmla="*/ 46 h 207"/>
                    <a:gd name="T46" fmla="*/ 305 w 318"/>
                    <a:gd name="T47" fmla="*/ 39 h 207"/>
                    <a:gd name="T48" fmla="*/ 305 w 318"/>
                    <a:gd name="T49" fmla="*/ 39 h 207"/>
                    <a:gd name="T50" fmla="*/ 299 w 318"/>
                    <a:gd name="T51" fmla="*/ 31 h 207"/>
                    <a:gd name="T52" fmla="*/ 292 w 318"/>
                    <a:gd name="T53" fmla="*/ 24 h 207"/>
                    <a:gd name="T54" fmla="*/ 284 w 318"/>
                    <a:gd name="T55" fmla="*/ 21 h 207"/>
                    <a:gd name="T56" fmla="*/ 277 w 318"/>
                    <a:gd name="T57" fmla="*/ 17 h 207"/>
                    <a:gd name="T58" fmla="*/ 277 w 318"/>
                    <a:gd name="T59" fmla="*/ 17 h 207"/>
                    <a:gd name="T60" fmla="*/ 247 w 318"/>
                    <a:gd name="T61" fmla="*/ 9 h 207"/>
                    <a:gd name="T62" fmla="*/ 218 w 318"/>
                    <a:gd name="T63" fmla="*/ 4 h 207"/>
                    <a:gd name="T64" fmla="*/ 188 w 318"/>
                    <a:gd name="T65" fmla="*/ 1 h 207"/>
                    <a:gd name="T66" fmla="*/ 158 w 318"/>
                    <a:gd name="T67" fmla="*/ 0 h 207"/>
                    <a:gd name="T68" fmla="*/ 129 w 318"/>
                    <a:gd name="T69" fmla="*/ 1 h 207"/>
                    <a:gd name="T70" fmla="*/ 99 w 318"/>
                    <a:gd name="T71" fmla="*/ 5 h 207"/>
                    <a:gd name="T72" fmla="*/ 70 w 318"/>
                    <a:gd name="T73" fmla="*/ 10 h 207"/>
                    <a:gd name="T74" fmla="*/ 40 w 318"/>
                    <a:gd name="T75" fmla="*/ 19 h 207"/>
                    <a:gd name="T76" fmla="*/ 40 w 318"/>
                    <a:gd name="T77" fmla="*/ 19 h 207"/>
                    <a:gd name="T78" fmla="*/ 33 w 318"/>
                    <a:gd name="T79" fmla="*/ 22 h 207"/>
                    <a:gd name="T80" fmla="*/ 25 w 318"/>
                    <a:gd name="T81" fmla="*/ 27 h 207"/>
                    <a:gd name="T82" fmla="*/ 18 w 318"/>
                    <a:gd name="T83" fmla="*/ 33 h 207"/>
                    <a:gd name="T84" fmla="*/ 12 w 318"/>
                    <a:gd name="T85" fmla="*/ 41 h 207"/>
                    <a:gd name="T86" fmla="*/ 12 w 318"/>
                    <a:gd name="T87" fmla="*/ 41 h 207"/>
                    <a:gd name="T88" fmla="*/ 7 w 318"/>
                    <a:gd name="T89" fmla="*/ 49 h 207"/>
                    <a:gd name="T90" fmla="*/ 3 w 318"/>
                    <a:gd name="T91" fmla="*/ 58 h 207"/>
                    <a:gd name="T92" fmla="*/ 2 w 318"/>
                    <a:gd name="T93" fmla="*/ 66 h 207"/>
                    <a:gd name="T94" fmla="*/ 0 w 318"/>
                    <a:gd name="T95" fmla="*/ 75 h 207"/>
                    <a:gd name="T96" fmla="*/ 2 w 318"/>
                    <a:gd name="T97" fmla="*/ 140 h 207"/>
                    <a:gd name="T98" fmla="*/ 2 w 318"/>
                    <a:gd name="T99" fmla="*/ 140 h 207"/>
                    <a:gd name="T100" fmla="*/ 17 w 318"/>
                    <a:gd name="T101" fmla="*/ 154 h 207"/>
                    <a:gd name="T102" fmla="*/ 35 w 318"/>
                    <a:gd name="T103" fmla="*/ 168 h 207"/>
                    <a:gd name="T104" fmla="*/ 54 w 318"/>
                    <a:gd name="T105" fmla="*/ 179 h 207"/>
                    <a:gd name="T106" fmla="*/ 75 w 318"/>
                    <a:gd name="T107" fmla="*/ 189 h 207"/>
                    <a:gd name="T108" fmla="*/ 74 w 318"/>
                    <a:gd name="T109" fmla="*/ 87 h 207"/>
                    <a:gd name="T110" fmla="*/ 75 w 318"/>
                    <a:gd name="T111" fmla="*/ 18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207">
                      <a:moveTo>
                        <a:pt x="75" y="189"/>
                      </a:moveTo>
                      <a:lnTo>
                        <a:pt x="75" y="189"/>
                      </a:lnTo>
                      <a:lnTo>
                        <a:pt x="95" y="197"/>
                      </a:lnTo>
                      <a:lnTo>
                        <a:pt x="119" y="203"/>
                      </a:lnTo>
                      <a:lnTo>
                        <a:pt x="140" y="206"/>
                      </a:lnTo>
                      <a:lnTo>
                        <a:pt x="164" y="207"/>
                      </a:lnTo>
                      <a:lnTo>
                        <a:pt x="164" y="207"/>
                      </a:lnTo>
                      <a:lnTo>
                        <a:pt x="184" y="206"/>
                      </a:lnTo>
                      <a:lnTo>
                        <a:pt x="205" y="203"/>
                      </a:lnTo>
                      <a:lnTo>
                        <a:pt x="225" y="198"/>
                      </a:lnTo>
                      <a:lnTo>
                        <a:pt x="246" y="192"/>
                      </a:lnTo>
                      <a:lnTo>
                        <a:pt x="245" y="86"/>
                      </a:lnTo>
                      <a:lnTo>
                        <a:pt x="246" y="192"/>
                      </a:lnTo>
                      <a:lnTo>
                        <a:pt x="246" y="192"/>
                      </a:lnTo>
                      <a:lnTo>
                        <a:pt x="265" y="183"/>
                      </a:lnTo>
                      <a:lnTo>
                        <a:pt x="283"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79"/>
                      </a:lnTo>
                      <a:lnTo>
                        <a:pt x="75" y="189"/>
                      </a:lnTo>
                      <a:lnTo>
                        <a:pt x="74" y="87"/>
                      </a:lnTo>
                      <a:lnTo>
                        <a:pt x="75" y="189"/>
                      </a:lnTo>
                      <a:close/>
                    </a:path>
                  </a:pathLst>
                </a:custGeom>
                <a:solidFill>
                  <a:srgbClr val="009A44"/>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70" name="Freeform 41">
                  <a:extLst>
                    <a:ext uri="{FF2B5EF4-FFF2-40B4-BE49-F238E27FC236}">
                      <a16:creationId xmlns:a16="http://schemas.microsoft.com/office/drawing/2014/main" id="{9A6EBB28-03FC-4859-B56C-0DADADBF4B75}"/>
                    </a:ext>
                  </a:extLst>
                </p:cNvPr>
                <p:cNvSpPr>
                  <a:spLocks/>
                </p:cNvSpPr>
                <p:nvPr/>
              </p:nvSpPr>
              <p:spPr bwMode="auto">
                <a:xfrm>
                  <a:off x="1160232" y="3223449"/>
                  <a:ext cx="251985" cy="175804"/>
                </a:xfrm>
                <a:custGeom>
                  <a:avLst/>
                  <a:gdLst>
                    <a:gd name="T0" fmla="*/ 0 w 171"/>
                    <a:gd name="T1" fmla="*/ 103 h 121"/>
                    <a:gd name="T2" fmla="*/ 0 w 171"/>
                    <a:gd name="T3" fmla="*/ 103 h 121"/>
                    <a:gd name="T4" fmla="*/ 20 w 171"/>
                    <a:gd name="T5" fmla="*/ 112 h 121"/>
                    <a:gd name="T6" fmla="*/ 44 w 171"/>
                    <a:gd name="T7" fmla="*/ 117 h 121"/>
                    <a:gd name="T8" fmla="*/ 65 w 171"/>
                    <a:gd name="T9" fmla="*/ 120 h 121"/>
                    <a:gd name="T10" fmla="*/ 89 w 171"/>
                    <a:gd name="T11" fmla="*/ 121 h 121"/>
                    <a:gd name="T12" fmla="*/ 89 w 171"/>
                    <a:gd name="T13" fmla="*/ 121 h 121"/>
                    <a:gd name="T14" fmla="*/ 109 w 171"/>
                    <a:gd name="T15" fmla="*/ 120 h 121"/>
                    <a:gd name="T16" fmla="*/ 130 w 171"/>
                    <a:gd name="T17" fmla="*/ 117 h 121"/>
                    <a:gd name="T18" fmla="*/ 150 w 171"/>
                    <a:gd name="T19" fmla="*/ 112 h 121"/>
                    <a:gd name="T20" fmla="*/ 171 w 171"/>
                    <a:gd name="T21" fmla="*/ 106 h 121"/>
                    <a:gd name="T22" fmla="*/ 170 w 171"/>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1">
                      <a:moveTo>
                        <a:pt x="0" y="103"/>
                      </a:moveTo>
                      <a:lnTo>
                        <a:pt x="0" y="103"/>
                      </a:lnTo>
                      <a:lnTo>
                        <a:pt x="20" y="112"/>
                      </a:lnTo>
                      <a:lnTo>
                        <a:pt x="44" y="117"/>
                      </a:lnTo>
                      <a:lnTo>
                        <a:pt x="65" y="120"/>
                      </a:lnTo>
                      <a:lnTo>
                        <a:pt x="89" y="121"/>
                      </a:lnTo>
                      <a:lnTo>
                        <a:pt x="89" y="121"/>
                      </a:lnTo>
                      <a:lnTo>
                        <a:pt x="109" y="120"/>
                      </a:lnTo>
                      <a:lnTo>
                        <a:pt x="130" y="117"/>
                      </a:lnTo>
                      <a:lnTo>
                        <a:pt x="150" y="112"/>
                      </a:lnTo>
                      <a:lnTo>
                        <a:pt x="171" y="106"/>
                      </a:lnTo>
                      <a:lnTo>
                        <a:pt x="170" y="0"/>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71" name="Line 42">
                  <a:extLst>
                    <a:ext uri="{FF2B5EF4-FFF2-40B4-BE49-F238E27FC236}">
                      <a16:creationId xmlns:a16="http://schemas.microsoft.com/office/drawing/2014/main" id="{675F0749-26E1-4781-B347-5227D6ACE857}"/>
                    </a:ext>
                  </a:extLst>
                </p:cNvPr>
                <p:cNvSpPr>
                  <a:spLocks noChangeShapeType="1"/>
                </p:cNvSpPr>
                <p:nvPr/>
              </p:nvSpPr>
              <p:spPr bwMode="auto">
                <a:xfrm flipH="1" flipV="1">
                  <a:off x="1160232" y="3223449"/>
                  <a:ext cx="0" cy="149433"/>
                </a:xfrm>
                <a:prstGeom prst="line">
                  <a:avLst/>
                </a:prstGeom>
                <a:noFill/>
                <a:ln w="9525">
                  <a:solidFill>
                    <a:srgbClr val="484F59"/>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72" name="Freeform 43">
                  <a:extLst>
                    <a:ext uri="{FF2B5EF4-FFF2-40B4-BE49-F238E27FC236}">
                      <a16:creationId xmlns:a16="http://schemas.microsoft.com/office/drawing/2014/main" id="{11D33EA1-250A-418A-94EE-F08C1A564AE9}"/>
                    </a:ext>
                  </a:extLst>
                </p:cNvPr>
                <p:cNvSpPr>
                  <a:spLocks/>
                </p:cNvSpPr>
                <p:nvPr/>
              </p:nvSpPr>
              <p:spPr bwMode="auto">
                <a:xfrm>
                  <a:off x="1051819" y="3097456"/>
                  <a:ext cx="465879" cy="278356"/>
                </a:xfrm>
                <a:custGeom>
                  <a:avLst/>
                  <a:gdLst>
                    <a:gd name="T0" fmla="*/ 246 w 318"/>
                    <a:gd name="T1" fmla="*/ 192 h 192"/>
                    <a:gd name="T2" fmla="*/ 246 w 318"/>
                    <a:gd name="T3" fmla="*/ 192 h 192"/>
                    <a:gd name="T4" fmla="*/ 265 w 318"/>
                    <a:gd name="T5" fmla="*/ 183 h 192"/>
                    <a:gd name="T6" fmla="*/ 284 w 318"/>
                    <a:gd name="T7" fmla="*/ 171 h 192"/>
                    <a:gd name="T8" fmla="*/ 301 w 318"/>
                    <a:gd name="T9" fmla="*/ 159 h 192"/>
                    <a:gd name="T10" fmla="*/ 318 w 318"/>
                    <a:gd name="T11" fmla="*/ 145 h 192"/>
                    <a:gd name="T12" fmla="*/ 317 w 318"/>
                    <a:gd name="T13" fmla="*/ 72 h 192"/>
                    <a:gd name="T14" fmla="*/ 317 w 318"/>
                    <a:gd name="T15" fmla="*/ 72 h 192"/>
                    <a:gd name="T16" fmla="*/ 317 w 318"/>
                    <a:gd name="T17" fmla="*/ 63 h 192"/>
                    <a:gd name="T18" fmla="*/ 314 w 318"/>
                    <a:gd name="T19" fmla="*/ 55 h 192"/>
                    <a:gd name="T20" fmla="*/ 310 w 318"/>
                    <a:gd name="T21" fmla="*/ 46 h 192"/>
                    <a:gd name="T22" fmla="*/ 305 w 318"/>
                    <a:gd name="T23" fmla="*/ 39 h 192"/>
                    <a:gd name="T24" fmla="*/ 305 w 318"/>
                    <a:gd name="T25" fmla="*/ 39 h 192"/>
                    <a:gd name="T26" fmla="*/ 299 w 318"/>
                    <a:gd name="T27" fmla="*/ 31 h 192"/>
                    <a:gd name="T28" fmla="*/ 292 w 318"/>
                    <a:gd name="T29" fmla="*/ 24 h 192"/>
                    <a:gd name="T30" fmla="*/ 284 w 318"/>
                    <a:gd name="T31" fmla="*/ 21 h 192"/>
                    <a:gd name="T32" fmla="*/ 277 w 318"/>
                    <a:gd name="T33" fmla="*/ 17 h 192"/>
                    <a:gd name="T34" fmla="*/ 277 w 318"/>
                    <a:gd name="T35" fmla="*/ 17 h 192"/>
                    <a:gd name="T36" fmla="*/ 247 w 318"/>
                    <a:gd name="T37" fmla="*/ 9 h 192"/>
                    <a:gd name="T38" fmla="*/ 218 w 318"/>
                    <a:gd name="T39" fmla="*/ 4 h 192"/>
                    <a:gd name="T40" fmla="*/ 188 w 318"/>
                    <a:gd name="T41" fmla="*/ 1 h 192"/>
                    <a:gd name="T42" fmla="*/ 158 w 318"/>
                    <a:gd name="T43" fmla="*/ 0 h 192"/>
                    <a:gd name="T44" fmla="*/ 129 w 318"/>
                    <a:gd name="T45" fmla="*/ 1 h 192"/>
                    <a:gd name="T46" fmla="*/ 99 w 318"/>
                    <a:gd name="T47" fmla="*/ 5 h 192"/>
                    <a:gd name="T48" fmla="*/ 70 w 318"/>
                    <a:gd name="T49" fmla="*/ 10 h 192"/>
                    <a:gd name="T50" fmla="*/ 40 w 318"/>
                    <a:gd name="T51" fmla="*/ 19 h 192"/>
                    <a:gd name="T52" fmla="*/ 40 w 318"/>
                    <a:gd name="T53" fmla="*/ 19 h 192"/>
                    <a:gd name="T54" fmla="*/ 33 w 318"/>
                    <a:gd name="T55" fmla="*/ 22 h 192"/>
                    <a:gd name="T56" fmla="*/ 25 w 318"/>
                    <a:gd name="T57" fmla="*/ 27 h 192"/>
                    <a:gd name="T58" fmla="*/ 18 w 318"/>
                    <a:gd name="T59" fmla="*/ 33 h 192"/>
                    <a:gd name="T60" fmla="*/ 12 w 318"/>
                    <a:gd name="T61" fmla="*/ 41 h 192"/>
                    <a:gd name="T62" fmla="*/ 12 w 318"/>
                    <a:gd name="T63" fmla="*/ 41 h 192"/>
                    <a:gd name="T64" fmla="*/ 7 w 318"/>
                    <a:gd name="T65" fmla="*/ 49 h 192"/>
                    <a:gd name="T66" fmla="*/ 3 w 318"/>
                    <a:gd name="T67" fmla="*/ 58 h 192"/>
                    <a:gd name="T68" fmla="*/ 2 w 318"/>
                    <a:gd name="T69" fmla="*/ 66 h 192"/>
                    <a:gd name="T70" fmla="*/ 0 w 318"/>
                    <a:gd name="T71" fmla="*/ 75 h 192"/>
                    <a:gd name="T72" fmla="*/ 2 w 318"/>
                    <a:gd name="T73" fmla="*/ 140 h 192"/>
                    <a:gd name="T74" fmla="*/ 2 w 318"/>
                    <a:gd name="T75" fmla="*/ 140 h 192"/>
                    <a:gd name="T76" fmla="*/ 17 w 318"/>
                    <a:gd name="T77" fmla="*/ 154 h 192"/>
                    <a:gd name="T78" fmla="*/ 35 w 318"/>
                    <a:gd name="T79" fmla="*/ 168 h 192"/>
                    <a:gd name="T80" fmla="*/ 54 w 318"/>
                    <a:gd name="T81" fmla="*/ 180 h 192"/>
                    <a:gd name="T82" fmla="*/ 75 w 318"/>
                    <a:gd name="T83" fmla="*/ 18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2">
                      <a:moveTo>
                        <a:pt x="246" y="192"/>
                      </a:moveTo>
                      <a:lnTo>
                        <a:pt x="246" y="192"/>
                      </a:lnTo>
                      <a:lnTo>
                        <a:pt x="265" y="183"/>
                      </a:lnTo>
                      <a:lnTo>
                        <a:pt x="284" y="171"/>
                      </a:lnTo>
                      <a:lnTo>
                        <a:pt x="301" y="159"/>
                      </a:lnTo>
                      <a:lnTo>
                        <a:pt x="318" y="145"/>
                      </a:lnTo>
                      <a:lnTo>
                        <a:pt x="317" y="72"/>
                      </a:lnTo>
                      <a:lnTo>
                        <a:pt x="317" y="72"/>
                      </a:lnTo>
                      <a:lnTo>
                        <a:pt x="317" y="63"/>
                      </a:lnTo>
                      <a:lnTo>
                        <a:pt x="314" y="55"/>
                      </a:lnTo>
                      <a:lnTo>
                        <a:pt x="310" y="46"/>
                      </a:lnTo>
                      <a:lnTo>
                        <a:pt x="305" y="39"/>
                      </a:lnTo>
                      <a:lnTo>
                        <a:pt x="305" y="39"/>
                      </a:lnTo>
                      <a:lnTo>
                        <a:pt x="299" y="31"/>
                      </a:lnTo>
                      <a:lnTo>
                        <a:pt x="292" y="24"/>
                      </a:lnTo>
                      <a:lnTo>
                        <a:pt x="284" y="21"/>
                      </a:lnTo>
                      <a:lnTo>
                        <a:pt x="277" y="17"/>
                      </a:lnTo>
                      <a:lnTo>
                        <a:pt x="277" y="17"/>
                      </a:lnTo>
                      <a:lnTo>
                        <a:pt x="247" y="9"/>
                      </a:lnTo>
                      <a:lnTo>
                        <a:pt x="218" y="4"/>
                      </a:lnTo>
                      <a:lnTo>
                        <a:pt x="188" y="1"/>
                      </a:lnTo>
                      <a:lnTo>
                        <a:pt x="158" y="0"/>
                      </a:lnTo>
                      <a:lnTo>
                        <a:pt x="129" y="1"/>
                      </a:lnTo>
                      <a:lnTo>
                        <a:pt x="99" y="5"/>
                      </a:lnTo>
                      <a:lnTo>
                        <a:pt x="70" y="10"/>
                      </a:lnTo>
                      <a:lnTo>
                        <a:pt x="40" y="19"/>
                      </a:lnTo>
                      <a:lnTo>
                        <a:pt x="40" y="19"/>
                      </a:lnTo>
                      <a:lnTo>
                        <a:pt x="33" y="22"/>
                      </a:lnTo>
                      <a:lnTo>
                        <a:pt x="25" y="27"/>
                      </a:lnTo>
                      <a:lnTo>
                        <a:pt x="18" y="33"/>
                      </a:lnTo>
                      <a:lnTo>
                        <a:pt x="12" y="41"/>
                      </a:lnTo>
                      <a:lnTo>
                        <a:pt x="12" y="41"/>
                      </a:lnTo>
                      <a:lnTo>
                        <a:pt x="7" y="49"/>
                      </a:lnTo>
                      <a:lnTo>
                        <a:pt x="3" y="58"/>
                      </a:lnTo>
                      <a:lnTo>
                        <a:pt x="2" y="66"/>
                      </a:lnTo>
                      <a:lnTo>
                        <a:pt x="0" y="75"/>
                      </a:lnTo>
                      <a:lnTo>
                        <a:pt x="2" y="140"/>
                      </a:lnTo>
                      <a:lnTo>
                        <a:pt x="2" y="140"/>
                      </a:lnTo>
                      <a:lnTo>
                        <a:pt x="17" y="154"/>
                      </a:lnTo>
                      <a:lnTo>
                        <a:pt x="35" y="168"/>
                      </a:lnTo>
                      <a:lnTo>
                        <a:pt x="54" y="180"/>
                      </a:lnTo>
                      <a:lnTo>
                        <a:pt x="75" y="189"/>
                      </a:lnTo>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73" name="Freeform 44">
                  <a:extLst>
                    <a:ext uri="{FF2B5EF4-FFF2-40B4-BE49-F238E27FC236}">
                      <a16:creationId xmlns:a16="http://schemas.microsoft.com/office/drawing/2014/main" id="{2EA938FC-D4EE-4001-802E-EBD9AF814A2C}"/>
                    </a:ext>
                  </a:extLst>
                </p:cNvPr>
                <p:cNvSpPr>
                  <a:spLocks/>
                </p:cNvSpPr>
                <p:nvPr/>
              </p:nvSpPr>
              <p:spPr bwMode="auto">
                <a:xfrm>
                  <a:off x="1166092" y="2857191"/>
                  <a:ext cx="234405" cy="234405"/>
                </a:xfrm>
                <a:custGeom>
                  <a:avLst/>
                  <a:gdLst>
                    <a:gd name="T0" fmla="*/ 137 w 161"/>
                    <a:gd name="T1" fmla="*/ 23 h 160"/>
                    <a:gd name="T2" fmla="*/ 137 w 161"/>
                    <a:gd name="T3" fmla="*/ 23 h 160"/>
                    <a:gd name="T4" fmla="*/ 124 w 161"/>
                    <a:gd name="T5" fmla="*/ 13 h 160"/>
                    <a:gd name="T6" fmla="*/ 117 w 161"/>
                    <a:gd name="T7" fmla="*/ 9 h 160"/>
                    <a:gd name="T8" fmla="*/ 111 w 161"/>
                    <a:gd name="T9" fmla="*/ 6 h 160"/>
                    <a:gd name="T10" fmla="*/ 103 w 161"/>
                    <a:gd name="T11" fmla="*/ 4 h 160"/>
                    <a:gd name="T12" fmla="*/ 96 w 161"/>
                    <a:gd name="T13" fmla="*/ 1 h 160"/>
                    <a:gd name="T14" fmla="*/ 80 w 161"/>
                    <a:gd name="T15" fmla="*/ 0 h 160"/>
                    <a:gd name="T16" fmla="*/ 80 w 161"/>
                    <a:gd name="T17" fmla="*/ 0 h 160"/>
                    <a:gd name="T18" fmla="*/ 63 w 161"/>
                    <a:gd name="T19" fmla="*/ 2 h 160"/>
                    <a:gd name="T20" fmla="*/ 56 w 161"/>
                    <a:gd name="T21" fmla="*/ 4 h 160"/>
                    <a:gd name="T22" fmla="*/ 49 w 161"/>
                    <a:gd name="T23" fmla="*/ 6 h 160"/>
                    <a:gd name="T24" fmla="*/ 42 w 161"/>
                    <a:gd name="T25" fmla="*/ 10 h 160"/>
                    <a:gd name="T26" fmla="*/ 35 w 161"/>
                    <a:gd name="T27" fmla="*/ 14 h 160"/>
                    <a:gd name="T28" fmla="*/ 24 w 161"/>
                    <a:gd name="T29" fmla="*/ 24 h 160"/>
                    <a:gd name="T30" fmla="*/ 24 w 161"/>
                    <a:gd name="T31" fmla="*/ 24 h 160"/>
                    <a:gd name="T32" fmla="*/ 13 w 161"/>
                    <a:gd name="T33" fmla="*/ 37 h 160"/>
                    <a:gd name="T34" fmla="*/ 9 w 161"/>
                    <a:gd name="T35" fmla="*/ 44 h 160"/>
                    <a:gd name="T36" fmla="*/ 6 w 161"/>
                    <a:gd name="T37" fmla="*/ 50 h 160"/>
                    <a:gd name="T38" fmla="*/ 3 w 161"/>
                    <a:gd name="T39" fmla="*/ 58 h 160"/>
                    <a:gd name="T40" fmla="*/ 2 w 161"/>
                    <a:gd name="T41" fmla="*/ 65 h 160"/>
                    <a:gd name="T42" fmla="*/ 0 w 161"/>
                    <a:gd name="T43" fmla="*/ 73 h 160"/>
                    <a:gd name="T44" fmla="*/ 0 w 161"/>
                    <a:gd name="T45" fmla="*/ 81 h 160"/>
                    <a:gd name="T46" fmla="*/ 0 w 161"/>
                    <a:gd name="T47" fmla="*/ 81 h 160"/>
                    <a:gd name="T48" fmla="*/ 2 w 161"/>
                    <a:gd name="T49" fmla="*/ 97 h 160"/>
                    <a:gd name="T50" fmla="*/ 3 w 161"/>
                    <a:gd name="T51" fmla="*/ 105 h 160"/>
                    <a:gd name="T52" fmla="*/ 6 w 161"/>
                    <a:gd name="T53" fmla="*/ 112 h 160"/>
                    <a:gd name="T54" fmla="*/ 9 w 161"/>
                    <a:gd name="T55" fmla="*/ 119 h 160"/>
                    <a:gd name="T56" fmla="*/ 13 w 161"/>
                    <a:gd name="T57" fmla="*/ 126 h 160"/>
                    <a:gd name="T58" fmla="*/ 24 w 161"/>
                    <a:gd name="T59" fmla="*/ 137 h 160"/>
                    <a:gd name="T60" fmla="*/ 24 w 161"/>
                    <a:gd name="T61" fmla="*/ 137 h 160"/>
                    <a:gd name="T62" fmla="*/ 36 w 161"/>
                    <a:gd name="T63" fmla="*/ 148 h 160"/>
                    <a:gd name="T64" fmla="*/ 43 w 161"/>
                    <a:gd name="T65" fmla="*/ 151 h 160"/>
                    <a:gd name="T66" fmla="*/ 51 w 161"/>
                    <a:gd name="T67" fmla="*/ 155 h 160"/>
                    <a:gd name="T68" fmla="*/ 57 w 161"/>
                    <a:gd name="T69" fmla="*/ 158 h 160"/>
                    <a:gd name="T70" fmla="*/ 65 w 161"/>
                    <a:gd name="T71" fmla="*/ 159 h 160"/>
                    <a:gd name="T72" fmla="*/ 72 w 161"/>
                    <a:gd name="T73" fmla="*/ 160 h 160"/>
                    <a:gd name="T74" fmla="*/ 81 w 161"/>
                    <a:gd name="T75" fmla="*/ 160 h 160"/>
                    <a:gd name="T76" fmla="*/ 81 w 161"/>
                    <a:gd name="T77" fmla="*/ 160 h 160"/>
                    <a:gd name="T78" fmla="*/ 97 w 161"/>
                    <a:gd name="T79" fmla="*/ 159 h 160"/>
                    <a:gd name="T80" fmla="*/ 105 w 161"/>
                    <a:gd name="T81" fmla="*/ 157 h 160"/>
                    <a:gd name="T82" fmla="*/ 112 w 161"/>
                    <a:gd name="T83" fmla="*/ 154 h 160"/>
                    <a:gd name="T84" fmla="*/ 119 w 161"/>
                    <a:gd name="T85" fmla="*/ 151 h 160"/>
                    <a:gd name="T86" fmla="*/ 125 w 161"/>
                    <a:gd name="T87" fmla="*/ 148 h 160"/>
                    <a:gd name="T88" fmla="*/ 138 w 161"/>
                    <a:gd name="T89" fmla="*/ 137 h 160"/>
                    <a:gd name="T90" fmla="*/ 138 w 161"/>
                    <a:gd name="T91" fmla="*/ 137 h 160"/>
                    <a:gd name="T92" fmla="*/ 148 w 161"/>
                    <a:gd name="T93" fmla="*/ 124 h 160"/>
                    <a:gd name="T94" fmla="*/ 152 w 161"/>
                    <a:gd name="T95" fmla="*/ 118 h 160"/>
                    <a:gd name="T96" fmla="*/ 155 w 161"/>
                    <a:gd name="T97" fmla="*/ 110 h 160"/>
                    <a:gd name="T98" fmla="*/ 157 w 161"/>
                    <a:gd name="T99" fmla="*/ 104 h 160"/>
                    <a:gd name="T100" fmla="*/ 160 w 161"/>
                    <a:gd name="T101" fmla="*/ 96 h 160"/>
                    <a:gd name="T102" fmla="*/ 161 w 161"/>
                    <a:gd name="T103" fmla="*/ 88 h 160"/>
                    <a:gd name="T104" fmla="*/ 161 w 161"/>
                    <a:gd name="T105" fmla="*/ 79 h 160"/>
                    <a:gd name="T106" fmla="*/ 161 w 161"/>
                    <a:gd name="T107" fmla="*/ 79 h 160"/>
                    <a:gd name="T108" fmla="*/ 160 w 161"/>
                    <a:gd name="T109" fmla="*/ 64 h 160"/>
                    <a:gd name="T110" fmla="*/ 157 w 161"/>
                    <a:gd name="T111" fmla="*/ 56 h 160"/>
                    <a:gd name="T112" fmla="*/ 155 w 161"/>
                    <a:gd name="T113" fmla="*/ 49 h 160"/>
                    <a:gd name="T114" fmla="*/ 151 w 161"/>
                    <a:gd name="T115" fmla="*/ 42 h 160"/>
                    <a:gd name="T116" fmla="*/ 147 w 161"/>
                    <a:gd name="T117" fmla="*/ 36 h 160"/>
                    <a:gd name="T118" fmla="*/ 137 w 161"/>
                    <a:gd name="T119" fmla="*/ 23 h 160"/>
                    <a:gd name="T120" fmla="*/ 137 w 161"/>
                    <a:gd name="T121" fmla="*/ 2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0">
                      <a:moveTo>
                        <a:pt x="137" y="23"/>
                      </a:moveTo>
                      <a:lnTo>
                        <a:pt x="137" y="23"/>
                      </a:lnTo>
                      <a:lnTo>
                        <a:pt x="124" y="13"/>
                      </a:lnTo>
                      <a:lnTo>
                        <a:pt x="117" y="9"/>
                      </a:lnTo>
                      <a:lnTo>
                        <a:pt x="111" y="6"/>
                      </a:lnTo>
                      <a:lnTo>
                        <a:pt x="103" y="4"/>
                      </a:lnTo>
                      <a:lnTo>
                        <a:pt x="96" y="1"/>
                      </a:lnTo>
                      <a:lnTo>
                        <a:pt x="80" y="0"/>
                      </a:lnTo>
                      <a:lnTo>
                        <a:pt x="80" y="0"/>
                      </a:lnTo>
                      <a:lnTo>
                        <a:pt x="63" y="2"/>
                      </a:lnTo>
                      <a:lnTo>
                        <a:pt x="56" y="4"/>
                      </a:lnTo>
                      <a:lnTo>
                        <a:pt x="49" y="6"/>
                      </a:lnTo>
                      <a:lnTo>
                        <a:pt x="42" y="10"/>
                      </a:lnTo>
                      <a:lnTo>
                        <a:pt x="35" y="14"/>
                      </a:lnTo>
                      <a:lnTo>
                        <a:pt x="24" y="24"/>
                      </a:lnTo>
                      <a:lnTo>
                        <a:pt x="24" y="24"/>
                      </a:lnTo>
                      <a:lnTo>
                        <a:pt x="13" y="37"/>
                      </a:lnTo>
                      <a:lnTo>
                        <a:pt x="9" y="44"/>
                      </a:lnTo>
                      <a:lnTo>
                        <a:pt x="6" y="50"/>
                      </a:lnTo>
                      <a:lnTo>
                        <a:pt x="3" y="58"/>
                      </a:lnTo>
                      <a:lnTo>
                        <a:pt x="2" y="65"/>
                      </a:lnTo>
                      <a:lnTo>
                        <a:pt x="0" y="73"/>
                      </a:lnTo>
                      <a:lnTo>
                        <a:pt x="0" y="81"/>
                      </a:lnTo>
                      <a:lnTo>
                        <a:pt x="0" y="81"/>
                      </a:lnTo>
                      <a:lnTo>
                        <a:pt x="2" y="97"/>
                      </a:lnTo>
                      <a:lnTo>
                        <a:pt x="3" y="105"/>
                      </a:lnTo>
                      <a:lnTo>
                        <a:pt x="6" y="112"/>
                      </a:lnTo>
                      <a:lnTo>
                        <a:pt x="9" y="119"/>
                      </a:lnTo>
                      <a:lnTo>
                        <a:pt x="13" y="126"/>
                      </a:lnTo>
                      <a:lnTo>
                        <a:pt x="24" y="137"/>
                      </a:lnTo>
                      <a:lnTo>
                        <a:pt x="24" y="137"/>
                      </a:lnTo>
                      <a:lnTo>
                        <a:pt x="36" y="148"/>
                      </a:lnTo>
                      <a:lnTo>
                        <a:pt x="43" y="151"/>
                      </a:lnTo>
                      <a:lnTo>
                        <a:pt x="51" y="155"/>
                      </a:lnTo>
                      <a:lnTo>
                        <a:pt x="57" y="158"/>
                      </a:lnTo>
                      <a:lnTo>
                        <a:pt x="65" y="159"/>
                      </a:lnTo>
                      <a:lnTo>
                        <a:pt x="72" y="160"/>
                      </a:lnTo>
                      <a:lnTo>
                        <a:pt x="81" y="160"/>
                      </a:lnTo>
                      <a:lnTo>
                        <a:pt x="81" y="160"/>
                      </a:lnTo>
                      <a:lnTo>
                        <a:pt x="97" y="159"/>
                      </a:lnTo>
                      <a:lnTo>
                        <a:pt x="105" y="157"/>
                      </a:lnTo>
                      <a:lnTo>
                        <a:pt x="112" y="154"/>
                      </a:lnTo>
                      <a:lnTo>
                        <a:pt x="119" y="151"/>
                      </a:lnTo>
                      <a:lnTo>
                        <a:pt x="125" y="148"/>
                      </a:lnTo>
                      <a:lnTo>
                        <a:pt x="138" y="137"/>
                      </a:lnTo>
                      <a:lnTo>
                        <a:pt x="138" y="137"/>
                      </a:lnTo>
                      <a:lnTo>
                        <a:pt x="148" y="124"/>
                      </a:lnTo>
                      <a:lnTo>
                        <a:pt x="152" y="118"/>
                      </a:lnTo>
                      <a:lnTo>
                        <a:pt x="155" y="110"/>
                      </a:lnTo>
                      <a:lnTo>
                        <a:pt x="157" y="104"/>
                      </a:lnTo>
                      <a:lnTo>
                        <a:pt x="160" y="96"/>
                      </a:lnTo>
                      <a:lnTo>
                        <a:pt x="161" y="88"/>
                      </a:lnTo>
                      <a:lnTo>
                        <a:pt x="161" y="79"/>
                      </a:lnTo>
                      <a:lnTo>
                        <a:pt x="161" y="79"/>
                      </a:lnTo>
                      <a:lnTo>
                        <a:pt x="160" y="64"/>
                      </a:lnTo>
                      <a:lnTo>
                        <a:pt x="157" y="56"/>
                      </a:lnTo>
                      <a:lnTo>
                        <a:pt x="155" y="49"/>
                      </a:lnTo>
                      <a:lnTo>
                        <a:pt x="151" y="42"/>
                      </a:lnTo>
                      <a:lnTo>
                        <a:pt x="147" y="36"/>
                      </a:lnTo>
                      <a:lnTo>
                        <a:pt x="137" y="23"/>
                      </a:lnTo>
                      <a:lnTo>
                        <a:pt x="137" y="23"/>
                      </a:lnTo>
                      <a:close/>
                    </a:path>
                  </a:pathLst>
                </a:custGeom>
                <a:solidFill>
                  <a:srgbClr val="009A44"/>
                </a:solidFill>
                <a:ln w="9525">
                  <a:solidFill>
                    <a:srgbClr val="000000"/>
                  </a:solid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74" name="Freeform 45">
                  <a:extLst>
                    <a:ext uri="{FF2B5EF4-FFF2-40B4-BE49-F238E27FC236}">
                      <a16:creationId xmlns:a16="http://schemas.microsoft.com/office/drawing/2014/main" id="{511F6BFF-AC22-45B1-A5DB-17AE855B4283}"/>
                    </a:ext>
                  </a:extLst>
                </p:cNvPr>
                <p:cNvSpPr>
                  <a:spLocks/>
                </p:cNvSpPr>
                <p:nvPr/>
              </p:nvSpPr>
              <p:spPr bwMode="auto">
                <a:xfrm>
                  <a:off x="1166092" y="2860121"/>
                  <a:ext cx="234405" cy="231475"/>
                </a:xfrm>
                <a:custGeom>
                  <a:avLst/>
                  <a:gdLst>
                    <a:gd name="T0" fmla="*/ 80 w 161"/>
                    <a:gd name="T1" fmla="*/ 0 h 159"/>
                    <a:gd name="T2" fmla="*/ 80 w 161"/>
                    <a:gd name="T3" fmla="*/ 0 h 159"/>
                    <a:gd name="T4" fmla="*/ 63 w 161"/>
                    <a:gd name="T5" fmla="*/ 1 h 159"/>
                    <a:gd name="T6" fmla="*/ 56 w 161"/>
                    <a:gd name="T7" fmla="*/ 3 h 159"/>
                    <a:gd name="T8" fmla="*/ 49 w 161"/>
                    <a:gd name="T9" fmla="*/ 5 h 159"/>
                    <a:gd name="T10" fmla="*/ 42 w 161"/>
                    <a:gd name="T11" fmla="*/ 9 h 159"/>
                    <a:gd name="T12" fmla="*/ 35 w 161"/>
                    <a:gd name="T13" fmla="*/ 13 h 159"/>
                    <a:gd name="T14" fmla="*/ 24 w 161"/>
                    <a:gd name="T15" fmla="*/ 23 h 159"/>
                    <a:gd name="T16" fmla="*/ 24 w 161"/>
                    <a:gd name="T17" fmla="*/ 23 h 159"/>
                    <a:gd name="T18" fmla="*/ 13 w 161"/>
                    <a:gd name="T19" fmla="*/ 36 h 159"/>
                    <a:gd name="T20" fmla="*/ 9 w 161"/>
                    <a:gd name="T21" fmla="*/ 43 h 159"/>
                    <a:gd name="T22" fmla="*/ 6 w 161"/>
                    <a:gd name="T23" fmla="*/ 49 h 159"/>
                    <a:gd name="T24" fmla="*/ 3 w 161"/>
                    <a:gd name="T25" fmla="*/ 57 h 159"/>
                    <a:gd name="T26" fmla="*/ 2 w 161"/>
                    <a:gd name="T27" fmla="*/ 64 h 159"/>
                    <a:gd name="T28" fmla="*/ 0 w 161"/>
                    <a:gd name="T29" fmla="*/ 72 h 159"/>
                    <a:gd name="T30" fmla="*/ 0 w 161"/>
                    <a:gd name="T31" fmla="*/ 80 h 159"/>
                    <a:gd name="T32" fmla="*/ 0 w 161"/>
                    <a:gd name="T33" fmla="*/ 80 h 159"/>
                    <a:gd name="T34" fmla="*/ 2 w 161"/>
                    <a:gd name="T35" fmla="*/ 96 h 159"/>
                    <a:gd name="T36" fmla="*/ 4 w 161"/>
                    <a:gd name="T37" fmla="*/ 104 h 159"/>
                    <a:gd name="T38" fmla="*/ 7 w 161"/>
                    <a:gd name="T39" fmla="*/ 111 h 159"/>
                    <a:gd name="T40" fmla="*/ 9 w 161"/>
                    <a:gd name="T41" fmla="*/ 118 h 159"/>
                    <a:gd name="T42" fmla="*/ 13 w 161"/>
                    <a:gd name="T43" fmla="*/ 125 h 159"/>
                    <a:gd name="T44" fmla="*/ 24 w 161"/>
                    <a:gd name="T45" fmla="*/ 136 h 159"/>
                    <a:gd name="T46" fmla="*/ 24 w 161"/>
                    <a:gd name="T47" fmla="*/ 136 h 159"/>
                    <a:gd name="T48" fmla="*/ 36 w 161"/>
                    <a:gd name="T49" fmla="*/ 147 h 159"/>
                    <a:gd name="T50" fmla="*/ 43 w 161"/>
                    <a:gd name="T51" fmla="*/ 150 h 159"/>
                    <a:gd name="T52" fmla="*/ 51 w 161"/>
                    <a:gd name="T53" fmla="*/ 154 h 159"/>
                    <a:gd name="T54" fmla="*/ 57 w 161"/>
                    <a:gd name="T55" fmla="*/ 157 h 159"/>
                    <a:gd name="T56" fmla="*/ 65 w 161"/>
                    <a:gd name="T57" fmla="*/ 158 h 159"/>
                    <a:gd name="T58" fmla="*/ 72 w 161"/>
                    <a:gd name="T59" fmla="*/ 159 h 159"/>
                    <a:gd name="T60" fmla="*/ 81 w 161"/>
                    <a:gd name="T61" fmla="*/ 159 h 159"/>
                    <a:gd name="T62" fmla="*/ 81 w 161"/>
                    <a:gd name="T63" fmla="*/ 159 h 159"/>
                    <a:gd name="T64" fmla="*/ 97 w 161"/>
                    <a:gd name="T65" fmla="*/ 158 h 159"/>
                    <a:gd name="T66" fmla="*/ 105 w 161"/>
                    <a:gd name="T67" fmla="*/ 157 h 159"/>
                    <a:gd name="T68" fmla="*/ 112 w 161"/>
                    <a:gd name="T69" fmla="*/ 154 h 159"/>
                    <a:gd name="T70" fmla="*/ 119 w 161"/>
                    <a:gd name="T71" fmla="*/ 150 h 159"/>
                    <a:gd name="T72" fmla="*/ 125 w 161"/>
                    <a:gd name="T73" fmla="*/ 147 h 159"/>
                    <a:gd name="T74" fmla="*/ 138 w 161"/>
                    <a:gd name="T75" fmla="*/ 136 h 159"/>
                    <a:gd name="T76" fmla="*/ 138 w 161"/>
                    <a:gd name="T77" fmla="*/ 136 h 159"/>
                    <a:gd name="T78" fmla="*/ 148 w 161"/>
                    <a:gd name="T79" fmla="*/ 123 h 159"/>
                    <a:gd name="T80" fmla="*/ 152 w 161"/>
                    <a:gd name="T81" fmla="*/ 117 h 159"/>
                    <a:gd name="T82" fmla="*/ 156 w 161"/>
                    <a:gd name="T83" fmla="*/ 109 h 159"/>
                    <a:gd name="T84" fmla="*/ 159 w 161"/>
                    <a:gd name="T85" fmla="*/ 103 h 159"/>
                    <a:gd name="T86" fmla="*/ 160 w 161"/>
                    <a:gd name="T87" fmla="*/ 95 h 159"/>
                    <a:gd name="T88" fmla="*/ 161 w 161"/>
                    <a:gd name="T89" fmla="*/ 87 h 159"/>
                    <a:gd name="T90" fmla="*/ 161 w 161"/>
                    <a:gd name="T91" fmla="*/ 78 h 159"/>
                    <a:gd name="T92" fmla="*/ 161 w 161"/>
                    <a:gd name="T93" fmla="*/ 78 h 159"/>
                    <a:gd name="T94" fmla="*/ 160 w 161"/>
                    <a:gd name="T95" fmla="*/ 63 h 159"/>
                    <a:gd name="T96" fmla="*/ 157 w 161"/>
                    <a:gd name="T97" fmla="*/ 55 h 159"/>
                    <a:gd name="T98" fmla="*/ 155 w 161"/>
                    <a:gd name="T99" fmla="*/ 48 h 159"/>
                    <a:gd name="T100" fmla="*/ 151 w 161"/>
                    <a:gd name="T101" fmla="*/ 41 h 159"/>
                    <a:gd name="T102" fmla="*/ 147 w 161"/>
                    <a:gd name="T103" fmla="*/ 35 h 159"/>
                    <a:gd name="T104" fmla="*/ 137 w 161"/>
                    <a:gd name="T105" fmla="*/ 22 h 159"/>
                    <a:gd name="T106" fmla="*/ 137 w 161"/>
                    <a:gd name="T107" fmla="*/ 22 h 159"/>
                    <a:gd name="T108" fmla="*/ 125 w 161"/>
                    <a:gd name="T109" fmla="*/ 12 h 159"/>
                    <a:gd name="T110" fmla="*/ 117 w 161"/>
                    <a:gd name="T111" fmla="*/ 8 h 159"/>
                    <a:gd name="T112" fmla="*/ 111 w 161"/>
                    <a:gd name="T113" fmla="*/ 5 h 159"/>
                    <a:gd name="T114" fmla="*/ 103 w 161"/>
                    <a:gd name="T115" fmla="*/ 3 h 159"/>
                    <a:gd name="T116" fmla="*/ 96 w 161"/>
                    <a:gd name="T117" fmla="*/ 1 h 159"/>
                    <a:gd name="T118" fmla="*/ 80 w 161"/>
                    <a:gd name="T119" fmla="*/ 0 h 159"/>
                    <a:gd name="T120" fmla="*/ 80 w 161"/>
                    <a:gd name="T1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59">
                      <a:moveTo>
                        <a:pt x="80" y="0"/>
                      </a:moveTo>
                      <a:lnTo>
                        <a:pt x="80" y="0"/>
                      </a:lnTo>
                      <a:lnTo>
                        <a:pt x="63" y="1"/>
                      </a:lnTo>
                      <a:lnTo>
                        <a:pt x="56" y="3"/>
                      </a:lnTo>
                      <a:lnTo>
                        <a:pt x="49" y="5"/>
                      </a:lnTo>
                      <a:lnTo>
                        <a:pt x="42" y="9"/>
                      </a:lnTo>
                      <a:lnTo>
                        <a:pt x="35" y="13"/>
                      </a:lnTo>
                      <a:lnTo>
                        <a:pt x="24" y="23"/>
                      </a:lnTo>
                      <a:lnTo>
                        <a:pt x="24" y="23"/>
                      </a:lnTo>
                      <a:lnTo>
                        <a:pt x="13" y="36"/>
                      </a:lnTo>
                      <a:lnTo>
                        <a:pt x="9" y="43"/>
                      </a:lnTo>
                      <a:lnTo>
                        <a:pt x="6" y="49"/>
                      </a:lnTo>
                      <a:lnTo>
                        <a:pt x="3" y="57"/>
                      </a:lnTo>
                      <a:lnTo>
                        <a:pt x="2" y="64"/>
                      </a:lnTo>
                      <a:lnTo>
                        <a:pt x="0" y="72"/>
                      </a:lnTo>
                      <a:lnTo>
                        <a:pt x="0" y="80"/>
                      </a:lnTo>
                      <a:lnTo>
                        <a:pt x="0" y="80"/>
                      </a:lnTo>
                      <a:lnTo>
                        <a:pt x="2" y="96"/>
                      </a:lnTo>
                      <a:lnTo>
                        <a:pt x="4" y="104"/>
                      </a:lnTo>
                      <a:lnTo>
                        <a:pt x="7" y="111"/>
                      </a:lnTo>
                      <a:lnTo>
                        <a:pt x="9" y="118"/>
                      </a:lnTo>
                      <a:lnTo>
                        <a:pt x="13" y="125"/>
                      </a:lnTo>
                      <a:lnTo>
                        <a:pt x="24" y="136"/>
                      </a:lnTo>
                      <a:lnTo>
                        <a:pt x="24" y="136"/>
                      </a:lnTo>
                      <a:lnTo>
                        <a:pt x="36" y="147"/>
                      </a:lnTo>
                      <a:lnTo>
                        <a:pt x="43" y="150"/>
                      </a:lnTo>
                      <a:lnTo>
                        <a:pt x="51" y="154"/>
                      </a:lnTo>
                      <a:lnTo>
                        <a:pt x="57" y="157"/>
                      </a:lnTo>
                      <a:lnTo>
                        <a:pt x="65" y="158"/>
                      </a:lnTo>
                      <a:lnTo>
                        <a:pt x="72" y="159"/>
                      </a:lnTo>
                      <a:lnTo>
                        <a:pt x="81" y="159"/>
                      </a:lnTo>
                      <a:lnTo>
                        <a:pt x="81" y="159"/>
                      </a:lnTo>
                      <a:lnTo>
                        <a:pt x="97" y="158"/>
                      </a:lnTo>
                      <a:lnTo>
                        <a:pt x="105" y="157"/>
                      </a:lnTo>
                      <a:lnTo>
                        <a:pt x="112" y="154"/>
                      </a:lnTo>
                      <a:lnTo>
                        <a:pt x="119" y="150"/>
                      </a:lnTo>
                      <a:lnTo>
                        <a:pt x="125" y="147"/>
                      </a:lnTo>
                      <a:lnTo>
                        <a:pt x="138" y="136"/>
                      </a:lnTo>
                      <a:lnTo>
                        <a:pt x="138" y="136"/>
                      </a:lnTo>
                      <a:lnTo>
                        <a:pt x="148" y="123"/>
                      </a:lnTo>
                      <a:lnTo>
                        <a:pt x="152" y="117"/>
                      </a:lnTo>
                      <a:lnTo>
                        <a:pt x="156" y="109"/>
                      </a:lnTo>
                      <a:lnTo>
                        <a:pt x="159" y="103"/>
                      </a:lnTo>
                      <a:lnTo>
                        <a:pt x="160" y="95"/>
                      </a:lnTo>
                      <a:lnTo>
                        <a:pt x="161" y="87"/>
                      </a:lnTo>
                      <a:lnTo>
                        <a:pt x="161" y="78"/>
                      </a:lnTo>
                      <a:lnTo>
                        <a:pt x="161" y="78"/>
                      </a:lnTo>
                      <a:lnTo>
                        <a:pt x="160" y="63"/>
                      </a:lnTo>
                      <a:lnTo>
                        <a:pt x="157" y="55"/>
                      </a:lnTo>
                      <a:lnTo>
                        <a:pt x="155" y="48"/>
                      </a:lnTo>
                      <a:lnTo>
                        <a:pt x="151" y="41"/>
                      </a:lnTo>
                      <a:lnTo>
                        <a:pt x="147" y="35"/>
                      </a:lnTo>
                      <a:lnTo>
                        <a:pt x="137" y="22"/>
                      </a:lnTo>
                      <a:lnTo>
                        <a:pt x="137" y="22"/>
                      </a:lnTo>
                      <a:lnTo>
                        <a:pt x="125" y="12"/>
                      </a:lnTo>
                      <a:lnTo>
                        <a:pt x="117" y="8"/>
                      </a:lnTo>
                      <a:lnTo>
                        <a:pt x="111" y="5"/>
                      </a:lnTo>
                      <a:lnTo>
                        <a:pt x="103" y="3"/>
                      </a:lnTo>
                      <a:lnTo>
                        <a:pt x="96" y="1"/>
                      </a:lnTo>
                      <a:lnTo>
                        <a:pt x="80" y="0"/>
                      </a:lnTo>
                      <a:lnTo>
                        <a:pt x="80" y="0"/>
                      </a:lnTo>
                      <a:close/>
                    </a:path>
                  </a:pathLst>
                </a:custGeom>
                <a:noFill/>
                <a:ln w="9525">
                  <a:solidFill>
                    <a:srgbClr val="484F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nvGrpSpPr>
                <p:cNvPr id="975" name="Group 974">
                  <a:extLst>
                    <a:ext uri="{FF2B5EF4-FFF2-40B4-BE49-F238E27FC236}">
                      <a16:creationId xmlns:a16="http://schemas.microsoft.com/office/drawing/2014/main" id="{8935821B-96D9-48F4-8C03-D8C056646C2E}"/>
                    </a:ext>
                  </a:extLst>
                </p:cNvPr>
                <p:cNvGrpSpPr/>
                <p:nvPr/>
              </p:nvGrpSpPr>
              <p:grpSpPr>
                <a:xfrm flipV="1">
                  <a:off x="1202047" y="3517919"/>
                  <a:ext cx="178734" cy="348678"/>
                  <a:chOff x="1207113" y="2241878"/>
                  <a:chExt cx="178734" cy="348678"/>
                </a:xfrm>
              </p:grpSpPr>
              <p:sp>
                <p:nvSpPr>
                  <p:cNvPr id="976" name="Freeform 10">
                    <a:extLst>
                      <a:ext uri="{FF2B5EF4-FFF2-40B4-BE49-F238E27FC236}">
                        <a16:creationId xmlns:a16="http://schemas.microsoft.com/office/drawing/2014/main" id="{0BB3B9F3-3105-46EC-8AF4-C31291F211AB}"/>
                      </a:ext>
                    </a:extLst>
                  </p:cNvPr>
                  <p:cNvSpPr>
                    <a:spLocks/>
                  </p:cNvSpPr>
                  <p:nvPr/>
                </p:nvSpPr>
                <p:spPr bwMode="auto">
                  <a:xfrm>
                    <a:off x="1207113" y="2241878"/>
                    <a:ext cx="178734" cy="87902"/>
                  </a:xfrm>
                  <a:custGeom>
                    <a:avLst/>
                    <a:gdLst>
                      <a:gd name="T0" fmla="*/ 122 w 122"/>
                      <a:gd name="T1" fmla="*/ 60 h 60"/>
                      <a:gd name="T2" fmla="*/ 60 w 122"/>
                      <a:gd name="T3" fmla="*/ 0 h 60"/>
                      <a:gd name="T4" fmla="*/ 0 w 122"/>
                      <a:gd name="T5" fmla="*/ 60 h 60"/>
                    </a:gdLst>
                    <a:ahLst/>
                    <a:cxnLst>
                      <a:cxn ang="0">
                        <a:pos x="T0" y="T1"/>
                      </a:cxn>
                      <a:cxn ang="0">
                        <a:pos x="T2" y="T3"/>
                      </a:cxn>
                      <a:cxn ang="0">
                        <a:pos x="T4" y="T5"/>
                      </a:cxn>
                    </a:cxnLst>
                    <a:rect l="0" t="0" r="r" b="b"/>
                    <a:pathLst>
                      <a:path w="122" h="60">
                        <a:moveTo>
                          <a:pt x="122" y="60"/>
                        </a:moveTo>
                        <a:lnTo>
                          <a:pt x="60" y="0"/>
                        </a:lnTo>
                        <a:lnTo>
                          <a:pt x="0" y="60"/>
                        </a:lnTo>
                      </a:path>
                    </a:pathLst>
                  </a:custGeom>
                  <a:noFill/>
                  <a:ln w="9525">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977" name="Line 11">
                    <a:extLst>
                      <a:ext uri="{FF2B5EF4-FFF2-40B4-BE49-F238E27FC236}">
                        <a16:creationId xmlns:a16="http://schemas.microsoft.com/office/drawing/2014/main" id="{15A0759E-40AA-4B90-8A32-3B21259C6E54}"/>
                      </a:ext>
                    </a:extLst>
                  </p:cNvPr>
                  <p:cNvSpPr>
                    <a:spLocks noChangeShapeType="1"/>
                  </p:cNvSpPr>
                  <p:nvPr/>
                </p:nvSpPr>
                <p:spPr bwMode="auto">
                  <a:xfrm>
                    <a:off x="1295014" y="2265319"/>
                    <a:ext cx="0" cy="325237"/>
                  </a:xfrm>
                  <a:prstGeom prst="line">
                    <a:avLst/>
                  </a:prstGeom>
                  <a:noFill/>
                  <a:ln w="9525">
                    <a:solidFill>
                      <a:schemeClr val="tx1">
                        <a:lumMod val="65000"/>
                        <a:lumOff val="35000"/>
                      </a:schemeClr>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grpSp>
        <p:sp>
          <p:nvSpPr>
            <p:cNvPr id="947" name="Rectangle 946">
              <a:extLst>
                <a:ext uri="{FF2B5EF4-FFF2-40B4-BE49-F238E27FC236}">
                  <a16:creationId xmlns:a16="http://schemas.microsoft.com/office/drawing/2014/main" id="{FA6B4F28-8278-4ECA-8613-C0087410F715}"/>
                </a:ext>
              </a:extLst>
            </p:cNvPr>
            <p:cNvSpPr/>
            <p:nvPr/>
          </p:nvSpPr>
          <p:spPr>
            <a:xfrm>
              <a:off x="8994581" y="916564"/>
              <a:ext cx="747890" cy="185958"/>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Scrum Master</a:t>
              </a:r>
            </a:p>
          </p:txBody>
        </p:sp>
      </p:grpSp>
      <p:grpSp>
        <p:nvGrpSpPr>
          <p:cNvPr id="987" name="Group 986">
            <a:extLst>
              <a:ext uri="{FF2B5EF4-FFF2-40B4-BE49-F238E27FC236}">
                <a16:creationId xmlns:a16="http://schemas.microsoft.com/office/drawing/2014/main" id="{37DAB111-0447-43DC-941A-463579861111}"/>
              </a:ext>
            </a:extLst>
          </p:cNvPr>
          <p:cNvGrpSpPr/>
          <p:nvPr/>
        </p:nvGrpSpPr>
        <p:grpSpPr>
          <a:xfrm>
            <a:off x="6382442" y="3434884"/>
            <a:ext cx="1044337" cy="760933"/>
            <a:chOff x="8052338" y="654428"/>
            <a:chExt cx="770246" cy="561223"/>
          </a:xfrm>
        </p:grpSpPr>
        <p:grpSp>
          <p:nvGrpSpPr>
            <p:cNvPr id="988" name="Group 987">
              <a:extLst>
                <a:ext uri="{FF2B5EF4-FFF2-40B4-BE49-F238E27FC236}">
                  <a16:creationId xmlns:a16="http://schemas.microsoft.com/office/drawing/2014/main" id="{3CDEC8D4-DDBE-4B3D-85CA-72825389D5AA}"/>
                </a:ext>
              </a:extLst>
            </p:cNvPr>
            <p:cNvGrpSpPr/>
            <p:nvPr/>
          </p:nvGrpSpPr>
          <p:grpSpPr>
            <a:xfrm>
              <a:off x="8264916" y="654428"/>
              <a:ext cx="343857" cy="343859"/>
              <a:chOff x="3646311" y="2599143"/>
              <a:chExt cx="515816" cy="515818"/>
            </a:xfrm>
          </p:grpSpPr>
          <p:grpSp>
            <p:nvGrpSpPr>
              <p:cNvPr id="990" name="Group 64">
                <a:extLst>
                  <a:ext uri="{FF2B5EF4-FFF2-40B4-BE49-F238E27FC236}">
                    <a16:creationId xmlns:a16="http://schemas.microsoft.com/office/drawing/2014/main" id="{83A62A63-D546-4F50-882B-DDDBBF715DD4}"/>
                  </a:ext>
                </a:extLst>
              </p:cNvPr>
              <p:cNvGrpSpPr>
                <a:grpSpLocks noChangeAspect="1"/>
              </p:cNvGrpSpPr>
              <p:nvPr/>
            </p:nvGrpSpPr>
            <p:grpSpPr bwMode="auto">
              <a:xfrm rot="8100000">
                <a:off x="3646311" y="2599143"/>
                <a:ext cx="515816" cy="515818"/>
                <a:chOff x="701" y="2170"/>
                <a:chExt cx="587" cy="587"/>
              </a:xfrm>
            </p:grpSpPr>
            <p:sp>
              <p:nvSpPr>
                <p:cNvPr id="1005" name="Oval 65">
                  <a:extLst>
                    <a:ext uri="{FF2B5EF4-FFF2-40B4-BE49-F238E27FC236}">
                      <a16:creationId xmlns:a16="http://schemas.microsoft.com/office/drawing/2014/main" id="{E04891BB-17C8-4D63-B426-768889B925FF}"/>
                    </a:ext>
                  </a:extLst>
                </p:cNvPr>
                <p:cNvSpPr>
                  <a:spLocks noChangeArrowheads="1"/>
                </p:cNvSpPr>
                <p:nvPr/>
              </p:nvSpPr>
              <p:spPr bwMode="auto">
                <a:xfrm>
                  <a:off x="701" y="2170"/>
                  <a:ext cx="587" cy="587"/>
                </a:xfrm>
                <a:prstGeom prst="ellipse">
                  <a:avLst/>
                </a:prstGeom>
                <a:noFill/>
                <a:ln w="19050">
                  <a:noFill/>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1006" name="Line 66">
                  <a:extLst>
                    <a:ext uri="{FF2B5EF4-FFF2-40B4-BE49-F238E27FC236}">
                      <a16:creationId xmlns:a16="http://schemas.microsoft.com/office/drawing/2014/main" id="{E18FFF8C-D602-4431-B0A4-0EC470D3A618}"/>
                    </a:ext>
                  </a:extLst>
                </p:cNvPr>
                <p:cNvSpPr>
                  <a:spLocks noChangeShapeType="1"/>
                </p:cNvSpPr>
                <p:nvPr/>
              </p:nvSpPr>
              <p:spPr bwMode="auto">
                <a:xfrm>
                  <a:off x="829" y="2641"/>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1007" name="Line 67">
                  <a:extLst>
                    <a:ext uri="{FF2B5EF4-FFF2-40B4-BE49-F238E27FC236}">
                      <a16:creationId xmlns:a16="http://schemas.microsoft.com/office/drawing/2014/main" id="{760613D1-072C-445F-ACB0-0C33FDBA6ADE}"/>
                    </a:ext>
                  </a:extLst>
                </p:cNvPr>
                <p:cNvSpPr>
                  <a:spLocks noChangeShapeType="1"/>
                </p:cNvSpPr>
                <p:nvPr/>
              </p:nvSpPr>
              <p:spPr bwMode="auto">
                <a:xfrm>
                  <a:off x="1154"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1008" name="Line 69">
                  <a:extLst>
                    <a:ext uri="{FF2B5EF4-FFF2-40B4-BE49-F238E27FC236}">
                      <a16:creationId xmlns:a16="http://schemas.microsoft.com/office/drawing/2014/main" id="{5D157BCE-D96A-42B5-AF94-E355012DE5D9}"/>
                    </a:ext>
                  </a:extLst>
                </p:cNvPr>
                <p:cNvSpPr>
                  <a:spLocks noChangeShapeType="1"/>
                </p:cNvSpPr>
                <p:nvPr/>
              </p:nvSpPr>
              <p:spPr bwMode="auto">
                <a:xfrm>
                  <a:off x="1161" y="2286"/>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1009" name="Line 74">
                  <a:extLst>
                    <a:ext uri="{FF2B5EF4-FFF2-40B4-BE49-F238E27FC236}">
                      <a16:creationId xmlns:a16="http://schemas.microsoft.com/office/drawing/2014/main" id="{E75A3792-415E-4A7D-9F0D-BA7F7D3C56E3}"/>
                    </a:ext>
                  </a:extLst>
                </p:cNvPr>
                <p:cNvSpPr>
                  <a:spLocks noChangeShapeType="1"/>
                </p:cNvSpPr>
                <p:nvPr/>
              </p:nvSpPr>
              <p:spPr bwMode="auto">
                <a:xfrm>
                  <a:off x="1172" y="2630"/>
                  <a:ext cx="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1010" name="Freeform 78">
                  <a:extLst>
                    <a:ext uri="{FF2B5EF4-FFF2-40B4-BE49-F238E27FC236}">
                      <a16:creationId xmlns:a16="http://schemas.microsoft.com/office/drawing/2014/main" id="{ED05988E-27D7-49DF-B8EF-DADC87C12DBC}"/>
                    </a:ext>
                  </a:extLst>
                </p:cNvPr>
                <p:cNvSpPr>
                  <a:spLocks/>
                </p:cNvSpPr>
                <p:nvPr/>
              </p:nvSpPr>
              <p:spPr bwMode="auto">
                <a:xfrm>
                  <a:off x="701" y="2170"/>
                  <a:ext cx="295" cy="295"/>
                </a:xfrm>
                <a:custGeom>
                  <a:avLst/>
                  <a:gdLst>
                    <a:gd name="T0" fmla="*/ 134 w 134"/>
                    <a:gd name="T1" fmla="*/ 0 h 134"/>
                    <a:gd name="T2" fmla="*/ 0 w 134"/>
                    <a:gd name="T3" fmla="*/ 134 h 134"/>
                  </a:gdLst>
                  <a:ahLst/>
                  <a:cxnLst>
                    <a:cxn ang="0">
                      <a:pos x="T0" y="T1"/>
                    </a:cxn>
                    <a:cxn ang="0">
                      <a:pos x="T2" y="T3"/>
                    </a:cxn>
                  </a:cxnLst>
                  <a:rect l="0" t="0" r="r" b="b"/>
                  <a:pathLst>
                    <a:path w="134" h="134">
                      <a:moveTo>
                        <a:pt x="134" y="0"/>
                      </a:moveTo>
                      <a:cubicBezTo>
                        <a:pt x="60" y="0"/>
                        <a:pt x="0" y="60"/>
                        <a:pt x="0" y="134"/>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1011" name="Freeform 80">
                  <a:extLst>
                    <a:ext uri="{FF2B5EF4-FFF2-40B4-BE49-F238E27FC236}">
                      <a16:creationId xmlns:a16="http://schemas.microsoft.com/office/drawing/2014/main" id="{54AE829E-6F7C-4778-9E14-17E803DC7B74}"/>
                    </a:ext>
                  </a:extLst>
                </p:cNvPr>
                <p:cNvSpPr>
                  <a:spLocks/>
                </p:cNvSpPr>
                <p:nvPr/>
              </p:nvSpPr>
              <p:spPr bwMode="auto">
                <a:xfrm>
                  <a:off x="996" y="2465"/>
                  <a:ext cx="292" cy="292"/>
                </a:xfrm>
                <a:custGeom>
                  <a:avLst/>
                  <a:gdLst>
                    <a:gd name="T0" fmla="*/ 0 w 133"/>
                    <a:gd name="T1" fmla="*/ 133 h 133"/>
                    <a:gd name="T2" fmla="*/ 133 w 133"/>
                    <a:gd name="T3" fmla="*/ 0 h 133"/>
                  </a:gdLst>
                  <a:ahLst/>
                  <a:cxnLst>
                    <a:cxn ang="0">
                      <a:pos x="T0" y="T1"/>
                    </a:cxn>
                    <a:cxn ang="0">
                      <a:pos x="T2" y="T3"/>
                    </a:cxn>
                  </a:cxnLst>
                  <a:rect l="0" t="0" r="r" b="b"/>
                  <a:pathLst>
                    <a:path w="133" h="133">
                      <a:moveTo>
                        <a:pt x="0" y="133"/>
                      </a:moveTo>
                      <a:cubicBezTo>
                        <a:pt x="73" y="133"/>
                        <a:pt x="133" y="74"/>
                        <a:pt x="133" y="0"/>
                      </a:cubicBezTo>
                    </a:path>
                  </a:pathLst>
                </a:custGeom>
                <a:noFill/>
                <a:ln w="19050" cap="flat">
                  <a:solidFill>
                    <a:srgbClr val="86BC2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nvGrpSpPr>
              <p:cNvPr id="991" name="Group 990">
                <a:extLst>
                  <a:ext uri="{FF2B5EF4-FFF2-40B4-BE49-F238E27FC236}">
                    <a16:creationId xmlns:a16="http://schemas.microsoft.com/office/drawing/2014/main" id="{EA6EB4E8-E30E-4055-8558-7336D7DE52E0}"/>
                  </a:ext>
                </a:extLst>
              </p:cNvPr>
              <p:cNvGrpSpPr/>
              <p:nvPr/>
            </p:nvGrpSpPr>
            <p:grpSpPr>
              <a:xfrm>
                <a:off x="3707533" y="2731244"/>
                <a:ext cx="389644" cy="289271"/>
                <a:chOff x="3707533" y="2731244"/>
                <a:chExt cx="389644" cy="289271"/>
              </a:xfrm>
            </p:grpSpPr>
            <p:sp>
              <p:nvSpPr>
                <p:cNvPr id="992" name="Freeform 33">
                  <a:extLst>
                    <a:ext uri="{FF2B5EF4-FFF2-40B4-BE49-F238E27FC236}">
                      <a16:creationId xmlns:a16="http://schemas.microsoft.com/office/drawing/2014/main" id="{15A0ED1F-484C-4C74-890E-95FB7CA5C795}"/>
                    </a:ext>
                  </a:extLst>
                </p:cNvPr>
                <p:cNvSpPr>
                  <a:spLocks/>
                </p:cNvSpPr>
                <p:nvPr/>
              </p:nvSpPr>
              <p:spPr bwMode="auto">
                <a:xfrm>
                  <a:off x="4024515" y="2731244"/>
                  <a:ext cx="69276" cy="69007"/>
                </a:xfrm>
                <a:prstGeom prst="ellipse">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93" name="Freeform 34">
                  <a:extLst>
                    <a:ext uri="{FF2B5EF4-FFF2-40B4-BE49-F238E27FC236}">
                      <a16:creationId xmlns:a16="http://schemas.microsoft.com/office/drawing/2014/main" id="{0AEDCA97-1285-479F-BDE4-B41DDF81D73B}"/>
                    </a:ext>
                  </a:extLst>
                </p:cNvPr>
                <p:cNvSpPr>
                  <a:spLocks/>
                </p:cNvSpPr>
                <p:nvPr/>
              </p:nvSpPr>
              <p:spPr bwMode="auto">
                <a:xfrm rot="16200000">
                  <a:off x="4028170" y="2819071"/>
                  <a:ext cx="69007" cy="69007"/>
                </a:xfrm>
                <a:prstGeom prst="flowChartDelay">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94" name="Freeform 37">
                  <a:extLst>
                    <a:ext uri="{FF2B5EF4-FFF2-40B4-BE49-F238E27FC236}">
                      <a16:creationId xmlns:a16="http://schemas.microsoft.com/office/drawing/2014/main" id="{A219322E-EE0F-4543-B927-72F3438ABE3B}"/>
                    </a:ext>
                  </a:extLst>
                </p:cNvPr>
                <p:cNvSpPr>
                  <a:spLocks/>
                </p:cNvSpPr>
                <p:nvPr/>
              </p:nvSpPr>
              <p:spPr bwMode="auto">
                <a:xfrm>
                  <a:off x="3713805" y="2731244"/>
                  <a:ext cx="69276" cy="69007"/>
                </a:xfrm>
                <a:prstGeom prst="ellipse">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95" name="Freeform 38">
                  <a:extLst>
                    <a:ext uri="{FF2B5EF4-FFF2-40B4-BE49-F238E27FC236}">
                      <a16:creationId xmlns:a16="http://schemas.microsoft.com/office/drawing/2014/main" id="{B8948564-F688-45E8-B9F2-DCDE5C9A9143}"/>
                    </a:ext>
                  </a:extLst>
                </p:cNvPr>
                <p:cNvSpPr>
                  <a:spLocks/>
                </p:cNvSpPr>
                <p:nvPr/>
              </p:nvSpPr>
              <p:spPr bwMode="auto">
                <a:xfrm rot="16200000">
                  <a:off x="3707533" y="2819071"/>
                  <a:ext cx="69007" cy="69007"/>
                </a:xfrm>
                <a:prstGeom prst="flowChartDelay">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96" name="Freeform 32">
                  <a:extLst>
                    <a:ext uri="{FF2B5EF4-FFF2-40B4-BE49-F238E27FC236}">
                      <a16:creationId xmlns:a16="http://schemas.microsoft.com/office/drawing/2014/main" id="{748BB512-04EE-48FE-B087-88BAC738450B}"/>
                    </a:ext>
                  </a:extLst>
                </p:cNvPr>
                <p:cNvSpPr>
                  <a:spLocks/>
                </p:cNvSpPr>
                <p:nvPr/>
              </p:nvSpPr>
              <p:spPr bwMode="auto">
                <a:xfrm>
                  <a:off x="3942371" y="2732797"/>
                  <a:ext cx="87750" cy="87827"/>
                </a:xfrm>
                <a:prstGeom prst="ellipse">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97" name="Freeform 35">
                  <a:extLst>
                    <a:ext uri="{FF2B5EF4-FFF2-40B4-BE49-F238E27FC236}">
                      <a16:creationId xmlns:a16="http://schemas.microsoft.com/office/drawing/2014/main" id="{518DD3E8-BA51-44A2-A4C1-C12265D9B432}"/>
                    </a:ext>
                  </a:extLst>
                </p:cNvPr>
                <p:cNvSpPr>
                  <a:spLocks/>
                </p:cNvSpPr>
                <p:nvPr/>
              </p:nvSpPr>
              <p:spPr bwMode="auto">
                <a:xfrm rot="16200000">
                  <a:off x="3946617" y="2837891"/>
                  <a:ext cx="81553" cy="94797"/>
                </a:xfrm>
                <a:prstGeom prst="flowChartDelay">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98" name="Freeform 36">
                  <a:extLst>
                    <a:ext uri="{FF2B5EF4-FFF2-40B4-BE49-F238E27FC236}">
                      <a16:creationId xmlns:a16="http://schemas.microsoft.com/office/drawing/2014/main" id="{1D451276-71FB-45C0-A03B-01FA42C4D345}"/>
                    </a:ext>
                  </a:extLst>
                </p:cNvPr>
                <p:cNvSpPr>
                  <a:spLocks/>
                </p:cNvSpPr>
                <p:nvPr/>
              </p:nvSpPr>
              <p:spPr bwMode="auto">
                <a:xfrm>
                  <a:off x="3776539" y="2731244"/>
                  <a:ext cx="87750" cy="87827"/>
                </a:xfrm>
                <a:prstGeom prst="ellipse">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999" name="Freeform 25">
                  <a:extLst>
                    <a:ext uri="{FF2B5EF4-FFF2-40B4-BE49-F238E27FC236}">
                      <a16:creationId xmlns:a16="http://schemas.microsoft.com/office/drawing/2014/main" id="{CADAF0C4-6B28-41C5-826D-39B3B3E71D82}"/>
                    </a:ext>
                  </a:extLst>
                </p:cNvPr>
                <p:cNvSpPr>
                  <a:spLocks/>
                </p:cNvSpPr>
                <p:nvPr/>
              </p:nvSpPr>
              <p:spPr bwMode="auto">
                <a:xfrm>
                  <a:off x="3845546" y="2731244"/>
                  <a:ext cx="114314" cy="112920"/>
                </a:xfrm>
                <a:custGeom>
                  <a:avLst/>
                  <a:gdLst>
                    <a:gd name="T0" fmla="*/ 0 w 491"/>
                    <a:gd name="T1" fmla="*/ 244 h 487"/>
                    <a:gd name="T2" fmla="*/ 6 w 491"/>
                    <a:gd name="T3" fmla="*/ 195 h 487"/>
                    <a:gd name="T4" fmla="*/ 20 w 491"/>
                    <a:gd name="T5" fmla="*/ 149 h 487"/>
                    <a:gd name="T6" fmla="*/ 43 w 491"/>
                    <a:gd name="T7" fmla="*/ 107 h 487"/>
                    <a:gd name="T8" fmla="*/ 72 w 491"/>
                    <a:gd name="T9" fmla="*/ 72 h 487"/>
                    <a:gd name="T10" fmla="*/ 109 w 491"/>
                    <a:gd name="T11" fmla="*/ 42 h 487"/>
                    <a:gd name="T12" fmla="*/ 151 w 491"/>
                    <a:gd name="T13" fmla="*/ 20 h 487"/>
                    <a:gd name="T14" fmla="*/ 196 w 491"/>
                    <a:gd name="T15" fmla="*/ 5 h 487"/>
                    <a:gd name="T16" fmla="*/ 246 w 491"/>
                    <a:gd name="T17" fmla="*/ 0 h 487"/>
                    <a:gd name="T18" fmla="*/ 272 w 491"/>
                    <a:gd name="T19" fmla="*/ 2 h 487"/>
                    <a:gd name="T20" fmla="*/ 319 w 491"/>
                    <a:gd name="T21" fmla="*/ 12 h 487"/>
                    <a:gd name="T22" fmla="*/ 363 w 491"/>
                    <a:gd name="T23" fmla="*/ 30 h 487"/>
                    <a:gd name="T24" fmla="*/ 402 w 491"/>
                    <a:gd name="T25" fmla="*/ 56 h 487"/>
                    <a:gd name="T26" fmla="*/ 435 w 491"/>
                    <a:gd name="T27" fmla="*/ 89 h 487"/>
                    <a:gd name="T28" fmla="*/ 462 w 491"/>
                    <a:gd name="T29" fmla="*/ 128 h 487"/>
                    <a:gd name="T30" fmla="*/ 481 w 491"/>
                    <a:gd name="T31" fmla="*/ 171 h 487"/>
                    <a:gd name="T32" fmla="*/ 490 w 491"/>
                    <a:gd name="T33" fmla="*/ 220 h 487"/>
                    <a:gd name="T34" fmla="*/ 491 w 491"/>
                    <a:gd name="T35" fmla="*/ 244 h 487"/>
                    <a:gd name="T36" fmla="*/ 486 w 491"/>
                    <a:gd name="T37" fmla="*/ 293 h 487"/>
                    <a:gd name="T38" fmla="*/ 472 w 491"/>
                    <a:gd name="T39" fmla="*/ 338 h 487"/>
                    <a:gd name="T40" fmla="*/ 449 w 491"/>
                    <a:gd name="T41" fmla="*/ 380 h 487"/>
                    <a:gd name="T42" fmla="*/ 419 w 491"/>
                    <a:gd name="T43" fmla="*/ 417 h 487"/>
                    <a:gd name="T44" fmla="*/ 383 w 491"/>
                    <a:gd name="T45" fmla="*/ 446 h 487"/>
                    <a:gd name="T46" fmla="*/ 341 w 491"/>
                    <a:gd name="T47" fmla="*/ 469 h 487"/>
                    <a:gd name="T48" fmla="*/ 295 w 491"/>
                    <a:gd name="T49" fmla="*/ 483 h 487"/>
                    <a:gd name="T50" fmla="*/ 246 w 491"/>
                    <a:gd name="T51" fmla="*/ 487 h 487"/>
                    <a:gd name="T52" fmla="*/ 221 w 491"/>
                    <a:gd name="T53" fmla="*/ 486 h 487"/>
                    <a:gd name="T54" fmla="*/ 173 w 491"/>
                    <a:gd name="T55" fmla="*/ 477 h 487"/>
                    <a:gd name="T56" fmla="*/ 130 w 491"/>
                    <a:gd name="T57" fmla="*/ 459 h 487"/>
                    <a:gd name="T58" fmla="*/ 90 w 491"/>
                    <a:gd name="T59" fmla="*/ 432 h 487"/>
                    <a:gd name="T60" fmla="*/ 57 w 491"/>
                    <a:gd name="T61" fmla="*/ 399 h 487"/>
                    <a:gd name="T62" fmla="*/ 30 w 491"/>
                    <a:gd name="T63" fmla="*/ 361 h 487"/>
                    <a:gd name="T64" fmla="*/ 12 w 491"/>
                    <a:gd name="T65" fmla="*/ 316 h 487"/>
                    <a:gd name="T66" fmla="*/ 2 w 491"/>
                    <a:gd name="T67" fmla="*/ 269 h 487"/>
                    <a:gd name="T68" fmla="*/ 0 w 491"/>
                    <a:gd name="T69" fmla="*/ 24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1" h="487">
                      <a:moveTo>
                        <a:pt x="0" y="244"/>
                      </a:moveTo>
                      <a:lnTo>
                        <a:pt x="0" y="244"/>
                      </a:lnTo>
                      <a:lnTo>
                        <a:pt x="2" y="220"/>
                      </a:lnTo>
                      <a:lnTo>
                        <a:pt x="6" y="195"/>
                      </a:lnTo>
                      <a:lnTo>
                        <a:pt x="12" y="171"/>
                      </a:lnTo>
                      <a:lnTo>
                        <a:pt x="20" y="149"/>
                      </a:lnTo>
                      <a:lnTo>
                        <a:pt x="30" y="128"/>
                      </a:lnTo>
                      <a:lnTo>
                        <a:pt x="43" y="107"/>
                      </a:lnTo>
                      <a:lnTo>
                        <a:pt x="57" y="89"/>
                      </a:lnTo>
                      <a:lnTo>
                        <a:pt x="72" y="72"/>
                      </a:lnTo>
                      <a:lnTo>
                        <a:pt x="90" y="56"/>
                      </a:lnTo>
                      <a:lnTo>
                        <a:pt x="109" y="42"/>
                      </a:lnTo>
                      <a:lnTo>
                        <a:pt x="130" y="30"/>
                      </a:lnTo>
                      <a:lnTo>
                        <a:pt x="151" y="20"/>
                      </a:lnTo>
                      <a:lnTo>
                        <a:pt x="173" y="12"/>
                      </a:lnTo>
                      <a:lnTo>
                        <a:pt x="196" y="5"/>
                      </a:lnTo>
                      <a:lnTo>
                        <a:pt x="221" y="2"/>
                      </a:lnTo>
                      <a:lnTo>
                        <a:pt x="246" y="0"/>
                      </a:lnTo>
                      <a:lnTo>
                        <a:pt x="246" y="0"/>
                      </a:lnTo>
                      <a:lnTo>
                        <a:pt x="272" y="2"/>
                      </a:lnTo>
                      <a:lnTo>
                        <a:pt x="295" y="5"/>
                      </a:lnTo>
                      <a:lnTo>
                        <a:pt x="319" y="12"/>
                      </a:lnTo>
                      <a:lnTo>
                        <a:pt x="341" y="20"/>
                      </a:lnTo>
                      <a:lnTo>
                        <a:pt x="363" y="30"/>
                      </a:lnTo>
                      <a:lnTo>
                        <a:pt x="383" y="42"/>
                      </a:lnTo>
                      <a:lnTo>
                        <a:pt x="402" y="56"/>
                      </a:lnTo>
                      <a:lnTo>
                        <a:pt x="419" y="72"/>
                      </a:lnTo>
                      <a:lnTo>
                        <a:pt x="435" y="89"/>
                      </a:lnTo>
                      <a:lnTo>
                        <a:pt x="449" y="107"/>
                      </a:lnTo>
                      <a:lnTo>
                        <a:pt x="462" y="128"/>
                      </a:lnTo>
                      <a:lnTo>
                        <a:pt x="472" y="149"/>
                      </a:lnTo>
                      <a:lnTo>
                        <a:pt x="481" y="171"/>
                      </a:lnTo>
                      <a:lnTo>
                        <a:pt x="486" y="195"/>
                      </a:lnTo>
                      <a:lnTo>
                        <a:pt x="490" y="220"/>
                      </a:lnTo>
                      <a:lnTo>
                        <a:pt x="491" y="244"/>
                      </a:lnTo>
                      <a:lnTo>
                        <a:pt x="491" y="244"/>
                      </a:lnTo>
                      <a:lnTo>
                        <a:pt x="490" y="269"/>
                      </a:lnTo>
                      <a:lnTo>
                        <a:pt x="486" y="293"/>
                      </a:lnTo>
                      <a:lnTo>
                        <a:pt x="481" y="316"/>
                      </a:lnTo>
                      <a:lnTo>
                        <a:pt x="472" y="338"/>
                      </a:lnTo>
                      <a:lnTo>
                        <a:pt x="462" y="361"/>
                      </a:lnTo>
                      <a:lnTo>
                        <a:pt x="449" y="380"/>
                      </a:lnTo>
                      <a:lnTo>
                        <a:pt x="435" y="399"/>
                      </a:lnTo>
                      <a:lnTo>
                        <a:pt x="419" y="417"/>
                      </a:lnTo>
                      <a:lnTo>
                        <a:pt x="402" y="432"/>
                      </a:lnTo>
                      <a:lnTo>
                        <a:pt x="383" y="446"/>
                      </a:lnTo>
                      <a:lnTo>
                        <a:pt x="363" y="459"/>
                      </a:lnTo>
                      <a:lnTo>
                        <a:pt x="341" y="469"/>
                      </a:lnTo>
                      <a:lnTo>
                        <a:pt x="319" y="477"/>
                      </a:lnTo>
                      <a:lnTo>
                        <a:pt x="295" y="483"/>
                      </a:lnTo>
                      <a:lnTo>
                        <a:pt x="272" y="486"/>
                      </a:lnTo>
                      <a:lnTo>
                        <a:pt x="246" y="487"/>
                      </a:lnTo>
                      <a:lnTo>
                        <a:pt x="246" y="487"/>
                      </a:lnTo>
                      <a:lnTo>
                        <a:pt x="221" y="486"/>
                      </a:lnTo>
                      <a:lnTo>
                        <a:pt x="196" y="483"/>
                      </a:lnTo>
                      <a:lnTo>
                        <a:pt x="173" y="477"/>
                      </a:lnTo>
                      <a:lnTo>
                        <a:pt x="151" y="469"/>
                      </a:lnTo>
                      <a:lnTo>
                        <a:pt x="130" y="459"/>
                      </a:lnTo>
                      <a:lnTo>
                        <a:pt x="109" y="446"/>
                      </a:lnTo>
                      <a:lnTo>
                        <a:pt x="90" y="432"/>
                      </a:lnTo>
                      <a:lnTo>
                        <a:pt x="72" y="417"/>
                      </a:lnTo>
                      <a:lnTo>
                        <a:pt x="57" y="399"/>
                      </a:lnTo>
                      <a:lnTo>
                        <a:pt x="43" y="380"/>
                      </a:lnTo>
                      <a:lnTo>
                        <a:pt x="30" y="361"/>
                      </a:lnTo>
                      <a:lnTo>
                        <a:pt x="20" y="338"/>
                      </a:lnTo>
                      <a:lnTo>
                        <a:pt x="12" y="316"/>
                      </a:lnTo>
                      <a:lnTo>
                        <a:pt x="6" y="293"/>
                      </a:lnTo>
                      <a:lnTo>
                        <a:pt x="2" y="269"/>
                      </a:lnTo>
                      <a:lnTo>
                        <a:pt x="0" y="244"/>
                      </a:lnTo>
                      <a:lnTo>
                        <a:pt x="0" y="244"/>
                      </a:lnTo>
                      <a:close/>
                    </a:path>
                  </a:pathLst>
                </a:cu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1000" name="Freeform 39">
                  <a:extLst>
                    <a:ext uri="{FF2B5EF4-FFF2-40B4-BE49-F238E27FC236}">
                      <a16:creationId xmlns:a16="http://schemas.microsoft.com/office/drawing/2014/main" id="{69D86031-A05B-403B-BBDB-C43586D47969}"/>
                    </a:ext>
                  </a:extLst>
                </p:cNvPr>
                <p:cNvSpPr>
                  <a:spLocks/>
                </p:cNvSpPr>
                <p:nvPr/>
              </p:nvSpPr>
              <p:spPr bwMode="auto">
                <a:xfrm rot="16200000">
                  <a:off x="3776539" y="2837891"/>
                  <a:ext cx="81553" cy="94797"/>
                </a:xfrm>
                <a:prstGeom prst="flowChartDelay">
                  <a:avLst/>
                </a:pr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1001" name="Freeform 26">
                  <a:extLst>
                    <a:ext uri="{FF2B5EF4-FFF2-40B4-BE49-F238E27FC236}">
                      <a16:creationId xmlns:a16="http://schemas.microsoft.com/office/drawing/2014/main" id="{1E46A269-6126-486F-AD4E-5B93EF3A955F}"/>
                    </a:ext>
                  </a:extLst>
                </p:cNvPr>
                <p:cNvSpPr>
                  <a:spLocks/>
                </p:cNvSpPr>
                <p:nvPr/>
              </p:nvSpPr>
              <p:spPr bwMode="auto">
                <a:xfrm>
                  <a:off x="3833000" y="2863681"/>
                  <a:ext cx="138710" cy="106647"/>
                </a:xfrm>
                <a:custGeom>
                  <a:avLst/>
                  <a:gdLst>
                    <a:gd name="T0" fmla="*/ 595 w 595"/>
                    <a:gd name="T1" fmla="*/ 459 h 459"/>
                    <a:gd name="T2" fmla="*/ 595 w 595"/>
                    <a:gd name="T3" fmla="*/ 161 h 459"/>
                    <a:gd name="T4" fmla="*/ 595 w 595"/>
                    <a:gd name="T5" fmla="*/ 161 h 459"/>
                    <a:gd name="T6" fmla="*/ 595 w 595"/>
                    <a:gd name="T7" fmla="*/ 151 h 459"/>
                    <a:gd name="T8" fmla="*/ 592 w 595"/>
                    <a:gd name="T9" fmla="*/ 142 h 459"/>
                    <a:gd name="T10" fmla="*/ 590 w 595"/>
                    <a:gd name="T11" fmla="*/ 133 h 459"/>
                    <a:gd name="T12" fmla="*/ 586 w 595"/>
                    <a:gd name="T13" fmla="*/ 124 h 459"/>
                    <a:gd name="T14" fmla="*/ 582 w 595"/>
                    <a:gd name="T15" fmla="*/ 114 h 459"/>
                    <a:gd name="T16" fmla="*/ 577 w 595"/>
                    <a:gd name="T17" fmla="*/ 107 h 459"/>
                    <a:gd name="T18" fmla="*/ 570 w 595"/>
                    <a:gd name="T19" fmla="*/ 99 h 459"/>
                    <a:gd name="T20" fmla="*/ 562 w 595"/>
                    <a:gd name="T21" fmla="*/ 91 h 459"/>
                    <a:gd name="T22" fmla="*/ 547 w 595"/>
                    <a:gd name="T23" fmla="*/ 77 h 459"/>
                    <a:gd name="T24" fmla="*/ 527 w 595"/>
                    <a:gd name="T25" fmla="*/ 64 h 459"/>
                    <a:gd name="T26" fmla="*/ 506 w 595"/>
                    <a:gd name="T27" fmla="*/ 51 h 459"/>
                    <a:gd name="T28" fmla="*/ 484 w 595"/>
                    <a:gd name="T29" fmla="*/ 40 h 459"/>
                    <a:gd name="T30" fmla="*/ 461 w 595"/>
                    <a:gd name="T31" fmla="*/ 31 h 459"/>
                    <a:gd name="T32" fmla="*/ 436 w 595"/>
                    <a:gd name="T33" fmla="*/ 22 h 459"/>
                    <a:gd name="T34" fmla="*/ 411 w 595"/>
                    <a:gd name="T35" fmla="*/ 15 h 459"/>
                    <a:gd name="T36" fmla="*/ 386 w 595"/>
                    <a:gd name="T37" fmla="*/ 9 h 459"/>
                    <a:gd name="T38" fmla="*/ 363 w 595"/>
                    <a:gd name="T39" fmla="*/ 5 h 459"/>
                    <a:gd name="T40" fmla="*/ 339 w 595"/>
                    <a:gd name="T41" fmla="*/ 2 h 459"/>
                    <a:gd name="T42" fmla="*/ 317 w 595"/>
                    <a:gd name="T43" fmla="*/ 0 h 459"/>
                    <a:gd name="T44" fmla="*/ 298 w 595"/>
                    <a:gd name="T45" fmla="*/ 0 h 459"/>
                    <a:gd name="T46" fmla="*/ 298 w 595"/>
                    <a:gd name="T47" fmla="*/ 0 h 459"/>
                    <a:gd name="T48" fmla="*/ 278 w 595"/>
                    <a:gd name="T49" fmla="*/ 0 h 459"/>
                    <a:gd name="T50" fmla="*/ 256 w 595"/>
                    <a:gd name="T51" fmla="*/ 2 h 459"/>
                    <a:gd name="T52" fmla="*/ 232 w 595"/>
                    <a:gd name="T53" fmla="*/ 5 h 459"/>
                    <a:gd name="T54" fmla="*/ 209 w 595"/>
                    <a:gd name="T55" fmla="*/ 9 h 459"/>
                    <a:gd name="T56" fmla="*/ 184 w 595"/>
                    <a:gd name="T57" fmla="*/ 15 h 459"/>
                    <a:gd name="T58" fmla="*/ 159 w 595"/>
                    <a:gd name="T59" fmla="*/ 22 h 459"/>
                    <a:gd name="T60" fmla="*/ 134 w 595"/>
                    <a:gd name="T61" fmla="*/ 31 h 459"/>
                    <a:gd name="T62" fmla="*/ 111 w 595"/>
                    <a:gd name="T63" fmla="*/ 40 h 459"/>
                    <a:gd name="T64" fmla="*/ 89 w 595"/>
                    <a:gd name="T65" fmla="*/ 51 h 459"/>
                    <a:gd name="T66" fmla="*/ 68 w 595"/>
                    <a:gd name="T67" fmla="*/ 64 h 459"/>
                    <a:gd name="T68" fmla="*/ 48 w 595"/>
                    <a:gd name="T69" fmla="*/ 77 h 459"/>
                    <a:gd name="T70" fmla="*/ 33 w 595"/>
                    <a:gd name="T71" fmla="*/ 91 h 459"/>
                    <a:gd name="T72" fmla="*/ 25 w 595"/>
                    <a:gd name="T73" fmla="*/ 99 h 459"/>
                    <a:gd name="T74" fmla="*/ 18 w 595"/>
                    <a:gd name="T75" fmla="*/ 107 h 459"/>
                    <a:gd name="T76" fmla="*/ 13 w 595"/>
                    <a:gd name="T77" fmla="*/ 114 h 459"/>
                    <a:gd name="T78" fmla="*/ 9 w 595"/>
                    <a:gd name="T79" fmla="*/ 124 h 459"/>
                    <a:gd name="T80" fmla="*/ 5 w 595"/>
                    <a:gd name="T81" fmla="*/ 133 h 459"/>
                    <a:gd name="T82" fmla="*/ 3 w 595"/>
                    <a:gd name="T83" fmla="*/ 142 h 459"/>
                    <a:gd name="T84" fmla="*/ 0 w 595"/>
                    <a:gd name="T85" fmla="*/ 151 h 459"/>
                    <a:gd name="T86" fmla="*/ 0 w 595"/>
                    <a:gd name="T87" fmla="*/ 161 h 459"/>
                    <a:gd name="T88" fmla="*/ 0 w 595"/>
                    <a:gd name="T89"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59">
                      <a:moveTo>
                        <a:pt x="595" y="459"/>
                      </a:moveTo>
                      <a:lnTo>
                        <a:pt x="595" y="161"/>
                      </a:lnTo>
                      <a:lnTo>
                        <a:pt x="595" y="161"/>
                      </a:lnTo>
                      <a:lnTo>
                        <a:pt x="595" y="151"/>
                      </a:lnTo>
                      <a:lnTo>
                        <a:pt x="592" y="142"/>
                      </a:lnTo>
                      <a:lnTo>
                        <a:pt x="590" y="133"/>
                      </a:lnTo>
                      <a:lnTo>
                        <a:pt x="586" y="124"/>
                      </a:lnTo>
                      <a:lnTo>
                        <a:pt x="582" y="114"/>
                      </a:lnTo>
                      <a:lnTo>
                        <a:pt x="577" y="107"/>
                      </a:lnTo>
                      <a:lnTo>
                        <a:pt x="570" y="99"/>
                      </a:lnTo>
                      <a:lnTo>
                        <a:pt x="562" y="91"/>
                      </a:lnTo>
                      <a:lnTo>
                        <a:pt x="547" y="77"/>
                      </a:lnTo>
                      <a:lnTo>
                        <a:pt x="527" y="64"/>
                      </a:lnTo>
                      <a:lnTo>
                        <a:pt x="506" y="51"/>
                      </a:lnTo>
                      <a:lnTo>
                        <a:pt x="484" y="40"/>
                      </a:lnTo>
                      <a:lnTo>
                        <a:pt x="461" y="31"/>
                      </a:lnTo>
                      <a:lnTo>
                        <a:pt x="436" y="22"/>
                      </a:lnTo>
                      <a:lnTo>
                        <a:pt x="411" y="15"/>
                      </a:lnTo>
                      <a:lnTo>
                        <a:pt x="386" y="9"/>
                      </a:lnTo>
                      <a:lnTo>
                        <a:pt x="363" y="5"/>
                      </a:lnTo>
                      <a:lnTo>
                        <a:pt x="339" y="2"/>
                      </a:lnTo>
                      <a:lnTo>
                        <a:pt x="317" y="0"/>
                      </a:lnTo>
                      <a:lnTo>
                        <a:pt x="298" y="0"/>
                      </a:lnTo>
                      <a:lnTo>
                        <a:pt x="298" y="0"/>
                      </a:lnTo>
                      <a:lnTo>
                        <a:pt x="278" y="0"/>
                      </a:lnTo>
                      <a:lnTo>
                        <a:pt x="256" y="2"/>
                      </a:lnTo>
                      <a:lnTo>
                        <a:pt x="232" y="5"/>
                      </a:lnTo>
                      <a:lnTo>
                        <a:pt x="209" y="9"/>
                      </a:lnTo>
                      <a:lnTo>
                        <a:pt x="184" y="15"/>
                      </a:lnTo>
                      <a:lnTo>
                        <a:pt x="159" y="22"/>
                      </a:lnTo>
                      <a:lnTo>
                        <a:pt x="134" y="31"/>
                      </a:lnTo>
                      <a:lnTo>
                        <a:pt x="111" y="40"/>
                      </a:lnTo>
                      <a:lnTo>
                        <a:pt x="89" y="51"/>
                      </a:lnTo>
                      <a:lnTo>
                        <a:pt x="68" y="64"/>
                      </a:lnTo>
                      <a:lnTo>
                        <a:pt x="48" y="77"/>
                      </a:lnTo>
                      <a:lnTo>
                        <a:pt x="33" y="91"/>
                      </a:lnTo>
                      <a:lnTo>
                        <a:pt x="25" y="99"/>
                      </a:lnTo>
                      <a:lnTo>
                        <a:pt x="18" y="107"/>
                      </a:lnTo>
                      <a:lnTo>
                        <a:pt x="13" y="114"/>
                      </a:lnTo>
                      <a:lnTo>
                        <a:pt x="9" y="124"/>
                      </a:lnTo>
                      <a:lnTo>
                        <a:pt x="5" y="133"/>
                      </a:lnTo>
                      <a:lnTo>
                        <a:pt x="3" y="142"/>
                      </a:lnTo>
                      <a:lnTo>
                        <a:pt x="0" y="151"/>
                      </a:lnTo>
                      <a:lnTo>
                        <a:pt x="0" y="161"/>
                      </a:lnTo>
                      <a:lnTo>
                        <a:pt x="0" y="459"/>
                      </a:lnTo>
                    </a:path>
                  </a:pathLst>
                </a:custGeom>
                <a:solidFill>
                  <a:srgbClr val="C4D600"/>
                </a:solidFill>
                <a:ln w="19050">
                  <a:solidFill>
                    <a:srgbClr val="53565A"/>
                  </a:solidFill>
                  <a:prstDash val="solid"/>
                  <a:round/>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1002" name="Rectangle 27">
                  <a:extLst>
                    <a:ext uri="{FF2B5EF4-FFF2-40B4-BE49-F238E27FC236}">
                      <a16:creationId xmlns:a16="http://schemas.microsoft.com/office/drawing/2014/main" id="{ACEB8D1B-E16D-412B-B741-59509E15E367}"/>
                    </a:ext>
                  </a:extLst>
                </p:cNvPr>
                <p:cNvSpPr>
                  <a:spLocks noChangeArrowheads="1"/>
                </p:cNvSpPr>
                <p:nvPr/>
              </p:nvSpPr>
              <p:spPr bwMode="auto">
                <a:xfrm>
                  <a:off x="3865063" y="2907595"/>
                  <a:ext cx="74583" cy="112920"/>
                </a:xfrm>
                <a:prstGeom prst="rect">
                  <a:avLst/>
                </a:prstGeom>
                <a:solidFill>
                  <a:srgbClr val="C4D600"/>
                </a:solidFill>
                <a:ln w="25400">
                  <a:noFill/>
                  <a:miter lim="800000"/>
                  <a:headEnd/>
                  <a:tailEnd/>
                </a:ln>
              </p:spPr>
              <p:txBody>
                <a:bodyPr vert="horz" wrap="square" lIns="46752" tIns="23377" rIns="46752" bIns="23377" numCol="1" anchor="t" anchorCtr="0" compatLnSpc="1">
                  <a:prstTxWarp prst="textNoShape">
                    <a:avLst/>
                  </a:prstTxWarp>
                </a:bodyPr>
                <a:lstStyle/>
                <a:p>
                  <a:endParaRPr lang="en-US" sz="1227" dirty="0"/>
                </a:p>
              </p:txBody>
            </p:sp>
            <p:sp>
              <p:nvSpPr>
                <p:cNvPr id="1003" name="Line 29">
                  <a:extLst>
                    <a:ext uri="{FF2B5EF4-FFF2-40B4-BE49-F238E27FC236}">
                      <a16:creationId xmlns:a16="http://schemas.microsoft.com/office/drawing/2014/main" id="{92B2809B-CEA7-4291-ACD9-57ADB8C68BCC}"/>
                    </a:ext>
                  </a:extLst>
                </p:cNvPr>
                <p:cNvSpPr>
                  <a:spLocks noChangeShapeType="1"/>
                </p:cNvSpPr>
                <p:nvPr/>
              </p:nvSpPr>
              <p:spPr bwMode="auto">
                <a:xfrm flipV="1">
                  <a:off x="3939646"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sp>
              <p:nvSpPr>
                <p:cNvPr id="1004" name="Line 31">
                  <a:extLst>
                    <a:ext uri="{FF2B5EF4-FFF2-40B4-BE49-F238E27FC236}">
                      <a16:creationId xmlns:a16="http://schemas.microsoft.com/office/drawing/2014/main" id="{F696CB38-F99D-47D2-B9A1-DC0A964266E3}"/>
                    </a:ext>
                  </a:extLst>
                </p:cNvPr>
                <p:cNvSpPr>
                  <a:spLocks noChangeShapeType="1"/>
                </p:cNvSpPr>
                <p:nvPr/>
              </p:nvSpPr>
              <p:spPr bwMode="auto">
                <a:xfrm>
                  <a:off x="3865063" y="2907595"/>
                  <a:ext cx="0" cy="112920"/>
                </a:xfrm>
                <a:prstGeom prst="line">
                  <a:avLst/>
                </a:prstGeom>
                <a:noFill/>
                <a:ln w="19050">
                  <a:solidFill>
                    <a:srgbClr val="53565A"/>
                  </a:solidFill>
                  <a:prstDash val="solid"/>
                  <a:round/>
                  <a:headEnd/>
                  <a:tailEnd/>
                </a:ln>
                <a:extLst>
                  <a:ext uri="{909E8E84-426E-40DD-AFC4-6F175D3DCCD1}">
                    <a14:hiddenFill xmlns:a14="http://schemas.microsoft.com/office/drawing/2010/main">
                      <a:noFill/>
                    </a14:hiddenFill>
                  </a:ext>
                </a:extLst>
              </p:spPr>
              <p:txBody>
                <a:bodyPr vert="horz" wrap="square" lIns="46752" tIns="23377" rIns="46752" bIns="23377" numCol="1" anchor="t" anchorCtr="0" compatLnSpc="1">
                  <a:prstTxWarp prst="textNoShape">
                    <a:avLst/>
                  </a:prstTxWarp>
                </a:bodyPr>
                <a:lstStyle/>
                <a:p>
                  <a:endParaRPr lang="en-US" sz="1227" dirty="0"/>
                </a:p>
              </p:txBody>
            </p:sp>
          </p:grpSp>
        </p:grpSp>
        <p:sp>
          <p:nvSpPr>
            <p:cNvPr id="989" name="Rectangle 988">
              <a:extLst>
                <a:ext uri="{FF2B5EF4-FFF2-40B4-BE49-F238E27FC236}">
                  <a16:creationId xmlns:a16="http://schemas.microsoft.com/office/drawing/2014/main" id="{C210FDFF-1671-490D-9C52-14685F50EA9C}"/>
                </a:ext>
              </a:extLst>
            </p:cNvPr>
            <p:cNvSpPr/>
            <p:nvPr/>
          </p:nvSpPr>
          <p:spPr>
            <a:xfrm>
              <a:off x="8052338" y="976693"/>
              <a:ext cx="770246" cy="238958"/>
            </a:xfrm>
            <a:prstGeom prst="rect">
              <a:avLst/>
            </a:prstGeom>
          </p:spPr>
          <p:txBody>
            <a:bodyPr wrap="square">
              <a:spAutoFit/>
            </a:bodyPr>
            <a:lstStyle/>
            <a:p>
              <a:pPr algn="ctr">
                <a:buClr>
                  <a:srgbClr val="62B5E5"/>
                </a:buClr>
              </a:pPr>
              <a:r>
                <a:rPr lang="en-US" sz="752" b="1" dirty="0">
                  <a:latin typeface="+mj-lt"/>
                  <a:ea typeface="Open Sans" panose="020B0606030504020204" pitchFamily="34" charset="0"/>
                  <a:cs typeface="Open Sans" panose="020B0606030504020204" pitchFamily="34" charset="0"/>
                </a:rPr>
                <a:t>Development </a:t>
              </a:r>
              <a:br>
                <a:rPr lang="en-US" sz="752" b="1" dirty="0">
                  <a:latin typeface="+mj-lt"/>
                  <a:ea typeface="Open Sans" panose="020B0606030504020204" pitchFamily="34" charset="0"/>
                  <a:cs typeface="Open Sans" panose="020B0606030504020204" pitchFamily="34" charset="0"/>
                </a:rPr>
              </a:br>
              <a:r>
                <a:rPr lang="en-US" sz="752" b="1" dirty="0">
                  <a:latin typeface="+mj-lt"/>
                  <a:ea typeface="Open Sans" panose="020B0606030504020204" pitchFamily="34" charset="0"/>
                  <a:cs typeface="Open Sans" panose="020B0606030504020204" pitchFamily="34" charset="0"/>
                </a:rPr>
                <a:t>team</a:t>
              </a:r>
            </a:p>
          </p:txBody>
        </p:sp>
      </p:grpSp>
      <p:grpSp>
        <p:nvGrpSpPr>
          <p:cNvPr id="1012" name="Group 1011">
            <a:extLst>
              <a:ext uri="{FF2B5EF4-FFF2-40B4-BE49-F238E27FC236}">
                <a16:creationId xmlns:a16="http://schemas.microsoft.com/office/drawing/2014/main" id="{BBEBD041-C079-487E-906D-08F8B38F43F8}"/>
              </a:ext>
            </a:extLst>
          </p:cNvPr>
          <p:cNvGrpSpPr/>
          <p:nvPr/>
        </p:nvGrpSpPr>
        <p:grpSpPr>
          <a:xfrm>
            <a:off x="9398746" y="2552587"/>
            <a:ext cx="838958" cy="636151"/>
            <a:chOff x="8121519" y="2538377"/>
            <a:chExt cx="1115908" cy="846152"/>
          </a:xfrm>
        </p:grpSpPr>
        <p:pic>
          <p:nvPicPr>
            <p:cNvPr id="1013" name="Picture 1012">
              <a:extLst>
                <a:ext uri="{FF2B5EF4-FFF2-40B4-BE49-F238E27FC236}">
                  <a16:creationId xmlns:a16="http://schemas.microsoft.com/office/drawing/2014/main" id="{DA21E2F0-EBEB-4816-82DB-172FD4BE7187}"/>
                </a:ext>
              </a:extLst>
            </p:cNvPr>
            <p:cNvPicPr>
              <a:picLocks noChangeAspect="1"/>
            </p:cNvPicPr>
            <p:nvPr/>
          </p:nvPicPr>
          <p:blipFill>
            <a:blip r:embed="rId8"/>
            <a:stretch>
              <a:fillRect/>
            </a:stretch>
          </p:blipFill>
          <p:spPr>
            <a:xfrm>
              <a:off x="8387353" y="2538377"/>
              <a:ext cx="625322" cy="446658"/>
            </a:xfrm>
            <a:prstGeom prst="rect">
              <a:avLst/>
            </a:prstGeom>
          </p:spPr>
        </p:pic>
        <p:sp>
          <p:nvSpPr>
            <p:cNvPr id="1014" name="Rectangle 1013">
              <a:extLst>
                <a:ext uri="{FF2B5EF4-FFF2-40B4-BE49-F238E27FC236}">
                  <a16:creationId xmlns:a16="http://schemas.microsoft.com/office/drawing/2014/main" id="{C95CEBEE-EC5E-45AC-8724-BC4982F8AE5D}"/>
                </a:ext>
              </a:extLst>
            </p:cNvPr>
            <p:cNvSpPr/>
            <p:nvPr/>
          </p:nvSpPr>
          <p:spPr>
            <a:xfrm>
              <a:off x="8121519" y="3107066"/>
              <a:ext cx="1115908" cy="277463"/>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Product Backlog </a:t>
              </a:r>
            </a:p>
          </p:txBody>
        </p:sp>
      </p:grpSp>
      <p:grpSp>
        <p:nvGrpSpPr>
          <p:cNvPr id="1015" name="Group 1014">
            <a:extLst>
              <a:ext uri="{FF2B5EF4-FFF2-40B4-BE49-F238E27FC236}">
                <a16:creationId xmlns:a16="http://schemas.microsoft.com/office/drawing/2014/main" id="{1869163D-35AE-4D5A-A67D-1B4E1765A071}"/>
              </a:ext>
            </a:extLst>
          </p:cNvPr>
          <p:cNvGrpSpPr/>
          <p:nvPr/>
        </p:nvGrpSpPr>
        <p:grpSpPr>
          <a:xfrm>
            <a:off x="7736070" y="3411742"/>
            <a:ext cx="838958" cy="659178"/>
            <a:chOff x="10657277" y="2438153"/>
            <a:chExt cx="1115908" cy="876781"/>
          </a:xfrm>
        </p:grpSpPr>
        <p:pic>
          <p:nvPicPr>
            <p:cNvPr id="1016" name="Picture 1015">
              <a:extLst>
                <a:ext uri="{FF2B5EF4-FFF2-40B4-BE49-F238E27FC236}">
                  <a16:creationId xmlns:a16="http://schemas.microsoft.com/office/drawing/2014/main" id="{1262CCCF-AE75-4BE7-8756-73D4ADFA4F22}"/>
                </a:ext>
              </a:extLst>
            </p:cNvPr>
            <p:cNvPicPr>
              <a:picLocks noChangeAspect="1"/>
            </p:cNvPicPr>
            <p:nvPr/>
          </p:nvPicPr>
          <p:blipFill rotWithShape="1">
            <a:blip r:embed="rId9"/>
            <a:srcRect b="35370"/>
            <a:stretch/>
          </p:blipFill>
          <p:spPr>
            <a:xfrm>
              <a:off x="10747906" y="2438153"/>
              <a:ext cx="934650" cy="606484"/>
            </a:xfrm>
            <a:prstGeom prst="rect">
              <a:avLst/>
            </a:prstGeom>
          </p:spPr>
        </p:pic>
        <p:sp>
          <p:nvSpPr>
            <p:cNvPr id="1017" name="Rectangle 1016">
              <a:extLst>
                <a:ext uri="{FF2B5EF4-FFF2-40B4-BE49-F238E27FC236}">
                  <a16:creationId xmlns:a16="http://schemas.microsoft.com/office/drawing/2014/main" id="{BC67A301-152D-48F1-8EA5-FB6AF2C2CF4E}"/>
                </a:ext>
              </a:extLst>
            </p:cNvPr>
            <p:cNvSpPr/>
            <p:nvPr/>
          </p:nvSpPr>
          <p:spPr>
            <a:xfrm>
              <a:off x="10657277" y="3037899"/>
              <a:ext cx="1115908" cy="277035"/>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Roadmap</a:t>
              </a:r>
            </a:p>
          </p:txBody>
        </p:sp>
      </p:grpSp>
      <p:grpSp>
        <p:nvGrpSpPr>
          <p:cNvPr id="1019" name="Group 1018">
            <a:extLst>
              <a:ext uri="{FF2B5EF4-FFF2-40B4-BE49-F238E27FC236}">
                <a16:creationId xmlns:a16="http://schemas.microsoft.com/office/drawing/2014/main" id="{4A322A36-6A8A-432E-916E-C0D31D9B7C07}"/>
              </a:ext>
            </a:extLst>
          </p:cNvPr>
          <p:cNvGrpSpPr/>
          <p:nvPr/>
        </p:nvGrpSpPr>
        <p:grpSpPr>
          <a:xfrm>
            <a:off x="7680094" y="2506359"/>
            <a:ext cx="838958" cy="788145"/>
            <a:chOff x="8187941" y="2193055"/>
            <a:chExt cx="1115908" cy="1048321"/>
          </a:xfrm>
        </p:grpSpPr>
        <p:pic>
          <p:nvPicPr>
            <p:cNvPr id="1020" name="Picture 1019">
              <a:extLst>
                <a:ext uri="{FF2B5EF4-FFF2-40B4-BE49-F238E27FC236}">
                  <a16:creationId xmlns:a16="http://schemas.microsoft.com/office/drawing/2014/main" id="{97238D89-530D-4939-8CD9-71C8949B3142}"/>
                </a:ext>
              </a:extLst>
            </p:cNvPr>
            <p:cNvPicPr>
              <a:picLocks noChangeAspect="1"/>
            </p:cNvPicPr>
            <p:nvPr/>
          </p:nvPicPr>
          <p:blipFill rotWithShape="1">
            <a:blip r:embed="rId10"/>
            <a:srcRect b="25355"/>
            <a:stretch/>
          </p:blipFill>
          <p:spPr>
            <a:xfrm>
              <a:off x="8514866" y="2193055"/>
              <a:ext cx="481525" cy="689603"/>
            </a:xfrm>
            <a:prstGeom prst="rect">
              <a:avLst/>
            </a:prstGeom>
          </p:spPr>
        </p:pic>
        <p:sp>
          <p:nvSpPr>
            <p:cNvPr id="1021" name="Rectangle 1020">
              <a:extLst>
                <a:ext uri="{FF2B5EF4-FFF2-40B4-BE49-F238E27FC236}">
                  <a16:creationId xmlns:a16="http://schemas.microsoft.com/office/drawing/2014/main" id="{C7951758-D120-4CAD-B3C8-72943587A3CA}"/>
                </a:ext>
              </a:extLst>
            </p:cNvPr>
            <p:cNvSpPr/>
            <p:nvPr/>
          </p:nvSpPr>
          <p:spPr>
            <a:xfrm>
              <a:off x="8187941" y="2964341"/>
              <a:ext cx="1115908" cy="277035"/>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DoD</a:t>
              </a:r>
            </a:p>
          </p:txBody>
        </p:sp>
      </p:grpSp>
      <p:grpSp>
        <p:nvGrpSpPr>
          <p:cNvPr id="1022" name="Group 1021">
            <a:extLst>
              <a:ext uri="{FF2B5EF4-FFF2-40B4-BE49-F238E27FC236}">
                <a16:creationId xmlns:a16="http://schemas.microsoft.com/office/drawing/2014/main" id="{7F425372-E849-4E25-BB8E-944B56F5A63C}"/>
              </a:ext>
            </a:extLst>
          </p:cNvPr>
          <p:cNvGrpSpPr/>
          <p:nvPr/>
        </p:nvGrpSpPr>
        <p:grpSpPr>
          <a:xfrm>
            <a:off x="8552538" y="2549047"/>
            <a:ext cx="838958" cy="745458"/>
            <a:chOff x="9348390" y="2249832"/>
            <a:chExt cx="1115908" cy="991543"/>
          </a:xfrm>
        </p:grpSpPr>
        <p:pic>
          <p:nvPicPr>
            <p:cNvPr id="1023" name="Picture 1022">
              <a:extLst>
                <a:ext uri="{FF2B5EF4-FFF2-40B4-BE49-F238E27FC236}">
                  <a16:creationId xmlns:a16="http://schemas.microsoft.com/office/drawing/2014/main" id="{853F7185-17D1-4007-9DBD-A66E0E31B295}"/>
                </a:ext>
              </a:extLst>
            </p:cNvPr>
            <p:cNvPicPr>
              <a:picLocks noChangeAspect="1"/>
            </p:cNvPicPr>
            <p:nvPr/>
          </p:nvPicPr>
          <p:blipFill rotWithShape="1">
            <a:blip r:embed="rId11"/>
            <a:srcRect b="25130"/>
            <a:stretch/>
          </p:blipFill>
          <p:spPr>
            <a:xfrm>
              <a:off x="9655656" y="2249832"/>
              <a:ext cx="492721" cy="679113"/>
            </a:xfrm>
            <a:prstGeom prst="rect">
              <a:avLst/>
            </a:prstGeom>
          </p:spPr>
        </p:pic>
        <p:sp>
          <p:nvSpPr>
            <p:cNvPr id="1024" name="Rectangle 1023">
              <a:extLst>
                <a:ext uri="{FF2B5EF4-FFF2-40B4-BE49-F238E27FC236}">
                  <a16:creationId xmlns:a16="http://schemas.microsoft.com/office/drawing/2014/main" id="{8645AF1D-A733-4249-96EC-0AB09D22FBF6}"/>
                </a:ext>
              </a:extLst>
            </p:cNvPr>
            <p:cNvSpPr/>
            <p:nvPr/>
          </p:nvSpPr>
          <p:spPr>
            <a:xfrm>
              <a:off x="9348390" y="2964340"/>
              <a:ext cx="1115908" cy="277035"/>
            </a:xfrm>
            <a:prstGeom prst="rect">
              <a:avLst/>
            </a:prstGeom>
          </p:spPr>
          <p:txBody>
            <a:bodyPr wrap="square">
              <a:spAutoFit/>
            </a:bodyPr>
            <a:lstStyle/>
            <a:p>
              <a:pPr algn="ctr">
                <a:spcAft>
                  <a:spcPts val="153"/>
                </a:spcAft>
                <a:buClr>
                  <a:srgbClr val="62B5E5"/>
                </a:buClr>
              </a:pPr>
              <a:r>
                <a:rPr lang="en-US" sz="752" b="1" dirty="0">
                  <a:latin typeface="+mj-lt"/>
                  <a:ea typeface="Open Sans" panose="020B0606030504020204" pitchFamily="34" charset="0"/>
                  <a:cs typeface="Open Sans" panose="020B0606030504020204" pitchFamily="34" charset="0"/>
                </a:rPr>
                <a:t>DoR</a:t>
              </a:r>
            </a:p>
          </p:txBody>
        </p:sp>
      </p:grpSp>
    </p:spTree>
    <p:custDataLst>
      <p:tags r:id="rId1"/>
    </p:custDataLst>
    <p:extLst>
      <p:ext uri="{BB962C8B-B14F-4D97-AF65-F5344CB8AC3E}">
        <p14:creationId xmlns:p14="http://schemas.microsoft.com/office/powerpoint/2010/main" val="39676702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989F33C5-9FDC-40D5-A738-F3BADAE44741}"/>
              </a:ext>
            </a:extLst>
          </p:cNvPr>
          <p:cNvPicPr>
            <a:picLocks noChangeAspect="1"/>
          </p:cNvPicPr>
          <p:nvPr/>
        </p:nvPicPr>
        <p:blipFill>
          <a:blip r:embed="rId4">
            <a:biLevel thresh="50000"/>
          </a:blip>
          <a:stretch>
            <a:fillRect/>
          </a:stretch>
        </p:blipFill>
        <p:spPr>
          <a:xfrm>
            <a:off x="3712563" y="1040789"/>
            <a:ext cx="4789551" cy="4789551"/>
          </a:xfrm>
          <a:prstGeom prst="rect">
            <a:avLst/>
          </a:prstGeom>
        </p:spPr>
      </p:pic>
    </p:spTree>
    <p:custDataLst>
      <p:tags r:id="rId1"/>
    </p:custDataLst>
    <p:extLst>
      <p:ext uri="{BB962C8B-B14F-4D97-AF65-F5344CB8AC3E}">
        <p14:creationId xmlns:p14="http://schemas.microsoft.com/office/powerpoint/2010/main" val="74621827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12B23-F691-4B68-A924-862DC7B5008C}"/>
              </a:ext>
            </a:extLst>
          </p:cNvPr>
          <p:cNvSpPr>
            <a:spLocks noGrp="1"/>
          </p:cNvSpPr>
          <p:nvPr>
            <p:ph type="ctrTitle"/>
          </p:nvPr>
        </p:nvSpPr>
        <p:spPr/>
        <p:txBody>
          <a:bodyPr/>
          <a:lstStyle/>
          <a:p>
            <a:pPr lvl="0"/>
            <a:r>
              <a:rPr lang="en-US" sz="2400" b="1" dirty="0">
                <a:solidFill>
                  <a:prstClr val="black"/>
                </a:solidFill>
                <a:ea typeface="+mn-ea"/>
                <a:cs typeface="+mn-cs"/>
              </a:rPr>
              <a:t>Bringing it all together</a:t>
            </a:r>
            <a:endParaRPr lang="en-US" dirty="0"/>
          </a:p>
        </p:txBody>
      </p:sp>
      <p:sp>
        <p:nvSpPr>
          <p:cNvPr id="3" name="Subtitle 2">
            <a:extLst>
              <a:ext uri="{FF2B5EF4-FFF2-40B4-BE49-F238E27FC236}">
                <a16:creationId xmlns:a16="http://schemas.microsoft.com/office/drawing/2014/main" id="{2E57E871-053C-4035-BC16-E8A102EDD4CB}"/>
              </a:ext>
            </a:extLst>
          </p:cNvPr>
          <p:cNvSpPr>
            <a:spLocks noGrp="1"/>
          </p:cNvSpPr>
          <p:nvPr>
            <p:ph type="subTitle" idx="1"/>
          </p:nvPr>
        </p:nvSpPr>
        <p:spPr/>
        <p:txBody>
          <a:bodyPr/>
          <a:lstStyle/>
          <a:p>
            <a:pPr lvl="0">
              <a:buClrTx/>
              <a:buSzTx/>
            </a:pPr>
            <a:r>
              <a:rPr lang="en-US" sz="2000" dirty="0">
                <a:solidFill>
                  <a:prstClr val="black"/>
                </a:solidFill>
                <a:cs typeface="+mn-cs"/>
              </a:rPr>
              <a:t>Objective: Introduce Deloitte’s agile framework</a:t>
            </a:r>
          </a:p>
        </p:txBody>
      </p:sp>
      <p:pic>
        <p:nvPicPr>
          <p:cNvPr id="8" name="Picture 7">
            <a:extLst>
              <a:ext uri="{FF2B5EF4-FFF2-40B4-BE49-F238E27FC236}">
                <a16:creationId xmlns:a16="http://schemas.microsoft.com/office/drawing/2014/main" id="{BA15E8AD-5FAF-44A7-BAB7-E3E0F1DEDD17}"/>
              </a:ext>
            </a:extLst>
          </p:cNvPr>
          <p:cNvPicPr>
            <a:picLocks noChangeAspect="1"/>
          </p:cNvPicPr>
          <p:nvPr/>
        </p:nvPicPr>
        <p:blipFill>
          <a:blip r:embed="rId4"/>
          <a:stretch>
            <a:fillRect/>
          </a:stretch>
        </p:blipFill>
        <p:spPr>
          <a:xfrm>
            <a:off x="-93827" y="497004"/>
            <a:ext cx="3312983" cy="3168791"/>
          </a:xfrm>
          <a:prstGeom prst="rect">
            <a:avLst/>
          </a:prstGeom>
        </p:spPr>
      </p:pic>
      <p:graphicFrame>
        <p:nvGraphicFramePr>
          <p:cNvPr id="9" name="Table 3">
            <a:extLst>
              <a:ext uri="{FF2B5EF4-FFF2-40B4-BE49-F238E27FC236}">
                <a16:creationId xmlns:a16="http://schemas.microsoft.com/office/drawing/2014/main" id="{AC9F37D8-E8E9-4FA5-95BA-6D29171604C8}"/>
              </a:ext>
            </a:extLst>
          </p:cNvPr>
          <p:cNvGraphicFramePr>
            <a:graphicFrameLocks noGrp="1"/>
          </p:cNvGraphicFramePr>
          <p:nvPr>
            <p:extLst>
              <p:ext uri="{D42A27DB-BD31-4B8C-83A1-F6EECF244321}">
                <p14:modId xmlns:p14="http://schemas.microsoft.com/office/powerpoint/2010/main" val="3886069216"/>
              </p:ext>
            </p:extLst>
          </p:nvPr>
        </p:nvGraphicFramePr>
        <p:xfrm>
          <a:off x="3327400" y="3846700"/>
          <a:ext cx="8127999" cy="2656840"/>
        </p:xfrm>
        <a:graphic>
          <a:graphicData uri="http://schemas.openxmlformats.org/drawingml/2006/table">
            <a:tbl>
              <a:tblPr firstRow="1">
                <a:tableStyleId>{7E9639D4-E3E2-4D34-9284-5A2195B3D0D7}</a:tableStyleId>
              </a:tblPr>
              <a:tblGrid>
                <a:gridCol w="2709333">
                  <a:extLst>
                    <a:ext uri="{9D8B030D-6E8A-4147-A177-3AD203B41FA5}">
                      <a16:colId xmlns:a16="http://schemas.microsoft.com/office/drawing/2014/main" val="1302357475"/>
                    </a:ext>
                  </a:extLst>
                </a:gridCol>
                <a:gridCol w="2709333">
                  <a:extLst>
                    <a:ext uri="{9D8B030D-6E8A-4147-A177-3AD203B41FA5}">
                      <a16:colId xmlns:a16="http://schemas.microsoft.com/office/drawing/2014/main" val="3582792877"/>
                    </a:ext>
                  </a:extLst>
                </a:gridCol>
                <a:gridCol w="2709333">
                  <a:extLst>
                    <a:ext uri="{9D8B030D-6E8A-4147-A177-3AD203B41FA5}">
                      <a16:colId xmlns:a16="http://schemas.microsoft.com/office/drawing/2014/main" val="2400945895"/>
                    </a:ext>
                  </a:extLst>
                </a:gridCol>
              </a:tblGrid>
              <a:tr h="370840">
                <a:tc>
                  <a:txBody>
                    <a:bodyPr/>
                    <a:lstStyle/>
                    <a:p>
                      <a:pPr algn="ctr"/>
                      <a:r>
                        <a:rPr lang="en-US" dirty="0"/>
                        <a:t>To Do</a:t>
                      </a:r>
                    </a:p>
                  </a:txBody>
                  <a:tcPr>
                    <a:solidFill>
                      <a:schemeClr val="tx2"/>
                    </a:solidFill>
                  </a:tcPr>
                </a:tc>
                <a:tc>
                  <a:txBody>
                    <a:bodyPr/>
                    <a:lstStyle/>
                    <a:p>
                      <a:pPr algn="ctr"/>
                      <a:r>
                        <a:rPr lang="en-US" dirty="0"/>
                        <a:t>In Progress</a:t>
                      </a:r>
                    </a:p>
                  </a:txBody>
                  <a:tcPr>
                    <a:solidFill>
                      <a:schemeClr val="tx2"/>
                    </a:solidFill>
                  </a:tcPr>
                </a:tc>
                <a:tc>
                  <a:txBody>
                    <a:bodyPr/>
                    <a:lstStyle/>
                    <a:p>
                      <a:pPr algn="ctr"/>
                      <a:r>
                        <a:rPr lang="en-US" dirty="0"/>
                        <a:t>Complete</a:t>
                      </a:r>
                    </a:p>
                  </a:txBody>
                  <a:tcPr>
                    <a:solidFill>
                      <a:schemeClr val="tx2"/>
                    </a:solidFill>
                  </a:tcPr>
                </a:tc>
                <a:extLst>
                  <a:ext uri="{0D108BD9-81ED-4DB2-BD59-A6C34878D82A}">
                    <a16:rowId xmlns:a16="http://schemas.microsoft.com/office/drawing/2014/main" val="2502423330"/>
                  </a:ext>
                </a:extLst>
              </a:tr>
              <a:tr h="2286000">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4201607972"/>
                  </a:ext>
                </a:extLst>
              </a:tr>
            </a:tbl>
          </a:graphicData>
        </a:graphic>
      </p:graphicFrame>
      <p:sp>
        <p:nvSpPr>
          <p:cNvPr id="10" name="Rectangle: Folded Corner 9">
            <a:extLst>
              <a:ext uri="{FF2B5EF4-FFF2-40B4-BE49-F238E27FC236}">
                <a16:creationId xmlns:a16="http://schemas.microsoft.com/office/drawing/2014/main" id="{E153C20C-1B14-4093-9F26-927722F49F30}"/>
              </a:ext>
            </a:extLst>
          </p:cNvPr>
          <p:cNvSpPr/>
          <p:nvPr/>
        </p:nvSpPr>
        <p:spPr bwMode="gray">
          <a:xfrm>
            <a:off x="8864808" y="4396982"/>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hat is agile?</a:t>
            </a:r>
          </a:p>
        </p:txBody>
      </p:sp>
      <p:sp>
        <p:nvSpPr>
          <p:cNvPr id="11" name="Rectangle: Folded Corner 10">
            <a:extLst>
              <a:ext uri="{FF2B5EF4-FFF2-40B4-BE49-F238E27FC236}">
                <a16:creationId xmlns:a16="http://schemas.microsoft.com/office/drawing/2014/main" id="{CD843C81-CB8B-4A33-8F29-4B76BF091F71}"/>
              </a:ext>
            </a:extLst>
          </p:cNvPr>
          <p:cNvSpPr/>
          <p:nvPr/>
        </p:nvSpPr>
        <p:spPr bwMode="gray">
          <a:xfrm>
            <a:off x="6784757" y="4393515"/>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gile overview</a:t>
            </a:r>
          </a:p>
        </p:txBody>
      </p:sp>
      <p:sp>
        <p:nvSpPr>
          <p:cNvPr id="12" name="Rectangle: Folded Corner 11">
            <a:extLst>
              <a:ext uri="{FF2B5EF4-FFF2-40B4-BE49-F238E27FC236}">
                <a16:creationId xmlns:a16="http://schemas.microsoft.com/office/drawing/2014/main" id="{B1983BB4-DF08-4564-8485-33AE33FD3DE9}"/>
              </a:ext>
            </a:extLst>
          </p:cNvPr>
          <p:cNvSpPr/>
          <p:nvPr/>
        </p:nvSpPr>
        <p:spPr bwMode="gray">
          <a:xfrm>
            <a:off x="3550033" y="5448527"/>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ringing it all together</a:t>
            </a:r>
          </a:p>
        </p:txBody>
      </p:sp>
      <p:sp>
        <p:nvSpPr>
          <p:cNvPr id="13" name="Rectangle: Folded Corner 12">
            <a:extLst>
              <a:ext uri="{FF2B5EF4-FFF2-40B4-BE49-F238E27FC236}">
                <a16:creationId xmlns:a16="http://schemas.microsoft.com/office/drawing/2014/main" id="{BCD97901-8510-413F-AA35-2DB53342B216}"/>
              </a:ext>
            </a:extLst>
          </p:cNvPr>
          <p:cNvSpPr/>
          <p:nvPr/>
        </p:nvSpPr>
        <p:spPr bwMode="gray">
          <a:xfrm>
            <a:off x="4728472" y="5448526"/>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losing</a:t>
            </a:r>
          </a:p>
        </p:txBody>
      </p:sp>
    </p:spTree>
    <p:custDataLst>
      <p:tags r:id="rId1"/>
    </p:custDataLst>
    <p:extLst>
      <p:ext uri="{BB962C8B-B14F-4D97-AF65-F5344CB8AC3E}">
        <p14:creationId xmlns:p14="http://schemas.microsoft.com/office/powerpoint/2010/main" val="159182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2.70833E-6 4.81481E-6 L 0.27409 -0.0007 " pathEditMode="relative" rAng="0" ptsTypes="AA">
                                      <p:cBhvr>
                                        <p:cTn id="6" dur="2000" fill="hold"/>
                                        <p:tgtEl>
                                          <p:spTgt spid="11"/>
                                        </p:tgtEl>
                                        <p:attrNameLst>
                                          <p:attrName>ppt_x</p:attrName>
                                          <p:attrName>ppt_y</p:attrName>
                                        </p:attrNameLst>
                                      </p:cBhvr>
                                      <p:rCtr x="13698" y="-46"/>
                                    </p:animMotion>
                                  </p:childTnLst>
                                </p:cTn>
                              </p:par>
                            </p:childTnLst>
                          </p:cTn>
                        </p:par>
                        <p:par>
                          <p:cTn id="7" fill="hold">
                            <p:stCondLst>
                              <p:cond delay="2000"/>
                            </p:stCondLst>
                            <p:childTnLst>
                              <p:par>
                                <p:cTn id="8" presetID="42" presetClass="path" presetSubtype="0" accel="50000" decel="50000" fill="hold" grpId="0" nodeType="afterEffect">
                                  <p:stCondLst>
                                    <p:cond delay="0"/>
                                  </p:stCondLst>
                                  <p:childTnLst>
                                    <p:animMotion origin="layout" path="M -2.70833E-6 1.11111E-6 L 0.26576 -0.00232 " pathEditMode="relative" rAng="0" ptsTypes="AA">
                                      <p:cBhvr>
                                        <p:cTn id="9" dur="2000" fill="hold"/>
                                        <p:tgtEl>
                                          <p:spTgt spid="12"/>
                                        </p:tgtEl>
                                        <p:attrNameLst>
                                          <p:attrName>ppt_x</p:attrName>
                                          <p:attrName>ppt_y</p:attrName>
                                        </p:attrNameLst>
                                      </p:cBhvr>
                                      <p:rCtr x="13281" y="-1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D18F8D-E950-48CD-BC98-EA01DC07D8EC}"/>
              </a:ext>
            </a:extLst>
          </p:cNvPr>
          <p:cNvPicPr>
            <a:picLocks noChangeAspect="1"/>
          </p:cNvPicPr>
          <p:nvPr/>
        </p:nvPicPr>
        <p:blipFill>
          <a:blip r:embed="rId4"/>
          <a:stretch>
            <a:fillRect/>
          </a:stretch>
        </p:blipFill>
        <p:spPr>
          <a:xfrm>
            <a:off x="744031" y="422715"/>
            <a:ext cx="10703939" cy="6180103"/>
          </a:xfrm>
          <a:prstGeom prst="rect">
            <a:avLst/>
          </a:prstGeom>
        </p:spPr>
      </p:pic>
      <p:sp>
        <p:nvSpPr>
          <p:cNvPr id="48" name="Rectangle 47">
            <a:extLst>
              <a:ext uri="{FF2B5EF4-FFF2-40B4-BE49-F238E27FC236}">
                <a16:creationId xmlns:a16="http://schemas.microsoft.com/office/drawing/2014/main" id="{773BD330-5BFF-4D9C-ACFC-FA847D0E3349}"/>
              </a:ext>
            </a:extLst>
          </p:cNvPr>
          <p:cNvSpPr/>
          <p:nvPr/>
        </p:nvSpPr>
        <p:spPr bwMode="gray">
          <a:xfrm>
            <a:off x="467760" y="6347637"/>
            <a:ext cx="11287636" cy="510363"/>
          </a:xfrm>
          <a:prstGeom prst="rect">
            <a:avLst/>
          </a:prstGeom>
          <a:solidFill>
            <a:schemeClr val="bg2"/>
          </a:solidFill>
          <a:ln w="19050" algn="ctr">
            <a:noFill/>
            <a:miter lim="800000"/>
            <a:headEnd/>
            <a:tailEnd/>
          </a:ln>
        </p:spPr>
        <p:txBody>
          <a:bodyPr wrap="square" lIns="66836" tIns="66836" rIns="66836" bIns="66836" rtlCol="0" anchor="ctr"/>
          <a:lstStyle/>
          <a:p>
            <a:pPr algn="ctr">
              <a:lnSpc>
                <a:spcPct val="106000"/>
              </a:lnSpc>
            </a:pPr>
            <a:r>
              <a:rPr lang="en-US" altLang="en-US" dirty="0">
                <a:cs typeface="Segoe UI" panose="020B0502040204020203" pitchFamily="34" charset="0"/>
              </a:rPr>
              <a:t>Deloitte's approach to agility incorporates agile best practices and our own knowledge and experience </a:t>
            </a:r>
            <a:br>
              <a:rPr lang="en-US" altLang="en-US" dirty="0">
                <a:cs typeface="Segoe UI" panose="020B0502040204020203" pitchFamily="34" charset="0"/>
              </a:rPr>
            </a:br>
            <a:r>
              <a:rPr lang="en-US" altLang="en-US" dirty="0">
                <a:cs typeface="Segoe UI" panose="020B0502040204020203" pitchFamily="34" charset="0"/>
              </a:rPr>
              <a:t>– reflecting the reality of the work we do.</a:t>
            </a:r>
            <a:endParaRPr lang="en-US" dirty="0"/>
          </a:p>
        </p:txBody>
      </p:sp>
      <p:sp>
        <p:nvSpPr>
          <p:cNvPr id="20" name="Title 19">
            <a:extLst>
              <a:ext uri="{FF2B5EF4-FFF2-40B4-BE49-F238E27FC236}">
                <a16:creationId xmlns:a16="http://schemas.microsoft.com/office/drawing/2014/main" id="{005E5A67-1FB7-463C-AD93-7274A40DA11C}"/>
              </a:ext>
            </a:extLst>
          </p:cNvPr>
          <p:cNvSpPr>
            <a:spLocks noGrp="1"/>
          </p:cNvSpPr>
          <p:nvPr>
            <p:ph type="title"/>
          </p:nvPr>
        </p:nvSpPr>
        <p:spPr/>
        <p:txBody>
          <a:bodyPr/>
          <a:lstStyle/>
          <a:p>
            <a:r>
              <a:rPr lang="en-GB" dirty="0">
                <a:solidFill>
                  <a:schemeClr val="tx1"/>
                </a:solidFill>
                <a:hlinkClick r:id="rId5"/>
              </a:rPr>
              <a:t>Deloitte’s Agile Delivery Framework </a:t>
            </a:r>
            <a:endParaRPr lang="en-US" dirty="0"/>
          </a:p>
        </p:txBody>
      </p:sp>
    </p:spTree>
    <p:custDataLst>
      <p:tags r:id="rId1"/>
    </p:custDataLst>
    <p:extLst>
      <p:ext uri="{BB962C8B-B14F-4D97-AF65-F5344CB8AC3E}">
        <p14:creationId xmlns:p14="http://schemas.microsoft.com/office/powerpoint/2010/main" val="122955725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41" name="Title 1"/>
          <p:cNvSpPr>
            <a:spLocks noGrp="1"/>
          </p:cNvSpPr>
          <p:nvPr>
            <p:ph type="title"/>
          </p:nvPr>
        </p:nvSpPr>
        <p:spPr/>
        <p:txBody>
          <a:bodyPr/>
          <a:lstStyle/>
          <a:p>
            <a:r>
              <a:rPr lang="en-US" dirty="0"/>
              <a:t>Deliver confidently with our agile approach </a:t>
            </a:r>
          </a:p>
        </p:txBody>
      </p:sp>
      <p:sp>
        <p:nvSpPr>
          <p:cNvPr id="3" name="Text Placeholder 2"/>
          <p:cNvSpPr>
            <a:spLocks noGrp="1"/>
          </p:cNvSpPr>
          <p:nvPr>
            <p:ph type="body" sz="quarter" idx="13"/>
          </p:nvPr>
        </p:nvSpPr>
        <p:spPr/>
        <p:txBody>
          <a:bodyPr/>
          <a:lstStyle/>
          <a:p>
            <a:r>
              <a:rPr lang="en-US" dirty="0"/>
              <a:t>Keeping our lens focused on the behavior, mindset, and outcomes (vs. the mechanics alone) </a:t>
            </a:r>
          </a:p>
        </p:txBody>
      </p:sp>
      <p:sp>
        <p:nvSpPr>
          <p:cNvPr id="29" name="Rectangle: Rounded Corners 28">
            <a:extLst>
              <a:ext uri="{FF2B5EF4-FFF2-40B4-BE49-F238E27FC236}">
                <a16:creationId xmlns:a16="http://schemas.microsoft.com/office/drawing/2014/main" id="{A710E487-A89A-4C1F-8547-5B4735B82FD6}"/>
              </a:ext>
            </a:extLst>
          </p:cNvPr>
          <p:cNvSpPr/>
          <p:nvPr/>
        </p:nvSpPr>
        <p:spPr bwMode="gray">
          <a:xfrm>
            <a:off x="2442500" y="4506606"/>
            <a:ext cx="8557335" cy="1554196"/>
          </a:xfrm>
          <a:prstGeom prst="roundRect">
            <a:avLst>
              <a:gd name="adj" fmla="val 32305"/>
            </a:avLst>
          </a:prstGeom>
          <a:solidFill>
            <a:schemeClr val="tx2"/>
          </a:solidFill>
          <a:ln w="19050" algn="ctr">
            <a:noFill/>
            <a:miter lim="800000"/>
            <a:headEnd/>
            <a:tailEnd/>
          </a:ln>
        </p:spPr>
        <p:txBody>
          <a:bodyPr wrap="square" lIns="68378" tIns="66480" rIns="66480" bIns="66480" rtlCol="0" anchor="ctr"/>
          <a:lstStyle/>
          <a:p>
            <a:pPr marL="213684" indent="-213684" defTabSz="911696">
              <a:buFont typeface="Arial" panose="020B0604020202020204" pitchFamily="34" charset="0"/>
              <a:buChar char="•"/>
              <a:defRPr/>
            </a:pPr>
            <a:r>
              <a:rPr lang="en-US" sz="1799" b="1" kern="0" dirty="0">
                <a:solidFill>
                  <a:prstClr val="white">
                    <a:lumMod val="95000"/>
                  </a:prstClr>
                </a:solidFill>
              </a:rPr>
              <a:t>Embody the agile mindset</a:t>
            </a:r>
          </a:p>
          <a:p>
            <a:pPr marL="213684" indent="-213684" defTabSz="911696">
              <a:buFont typeface="Arial" panose="020B0604020202020204" pitchFamily="34" charset="0"/>
              <a:buChar char="•"/>
              <a:defRPr/>
            </a:pPr>
            <a:r>
              <a:rPr lang="en-US" sz="1799" b="1" kern="0" dirty="0">
                <a:solidFill>
                  <a:prstClr val="white">
                    <a:lumMod val="95000"/>
                  </a:prstClr>
                </a:solidFill>
              </a:rPr>
              <a:t>Apply the agile framework</a:t>
            </a:r>
            <a:endParaRPr lang="en-US" sz="1799" strike="sngStrike" kern="0" dirty="0">
              <a:solidFill>
                <a:srgbClr val="FF0000"/>
              </a:solidFill>
            </a:endParaRPr>
          </a:p>
          <a:p>
            <a:pPr marL="213684" indent="-213684" defTabSz="914126">
              <a:buFont typeface="Arial" panose="020B0604020202020204" pitchFamily="34" charset="0"/>
              <a:buChar char="•"/>
              <a:defRPr/>
            </a:pPr>
            <a:r>
              <a:rPr lang="en-US" sz="1799" kern="0" dirty="0">
                <a:solidFill>
                  <a:prstClr val="white">
                    <a:lumMod val="95000"/>
                  </a:prstClr>
                </a:solidFill>
              </a:rPr>
              <a:t>Apply </a:t>
            </a:r>
            <a:r>
              <a:rPr lang="en-US" sz="1799" b="1" kern="0" dirty="0">
                <a:solidFill>
                  <a:prstClr val="white">
                    <a:lumMod val="95000"/>
                  </a:prstClr>
                </a:solidFill>
              </a:rPr>
              <a:t>rigor and discipline </a:t>
            </a:r>
            <a:r>
              <a:rPr lang="en-US" sz="1799" kern="0" dirty="0">
                <a:solidFill>
                  <a:prstClr val="white">
                    <a:lumMod val="95000"/>
                  </a:prstClr>
                </a:solidFill>
              </a:rPr>
              <a:t>to agile techniques and engagement hygiene (there is as much planning and discipline in agile as there is in waterfall – it’s just different)</a:t>
            </a:r>
          </a:p>
        </p:txBody>
      </p:sp>
      <p:sp>
        <p:nvSpPr>
          <p:cNvPr id="30" name="TextBox 29">
            <a:extLst>
              <a:ext uri="{FF2B5EF4-FFF2-40B4-BE49-F238E27FC236}">
                <a16:creationId xmlns:a16="http://schemas.microsoft.com/office/drawing/2014/main" id="{C90581E8-0DF2-4625-AEDF-CC502EF5B632}"/>
              </a:ext>
            </a:extLst>
          </p:cNvPr>
          <p:cNvSpPr txBox="1"/>
          <p:nvPr/>
        </p:nvSpPr>
        <p:spPr bwMode="gray">
          <a:xfrm>
            <a:off x="1099828" y="4992837"/>
            <a:ext cx="892742" cy="510329"/>
          </a:xfrm>
          <a:prstGeom prst="rect">
            <a:avLst/>
          </a:prstGeom>
        </p:spPr>
        <p:txBody>
          <a:bodyPr wrap="square" lIns="0" rIns="0" rtlCol="0" anchor="ctr" anchorCtr="0">
            <a:noAutofit/>
          </a:bodyPr>
          <a:lstStyle/>
          <a:p>
            <a:pPr algn="ctr" defTabSz="911696">
              <a:defRPr/>
            </a:pPr>
            <a:r>
              <a:rPr lang="en-US" sz="1600" b="1" dirty="0">
                <a:solidFill>
                  <a:prstClr val="black"/>
                </a:solidFill>
              </a:rPr>
              <a:t>How you get there</a:t>
            </a:r>
          </a:p>
        </p:txBody>
      </p:sp>
      <p:sp>
        <p:nvSpPr>
          <p:cNvPr id="31" name="Left Bracket 30">
            <a:extLst>
              <a:ext uri="{FF2B5EF4-FFF2-40B4-BE49-F238E27FC236}">
                <a16:creationId xmlns:a16="http://schemas.microsoft.com/office/drawing/2014/main" id="{2E7E250F-6B5D-4972-AE9A-9CE9AB39D126}"/>
              </a:ext>
            </a:extLst>
          </p:cNvPr>
          <p:cNvSpPr/>
          <p:nvPr/>
        </p:nvSpPr>
        <p:spPr>
          <a:xfrm>
            <a:off x="2123928" y="4647221"/>
            <a:ext cx="318573" cy="1201561"/>
          </a:xfrm>
          <a:prstGeom prst="leftBracket">
            <a:avLst/>
          </a:prstGeom>
          <a:noFill/>
          <a:ln w="9525" cap="flat" cmpd="sng" algn="ctr">
            <a:solidFill>
              <a:srgbClr val="53565A"/>
            </a:solidFill>
            <a:prstDash val="solid"/>
          </a:ln>
          <a:effectLst/>
        </p:spPr>
        <p:txBody>
          <a:bodyPr rtlCol="0" anchor="ctr"/>
          <a:lstStyle/>
          <a:p>
            <a:pPr algn="ctr" defTabSz="911696">
              <a:defRPr/>
            </a:pPr>
            <a:endParaRPr lang="en-US" sz="2399" kern="0" dirty="0">
              <a:solidFill>
                <a:prstClr val="black"/>
              </a:solidFill>
            </a:endParaRPr>
          </a:p>
        </p:txBody>
      </p:sp>
      <p:sp>
        <p:nvSpPr>
          <p:cNvPr id="32" name="TextBox 31">
            <a:extLst>
              <a:ext uri="{FF2B5EF4-FFF2-40B4-BE49-F238E27FC236}">
                <a16:creationId xmlns:a16="http://schemas.microsoft.com/office/drawing/2014/main" id="{EE65B664-247B-4D67-BFD9-713A94F7B647}"/>
              </a:ext>
            </a:extLst>
          </p:cNvPr>
          <p:cNvSpPr txBox="1"/>
          <p:nvPr/>
        </p:nvSpPr>
        <p:spPr bwMode="gray">
          <a:xfrm>
            <a:off x="1099828" y="2705594"/>
            <a:ext cx="1015765" cy="673450"/>
          </a:xfrm>
          <a:prstGeom prst="rect">
            <a:avLst/>
          </a:prstGeom>
        </p:spPr>
        <p:txBody>
          <a:bodyPr wrap="square" lIns="0" rIns="0" rtlCol="0" anchor="b" anchorCtr="0">
            <a:noAutofit/>
          </a:bodyPr>
          <a:lstStyle/>
          <a:p>
            <a:pPr algn="ctr" defTabSz="911696">
              <a:lnSpc>
                <a:spcPct val="120000"/>
              </a:lnSpc>
              <a:defRPr/>
            </a:pPr>
            <a:r>
              <a:rPr lang="en-US" sz="1600" b="1" dirty="0">
                <a:solidFill>
                  <a:prstClr val="black"/>
                </a:solidFill>
              </a:rPr>
              <a:t>Agile mindset</a:t>
            </a:r>
          </a:p>
        </p:txBody>
      </p:sp>
      <p:sp>
        <p:nvSpPr>
          <p:cNvPr id="33" name="Left Bracket 32">
            <a:extLst>
              <a:ext uri="{FF2B5EF4-FFF2-40B4-BE49-F238E27FC236}">
                <a16:creationId xmlns:a16="http://schemas.microsoft.com/office/drawing/2014/main" id="{BC07C3D9-4F80-4879-BF11-B6E5C821BD1F}"/>
              </a:ext>
            </a:extLst>
          </p:cNvPr>
          <p:cNvSpPr/>
          <p:nvPr/>
        </p:nvSpPr>
        <p:spPr>
          <a:xfrm>
            <a:off x="2115588" y="2441537"/>
            <a:ext cx="318573" cy="1201561"/>
          </a:xfrm>
          <a:prstGeom prst="leftBracket">
            <a:avLst/>
          </a:prstGeom>
          <a:noFill/>
          <a:ln w="9525" cap="flat" cmpd="sng" algn="ctr">
            <a:solidFill>
              <a:srgbClr val="53565A"/>
            </a:solidFill>
            <a:prstDash val="solid"/>
          </a:ln>
          <a:effectLst/>
        </p:spPr>
        <p:txBody>
          <a:bodyPr rtlCol="0" anchor="ctr"/>
          <a:lstStyle/>
          <a:p>
            <a:pPr algn="ctr" defTabSz="911696">
              <a:defRPr/>
            </a:pPr>
            <a:endParaRPr lang="en-US" sz="2399" kern="0" dirty="0">
              <a:solidFill>
                <a:prstClr val="black"/>
              </a:solidFill>
            </a:endParaRPr>
          </a:p>
        </p:txBody>
      </p:sp>
      <p:grpSp>
        <p:nvGrpSpPr>
          <p:cNvPr id="34" name="Group 33">
            <a:extLst>
              <a:ext uri="{FF2B5EF4-FFF2-40B4-BE49-F238E27FC236}">
                <a16:creationId xmlns:a16="http://schemas.microsoft.com/office/drawing/2014/main" id="{7C5479E4-2097-40B4-820C-6BDCB8A3A2CD}"/>
              </a:ext>
            </a:extLst>
          </p:cNvPr>
          <p:cNvGrpSpPr/>
          <p:nvPr/>
        </p:nvGrpSpPr>
        <p:grpSpPr>
          <a:xfrm>
            <a:off x="2447614" y="1933333"/>
            <a:ext cx="2360501" cy="2312401"/>
            <a:chOff x="937236" y="2303966"/>
            <a:chExt cx="2286000" cy="2286000"/>
          </a:xfrm>
        </p:grpSpPr>
        <p:sp>
          <p:nvSpPr>
            <p:cNvPr id="45" name="Teardrop 44">
              <a:extLst>
                <a:ext uri="{FF2B5EF4-FFF2-40B4-BE49-F238E27FC236}">
                  <a16:creationId xmlns:a16="http://schemas.microsoft.com/office/drawing/2014/main" id="{2CF71CEF-CDF9-4B48-AAF4-125E797757B9}"/>
                </a:ext>
              </a:extLst>
            </p:cNvPr>
            <p:cNvSpPr>
              <a:spLocks noChangeArrowheads="1"/>
            </p:cNvSpPr>
            <p:nvPr/>
          </p:nvSpPr>
          <p:spPr bwMode="auto">
            <a:xfrm rot="8100000">
              <a:off x="937236" y="2303966"/>
              <a:ext cx="2286000" cy="2286000"/>
            </a:xfrm>
            <a:prstGeom prst="teardrop">
              <a:avLst/>
            </a:prstGeom>
            <a:solidFill>
              <a:schemeClr val="accent1">
                <a:alpha val="75000"/>
              </a:schemeClr>
            </a:solidFill>
            <a:ln w="19050" algn="ctr">
              <a:noFill/>
              <a:miter lim="800000"/>
              <a:headEnd/>
              <a:tailEnd/>
            </a:ln>
            <a:effectLst>
              <a:outerShdw blurRad="50800" dist="38100" dir="2700000" algn="tl" rotWithShape="0">
                <a:prstClr val="black">
                  <a:alpha val="40000"/>
                </a:prstClr>
              </a:outerShdw>
            </a:effectLst>
          </p:spPr>
          <p:txBody>
            <a:bodyPr vert="vert270" wrap="square" lIns="0" tIns="0" rIns="0" bIns="0" anchor="ctr"/>
            <a:lstStyle/>
            <a:p>
              <a:pPr algn="ctr" defTabSz="911696">
                <a:spcAft>
                  <a:spcPts val="449"/>
                </a:spcAft>
                <a:defRPr/>
              </a:pPr>
              <a:endParaRPr lang="en-US" sz="1200" b="1" kern="0" dirty="0">
                <a:solidFill>
                  <a:prstClr val="white"/>
                </a:solidFill>
              </a:endParaRPr>
            </a:p>
          </p:txBody>
        </p:sp>
        <p:sp>
          <p:nvSpPr>
            <p:cNvPr id="46" name="Rectangle 45">
              <a:extLst>
                <a:ext uri="{FF2B5EF4-FFF2-40B4-BE49-F238E27FC236}">
                  <a16:creationId xmlns:a16="http://schemas.microsoft.com/office/drawing/2014/main" id="{213391D1-6FE5-4936-B1E3-D522A8197FF2}"/>
                </a:ext>
              </a:extLst>
            </p:cNvPr>
            <p:cNvSpPr/>
            <p:nvPr/>
          </p:nvSpPr>
          <p:spPr>
            <a:xfrm>
              <a:off x="1142410" y="2610480"/>
              <a:ext cx="1875653" cy="1733844"/>
            </a:xfrm>
            <a:prstGeom prst="rect">
              <a:avLst/>
            </a:prstGeom>
          </p:spPr>
          <p:txBody>
            <a:bodyPr wrap="square">
              <a:spAutoFit/>
            </a:bodyPr>
            <a:lstStyle/>
            <a:p>
              <a:pPr algn="ctr" defTabSz="911696">
                <a:spcAft>
                  <a:spcPts val="449"/>
                </a:spcAft>
                <a:defRPr/>
              </a:pPr>
              <a:r>
                <a:rPr lang="en-US" sz="1799" kern="0" dirty="0">
                  <a:solidFill>
                    <a:prstClr val="white"/>
                  </a:solidFill>
                </a:rPr>
                <a:t>Demonstrating </a:t>
              </a:r>
              <a:r>
                <a:rPr lang="en-US" sz="1799" b="1" kern="0" dirty="0">
                  <a:solidFill>
                    <a:prstClr val="white"/>
                  </a:solidFill>
                </a:rPr>
                <a:t>value early and often </a:t>
              </a:r>
              <a:r>
                <a:rPr lang="en-US" sz="1799" kern="0" dirty="0">
                  <a:solidFill>
                    <a:prstClr val="white"/>
                  </a:solidFill>
                </a:rPr>
                <a:t>through direct </a:t>
              </a:r>
              <a:r>
                <a:rPr lang="en-US" sz="1799" b="1" kern="0" dirty="0">
                  <a:solidFill>
                    <a:prstClr val="white"/>
                  </a:solidFill>
                </a:rPr>
                <a:t>collaboration </a:t>
              </a:r>
              <a:r>
                <a:rPr lang="en-US" sz="1799" kern="0" dirty="0">
                  <a:solidFill>
                    <a:prstClr val="white"/>
                  </a:solidFill>
                </a:rPr>
                <a:t>with end-users</a:t>
              </a:r>
            </a:p>
          </p:txBody>
        </p:sp>
      </p:grpSp>
      <p:grpSp>
        <p:nvGrpSpPr>
          <p:cNvPr id="35" name="Group 34">
            <a:extLst>
              <a:ext uri="{FF2B5EF4-FFF2-40B4-BE49-F238E27FC236}">
                <a16:creationId xmlns:a16="http://schemas.microsoft.com/office/drawing/2014/main" id="{727BA2EC-2391-42B8-AF71-77615740CADA}"/>
              </a:ext>
            </a:extLst>
          </p:cNvPr>
          <p:cNvGrpSpPr/>
          <p:nvPr/>
        </p:nvGrpSpPr>
        <p:grpSpPr>
          <a:xfrm>
            <a:off x="4520934" y="1933333"/>
            <a:ext cx="2360501" cy="2312401"/>
            <a:chOff x="2945118" y="2269380"/>
            <a:chExt cx="2286000" cy="2286000"/>
          </a:xfrm>
        </p:grpSpPr>
        <p:sp>
          <p:nvSpPr>
            <p:cNvPr id="43" name="Teardrop 42">
              <a:extLst>
                <a:ext uri="{FF2B5EF4-FFF2-40B4-BE49-F238E27FC236}">
                  <a16:creationId xmlns:a16="http://schemas.microsoft.com/office/drawing/2014/main" id="{EA03D7CF-BE8F-4D48-9FA2-402CF61E3B88}"/>
                </a:ext>
              </a:extLst>
            </p:cNvPr>
            <p:cNvSpPr>
              <a:spLocks noChangeArrowheads="1"/>
            </p:cNvSpPr>
            <p:nvPr/>
          </p:nvSpPr>
          <p:spPr bwMode="auto">
            <a:xfrm rot="8100000">
              <a:off x="2945118" y="2269380"/>
              <a:ext cx="2286000" cy="2286000"/>
            </a:xfrm>
            <a:prstGeom prst="teardrop">
              <a:avLst/>
            </a:prstGeom>
            <a:solidFill>
              <a:schemeClr val="accent2">
                <a:alpha val="75000"/>
              </a:schemeClr>
            </a:solidFill>
            <a:ln w="19050" algn="ctr">
              <a:noFill/>
              <a:miter lim="800000"/>
              <a:headEnd/>
              <a:tailEnd/>
            </a:ln>
            <a:effectLst>
              <a:outerShdw blurRad="50800" dist="38100" dir="2700000" algn="tl" rotWithShape="0">
                <a:prstClr val="black">
                  <a:alpha val="40000"/>
                </a:prstClr>
              </a:outerShdw>
            </a:effectLst>
          </p:spPr>
          <p:txBody>
            <a:bodyPr vert="vert270" wrap="square" lIns="0" tIns="0" rIns="0" bIns="0" anchor="ctr"/>
            <a:lstStyle/>
            <a:p>
              <a:pPr algn="ctr" defTabSz="911696">
                <a:spcAft>
                  <a:spcPts val="449"/>
                </a:spcAft>
                <a:defRPr/>
              </a:pPr>
              <a:endParaRPr lang="en-US" sz="1200" kern="0" dirty="0">
                <a:solidFill>
                  <a:prstClr val="white"/>
                </a:solidFill>
              </a:endParaRPr>
            </a:p>
          </p:txBody>
        </p:sp>
        <p:sp>
          <p:nvSpPr>
            <p:cNvPr id="44" name="Rectangle 43">
              <a:extLst>
                <a:ext uri="{FF2B5EF4-FFF2-40B4-BE49-F238E27FC236}">
                  <a16:creationId xmlns:a16="http://schemas.microsoft.com/office/drawing/2014/main" id="{E8E271B0-DABB-4C57-BB4B-B9B2552972D7}"/>
                </a:ext>
              </a:extLst>
            </p:cNvPr>
            <p:cNvSpPr/>
            <p:nvPr/>
          </p:nvSpPr>
          <p:spPr>
            <a:xfrm>
              <a:off x="3166895" y="2986541"/>
              <a:ext cx="1842447" cy="912550"/>
            </a:xfrm>
            <a:prstGeom prst="rect">
              <a:avLst/>
            </a:prstGeom>
          </p:spPr>
          <p:txBody>
            <a:bodyPr wrap="square">
              <a:spAutoFit/>
            </a:bodyPr>
            <a:lstStyle/>
            <a:p>
              <a:pPr algn="ctr" defTabSz="911696">
                <a:spcAft>
                  <a:spcPts val="449"/>
                </a:spcAft>
                <a:defRPr/>
              </a:pPr>
              <a:r>
                <a:rPr lang="en-US" sz="1799" b="1" kern="0" dirty="0">
                  <a:solidFill>
                    <a:prstClr val="white"/>
                  </a:solidFill>
                </a:rPr>
                <a:t>Experimenting, making progress </a:t>
              </a:r>
              <a:r>
                <a:rPr lang="en-US" sz="1799" kern="0" dirty="0">
                  <a:solidFill>
                    <a:prstClr val="white"/>
                  </a:solidFill>
                </a:rPr>
                <a:t>and</a:t>
              </a:r>
              <a:r>
                <a:rPr lang="en-US" sz="1799" b="1" kern="0" dirty="0">
                  <a:solidFill>
                    <a:prstClr val="white"/>
                  </a:solidFill>
                </a:rPr>
                <a:t> adapting</a:t>
              </a:r>
            </a:p>
          </p:txBody>
        </p:sp>
      </p:grpSp>
      <p:sp>
        <p:nvSpPr>
          <p:cNvPr id="36" name="Teardrop 35">
            <a:extLst>
              <a:ext uri="{FF2B5EF4-FFF2-40B4-BE49-F238E27FC236}">
                <a16:creationId xmlns:a16="http://schemas.microsoft.com/office/drawing/2014/main" id="{9D957FCA-B6C5-4506-8852-93765F655AAB}"/>
              </a:ext>
            </a:extLst>
          </p:cNvPr>
          <p:cNvSpPr>
            <a:spLocks noChangeArrowheads="1"/>
          </p:cNvSpPr>
          <p:nvPr/>
        </p:nvSpPr>
        <p:spPr bwMode="auto">
          <a:xfrm rot="8100000">
            <a:off x="6563097" y="1858123"/>
            <a:ext cx="2360502" cy="2312401"/>
          </a:xfrm>
          <a:prstGeom prst="teardrop">
            <a:avLst/>
          </a:prstGeom>
          <a:solidFill>
            <a:schemeClr val="accent3">
              <a:alpha val="75000"/>
            </a:schemeClr>
          </a:solidFill>
          <a:ln w="19050" algn="ctr">
            <a:noFill/>
            <a:miter lim="800000"/>
            <a:headEnd/>
            <a:tailEnd/>
          </a:ln>
          <a:effectLst>
            <a:outerShdw blurRad="50800" dist="38100" dir="2700000" algn="tl" rotWithShape="0">
              <a:prstClr val="black">
                <a:alpha val="40000"/>
              </a:prstClr>
            </a:outerShdw>
          </a:effectLst>
        </p:spPr>
        <p:txBody>
          <a:bodyPr vert="vert270" wrap="square" lIns="0" tIns="0" rIns="0" bIns="0" anchor="ctr"/>
          <a:lstStyle/>
          <a:p>
            <a:pPr algn="ctr" defTabSz="911696">
              <a:spcAft>
                <a:spcPts val="449"/>
              </a:spcAft>
              <a:defRPr/>
            </a:pPr>
            <a:endParaRPr lang="en-US" sz="1200" kern="0" dirty="0">
              <a:solidFill>
                <a:prstClr val="white"/>
              </a:solidFill>
            </a:endParaRPr>
          </a:p>
        </p:txBody>
      </p:sp>
      <p:sp>
        <p:nvSpPr>
          <p:cNvPr id="38" name="Teardrop 37">
            <a:extLst>
              <a:ext uri="{FF2B5EF4-FFF2-40B4-BE49-F238E27FC236}">
                <a16:creationId xmlns:a16="http://schemas.microsoft.com/office/drawing/2014/main" id="{90823FE8-2D9F-4C0E-9B48-DBFD548D897D}"/>
              </a:ext>
            </a:extLst>
          </p:cNvPr>
          <p:cNvSpPr>
            <a:spLocks noChangeArrowheads="1"/>
          </p:cNvSpPr>
          <p:nvPr/>
        </p:nvSpPr>
        <p:spPr bwMode="auto">
          <a:xfrm rot="8100000">
            <a:off x="8636419" y="1858121"/>
            <a:ext cx="2360501" cy="2312401"/>
          </a:xfrm>
          <a:prstGeom prst="teardrop">
            <a:avLst/>
          </a:prstGeom>
          <a:solidFill>
            <a:schemeClr val="accent4">
              <a:alpha val="75000"/>
            </a:schemeClr>
          </a:solidFill>
          <a:ln w="19050" algn="ctr">
            <a:noFill/>
            <a:miter lim="800000"/>
            <a:headEnd/>
            <a:tailEnd/>
          </a:ln>
          <a:effectLst>
            <a:outerShdw blurRad="50800" dist="38100" dir="2700000" algn="tl" rotWithShape="0">
              <a:prstClr val="black">
                <a:alpha val="40000"/>
              </a:prstClr>
            </a:outerShdw>
          </a:effectLst>
        </p:spPr>
        <p:txBody>
          <a:bodyPr vert="vert270" wrap="square" lIns="0" tIns="0" rIns="0" bIns="0" anchor="ctr"/>
          <a:lstStyle/>
          <a:p>
            <a:pPr algn="ctr" defTabSz="911696">
              <a:spcAft>
                <a:spcPts val="449"/>
              </a:spcAft>
              <a:defRPr/>
            </a:pPr>
            <a:endParaRPr lang="en-US" sz="1200" kern="0" dirty="0">
              <a:solidFill>
                <a:prstClr val="white"/>
              </a:solidFill>
            </a:endParaRPr>
          </a:p>
        </p:txBody>
      </p:sp>
      <p:sp>
        <p:nvSpPr>
          <p:cNvPr id="39" name="Rectangle 38">
            <a:extLst>
              <a:ext uri="{FF2B5EF4-FFF2-40B4-BE49-F238E27FC236}">
                <a16:creationId xmlns:a16="http://schemas.microsoft.com/office/drawing/2014/main" id="{10AF1BB4-79EA-4AA5-9EF3-5F9485555222}"/>
              </a:ext>
            </a:extLst>
          </p:cNvPr>
          <p:cNvSpPr/>
          <p:nvPr/>
        </p:nvSpPr>
        <p:spPr>
          <a:xfrm>
            <a:off x="6783411" y="2381851"/>
            <a:ext cx="1919872" cy="1476943"/>
          </a:xfrm>
          <a:prstGeom prst="rect">
            <a:avLst/>
          </a:prstGeom>
        </p:spPr>
        <p:txBody>
          <a:bodyPr wrap="square">
            <a:spAutoFit/>
          </a:bodyPr>
          <a:lstStyle/>
          <a:p>
            <a:pPr algn="ctr" defTabSz="911696">
              <a:spcAft>
                <a:spcPts val="449"/>
              </a:spcAft>
              <a:defRPr/>
            </a:pPr>
            <a:r>
              <a:rPr lang="en-US" sz="1799" b="1" kern="0" dirty="0">
                <a:solidFill>
                  <a:prstClr val="white"/>
                </a:solidFill>
              </a:rPr>
              <a:t>Empowering teams </a:t>
            </a:r>
            <a:r>
              <a:rPr lang="en-US" sz="1799" kern="0" dirty="0">
                <a:solidFill>
                  <a:prstClr val="white"/>
                </a:solidFill>
              </a:rPr>
              <a:t>to self-organize and make </a:t>
            </a:r>
            <a:r>
              <a:rPr lang="en-US" sz="1799" b="1" kern="0" dirty="0">
                <a:solidFill>
                  <a:prstClr val="white"/>
                </a:solidFill>
              </a:rPr>
              <a:t>decisions quickly</a:t>
            </a:r>
            <a:endParaRPr lang="en-US" sz="1799" kern="0" dirty="0">
              <a:solidFill>
                <a:prstClr val="white"/>
              </a:solidFill>
            </a:endParaRPr>
          </a:p>
        </p:txBody>
      </p:sp>
      <p:sp>
        <p:nvSpPr>
          <p:cNvPr id="42" name="Rectangle 41">
            <a:extLst>
              <a:ext uri="{FF2B5EF4-FFF2-40B4-BE49-F238E27FC236}">
                <a16:creationId xmlns:a16="http://schemas.microsoft.com/office/drawing/2014/main" id="{8D325C7B-012D-41EB-A48C-CD6388E9ACA4}"/>
              </a:ext>
            </a:extLst>
          </p:cNvPr>
          <p:cNvSpPr/>
          <p:nvPr/>
        </p:nvSpPr>
        <p:spPr>
          <a:xfrm>
            <a:off x="8758514" y="2243388"/>
            <a:ext cx="2116311" cy="1753869"/>
          </a:xfrm>
          <a:prstGeom prst="rect">
            <a:avLst/>
          </a:prstGeom>
        </p:spPr>
        <p:txBody>
          <a:bodyPr wrap="square">
            <a:spAutoFit/>
          </a:bodyPr>
          <a:lstStyle/>
          <a:p>
            <a:pPr algn="ctr">
              <a:spcAft>
                <a:spcPts val="449"/>
              </a:spcAft>
              <a:defRPr/>
            </a:pPr>
            <a:r>
              <a:rPr lang="en-US" sz="1799" b="1" dirty="0">
                <a:solidFill>
                  <a:prstClr val="white"/>
                </a:solidFill>
              </a:rPr>
              <a:t>Embracing </a:t>
            </a:r>
            <a:r>
              <a:rPr lang="en-US" sz="1799" dirty="0">
                <a:solidFill>
                  <a:prstClr val="white"/>
                </a:solidFill>
              </a:rPr>
              <a:t>(controlled) </a:t>
            </a:r>
            <a:r>
              <a:rPr lang="en-US" sz="1799" b="1" dirty="0">
                <a:solidFill>
                  <a:prstClr val="white"/>
                </a:solidFill>
              </a:rPr>
              <a:t>change, </a:t>
            </a:r>
            <a:r>
              <a:rPr lang="en-US" sz="1799" dirty="0">
                <a:solidFill>
                  <a:prstClr val="white"/>
                </a:solidFill>
              </a:rPr>
              <a:t>allowing for </a:t>
            </a:r>
            <a:r>
              <a:rPr lang="en-US" sz="1799" b="1" dirty="0">
                <a:solidFill>
                  <a:prstClr val="white"/>
                </a:solidFill>
              </a:rPr>
              <a:t>iterating and incrementing </a:t>
            </a:r>
            <a:br>
              <a:rPr lang="en-US" sz="1799" b="1" dirty="0">
                <a:solidFill>
                  <a:prstClr val="white"/>
                </a:solidFill>
              </a:rPr>
            </a:br>
            <a:r>
              <a:rPr lang="en-US" sz="1799" dirty="0">
                <a:solidFill>
                  <a:prstClr val="white"/>
                </a:solidFill>
              </a:rPr>
              <a:t>on a solution</a:t>
            </a:r>
          </a:p>
        </p:txBody>
      </p:sp>
    </p:spTree>
    <p:custDataLst>
      <p:tags r:id="rId1"/>
    </p:custDataLst>
    <p:extLst>
      <p:ext uri="{BB962C8B-B14F-4D97-AF65-F5344CB8AC3E}">
        <p14:creationId xmlns:p14="http://schemas.microsoft.com/office/powerpoint/2010/main" val="318504577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01AABC-BC6A-4847-9AC3-E0EA4A3C01FA}"/>
              </a:ext>
            </a:extLst>
          </p:cNvPr>
          <p:cNvSpPr>
            <a:spLocks noGrp="1"/>
          </p:cNvSpPr>
          <p:nvPr>
            <p:ph type="title"/>
          </p:nvPr>
        </p:nvSpPr>
        <p:spPr/>
        <p:txBody>
          <a:bodyPr/>
          <a:lstStyle/>
          <a:p>
            <a:r>
              <a:rPr lang="en-US" dirty="0"/>
              <a:t>Agile critical success factors</a:t>
            </a:r>
          </a:p>
        </p:txBody>
      </p:sp>
      <p:sp>
        <p:nvSpPr>
          <p:cNvPr id="6" name="Text Placeholder 5">
            <a:extLst>
              <a:ext uri="{FF2B5EF4-FFF2-40B4-BE49-F238E27FC236}">
                <a16:creationId xmlns:a16="http://schemas.microsoft.com/office/drawing/2014/main" id="{8C92A7EC-5DD3-471B-91E0-A6457DD86C59}"/>
              </a:ext>
            </a:extLst>
          </p:cNvPr>
          <p:cNvSpPr>
            <a:spLocks noGrp="1"/>
          </p:cNvSpPr>
          <p:nvPr>
            <p:ph type="body" sz="quarter" idx="13"/>
          </p:nvPr>
        </p:nvSpPr>
        <p:spPr/>
        <p:txBody>
          <a:bodyPr/>
          <a:lstStyle/>
          <a:p>
            <a:r>
              <a:rPr lang="en-US" dirty="0"/>
              <a:t>Lessons learned from the front lines of a Deloitte agile project</a:t>
            </a:r>
          </a:p>
        </p:txBody>
      </p:sp>
      <p:sp>
        <p:nvSpPr>
          <p:cNvPr id="8" name="Oval 7">
            <a:extLst>
              <a:ext uri="{FF2B5EF4-FFF2-40B4-BE49-F238E27FC236}">
                <a16:creationId xmlns:a16="http://schemas.microsoft.com/office/drawing/2014/main" id="{2B992FE4-9CBB-4CDA-AC6E-86E182BEAF31}"/>
              </a:ext>
            </a:extLst>
          </p:cNvPr>
          <p:cNvSpPr/>
          <p:nvPr/>
        </p:nvSpPr>
        <p:spPr>
          <a:xfrm>
            <a:off x="5210149" y="2577598"/>
            <a:ext cx="1722042" cy="172204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400" dirty="0">
              <a:solidFill>
                <a:schemeClr val="tx2"/>
              </a:solidFill>
            </a:endParaRPr>
          </a:p>
        </p:txBody>
      </p:sp>
      <p:sp>
        <p:nvSpPr>
          <p:cNvPr id="9" name="Oval 8">
            <a:extLst>
              <a:ext uri="{FF2B5EF4-FFF2-40B4-BE49-F238E27FC236}">
                <a16:creationId xmlns:a16="http://schemas.microsoft.com/office/drawing/2014/main" id="{98442A9A-6321-433A-84F3-78B40F28FD60}"/>
              </a:ext>
            </a:extLst>
          </p:cNvPr>
          <p:cNvSpPr>
            <a:spLocks noChangeAspect="1"/>
          </p:cNvSpPr>
          <p:nvPr/>
        </p:nvSpPr>
        <p:spPr>
          <a:xfrm>
            <a:off x="5265409" y="2632859"/>
            <a:ext cx="1611522" cy="1611522"/>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400" dirty="0">
              <a:solidFill>
                <a:schemeClr val="tx2"/>
              </a:solidFill>
            </a:endParaRPr>
          </a:p>
        </p:txBody>
      </p:sp>
      <p:sp>
        <p:nvSpPr>
          <p:cNvPr id="10" name="Rectangle 9">
            <a:extLst>
              <a:ext uri="{FF2B5EF4-FFF2-40B4-BE49-F238E27FC236}">
                <a16:creationId xmlns:a16="http://schemas.microsoft.com/office/drawing/2014/main" id="{601E7131-ABF2-4492-9B58-2FBA38C7DE62}"/>
              </a:ext>
            </a:extLst>
          </p:cNvPr>
          <p:cNvSpPr/>
          <p:nvPr/>
        </p:nvSpPr>
        <p:spPr>
          <a:xfrm>
            <a:off x="5505309" y="3223177"/>
            <a:ext cx="1131720" cy="430887"/>
          </a:xfrm>
          <a:prstGeom prst="rect">
            <a:avLst/>
          </a:prstGeom>
        </p:spPr>
        <p:txBody>
          <a:bodyPr wrap="square" lIns="0" tIns="0" rIns="0" bIns="0" anchor="ctr" anchorCtr="0">
            <a:spAutoFit/>
          </a:bodyPr>
          <a:lstStyle/>
          <a:p>
            <a:pPr algn="ctr"/>
            <a:r>
              <a:rPr lang="en-US" sz="1400" b="1" dirty="0">
                <a:solidFill>
                  <a:schemeClr val="bg1"/>
                </a:solidFill>
              </a:rPr>
              <a:t>Critical Success Factors</a:t>
            </a:r>
            <a:endParaRPr lang="en-US" sz="1400" dirty="0">
              <a:solidFill>
                <a:schemeClr val="bg1"/>
              </a:solidFill>
            </a:endParaRPr>
          </a:p>
        </p:txBody>
      </p:sp>
      <p:sp>
        <p:nvSpPr>
          <p:cNvPr id="11" name="Freeform 63">
            <a:extLst>
              <a:ext uri="{FF2B5EF4-FFF2-40B4-BE49-F238E27FC236}">
                <a16:creationId xmlns:a16="http://schemas.microsoft.com/office/drawing/2014/main" id="{56571768-D59B-4145-ADD3-01C91294F476}"/>
              </a:ext>
            </a:extLst>
          </p:cNvPr>
          <p:cNvSpPr/>
          <p:nvPr/>
        </p:nvSpPr>
        <p:spPr bwMode="gray">
          <a:xfrm flipV="1">
            <a:off x="659219" y="4148795"/>
            <a:ext cx="4600113" cy="57582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4"/>
            </a:solidFill>
            <a:miter lim="800000"/>
            <a:headEnd/>
            <a:tailEnd/>
          </a:ln>
        </p:spPr>
        <p:txBody>
          <a:bodyPr rtlCol="0" anchor="ctr"/>
          <a:lstStyle/>
          <a:p>
            <a:pPr algn="ctr"/>
            <a:endParaRPr lang="en-US" sz="1400" dirty="0">
              <a:solidFill>
                <a:schemeClr val="accent6"/>
              </a:solidFill>
            </a:endParaRPr>
          </a:p>
        </p:txBody>
      </p:sp>
      <p:sp>
        <p:nvSpPr>
          <p:cNvPr id="12" name="Rectangle 11">
            <a:extLst>
              <a:ext uri="{FF2B5EF4-FFF2-40B4-BE49-F238E27FC236}">
                <a16:creationId xmlns:a16="http://schemas.microsoft.com/office/drawing/2014/main" id="{82EDA564-7D48-4085-820B-FBC8C7590ABB}"/>
              </a:ext>
            </a:extLst>
          </p:cNvPr>
          <p:cNvSpPr/>
          <p:nvPr/>
        </p:nvSpPr>
        <p:spPr>
          <a:xfrm>
            <a:off x="659219" y="4854211"/>
            <a:ext cx="5053339" cy="1613262"/>
          </a:xfrm>
          <a:prstGeom prst="rect">
            <a:avLst/>
          </a:prstGeom>
        </p:spPr>
        <p:txBody>
          <a:bodyPr wrap="square" lIns="0" tIns="0" rIns="0" bIns="0">
            <a:spAutoFit/>
          </a:bodyPr>
          <a:lstStyle/>
          <a:p>
            <a:pPr marL="96679" indent="-96679">
              <a:spcBef>
                <a:spcPts val="451"/>
              </a:spcBef>
              <a:buFont typeface="Arial" panose="020B0604020202020204" pitchFamily="34" charset="0"/>
              <a:buChar char="•"/>
            </a:pPr>
            <a:r>
              <a:rPr lang="en-US" sz="1400" dirty="0"/>
              <a:t>Train the team (including organization)</a:t>
            </a:r>
          </a:p>
          <a:p>
            <a:pPr marL="96679" indent="-96679">
              <a:spcBef>
                <a:spcPts val="451"/>
              </a:spcBef>
              <a:buFont typeface="Arial" panose="020B0604020202020204" pitchFamily="34" charset="0"/>
              <a:buChar char="•"/>
            </a:pPr>
            <a:r>
              <a:rPr lang="en-US" sz="1400" dirty="0"/>
              <a:t>Product Owner is an organization team member</a:t>
            </a:r>
          </a:p>
          <a:p>
            <a:pPr marL="96679" indent="-96679">
              <a:spcBef>
                <a:spcPts val="451"/>
              </a:spcBef>
              <a:buFont typeface="Arial" panose="020B0604020202020204" pitchFamily="34" charset="0"/>
              <a:buChar char="•"/>
            </a:pPr>
            <a:r>
              <a:rPr lang="en-US" sz="1400" dirty="0"/>
              <a:t>Employ an experienced Scrum Master</a:t>
            </a:r>
          </a:p>
          <a:p>
            <a:pPr marL="96679" indent="-96679">
              <a:spcBef>
                <a:spcPts val="451"/>
              </a:spcBef>
              <a:buFont typeface="Arial" panose="020B0604020202020204" pitchFamily="34" charset="0"/>
              <a:buChar char="•"/>
            </a:pPr>
            <a:r>
              <a:rPr lang="en-US" sz="1400" dirty="0"/>
              <a:t>Adjust team make-up depending on what you are sprinting</a:t>
            </a:r>
          </a:p>
          <a:p>
            <a:pPr marL="96679" indent="-96679">
              <a:spcBef>
                <a:spcPts val="451"/>
              </a:spcBef>
              <a:buFont typeface="Arial" panose="020B0604020202020204" pitchFamily="34" charset="0"/>
              <a:buChar char="•"/>
            </a:pPr>
            <a:r>
              <a:rPr lang="en-US" sz="1400" dirty="0"/>
              <a:t>Actively embrace retrospective process</a:t>
            </a:r>
          </a:p>
          <a:p>
            <a:pPr marL="96679" indent="-96679">
              <a:spcBef>
                <a:spcPts val="451"/>
              </a:spcBef>
              <a:buFont typeface="Arial" panose="020B0604020202020204" pitchFamily="34" charset="0"/>
              <a:buChar char="•"/>
            </a:pPr>
            <a:r>
              <a:rPr lang="en-US" sz="1400" dirty="0"/>
              <a:t>Continuously integrate geographically distributed teams </a:t>
            </a:r>
          </a:p>
        </p:txBody>
      </p:sp>
      <p:sp>
        <p:nvSpPr>
          <p:cNvPr id="13" name="Rectangle 12">
            <a:extLst>
              <a:ext uri="{FF2B5EF4-FFF2-40B4-BE49-F238E27FC236}">
                <a16:creationId xmlns:a16="http://schemas.microsoft.com/office/drawing/2014/main" id="{896FAF63-48E5-49B9-BCAF-84935FEEAC99}"/>
              </a:ext>
            </a:extLst>
          </p:cNvPr>
          <p:cNvSpPr/>
          <p:nvPr/>
        </p:nvSpPr>
        <p:spPr>
          <a:xfrm>
            <a:off x="659219" y="4457437"/>
            <a:ext cx="2869875" cy="276999"/>
          </a:xfrm>
          <a:prstGeom prst="rect">
            <a:avLst/>
          </a:prstGeom>
        </p:spPr>
        <p:txBody>
          <a:bodyPr wrap="square" lIns="0" tIns="0" rIns="0" bIns="0">
            <a:spAutoFit/>
          </a:bodyPr>
          <a:lstStyle/>
          <a:p>
            <a:r>
              <a:rPr lang="en-US" b="1" dirty="0">
                <a:solidFill>
                  <a:schemeClr val="accent4"/>
                </a:solidFill>
              </a:rPr>
              <a:t>Teams</a:t>
            </a:r>
            <a:endParaRPr lang="en-US" dirty="0">
              <a:solidFill>
                <a:schemeClr val="accent4"/>
              </a:solidFill>
            </a:endParaRPr>
          </a:p>
        </p:txBody>
      </p:sp>
      <p:sp>
        <p:nvSpPr>
          <p:cNvPr id="14" name="Freeform 60">
            <a:extLst>
              <a:ext uri="{FF2B5EF4-FFF2-40B4-BE49-F238E27FC236}">
                <a16:creationId xmlns:a16="http://schemas.microsoft.com/office/drawing/2014/main" id="{6AC46660-F062-45B5-BAFA-D177B715E593}"/>
              </a:ext>
            </a:extLst>
          </p:cNvPr>
          <p:cNvSpPr/>
          <p:nvPr/>
        </p:nvSpPr>
        <p:spPr bwMode="gray">
          <a:xfrm flipH="1">
            <a:off x="6756087" y="1775760"/>
            <a:ext cx="5139500" cy="59619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1"/>
            </a:solidFill>
            <a:miter lim="800000"/>
            <a:headEnd/>
            <a:tailEnd/>
          </a:ln>
        </p:spPr>
        <p:txBody>
          <a:bodyPr rtlCol="0" anchor="ctr"/>
          <a:lstStyle/>
          <a:p>
            <a:pPr algn="ctr"/>
            <a:endParaRPr lang="en-US" sz="1400" dirty="0">
              <a:solidFill>
                <a:schemeClr val="accent6"/>
              </a:solidFill>
            </a:endParaRPr>
          </a:p>
        </p:txBody>
      </p:sp>
      <p:sp>
        <p:nvSpPr>
          <p:cNvPr id="15" name="Rectangle 14">
            <a:extLst>
              <a:ext uri="{FF2B5EF4-FFF2-40B4-BE49-F238E27FC236}">
                <a16:creationId xmlns:a16="http://schemas.microsoft.com/office/drawing/2014/main" id="{B0A146BC-3B47-4D6B-B368-4A87CEC0B136}"/>
              </a:ext>
            </a:extLst>
          </p:cNvPr>
          <p:cNvSpPr/>
          <p:nvPr/>
        </p:nvSpPr>
        <p:spPr>
          <a:xfrm>
            <a:off x="7643460" y="1878811"/>
            <a:ext cx="4419446" cy="1549142"/>
          </a:xfrm>
          <a:prstGeom prst="rect">
            <a:avLst/>
          </a:prstGeom>
        </p:spPr>
        <p:txBody>
          <a:bodyPr wrap="square" lIns="0" tIns="0" rIns="0" bIns="0">
            <a:spAutoFit/>
          </a:bodyPr>
          <a:lstStyle/>
          <a:p>
            <a:pPr marL="96679" indent="-96679">
              <a:spcBef>
                <a:spcPts val="451"/>
              </a:spcBef>
              <a:buFont typeface="Arial" panose="020B0604020202020204" pitchFamily="34" charset="0"/>
              <a:buChar char="•"/>
            </a:pPr>
            <a:r>
              <a:rPr lang="en-US" sz="1400" dirty="0"/>
              <a:t>Understand the contract</a:t>
            </a:r>
          </a:p>
          <a:p>
            <a:pPr marL="96679" indent="-96679">
              <a:spcBef>
                <a:spcPts val="451"/>
              </a:spcBef>
              <a:buFont typeface="Arial" panose="020B0604020202020204" pitchFamily="34" charset="0"/>
              <a:buChar char="•"/>
            </a:pPr>
            <a:r>
              <a:rPr lang="en-US" sz="1400" dirty="0"/>
              <a:t>Allow adequate time for initiation</a:t>
            </a:r>
          </a:p>
          <a:p>
            <a:pPr marL="96679" indent="-96679">
              <a:spcBef>
                <a:spcPts val="451"/>
              </a:spcBef>
              <a:buFont typeface="Arial" panose="020B0604020202020204" pitchFamily="34" charset="0"/>
              <a:buChar char="•"/>
            </a:pPr>
            <a:r>
              <a:rPr lang="en-US" sz="1400" dirty="0"/>
              <a:t>Maintain focus on the project mission</a:t>
            </a:r>
          </a:p>
          <a:p>
            <a:pPr marL="96679" indent="-96679">
              <a:spcBef>
                <a:spcPts val="451"/>
              </a:spcBef>
              <a:buFont typeface="Arial" panose="020B0604020202020204" pitchFamily="34" charset="0"/>
              <a:buChar char="•"/>
            </a:pPr>
            <a:r>
              <a:rPr lang="en-US" sz="1400" dirty="0"/>
              <a:t>Plan how you will manage scope while retaining flexibility</a:t>
            </a:r>
          </a:p>
          <a:p>
            <a:pPr marL="96679" indent="-96679">
              <a:spcBef>
                <a:spcPts val="451"/>
              </a:spcBef>
              <a:buFont typeface="Arial" panose="020B0604020202020204" pitchFamily="34" charset="0"/>
              <a:buChar char="•"/>
            </a:pPr>
            <a:r>
              <a:rPr lang="en-US" sz="1400" dirty="0"/>
              <a:t>Manage the broader engagement and any work not being sprinted</a:t>
            </a:r>
          </a:p>
        </p:txBody>
      </p:sp>
      <p:sp>
        <p:nvSpPr>
          <p:cNvPr id="16" name="Rectangle 15">
            <a:extLst>
              <a:ext uri="{FF2B5EF4-FFF2-40B4-BE49-F238E27FC236}">
                <a16:creationId xmlns:a16="http://schemas.microsoft.com/office/drawing/2014/main" id="{62227077-E634-411A-B74A-712F00D11B06}"/>
              </a:ext>
            </a:extLst>
          </p:cNvPr>
          <p:cNvSpPr/>
          <p:nvPr/>
        </p:nvSpPr>
        <p:spPr>
          <a:xfrm>
            <a:off x="7643460" y="1510468"/>
            <a:ext cx="2141348" cy="276999"/>
          </a:xfrm>
          <a:prstGeom prst="rect">
            <a:avLst/>
          </a:prstGeom>
        </p:spPr>
        <p:txBody>
          <a:bodyPr wrap="square" lIns="0" tIns="0" rIns="0" bIns="0">
            <a:spAutoFit/>
          </a:bodyPr>
          <a:lstStyle/>
          <a:p>
            <a:r>
              <a:rPr lang="en-US" b="1" dirty="0">
                <a:solidFill>
                  <a:schemeClr val="accent1"/>
                </a:solidFill>
              </a:rPr>
              <a:t>Prepare</a:t>
            </a:r>
            <a:endParaRPr lang="en-US" dirty="0">
              <a:solidFill>
                <a:schemeClr val="accent1"/>
              </a:solidFill>
            </a:endParaRPr>
          </a:p>
        </p:txBody>
      </p:sp>
      <p:sp>
        <p:nvSpPr>
          <p:cNvPr id="17" name="Freeform 66">
            <a:extLst>
              <a:ext uri="{FF2B5EF4-FFF2-40B4-BE49-F238E27FC236}">
                <a16:creationId xmlns:a16="http://schemas.microsoft.com/office/drawing/2014/main" id="{FEE3FB78-DB6E-4940-BE64-9CB14B1B4CEC}"/>
              </a:ext>
            </a:extLst>
          </p:cNvPr>
          <p:cNvSpPr/>
          <p:nvPr/>
        </p:nvSpPr>
        <p:spPr bwMode="gray">
          <a:xfrm flipH="1" flipV="1">
            <a:off x="6745329" y="4148796"/>
            <a:ext cx="5048802" cy="15639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5"/>
            </a:solidFill>
            <a:miter lim="800000"/>
            <a:headEnd/>
            <a:tailEnd/>
          </a:ln>
        </p:spPr>
        <p:txBody>
          <a:bodyPr rtlCol="0" anchor="ctr"/>
          <a:lstStyle/>
          <a:p>
            <a:pPr algn="ctr"/>
            <a:endParaRPr lang="en-US" sz="1400" dirty="0">
              <a:solidFill>
                <a:schemeClr val="accent6"/>
              </a:solidFill>
            </a:endParaRPr>
          </a:p>
        </p:txBody>
      </p:sp>
      <p:sp>
        <p:nvSpPr>
          <p:cNvPr id="18" name="Rectangle 17">
            <a:extLst>
              <a:ext uri="{FF2B5EF4-FFF2-40B4-BE49-F238E27FC236}">
                <a16:creationId xmlns:a16="http://schemas.microsoft.com/office/drawing/2014/main" id="{735593ED-58B9-4628-9BD4-1D6E468B6D14}"/>
              </a:ext>
            </a:extLst>
          </p:cNvPr>
          <p:cNvSpPr/>
          <p:nvPr/>
        </p:nvSpPr>
        <p:spPr>
          <a:xfrm>
            <a:off x="7643460" y="4435148"/>
            <a:ext cx="4477143" cy="1613262"/>
          </a:xfrm>
          <a:prstGeom prst="rect">
            <a:avLst/>
          </a:prstGeom>
        </p:spPr>
        <p:txBody>
          <a:bodyPr wrap="square" lIns="0" tIns="0" rIns="0" bIns="0">
            <a:spAutoFit/>
          </a:bodyPr>
          <a:lstStyle/>
          <a:p>
            <a:pPr marL="96679" indent="-96679">
              <a:spcBef>
                <a:spcPts val="451"/>
              </a:spcBef>
              <a:buFont typeface="Arial" panose="020B0604020202020204" pitchFamily="34" charset="0"/>
              <a:buChar char="•"/>
            </a:pPr>
            <a:r>
              <a:rPr lang="en-US" sz="1400" dirty="0"/>
              <a:t>Maintain execution discipline</a:t>
            </a:r>
          </a:p>
          <a:p>
            <a:pPr marL="96679" indent="-96679">
              <a:spcBef>
                <a:spcPts val="451"/>
              </a:spcBef>
              <a:buFont typeface="Arial" panose="020B0604020202020204" pitchFamily="34" charset="0"/>
              <a:buChar char="•"/>
            </a:pPr>
            <a:r>
              <a:rPr lang="en-US" sz="1400" dirty="0"/>
              <a:t>Manage your Product Backlog to your delivery date</a:t>
            </a:r>
          </a:p>
          <a:p>
            <a:pPr marL="96679" indent="-96679">
              <a:spcBef>
                <a:spcPts val="451"/>
              </a:spcBef>
              <a:buFont typeface="Arial" panose="020B0604020202020204" pitchFamily="34" charset="0"/>
              <a:buChar char="•"/>
            </a:pPr>
            <a:r>
              <a:rPr lang="en-US" sz="1400" dirty="0"/>
              <a:t>Conduct all standard agile ceremonies</a:t>
            </a:r>
          </a:p>
          <a:p>
            <a:pPr marL="96679" indent="-96679">
              <a:spcBef>
                <a:spcPts val="451"/>
              </a:spcBef>
              <a:buFont typeface="Arial" panose="020B0604020202020204" pitchFamily="34" charset="0"/>
              <a:buChar char="•"/>
            </a:pPr>
            <a:r>
              <a:rPr lang="en-US" sz="1400" dirty="0"/>
              <a:t>Seek ways to demonstrate and gather feedback</a:t>
            </a:r>
          </a:p>
          <a:p>
            <a:pPr marL="96679" indent="-96679">
              <a:spcBef>
                <a:spcPts val="451"/>
              </a:spcBef>
              <a:buFont typeface="Arial" panose="020B0604020202020204" pitchFamily="34" charset="0"/>
              <a:buChar char="•"/>
            </a:pPr>
            <a:r>
              <a:rPr lang="en-US" sz="1400" dirty="0"/>
              <a:t>Only “ready” User Stories get sprinted </a:t>
            </a:r>
          </a:p>
          <a:p>
            <a:pPr marL="96679" indent="-96679">
              <a:spcBef>
                <a:spcPts val="451"/>
              </a:spcBef>
              <a:buFont typeface="Arial" panose="020B0604020202020204" pitchFamily="34" charset="0"/>
              <a:buChar char="•"/>
            </a:pPr>
            <a:r>
              <a:rPr lang="en-US" sz="1400" dirty="0"/>
              <a:t>Let the team sprint – no changes</a:t>
            </a:r>
          </a:p>
        </p:txBody>
      </p:sp>
      <p:sp>
        <p:nvSpPr>
          <p:cNvPr id="19" name="Rectangle 18">
            <a:extLst>
              <a:ext uri="{FF2B5EF4-FFF2-40B4-BE49-F238E27FC236}">
                <a16:creationId xmlns:a16="http://schemas.microsoft.com/office/drawing/2014/main" id="{3DC6360B-BE38-451A-B4AB-E578A00CFB47}"/>
              </a:ext>
            </a:extLst>
          </p:cNvPr>
          <p:cNvSpPr/>
          <p:nvPr/>
        </p:nvSpPr>
        <p:spPr>
          <a:xfrm>
            <a:off x="7643460" y="4030736"/>
            <a:ext cx="2141348" cy="276999"/>
          </a:xfrm>
          <a:prstGeom prst="rect">
            <a:avLst/>
          </a:prstGeom>
        </p:spPr>
        <p:txBody>
          <a:bodyPr wrap="square" lIns="0" tIns="0" rIns="0" bIns="0">
            <a:spAutoFit/>
          </a:bodyPr>
          <a:lstStyle/>
          <a:p>
            <a:r>
              <a:rPr lang="en-US" b="1" dirty="0">
                <a:solidFill>
                  <a:schemeClr val="accent5"/>
                </a:solidFill>
              </a:rPr>
              <a:t>Execution</a:t>
            </a:r>
            <a:endParaRPr lang="en-US" dirty="0">
              <a:solidFill>
                <a:schemeClr val="accent5"/>
              </a:solidFill>
            </a:endParaRPr>
          </a:p>
        </p:txBody>
      </p:sp>
      <p:sp>
        <p:nvSpPr>
          <p:cNvPr id="20" name="Freeform 45">
            <a:extLst>
              <a:ext uri="{FF2B5EF4-FFF2-40B4-BE49-F238E27FC236}">
                <a16:creationId xmlns:a16="http://schemas.microsoft.com/office/drawing/2014/main" id="{06A98351-E2E1-4E0F-88F7-69A533C80162}"/>
              </a:ext>
            </a:extLst>
          </p:cNvPr>
          <p:cNvSpPr/>
          <p:nvPr/>
        </p:nvSpPr>
        <p:spPr bwMode="gray">
          <a:xfrm>
            <a:off x="659219" y="1892841"/>
            <a:ext cx="4797903" cy="62516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3"/>
            </a:solidFill>
            <a:miter lim="800000"/>
            <a:headEnd/>
            <a:tailEnd/>
          </a:ln>
        </p:spPr>
        <p:txBody>
          <a:bodyPr rtlCol="0" anchor="ctr"/>
          <a:lstStyle/>
          <a:p>
            <a:pPr algn="ctr"/>
            <a:endParaRPr lang="en-US" sz="1400" dirty="0">
              <a:solidFill>
                <a:schemeClr val="accent6"/>
              </a:solidFill>
            </a:endParaRPr>
          </a:p>
        </p:txBody>
      </p:sp>
      <p:sp>
        <p:nvSpPr>
          <p:cNvPr id="21" name="Rectangle 20">
            <a:extLst>
              <a:ext uri="{FF2B5EF4-FFF2-40B4-BE49-F238E27FC236}">
                <a16:creationId xmlns:a16="http://schemas.microsoft.com/office/drawing/2014/main" id="{5F8B6517-1CE7-409C-BC28-959FFC21866C}"/>
              </a:ext>
            </a:extLst>
          </p:cNvPr>
          <p:cNvSpPr/>
          <p:nvPr/>
        </p:nvSpPr>
        <p:spPr>
          <a:xfrm>
            <a:off x="659219" y="1625315"/>
            <a:ext cx="3749446" cy="276999"/>
          </a:xfrm>
          <a:prstGeom prst="rect">
            <a:avLst/>
          </a:prstGeom>
        </p:spPr>
        <p:txBody>
          <a:bodyPr wrap="square" lIns="0" tIns="0" rIns="0" bIns="0">
            <a:spAutoFit/>
          </a:bodyPr>
          <a:lstStyle/>
          <a:p>
            <a:r>
              <a:rPr lang="en-US" b="1" dirty="0">
                <a:solidFill>
                  <a:schemeClr val="accent3"/>
                </a:solidFill>
              </a:rPr>
              <a:t>The spirit of agile</a:t>
            </a:r>
            <a:endParaRPr lang="en-US" dirty="0">
              <a:solidFill>
                <a:schemeClr val="accent3"/>
              </a:solidFill>
            </a:endParaRPr>
          </a:p>
        </p:txBody>
      </p:sp>
      <p:sp>
        <p:nvSpPr>
          <p:cNvPr id="22" name="Rectangle 21">
            <a:extLst>
              <a:ext uri="{FF2B5EF4-FFF2-40B4-BE49-F238E27FC236}">
                <a16:creationId xmlns:a16="http://schemas.microsoft.com/office/drawing/2014/main" id="{AA0798CC-108C-4E45-8CA3-DA4589BBEA58}"/>
              </a:ext>
            </a:extLst>
          </p:cNvPr>
          <p:cNvSpPr/>
          <p:nvPr/>
        </p:nvSpPr>
        <p:spPr>
          <a:xfrm>
            <a:off x="659219" y="2016476"/>
            <a:ext cx="4086599" cy="1915909"/>
          </a:xfrm>
          <a:prstGeom prst="rect">
            <a:avLst/>
          </a:prstGeom>
        </p:spPr>
        <p:txBody>
          <a:bodyPr wrap="square" lIns="0" tIns="0" rIns="0" bIns="0">
            <a:spAutoFit/>
          </a:bodyPr>
          <a:lstStyle/>
          <a:p>
            <a:pPr marL="96679" indent="-96679">
              <a:spcBef>
                <a:spcPts val="451"/>
              </a:spcBef>
              <a:buFont typeface="Arial" panose="020B0604020202020204" pitchFamily="34" charset="0"/>
              <a:buChar char="•"/>
            </a:pPr>
            <a:r>
              <a:rPr lang="en-US" sz="1400" dirty="0"/>
              <a:t>Project Team, Business, and organization Leadership must understand and support the approach</a:t>
            </a:r>
          </a:p>
          <a:p>
            <a:pPr marL="96679" indent="-96679">
              <a:spcBef>
                <a:spcPts val="451"/>
              </a:spcBef>
              <a:buFont typeface="Arial" panose="020B0604020202020204" pitchFamily="34" charset="0"/>
              <a:buChar char="•"/>
            </a:pPr>
            <a:r>
              <a:rPr lang="en-US" sz="1400" dirty="0"/>
              <a:t>Product Owners must be experienced, influential, committed, and trained</a:t>
            </a:r>
          </a:p>
          <a:p>
            <a:pPr marL="96679" indent="-96679">
              <a:spcBef>
                <a:spcPts val="451"/>
              </a:spcBef>
              <a:buFont typeface="Arial" panose="020B0604020202020204" pitchFamily="34" charset="0"/>
              <a:buChar char="•"/>
            </a:pPr>
            <a:r>
              <a:rPr lang="en-US" sz="1400" dirty="0"/>
              <a:t>Ensure relevant stakeholders are involved early and often (Product Owner responsibility)</a:t>
            </a:r>
          </a:p>
          <a:p>
            <a:pPr marL="96679" indent="-96679">
              <a:spcBef>
                <a:spcPts val="451"/>
              </a:spcBef>
              <a:buFont typeface="Arial" panose="020B0604020202020204" pitchFamily="34" charset="0"/>
              <a:buChar char="•"/>
            </a:pPr>
            <a:r>
              <a:rPr lang="en-US" sz="1400" dirty="0"/>
              <a:t>Find the smallest thing you can show to users and get real feedback</a:t>
            </a:r>
          </a:p>
        </p:txBody>
      </p:sp>
      <p:grpSp>
        <p:nvGrpSpPr>
          <p:cNvPr id="23" name="Group 22">
            <a:extLst>
              <a:ext uri="{FF2B5EF4-FFF2-40B4-BE49-F238E27FC236}">
                <a16:creationId xmlns:a16="http://schemas.microsoft.com/office/drawing/2014/main" id="{3FCEE21F-435F-4318-A38F-A3F8E2EC3CC8}"/>
              </a:ext>
            </a:extLst>
          </p:cNvPr>
          <p:cNvGrpSpPr/>
          <p:nvPr/>
        </p:nvGrpSpPr>
        <p:grpSpPr>
          <a:xfrm>
            <a:off x="5212421" y="2338640"/>
            <a:ext cx="824954" cy="824953"/>
            <a:chOff x="3035552" y="1402181"/>
            <a:chExt cx="1097280" cy="1097279"/>
          </a:xfrm>
        </p:grpSpPr>
        <p:sp>
          <p:nvSpPr>
            <p:cNvPr id="43" name="Oval 42">
              <a:extLst>
                <a:ext uri="{FF2B5EF4-FFF2-40B4-BE49-F238E27FC236}">
                  <a16:creationId xmlns:a16="http://schemas.microsoft.com/office/drawing/2014/main" id="{586976F2-8DB1-47EB-96D6-E6517E434E59}"/>
                </a:ext>
              </a:extLst>
            </p:cNvPr>
            <p:cNvSpPr>
              <a:spLocks noChangeAspect="1"/>
            </p:cNvSpPr>
            <p:nvPr/>
          </p:nvSpPr>
          <p:spPr>
            <a:xfrm>
              <a:off x="3035552" y="1402181"/>
              <a:ext cx="1097280" cy="1097279"/>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400" dirty="0">
                <a:solidFill>
                  <a:schemeClr val="tx2"/>
                </a:solidFill>
              </a:endParaRPr>
            </a:p>
          </p:txBody>
        </p:sp>
        <p:sp>
          <p:nvSpPr>
            <p:cNvPr id="44" name="Oval 43">
              <a:extLst>
                <a:ext uri="{FF2B5EF4-FFF2-40B4-BE49-F238E27FC236}">
                  <a16:creationId xmlns:a16="http://schemas.microsoft.com/office/drawing/2014/main" id="{D3AB7587-E8DF-4CF2-B00E-37E774C0690C}"/>
                </a:ext>
              </a:extLst>
            </p:cNvPr>
            <p:cNvSpPr>
              <a:spLocks noChangeAspect="1"/>
            </p:cNvSpPr>
            <p:nvPr/>
          </p:nvSpPr>
          <p:spPr>
            <a:xfrm>
              <a:off x="3070764" y="1437392"/>
              <a:ext cx="1026857" cy="1026857"/>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400" dirty="0">
                <a:solidFill>
                  <a:schemeClr val="tx2"/>
                </a:solidFill>
              </a:endParaRPr>
            </a:p>
          </p:txBody>
        </p:sp>
        <p:sp>
          <p:nvSpPr>
            <p:cNvPr id="45" name="Freeform 624">
              <a:extLst>
                <a:ext uri="{FF2B5EF4-FFF2-40B4-BE49-F238E27FC236}">
                  <a16:creationId xmlns:a16="http://schemas.microsoft.com/office/drawing/2014/main" id="{429D623A-4894-40C6-9ECA-03812FE01BBD}"/>
                </a:ext>
              </a:extLst>
            </p:cNvPr>
            <p:cNvSpPr>
              <a:spLocks noChangeAspect="1" noEditPoints="1"/>
            </p:cNvSpPr>
            <p:nvPr/>
          </p:nvSpPr>
          <p:spPr bwMode="auto">
            <a:xfrm>
              <a:off x="3148159" y="1533133"/>
              <a:ext cx="872067" cy="835375"/>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bg1"/>
            </a:solidFill>
            <a:ln>
              <a:noFill/>
            </a:ln>
          </p:spPr>
          <p:txBody>
            <a:bodyPr vert="horz" wrap="square" lIns="68746" tIns="34374" rIns="68746" bIns="34374" numCol="1" anchor="t" anchorCtr="0" compatLnSpc="1">
              <a:prstTxWarp prst="textNoShape">
                <a:avLst/>
              </a:prstTxWarp>
            </a:bodyPr>
            <a:lstStyle/>
            <a:p>
              <a:endParaRPr lang="en-GB" sz="1400" dirty="0"/>
            </a:p>
          </p:txBody>
        </p:sp>
      </p:grpSp>
      <p:grpSp>
        <p:nvGrpSpPr>
          <p:cNvPr id="24" name="Group 23">
            <a:extLst>
              <a:ext uri="{FF2B5EF4-FFF2-40B4-BE49-F238E27FC236}">
                <a16:creationId xmlns:a16="http://schemas.microsoft.com/office/drawing/2014/main" id="{6EAA98D0-E29F-4A2F-94D0-184C7535B1F9}"/>
              </a:ext>
            </a:extLst>
          </p:cNvPr>
          <p:cNvGrpSpPr/>
          <p:nvPr/>
        </p:nvGrpSpPr>
        <p:grpSpPr>
          <a:xfrm>
            <a:off x="5038910" y="3534277"/>
            <a:ext cx="824954" cy="824954"/>
            <a:chOff x="3142299" y="3491794"/>
            <a:chExt cx="1097281" cy="1097280"/>
          </a:xfrm>
        </p:grpSpPr>
        <p:sp>
          <p:nvSpPr>
            <p:cNvPr id="33" name="Oval 32">
              <a:extLst>
                <a:ext uri="{FF2B5EF4-FFF2-40B4-BE49-F238E27FC236}">
                  <a16:creationId xmlns:a16="http://schemas.microsoft.com/office/drawing/2014/main" id="{BE820596-7A58-4B32-93A7-1D0B796F9C25}"/>
                </a:ext>
              </a:extLst>
            </p:cNvPr>
            <p:cNvSpPr/>
            <p:nvPr/>
          </p:nvSpPr>
          <p:spPr>
            <a:xfrm>
              <a:off x="3142299" y="3491794"/>
              <a:ext cx="1097281" cy="109728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400" dirty="0">
                <a:solidFill>
                  <a:schemeClr val="tx2"/>
                </a:solidFill>
              </a:endParaRPr>
            </a:p>
          </p:txBody>
        </p:sp>
        <p:sp>
          <p:nvSpPr>
            <p:cNvPr id="34" name="Oval 33">
              <a:extLst>
                <a:ext uri="{FF2B5EF4-FFF2-40B4-BE49-F238E27FC236}">
                  <a16:creationId xmlns:a16="http://schemas.microsoft.com/office/drawing/2014/main" id="{BFE84D88-A333-4024-893F-5F3B5189A221}"/>
                </a:ext>
              </a:extLst>
            </p:cNvPr>
            <p:cNvSpPr>
              <a:spLocks noChangeAspect="1"/>
            </p:cNvSpPr>
            <p:nvPr/>
          </p:nvSpPr>
          <p:spPr>
            <a:xfrm>
              <a:off x="3177510" y="3527006"/>
              <a:ext cx="1026858" cy="1026857"/>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400" dirty="0">
                <a:solidFill>
                  <a:schemeClr val="tx2"/>
                </a:solidFill>
              </a:endParaRPr>
            </a:p>
          </p:txBody>
        </p:sp>
        <p:grpSp>
          <p:nvGrpSpPr>
            <p:cNvPr id="35" name="Group 34">
              <a:extLst>
                <a:ext uri="{FF2B5EF4-FFF2-40B4-BE49-F238E27FC236}">
                  <a16:creationId xmlns:a16="http://schemas.microsoft.com/office/drawing/2014/main" id="{C7B0CE38-70E5-4F0F-A23F-CE0124B10237}"/>
                </a:ext>
              </a:extLst>
            </p:cNvPr>
            <p:cNvGrpSpPr>
              <a:grpSpLocks noChangeAspect="1"/>
            </p:cNvGrpSpPr>
            <p:nvPr/>
          </p:nvGrpSpPr>
          <p:grpSpPr>
            <a:xfrm>
              <a:off x="3277381" y="3628954"/>
              <a:ext cx="827117" cy="822960"/>
              <a:chOff x="5672138" y="4513263"/>
              <a:chExt cx="1579562" cy="1571625"/>
            </a:xfrm>
            <a:solidFill>
              <a:schemeClr val="bg1"/>
            </a:solidFill>
          </p:grpSpPr>
          <p:sp>
            <p:nvSpPr>
              <p:cNvPr id="36" name="Rectangle 5">
                <a:extLst>
                  <a:ext uri="{FF2B5EF4-FFF2-40B4-BE49-F238E27FC236}">
                    <a16:creationId xmlns:a16="http://schemas.microsoft.com/office/drawing/2014/main" id="{811448BA-3EFC-4F9A-AA51-59C1C2CBF905}"/>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400" dirty="0"/>
              </a:p>
            </p:txBody>
          </p:sp>
          <p:sp>
            <p:nvSpPr>
              <p:cNvPr id="37" name="Oval 6">
                <a:extLst>
                  <a:ext uri="{FF2B5EF4-FFF2-40B4-BE49-F238E27FC236}">
                    <a16:creationId xmlns:a16="http://schemas.microsoft.com/office/drawing/2014/main" id="{5656B94B-3C9E-4E92-8AD9-50EE9FF6C522}"/>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400" dirty="0"/>
              </a:p>
            </p:txBody>
          </p:sp>
          <p:sp>
            <p:nvSpPr>
              <p:cNvPr id="38" name="Rectangle 7">
                <a:extLst>
                  <a:ext uri="{FF2B5EF4-FFF2-40B4-BE49-F238E27FC236}">
                    <a16:creationId xmlns:a16="http://schemas.microsoft.com/office/drawing/2014/main" id="{CAB3D854-5933-4DD5-9B42-54CE0DEAD510}"/>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746" tIns="34374" rIns="68746" bIns="34374" numCol="1" anchor="t" anchorCtr="0" compatLnSpc="1">
                <a:prstTxWarp prst="textNoShape">
                  <a:avLst/>
                </a:prstTxWarp>
              </a:bodyPr>
              <a:lstStyle/>
              <a:p>
                <a:endParaRPr lang="en-US" sz="1400" dirty="0"/>
              </a:p>
            </p:txBody>
          </p:sp>
          <p:sp>
            <p:nvSpPr>
              <p:cNvPr id="39" name="Oval 8">
                <a:extLst>
                  <a:ext uri="{FF2B5EF4-FFF2-40B4-BE49-F238E27FC236}">
                    <a16:creationId xmlns:a16="http://schemas.microsoft.com/office/drawing/2014/main" id="{16252295-0D67-4F01-A508-96CDE5F3AB3B}"/>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400" dirty="0"/>
              </a:p>
            </p:txBody>
          </p:sp>
          <p:sp>
            <p:nvSpPr>
              <p:cNvPr id="40" name="Oval 9">
                <a:extLst>
                  <a:ext uri="{FF2B5EF4-FFF2-40B4-BE49-F238E27FC236}">
                    <a16:creationId xmlns:a16="http://schemas.microsoft.com/office/drawing/2014/main" id="{F8C9A188-55B8-4BE2-8340-4FCEA23B45F9}"/>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400" dirty="0"/>
              </a:p>
            </p:txBody>
          </p:sp>
          <p:sp>
            <p:nvSpPr>
              <p:cNvPr id="41" name="Freeform 10">
                <a:extLst>
                  <a:ext uri="{FF2B5EF4-FFF2-40B4-BE49-F238E27FC236}">
                    <a16:creationId xmlns:a16="http://schemas.microsoft.com/office/drawing/2014/main" id="{83FB33C5-AB2E-4C85-81D7-CC4DD09DE670}"/>
                  </a:ext>
                </a:extLst>
              </p:cNvPr>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400" dirty="0"/>
              </a:p>
            </p:txBody>
          </p:sp>
          <p:sp>
            <p:nvSpPr>
              <p:cNvPr id="42" name="Freeform 11">
                <a:extLst>
                  <a:ext uri="{FF2B5EF4-FFF2-40B4-BE49-F238E27FC236}">
                    <a16:creationId xmlns:a16="http://schemas.microsoft.com/office/drawing/2014/main" id="{DE7A42A4-D1BB-4667-AAF9-943651E38AFF}"/>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46" tIns="34374" rIns="68746" bIns="34374" numCol="1" anchor="t" anchorCtr="0" compatLnSpc="1">
                <a:prstTxWarp prst="textNoShape">
                  <a:avLst/>
                </a:prstTxWarp>
              </a:bodyPr>
              <a:lstStyle/>
              <a:p>
                <a:endParaRPr lang="en-US" sz="1400" dirty="0"/>
              </a:p>
            </p:txBody>
          </p:sp>
        </p:grpSp>
      </p:grpSp>
      <p:grpSp>
        <p:nvGrpSpPr>
          <p:cNvPr id="25" name="Group 24">
            <a:extLst>
              <a:ext uri="{FF2B5EF4-FFF2-40B4-BE49-F238E27FC236}">
                <a16:creationId xmlns:a16="http://schemas.microsoft.com/office/drawing/2014/main" id="{BE60773B-ACC4-4EC7-8488-6D96E3090293}"/>
              </a:ext>
            </a:extLst>
          </p:cNvPr>
          <p:cNvGrpSpPr/>
          <p:nvPr/>
        </p:nvGrpSpPr>
        <p:grpSpPr>
          <a:xfrm>
            <a:off x="6120206" y="3712348"/>
            <a:ext cx="824954" cy="824954"/>
            <a:chOff x="4734521" y="3817244"/>
            <a:chExt cx="1097280" cy="1097280"/>
          </a:xfrm>
        </p:grpSpPr>
        <p:sp>
          <p:nvSpPr>
            <p:cNvPr id="30" name="Oval 29">
              <a:extLst>
                <a:ext uri="{FF2B5EF4-FFF2-40B4-BE49-F238E27FC236}">
                  <a16:creationId xmlns:a16="http://schemas.microsoft.com/office/drawing/2014/main" id="{0C103ACB-425A-4852-BD88-9EA3D909AE83}"/>
                </a:ext>
              </a:extLst>
            </p:cNvPr>
            <p:cNvSpPr/>
            <p:nvPr/>
          </p:nvSpPr>
          <p:spPr>
            <a:xfrm>
              <a:off x="4734521" y="3817244"/>
              <a:ext cx="1097280" cy="109728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203" dirty="0">
                <a:solidFill>
                  <a:schemeClr val="tx2"/>
                </a:solidFill>
              </a:endParaRPr>
            </a:p>
          </p:txBody>
        </p:sp>
        <p:sp>
          <p:nvSpPr>
            <p:cNvPr id="31" name="Oval 30">
              <a:extLst>
                <a:ext uri="{FF2B5EF4-FFF2-40B4-BE49-F238E27FC236}">
                  <a16:creationId xmlns:a16="http://schemas.microsoft.com/office/drawing/2014/main" id="{EDBD108B-1D3C-4617-9871-065C7AD7B633}"/>
                </a:ext>
              </a:extLst>
            </p:cNvPr>
            <p:cNvSpPr>
              <a:spLocks noChangeAspect="1"/>
            </p:cNvSpPr>
            <p:nvPr/>
          </p:nvSpPr>
          <p:spPr>
            <a:xfrm>
              <a:off x="4769733" y="3852456"/>
              <a:ext cx="1026857" cy="1026857"/>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203" dirty="0">
                <a:solidFill>
                  <a:schemeClr val="tx2"/>
                </a:solidFill>
              </a:endParaRPr>
            </a:p>
          </p:txBody>
        </p:sp>
        <p:sp>
          <p:nvSpPr>
            <p:cNvPr id="32" name="Freeform 738">
              <a:extLst>
                <a:ext uri="{FF2B5EF4-FFF2-40B4-BE49-F238E27FC236}">
                  <a16:creationId xmlns:a16="http://schemas.microsoft.com/office/drawing/2014/main" id="{2399F58B-FEC2-4425-A736-9DE11C01A457}"/>
                </a:ext>
              </a:extLst>
            </p:cNvPr>
            <p:cNvSpPr>
              <a:spLocks noChangeAspect="1" noEditPoints="1"/>
            </p:cNvSpPr>
            <p:nvPr/>
          </p:nvSpPr>
          <p:spPr bwMode="auto">
            <a:xfrm>
              <a:off x="4872887" y="3954404"/>
              <a:ext cx="820548" cy="8229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6 w 512"/>
                <a:gd name="T11" fmla="*/ 346 h 512"/>
                <a:gd name="T12" fmla="*/ 165 w 512"/>
                <a:gd name="T13" fmla="*/ 346 h 512"/>
                <a:gd name="T14" fmla="*/ 165 w 512"/>
                <a:gd name="T15" fmla="*/ 165 h 512"/>
                <a:gd name="T16" fmla="*/ 180 w 512"/>
                <a:gd name="T17" fmla="*/ 165 h 512"/>
                <a:gd name="T18" fmla="*/ 180 w 512"/>
                <a:gd name="T19" fmla="*/ 180 h 512"/>
                <a:gd name="T20" fmla="*/ 180 w 512"/>
                <a:gd name="T21" fmla="*/ 331 h 512"/>
                <a:gd name="T22" fmla="*/ 331 w 512"/>
                <a:gd name="T23" fmla="*/ 331 h 512"/>
                <a:gd name="T24" fmla="*/ 331 w 512"/>
                <a:gd name="T25" fmla="*/ 180 h 512"/>
                <a:gd name="T26" fmla="*/ 271 w 512"/>
                <a:gd name="T27" fmla="*/ 150 h 512"/>
                <a:gd name="T28" fmla="*/ 293 w 512"/>
                <a:gd name="T29" fmla="*/ 173 h 512"/>
                <a:gd name="T30" fmla="*/ 293 w 512"/>
                <a:gd name="T31" fmla="*/ 188 h 512"/>
                <a:gd name="T32" fmla="*/ 278 w 512"/>
                <a:gd name="T33" fmla="*/ 188 h 512"/>
                <a:gd name="T34" fmla="*/ 241 w 512"/>
                <a:gd name="T35" fmla="*/ 150 h 512"/>
                <a:gd name="T36" fmla="*/ 241 w 512"/>
                <a:gd name="T37" fmla="*/ 135 h 512"/>
                <a:gd name="T38" fmla="*/ 278 w 512"/>
                <a:gd name="T39" fmla="*/ 97 h 512"/>
                <a:gd name="T40" fmla="*/ 293 w 512"/>
                <a:gd name="T41" fmla="*/ 97 h 512"/>
                <a:gd name="T42" fmla="*/ 293 w 512"/>
                <a:gd name="T43" fmla="*/ 112 h 512"/>
                <a:gd name="T44" fmla="*/ 276 w 512"/>
                <a:gd name="T45" fmla="*/ 129 h 512"/>
                <a:gd name="T46" fmla="*/ 346 w 512"/>
                <a:gd name="T47" fmla="*/ 165 h 512"/>
                <a:gd name="T48" fmla="*/ 346 w 512"/>
                <a:gd name="T4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6" y="346"/>
                  </a:move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ubicBezTo>
                    <a:pt x="276" y="129"/>
                    <a:pt x="276" y="129"/>
                    <a:pt x="276" y="129"/>
                  </a:cubicBezTo>
                  <a:cubicBezTo>
                    <a:pt x="302" y="134"/>
                    <a:pt x="327" y="146"/>
                    <a:pt x="346" y="165"/>
                  </a:cubicBezTo>
                  <a:cubicBezTo>
                    <a:pt x="396" y="215"/>
                    <a:pt x="396" y="296"/>
                    <a:pt x="346" y="346"/>
                  </a:cubicBezTo>
                  <a:close/>
                </a:path>
              </a:pathLst>
            </a:custGeom>
            <a:solidFill>
              <a:schemeClr val="bg1"/>
            </a:solidFill>
            <a:ln>
              <a:noFill/>
            </a:ln>
          </p:spPr>
          <p:txBody>
            <a:bodyPr vert="horz" wrap="square" lIns="68746" tIns="34374" rIns="68746" bIns="34374" numCol="1" anchor="t" anchorCtr="0" compatLnSpc="1">
              <a:prstTxWarp prst="textNoShape">
                <a:avLst/>
              </a:prstTxWarp>
            </a:bodyPr>
            <a:lstStyle/>
            <a:p>
              <a:endParaRPr lang="en-GB" sz="1604" dirty="0"/>
            </a:p>
          </p:txBody>
        </p:sp>
      </p:grpSp>
      <p:grpSp>
        <p:nvGrpSpPr>
          <p:cNvPr id="26" name="Group 25">
            <a:extLst>
              <a:ext uri="{FF2B5EF4-FFF2-40B4-BE49-F238E27FC236}">
                <a16:creationId xmlns:a16="http://schemas.microsoft.com/office/drawing/2014/main" id="{F0E1018D-7012-4370-8052-F167E39FD58A}"/>
              </a:ext>
            </a:extLst>
          </p:cNvPr>
          <p:cNvGrpSpPr/>
          <p:nvPr/>
        </p:nvGrpSpPr>
        <p:grpSpPr>
          <a:xfrm>
            <a:off x="6170635" y="2200439"/>
            <a:ext cx="824954" cy="824954"/>
            <a:chOff x="4668354" y="1789054"/>
            <a:chExt cx="1097280" cy="1097280"/>
          </a:xfrm>
        </p:grpSpPr>
        <p:sp>
          <p:nvSpPr>
            <p:cNvPr id="27" name="Oval 26">
              <a:extLst>
                <a:ext uri="{FF2B5EF4-FFF2-40B4-BE49-F238E27FC236}">
                  <a16:creationId xmlns:a16="http://schemas.microsoft.com/office/drawing/2014/main" id="{6E92F05E-143D-4DBF-9804-9D35972F0F6B}"/>
                </a:ext>
              </a:extLst>
            </p:cNvPr>
            <p:cNvSpPr/>
            <p:nvPr/>
          </p:nvSpPr>
          <p:spPr>
            <a:xfrm>
              <a:off x="4668354" y="1789054"/>
              <a:ext cx="1097280" cy="109728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400" dirty="0">
                <a:solidFill>
                  <a:schemeClr val="tx2"/>
                </a:solidFill>
              </a:endParaRPr>
            </a:p>
          </p:txBody>
        </p:sp>
        <p:sp>
          <p:nvSpPr>
            <p:cNvPr id="28" name="Oval 27">
              <a:extLst>
                <a:ext uri="{FF2B5EF4-FFF2-40B4-BE49-F238E27FC236}">
                  <a16:creationId xmlns:a16="http://schemas.microsoft.com/office/drawing/2014/main" id="{AD176277-7E17-40B5-9000-AEFA5D7728F1}"/>
                </a:ext>
              </a:extLst>
            </p:cNvPr>
            <p:cNvSpPr>
              <a:spLocks noChangeAspect="1"/>
            </p:cNvSpPr>
            <p:nvPr/>
          </p:nvSpPr>
          <p:spPr>
            <a:xfrm>
              <a:off x="4703566" y="1824266"/>
              <a:ext cx="1026857" cy="1026857"/>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559" tIns="51559" rIns="51559" bIns="51559" rtlCol="0" anchor="ctr">
              <a:noAutofit/>
            </a:bodyPr>
            <a:lstStyle/>
            <a:p>
              <a:pPr algn="ctr"/>
              <a:endParaRPr lang="en-US" sz="1400" dirty="0">
                <a:solidFill>
                  <a:schemeClr val="tx2"/>
                </a:solidFill>
              </a:endParaRPr>
            </a:p>
          </p:txBody>
        </p:sp>
        <p:sp>
          <p:nvSpPr>
            <p:cNvPr id="29" name="Freeform 768">
              <a:extLst>
                <a:ext uri="{FF2B5EF4-FFF2-40B4-BE49-F238E27FC236}">
                  <a16:creationId xmlns:a16="http://schemas.microsoft.com/office/drawing/2014/main" id="{B8A1E939-004C-45A0-A24F-494DC96860B8}"/>
                </a:ext>
              </a:extLst>
            </p:cNvPr>
            <p:cNvSpPr>
              <a:spLocks noChangeAspect="1" noEditPoints="1"/>
            </p:cNvSpPr>
            <p:nvPr/>
          </p:nvSpPr>
          <p:spPr bwMode="auto">
            <a:xfrm>
              <a:off x="4805514" y="1926214"/>
              <a:ext cx="822960" cy="82296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p:spPr>
          <p:txBody>
            <a:bodyPr vert="horz" wrap="square" lIns="68746" tIns="34374" rIns="68746" bIns="34374" numCol="1" anchor="t" anchorCtr="0" compatLnSpc="1">
              <a:prstTxWarp prst="textNoShape">
                <a:avLst/>
              </a:prstTxWarp>
            </a:bodyPr>
            <a:lstStyle/>
            <a:p>
              <a:endParaRPr lang="en-GB" sz="1400" dirty="0"/>
            </a:p>
          </p:txBody>
        </p:sp>
      </p:grpSp>
    </p:spTree>
    <p:custDataLst>
      <p:tags r:id="rId1"/>
    </p:custDataLst>
    <p:extLst>
      <p:ext uri="{BB962C8B-B14F-4D97-AF65-F5344CB8AC3E}">
        <p14:creationId xmlns:p14="http://schemas.microsoft.com/office/powerpoint/2010/main" val="77742475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989F33C5-9FDC-40D5-A738-F3BADAE44741}"/>
              </a:ext>
            </a:extLst>
          </p:cNvPr>
          <p:cNvPicPr>
            <a:picLocks noChangeAspect="1"/>
          </p:cNvPicPr>
          <p:nvPr/>
        </p:nvPicPr>
        <p:blipFill>
          <a:blip r:embed="rId4">
            <a:biLevel thresh="50000"/>
          </a:blip>
          <a:stretch>
            <a:fillRect/>
          </a:stretch>
        </p:blipFill>
        <p:spPr>
          <a:xfrm>
            <a:off x="3712563" y="1040789"/>
            <a:ext cx="4789551" cy="4789551"/>
          </a:xfrm>
          <a:prstGeom prst="rect">
            <a:avLst/>
          </a:prstGeom>
        </p:spPr>
      </p:pic>
    </p:spTree>
    <p:custDataLst>
      <p:tags r:id="rId1"/>
    </p:custDataLst>
    <p:extLst>
      <p:ext uri="{BB962C8B-B14F-4D97-AF65-F5344CB8AC3E}">
        <p14:creationId xmlns:p14="http://schemas.microsoft.com/office/powerpoint/2010/main" val="341411208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BCB252-9D36-4184-8812-2E74EF5A4976}"/>
              </a:ext>
            </a:extLst>
          </p:cNvPr>
          <p:cNvSpPr>
            <a:spLocks noGrp="1"/>
          </p:cNvSpPr>
          <p:nvPr>
            <p:ph type="title"/>
          </p:nvPr>
        </p:nvSpPr>
        <p:spPr/>
        <p:txBody>
          <a:bodyPr/>
          <a:lstStyle/>
          <a:p>
            <a:r>
              <a:rPr lang="en-US" sz="2100" dirty="0">
                <a:latin typeface="Calibri" panose="020F0502020204030204" pitchFamily="34" charset="0"/>
                <a:cs typeface="Calibri" panose="020F0502020204030204" pitchFamily="34" charset="0"/>
              </a:rPr>
              <a:t>Orienting ourselves</a:t>
            </a:r>
          </a:p>
        </p:txBody>
      </p:sp>
      <p:grpSp>
        <p:nvGrpSpPr>
          <p:cNvPr id="10" name="Group 9">
            <a:extLst>
              <a:ext uri="{FF2B5EF4-FFF2-40B4-BE49-F238E27FC236}">
                <a16:creationId xmlns:a16="http://schemas.microsoft.com/office/drawing/2014/main" id="{7D2ABFA6-6C53-4B5A-A858-2CF9E7BC7F19}"/>
              </a:ext>
            </a:extLst>
          </p:cNvPr>
          <p:cNvGrpSpPr/>
          <p:nvPr/>
        </p:nvGrpSpPr>
        <p:grpSpPr>
          <a:xfrm>
            <a:off x="4049072" y="1008439"/>
            <a:ext cx="3456888" cy="5287633"/>
            <a:chOff x="4027790" y="1045495"/>
            <a:chExt cx="3316650" cy="5126860"/>
          </a:xfrm>
        </p:grpSpPr>
        <p:sp>
          <p:nvSpPr>
            <p:cNvPr id="20" name="Rectangle 19">
              <a:extLst>
                <a:ext uri="{FF2B5EF4-FFF2-40B4-BE49-F238E27FC236}">
                  <a16:creationId xmlns:a16="http://schemas.microsoft.com/office/drawing/2014/main" id="{E8C3932D-9632-4EC1-AB89-83860878BEFB}"/>
                </a:ext>
              </a:extLst>
            </p:cNvPr>
            <p:cNvSpPr/>
            <p:nvPr/>
          </p:nvSpPr>
          <p:spPr bwMode="gray">
            <a:xfrm>
              <a:off x="4027790" y="1182260"/>
              <a:ext cx="3272348" cy="4990095"/>
            </a:xfrm>
            <a:prstGeom prst="rect">
              <a:avLst/>
            </a:prstGeom>
            <a:noFill/>
            <a:ln w="19050"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6" name="Picture 5">
              <a:extLst>
                <a:ext uri="{FF2B5EF4-FFF2-40B4-BE49-F238E27FC236}">
                  <a16:creationId xmlns:a16="http://schemas.microsoft.com/office/drawing/2014/main" id="{BD8DEE58-D5AD-4960-9F9B-752D222D0F79}"/>
                </a:ext>
              </a:extLst>
            </p:cNvPr>
            <p:cNvPicPr>
              <a:picLocks/>
            </p:cNvPicPr>
            <p:nvPr/>
          </p:nvPicPr>
          <p:blipFill>
            <a:blip r:embed="rId4"/>
            <a:stretch>
              <a:fillRect/>
            </a:stretch>
          </p:blipFill>
          <p:spPr>
            <a:xfrm>
              <a:off x="4158443" y="1680422"/>
              <a:ext cx="1536192" cy="1124712"/>
            </a:xfrm>
            <a:prstGeom prst="rect">
              <a:avLst/>
            </a:prstGeom>
            <a:ln>
              <a:solidFill>
                <a:schemeClr val="tx1"/>
              </a:solidFill>
            </a:ln>
          </p:spPr>
        </p:pic>
        <p:pic>
          <p:nvPicPr>
            <p:cNvPr id="7" name="Picture 6">
              <a:extLst>
                <a:ext uri="{FF2B5EF4-FFF2-40B4-BE49-F238E27FC236}">
                  <a16:creationId xmlns:a16="http://schemas.microsoft.com/office/drawing/2014/main" id="{274D35E2-7196-491E-9770-28512DC7D9F8}"/>
                </a:ext>
              </a:extLst>
            </p:cNvPr>
            <p:cNvPicPr>
              <a:picLocks/>
            </p:cNvPicPr>
            <p:nvPr/>
          </p:nvPicPr>
          <p:blipFill>
            <a:blip r:embed="rId5"/>
            <a:stretch>
              <a:fillRect/>
            </a:stretch>
          </p:blipFill>
          <p:spPr>
            <a:xfrm>
              <a:off x="4276493" y="3066377"/>
              <a:ext cx="1536192" cy="1124712"/>
            </a:xfrm>
            <a:prstGeom prst="rect">
              <a:avLst/>
            </a:prstGeom>
            <a:ln>
              <a:solidFill>
                <a:schemeClr val="tx1"/>
              </a:solidFill>
            </a:ln>
          </p:spPr>
        </p:pic>
        <p:pic>
          <p:nvPicPr>
            <p:cNvPr id="8" name="Picture 7">
              <a:extLst>
                <a:ext uri="{FF2B5EF4-FFF2-40B4-BE49-F238E27FC236}">
                  <a16:creationId xmlns:a16="http://schemas.microsoft.com/office/drawing/2014/main" id="{6480CC0D-110D-4F86-8868-F845482DA5A6}"/>
                </a:ext>
              </a:extLst>
            </p:cNvPr>
            <p:cNvPicPr>
              <a:picLocks/>
            </p:cNvPicPr>
            <p:nvPr/>
          </p:nvPicPr>
          <p:blipFill>
            <a:blip r:embed="rId6"/>
            <a:stretch>
              <a:fillRect/>
            </a:stretch>
          </p:blipFill>
          <p:spPr>
            <a:xfrm>
              <a:off x="4494392" y="4452332"/>
              <a:ext cx="1536192" cy="1124712"/>
            </a:xfrm>
            <a:prstGeom prst="rect">
              <a:avLst/>
            </a:prstGeom>
            <a:ln>
              <a:solidFill>
                <a:schemeClr val="tx1"/>
              </a:solidFill>
            </a:ln>
          </p:spPr>
        </p:pic>
        <p:sp>
          <p:nvSpPr>
            <p:cNvPr id="14" name="TextBox 13">
              <a:extLst>
                <a:ext uri="{FF2B5EF4-FFF2-40B4-BE49-F238E27FC236}">
                  <a16:creationId xmlns:a16="http://schemas.microsoft.com/office/drawing/2014/main" id="{35306E8B-A91E-429F-ABB7-AEBACC506F83}"/>
                </a:ext>
              </a:extLst>
            </p:cNvPr>
            <p:cNvSpPr txBox="1"/>
            <p:nvPr/>
          </p:nvSpPr>
          <p:spPr>
            <a:xfrm>
              <a:off x="5844929" y="1774710"/>
              <a:ext cx="1466833" cy="923330"/>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Discovery sets the foundation for execution and includes Planning and Backlog creation</a:t>
              </a:r>
            </a:p>
          </p:txBody>
        </p:sp>
        <p:sp>
          <p:nvSpPr>
            <p:cNvPr id="16" name="TextBox 15">
              <a:extLst>
                <a:ext uri="{FF2B5EF4-FFF2-40B4-BE49-F238E27FC236}">
                  <a16:creationId xmlns:a16="http://schemas.microsoft.com/office/drawing/2014/main" id="{82C16DD5-0D9A-4C38-B2A5-2D5AC56E5229}"/>
                </a:ext>
              </a:extLst>
            </p:cNvPr>
            <p:cNvSpPr txBox="1"/>
            <p:nvPr/>
          </p:nvSpPr>
          <p:spPr>
            <a:xfrm>
              <a:off x="5974531" y="3165672"/>
              <a:ext cx="1369909" cy="738664"/>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The Backlog is crafted using a hierarchy of Epic, Feature, Story, Task*</a:t>
              </a:r>
            </a:p>
          </p:txBody>
        </p:sp>
        <p:sp>
          <p:nvSpPr>
            <p:cNvPr id="19" name="TextBox 18">
              <a:extLst>
                <a:ext uri="{FF2B5EF4-FFF2-40B4-BE49-F238E27FC236}">
                  <a16:creationId xmlns:a16="http://schemas.microsoft.com/office/drawing/2014/main" id="{2FEFF2BE-4602-42E7-AC51-433CAC8F0581}"/>
                </a:ext>
              </a:extLst>
            </p:cNvPr>
            <p:cNvSpPr txBox="1"/>
            <p:nvPr/>
          </p:nvSpPr>
          <p:spPr>
            <a:xfrm>
              <a:off x="6148613" y="4575665"/>
              <a:ext cx="1091263" cy="923330"/>
            </a:xfrm>
            <a:prstGeom prst="rect">
              <a:avLst/>
            </a:prstGeom>
            <a:noFill/>
          </p:spPr>
          <p:txBody>
            <a:bodyPr wrap="square" lIns="0" tIns="0" rIns="0" bIns="0" rtlCol="0" anchor="ctr">
              <a:spAutoFit/>
            </a:bodyPr>
            <a:lstStyle>
              <a:defPPr>
                <a:defRPr lang="en-US"/>
              </a:defPPr>
              <a:lvl1pPr marR="0" lvl="0" indent="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panose="020F0502020204030204" pitchFamily="34" charset="0"/>
                  <a:cs typeface="Calibri" panose="020F0502020204030204" pitchFamily="34" charset="0"/>
                </a:defRPr>
              </a:lvl1p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Key outputs of Discovery include the Product Backlog, MVP and Roadmap</a:t>
              </a:r>
            </a:p>
          </p:txBody>
        </p:sp>
        <p:sp>
          <p:nvSpPr>
            <p:cNvPr id="9" name="TextBox 8">
              <a:extLst>
                <a:ext uri="{FF2B5EF4-FFF2-40B4-BE49-F238E27FC236}">
                  <a16:creationId xmlns:a16="http://schemas.microsoft.com/office/drawing/2014/main" id="{56CD9D4B-B967-4127-9B66-AC7A7490CF9B}"/>
                </a:ext>
              </a:extLst>
            </p:cNvPr>
            <p:cNvSpPr txBox="1"/>
            <p:nvPr/>
          </p:nvSpPr>
          <p:spPr>
            <a:xfrm>
              <a:off x="5710017" y="1045495"/>
              <a:ext cx="1466833" cy="269584"/>
            </a:xfrm>
            <a:prstGeom prst="rect">
              <a:avLst/>
            </a:prstGeom>
            <a:solidFill>
              <a:schemeClr val="bg1"/>
            </a:solidFill>
            <a:ln>
              <a:solidFill>
                <a:srgbClr val="002060"/>
              </a:solidFill>
            </a:ln>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Discovery</a:t>
              </a:r>
            </a:p>
          </p:txBody>
        </p:sp>
      </p:grpSp>
      <p:grpSp>
        <p:nvGrpSpPr>
          <p:cNvPr id="5" name="Group 4">
            <a:extLst>
              <a:ext uri="{FF2B5EF4-FFF2-40B4-BE49-F238E27FC236}">
                <a16:creationId xmlns:a16="http://schemas.microsoft.com/office/drawing/2014/main" id="{A5210E47-379B-4EDD-BE72-F70C0CE26753}"/>
              </a:ext>
            </a:extLst>
          </p:cNvPr>
          <p:cNvGrpSpPr/>
          <p:nvPr/>
        </p:nvGrpSpPr>
        <p:grpSpPr>
          <a:xfrm>
            <a:off x="511782" y="1037407"/>
            <a:ext cx="3407554" cy="5258665"/>
            <a:chOff x="384177" y="1037407"/>
            <a:chExt cx="3407554" cy="5258665"/>
          </a:xfrm>
        </p:grpSpPr>
        <p:pic>
          <p:nvPicPr>
            <p:cNvPr id="2" name="Picture 1">
              <a:extLst>
                <a:ext uri="{FF2B5EF4-FFF2-40B4-BE49-F238E27FC236}">
                  <a16:creationId xmlns:a16="http://schemas.microsoft.com/office/drawing/2014/main" id="{39D8E305-C4CF-49D4-91D1-C32FEA02BE36}"/>
                </a:ext>
              </a:extLst>
            </p:cNvPr>
            <p:cNvPicPr>
              <a:picLocks noChangeAspect="1"/>
            </p:cNvPicPr>
            <p:nvPr/>
          </p:nvPicPr>
          <p:blipFill>
            <a:blip r:embed="rId7"/>
            <a:stretch>
              <a:fillRect/>
            </a:stretch>
          </p:blipFill>
          <p:spPr>
            <a:xfrm>
              <a:off x="488730" y="1718630"/>
              <a:ext cx="1494238" cy="1120055"/>
            </a:xfrm>
            <a:prstGeom prst="rect">
              <a:avLst/>
            </a:prstGeom>
            <a:ln>
              <a:solidFill>
                <a:schemeClr val="bg1">
                  <a:lumMod val="75000"/>
                </a:schemeClr>
              </a:solidFill>
            </a:ln>
          </p:spPr>
        </p:pic>
        <p:pic>
          <p:nvPicPr>
            <p:cNvPr id="3" name="Picture 2">
              <a:extLst>
                <a:ext uri="{FF2B5EF4-FFF2-40B4-BE49-F238E27FC236}">
                  <a16:creationId xmlns:a16="http://schemas.microsoft.com/office/drawing/2014/main" id="{5156A99D-8398-4698-96E1-ADB33701462C}"/>
                </a:ext>
              </a:extLst>
            </p:cNvPr>
            <p:cNvPicPr>
              <a:picLocks noChangeAspect="1"/>
            </p:cNvPicPr>
            <p:nvPr/>
          </p:nvPicPr>
          <p:blipFill>
            <a:blip r:embed="rId8"/>
            <a:stretch>
              <a:fillRect/>
            </a:stretch>
          </p:blipFill>
          <p:spPr>
            <a:xfrm>
              <a:off x="567340" y="3027477"/>
              <a:ext cx="1536192" cy="1151503"/>
            </a:xfrm>
            <a:prstGeom prst="rect">
              <a:avLst/>
            </a:prstGeom>
            <a:ln>
              <a:solidFill>
                <a:schemeClr val="tx1"/>
              </a:solidFill>
            </a:ln>
          </p:spPr>
        </p:pic>
        <p:pic>
          <p:nvPicPr>
            <p:cNvPr id="12" name="Picture 11">
              <a:extLst>
                <a:ext uri="{FF2B5EF4-FFF2-40B4-BE49-F238E27FC236}">
                  <a16:creationId xmlns:a16="http://schemas.microsoft.com/office/drawing/2014/main" id="{92BEF360-D780-4867-B031-1C982313C688}"/>
                </a:ext>
              </a:extLst>
            </p:cNvPr>
            <p:cNvPicPr>
              <a:picLocks noChangeAspect="1"/>
            </p:cNvPicPr>
            <p:nvPr/>
          </p:nvPicPr>
          <p:blipFill>
            <a:blip r:embed="rId9"/>
            <a:stretch>
              <a:fillRect/>
            </a:stretch>
          </p:blipFill>
          <p:spPr>
            <a:xfrm>
              <a:off x="776532" y="4427180"/>
              <a:ext cx="1536192" cy="1151503"/>
            </a:xfrm>
            <a:prstGeom prst="rect">
              <a:avLst/>
            </a:prstGeom>
            <a:ln>
              <a:solidFill>
                <a:schemeClr val="tx1"/>
              </a:solidFill>
            </a:ln>
          </p:spPr>
        </p:pic>
        <p:sp>
          <p:nvSpPr>
            <p:cNvPr id="21" name="TextBox 20">
              <a:extLst>
                <a:ext uri="{FF2B5EF4-FFF2-40B4-BE49-F238E27FC236}">
                  <a16:creationId xmlns:a16="http://schemas.microsoft.com/office/drawing/2014/main" id="{BDB609AA-35D3-4544-B0D1-0CBF53DECE44}"/>
                </a:ext>
              </a:extLst>
            </p:cNvPr>
            <p:cNvSpPr txBox="1"/>
            <p:nvPr/>
          </p:nvSpPr>
          <p:spPr>
            <a:xfrm>
              <a:off x="2080360" y="2039091"/>
              <a:ext cx="1514906" cy="369332"/>
            </a:xfrm>
            <a:prstGeom prst="rect">
              <a:avLst/>
            </a:prstGeom>
            <a:noFill/>
          </p:spPr>
          <p:txBody>
            <a:bodyPr wrap="square" lIns="0" tIns="0" rIns="0" bIns="0" rtlCol="0" anchor="ctr">
              <a:spAutoFit/>
            </a:bodyPr>
            <a:lstStyle>
              <a:defPPr>
                <a:defRPr lang="en-US"/>
              </a:defPPr>
              <a:lvl1pPr marR="0" lvl="0" indent="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panose="020F0502020204030204" pitchFamily="34" charset="0"/>
                  <a:cs typeface="Calibri" panose="020F0502020204030204" pitchFamily="34" charset="0"/>
                </a:defRPr>
              </a:lvl1p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Scrum is one of many agile methodologies</a:t>
              </a:r>
            </a:p>
          </p:txBody>
        </p:sp>
        <p:sp>
          <p:nvSpPr>
            <p:cNvPr id="22" name="TextBox 21">
              <a:extLst>
                <a:ext uri="{FF2B5EF4-FFF2-40B4-BE49-F238E27FC236}">
                  <a16:creationId xmlns:a16="http://schemas.microsoft.com/office/drawing/2014/main" id="{9B13DED0-04D2-4992-81C7-37AC585D0449}"/>
                </a:ext>
              </a:extLst>
            </p:cNvPr>
            <p:cNvSpPr txBox="1"/>
            <p:nvPr/>
          </p:nvSpPr>
          <p:spPr>
            <a:xfrm>
              <a:off x="2221561" y="3222968"/>
              <a:ext cx="1317072" cy="553998"/>
            </a:xfrm>
            <a:prstGeom prst="rect">
              <a:avLst/>
            </a:prstGeom>
            <a:noFill/>
          </p:spPr>
          <p:txBody>
            <a:bodyPr wrap="square" lIns="0" tIns="0" rIns="0" bIns="0" rtlCol="0" anchor="ctr">
              <a:spAutoFit/>
            </a:bodyPr>
            <a:lstStyle>
              <a:defPPr>
                <a:defRPr lang="en-US"/>
              </a:defPPr>
              <a:lvl1pPr marR="0" lvl="0" indent="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panose="020F0502020204030204" pitchFamily="34" charset="0"/>
                  <a:cs typeface="Calibri" panose="020F0502020204030204" pitchFamily="34" charset="0"/>
                </a:defRPr>
              </a:lvl1p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Agile is a collection of 4 basic values and 12 principles</a:t>
              </a:r>
            </a:p>
          </p:txBody>
        </p:sp>
        <p:sp>
          <p:nvSpPr>
            <p:cNvPr id="23" name="TextBox 22">
              <a:extLst>
                <a:ext uri="{FF2B5EF4-FFF2-40B4-BE49-F238E27FC236}">
                  <a16:creationId xmlns:a16="http://schemas.microsoft.com/office/drawing/2014/main" id="{007865DF-B1A6-4A30-BE0F-C8A1F5D19F35}"/>
                </a:ext>
              </a:extLst>
            </p:cNvPr>
            <p:cNvSpPr txBox="1"/>
            <p:nvPr/>
          </p:nvSpPr>
          <p:spPr>
            <a:xfrm>
              <a:off x="2430753" y="4521328"/>
              <a:ext cx="1205859" cy="923330"/>
            </a:xfrm>
            <a:prstGeom prst="rect">
              <a:avLst/>
            </a:prstGeom>
            <a:noFill/>
          </p:spPr>
          <p:txBody>
            <a:bodyPr wrap="square" lIns="0" tIns="0" rIns="0" bIns="0" rtlCol="0" anchor="ctr">
              <a:spAutoFit/>
            </a:bodyPr>
            <a:lstStyle>
              <a:defPPr>
                <a:defRPr lang="en-US"/>
              </a:defPPr>
              <a:lvl1pPr marR="0" lvl="0" indent="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panose="020F0502020204030204" pitchFamily="34" charset="0"/>
                  <a:cs typeface="Calibri" panose="020F0502020204030204" pitchFamily="34" charset="0"/>
                </a:defRPr>
              </a:lvl1p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Our agile framework focuses on 3 roles, 6 ceremonies and 8 artifacts</a:t>
              </a:r>
            </a:p>
          </p:txBody>
        </p:sp>
        <p:sp>
          <p:nvSpPr>
            <p:cNvPr id="24" name="Rectangle 23">
              <a:extLst>
                <a:ext uri="{FF2B5EF4-FFF2-40B4-BE49-F238E27FC236}">
                  <a16:creationId xmlns:a16="http://schemas.microsoft.com/office/drawing/2014/main" id="{A90AF215-4B26-4486-97C1-465F1FB6FFC6}"/>
                </a:ext>
              </a:extLst>
            </p:cNvPr>
            <p:cNvSpPr/>
            <p:nvPr/>
          </p:nvSpPr>
          <p:spPr bwMode="gray">
            <a:xfrm>
              <a:off x="384177" y="1163086"/>
              <a:ext cx="3407554" cy="5132986"/>
            </a:xfrm>
            <a:prstGeom prst="rect">
              <a:avLst/>
            </a:prstGeom>
            <a:noFill/>
            <a:ln w="19050"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1" name="TextBox 10">
              <a:extLst>
                <a:ext uri="{FF2B5EF4-FFF2-40B4-BE49-F238E27FC236}">
                  <a16:creationId xmlns:a16="http://schemas.microsoft.com/office/drawing/2014/main" id="{C1FBCB68-F648-45D8-95C4-187D312C1495}"/>
                </a:ext>
              </a:extLst>
            </p:cNvPr>
            <p:cNvSpPr txBox="1"/>
            <p:nvPr/>
          </p:nvSpPr>
          <p:spPr>
            <a:xfrm>
              <a:off x="1940721" y="1037407"/>
              <a:ext cx="1678817" cy="269585"/>
            </a:xfrm>
            <a:prstGeom prst="rect">
              <a:avLst/>
            </a:prstGeom>
            <a:solidFill>
              <a:schemeClr val="bg1"/>
            </a:solidFill>
            <a:ln>
              <a:solidFill>
                <a:srgbClr val="002060"/>
              </a:solidFill>
            </a:ln>
          </p:spPr>
          <p:txBody>
            <a:bodyPr wrap="square" lIns="0" tIns="0" rIns="0" bIns="0" rtlCol="0" anchor="ctr">
              <a:spAutoFit/>
            </a:bodyPr>
            <a:lstStyle>
              <a:defPPr>
                <a:defRPr lang="en-US"/>
              </a:defPPr>
              <a:lvl1pPr algn="ctr">
                <a:spcBef>
                  <a:spcPts val="600"/>
                </a:spcBef>
                <a:buSzPct val="100000"/>
                <a:defRPr sz="1800">
                  <a:solidFill>
                    <a:srgbClr val="313131"/>
                  </a:solidFill>
                </a:defRPr>
              </a:lvl1p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Scrum Basics</a:t>
              </a:r>
            </a:p>
          </p:txBody>
        </p:sp>
      </p:grpSp>
      <p:grpSp>
        <p:nvGrpSpPr>
          <p:cNvPr id="18" name="Group 17">
            <a:extLst>
              <a:ext uri="{FF2B5EF4-FFF2-40B4-BE49-F238E27FC236}">
                <a16:creationId xmlns:a16="http://schemas.microsoft.com/office/drawing/2014/main" id="{DEC43375-7BC8-4FB6-A0B2-59D3D6106B93}"/>
              </a:ext>
            </a:extLst>
          </p:cNvPr>
          <p:cNvGrpSpPr/>
          <p:nvPr/>
        </p:nvGrpSpPr>
        <p:grpSpPr>
          <a:xfrm>
            <a:off x="7694923" y="1024584"/>
            <a:ext cx="3409076" cy="5271903"/>
            <a:chOff x="8306321" y="908617"/>
            <a:chExt cx="3694176" cy="5416899"/>
          </a:xfrm>
        </p:grpSpPr>
        <p:grpSp>
          <p:nvGrpSpPr>
            <p:cNvPr id="15" name="Group 14">
              <a:extLst>
                <a:ext uri="{FF2B5EF4-FFF2-40B4-BE49-F238E27FC236}">
                  <a16:creationId xmlns:a16="http://schemas.microsoft.com/office/drawing/2014/main" id="{78F7AA9B-535F-46D3-8570-218F30804AE7}"/>
                </a:ext>
              </a:extLst>
            </p:cNvPr>
            <p:cNvGrpSpPr/>
            <p:nvPr/>
          </p:nvGrpSpPr>
          <p:grpSpPr>
            <a:xfrm>
              <a:off x="8306321" y="908617"/>
              <a:ext cx="3694176" cy="5416899"/>
              <a:chOff x="8306321" y="908617"/>
              <a:chExt cx="3694176" cy="5416899"/>
            </a:xfrm>
          </p:grpSpPr>
          <p:sp>
            <p:nvSpPr>
              <p:cNvPr id="26" name="Rectangle 25">
                <a:extLst>
                  <a:ext uri="{FF2B5EF4-FFF2-40B4-BE49-F238E27FC236}">
                    <a16:creationId xmlns:a16="http://schemas.microsoft.com/office/drawing/2014/main" id="{D160433B-A355-41D9-87FB-637CB6015F78}"/>
                  </a:ext>
                </a:extLst>
              </p:cNvPr>
              <p:cNvSpPr/>
              <p:nvPr/>
            </p:nvSpPr>
            <p:spPr bwMode="gray">
              <a:xfrm>
                <a:off x="8306321" y="1069735"/>
                <a:ext cx="3694176" cy="5255781"/>
              </a:xfrm>
              <a:prstGeom prst="rect">
                <a:avLst/>
              </a:prstGeom>
              <a:noFill/>
              <a:ln w="19050" algn="ctr">
                <a:solidFill>
                  <a:srgbClr val="005587"/>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7" name="TextBox 26">
                <a:extLst>
                  <a:ext uri="{FF2B5EF4-FFF2-40B4-BE49-F238E27FC236}">
                    <a16:creationId xmlns:a16="http://schemas.microsoft.com/office/drawing/2014/main" id="{E311264B-C40D-4D7F-9AC3-607A42A1C00A}"/>
                  </a:ext>
                </a:extLst>
              </p:cNvPr>
              <p:cNvSpPr txBox="1"/>
              <p:nvPr/>
            </p:nvSpPr>
            <p:spPr>
              <a:xfrm>
                <a:off x="9779360" y="908617"/>
                <a:ext cx="1997355" cy="284617"/>
              </a:xfrm>
              <a:prstGeom prst="rect">
                <a:avLst/>
              </a:prstGeom>
              <a:solidFill>
                <a:schemeClr val="bg1"/>
              </a:solidFill>
              <a:ln>
                <a:solidFill>
                  <a:srgbClr val="002060"/>
                </a:solidFill>
              </a:ln>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Sprint &amp; Release*</a:t>
                </a:r>
              </a:p>
            </p:txBody>
          </p:sp>
          <p:pic>
            <p:nvPicPr>
              <p:cNvPr id="28" name="Picture 27" descr="A close up of a logo&#10;&#10;Description automatically generated">
                <a:extLst>
                  <a:ext uri="{FF2B5EF4-FFF2-40B4-BE49-F238E27FC236}">
                    <a16:creationId xmlns:a16="http://schemas.microsoft.com/office/drawing/2014/main" id="{5A498ED0-EB70-4C7B-912F-A5F9D7E92D3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98342" y="2145467"/>
                <a:ext cx="2990587" cy="1749520"/>
              </a:xfrm>
              <a:prstGeom prst="rect">
                <a:avLst/>
              </a:prstGeom>
            </p:spPr>
          </p:pic>
          <p:sp>
            <p:nvSpPr>
              <p:cNvPr id="29" name="TextBox 28">
                <a:extLst>
                  <a:ext uri="{FF2B5EF4-FFF2-40B4-BE49-F238E27FC236}">
                    <a16:creationId xmlns:a16="http://schemas.microsoft.com/office/drawing/2014/main" id="{09A0A1D4-E24C-44F8-B32B-559DC266827F}"/>
                  </a:ext>
                </a:extLst>
              </p:cNvPr>
              <p:cNvSpPr txBox="1"/>
              <p:nvPr/>
            </p:nvSpPr>
            <p:spPr>
              <a:xfrm>
                <a:off x="8439395" y="1381772"/>
                <a:ext cx="2652052" cy="569235"/>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Translating the Product Backlog into a working system (either custom-dev software or a package implementation)</a:t>
                </a:r>
              </a:p>
            </p:txBody>
          </p:sp>
          <p:sp>
            <p:nvSpPr>
              <p:cNvPr id="30" name="Flowchart: Multidocument 29">
                <a:extLst>
                  <a:ext uri="{FF2B5EF4-FFF2-40B4-BE49-F238E27FC236}">
                    <a16:creationId xmlns:a16="http://schemas.microsoft.com/office/drawing/2014/main" id="{C14C0584-D04D-4E65-BB1C-817AE40DA4E8}"/>
                  </a:ext>
                </a:extLst>
              </p:cNvPr>
              <p:cNvSpPr/>
              <p:nvPr/>
            </p:nvSpPr>
            <p:spPr>
              <a:xfrm>
                <a:off x="10466573" y="4854555"/>
                <a:ext cx="1249748" cy="1246756"/>
              </a:xfrm>
              <a:prstGeom prst="flowChartMultidocument">
                <a:avLst/>
              </a:prstGeom>
              <a:solidFill>
                <a:schemeClr val="tx2">
                  <a:lumMod val="7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cremental Release 1..N</a:t>
                </a:r>
              </a:p>
            </p:txBody>
          </p:sp>
          <p:sp>
            <p:nvSpPr>
              <p:cNvPr id="31" name="TextBox 30">
                <a:extLst>
                  <a:ext uri="{FF2B5EF4-FFF2-40B4-BE49-F238E27FC236}">
                    <a16:creationId xmlns:a16="http://schemas.microsoft.com/office/drawing/2014/main" id="{9D726186-50F6-4350-8F74-F852D6305449}"/>
                  </a:ext>
                </a:extLst>
              </p:cNvPr>
              <p:cNvSpPr txBox="1"/>
              <p:nvPr/>
            </p:nvSpPr>
            <p:spPr>
              <a:xfrm>
                <a:off x="8439395" y="4430638"/>
                <a:ext cx="2990587" cy="369332"/>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Preparing to release the system to Production in an incremental and iterative manner</a:t>
                </a:r>
              </a:p>
            </p:txBody>
          </p:sp>
        </p:grpSp>
        <p:sp>
          <p:nvSpPr>
            <p:cNvPr id="17" name="Rectangle: Rounded Corners 16">
              <a:extLst>
                <a:ext uri="{FF2B5EF4-FFF2-40B4-BE49-F238E27FC236}">
                  <a16:creationId xmlns:a16="http://schemas.microsoft.com/office/drawing/2014/main" id="{2765FE1B-2A41-48A4-8EE4-29E40F6E2399}"/>
                </a:ext>
              </a:extLst>
            </p:cNvPr>
            <p:cNvSpPr/>
            <p:nvPr/>
          </p:nvSpPr>
          <p:spPr bwMode="gray">
            <a:xfrm>
              <a:off x="10566092" y="2922449"/>
              <a:ext cx="457200" cy="296406"/>
            </a:xfrm>
            <a:prstGeom prst="roundRect">
              <a:avLst/>
            </a:prstGeom>
            <a:solidFill>
              <a:schemeClr val="accent6">
                <a:lumMod val="20000"/>
                <a:lumOff val="80000"/>
              </a:schemeClr>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90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2 – 4 Weeks</a:t>
              </a:r>
            </a:p>
          </p:txBody>
        </p:sp>
      </p:grpSp>
      <p:sp>
        <p:nvSpPr>
          <p:cNvPr id="33" name="Rectangle: Rounded Corners 32">
            <a:extLst>
              <a:ext uri="{FF2B5EF4-FFF2-40B4-BE49-F238E27FC236}">
                <a16:creationId xmlns:a16="http://schemas.microsoft.com/office/drawing/2014/main" id="{BD0CE68B-1498-47D0-8E2E-9DA6DEF55533}"/>
              </a:ext>
            </a:extLst>
          </p:cNvPr>
          <p:cNvSpPr/>
          <p:nvPr/>
        </p:nvSpPr>
        <p:spPr bwMode="gray">
          <a:xfrm>
            <a:off x="7964413" y="2856464"/>
            <a:ext cx="481553" cy="218084"/>
          </a:xfrm>
          <a:prstGeom prst="roundRect">
            <a:avLst/>
          </a:prstGeom>
          <a:solidFill>
            <a:schemeClr val="accent6">
              <a:lumMod val="20000"/>
              <a:lumOff val="80000"/>
            </a:schemeClr>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90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duct Backlog</a:t>
            </a:r>
          </a:p>
        </p:txBody>
      </p:sp>
      <p:sp>
        <p:nvSpPr>
          <p:cNvPr id="34" name="Rectangle: Rounded Corners 33">
            <a:extLst>
              <a:ext uri="{FF2B5EF4-FFF2-40B4-BE49-F238E27FC236}">
                <a16:creationId xmlns:a16="http://schemas.microsoft.com/office/drawing/2014/main" id="{5EE02920-91BD-4C6F-9D88-9529CAF2EC64}"/>
              </a:ext>
            </a:extLst>
          </p:cNvPr>
          <p:cNvSpPr/>
          <p:nvPr/>
        </p:nvSpPr>
        <p:spPr bwMode="gray">
          <a:xfrm>
            <a:off x="8825772" y="2997973"/>
            <a:ext cx="574724" cy="218084"/>
          </a:xfrm>
          <a:prstGeom prst="roundRect">
            <a:avLst/>
          </a:prstGeom>
          <a:solidFill>
            <a:schemeClr val="accent6">
              <a:lumMod val="20000"/>
              <a:lumOff val="80000"/>
            </a:schemeClr>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90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print Backlog</a:t>
            </a:r>
          </a:p>
        </p:txBody>
      </p:sp>
      <p:sp>
        <p:nvSpPr>
          <p:cNvPr id="25" name="Rectangle 24">
            <a:extLst>
              <a:ext uri="{FF2B5EF4-FFF2-40B4-BE49-F238E27FC236}">
                <a16:creationId xmlns:a16="http://schemas.microsoft.com/office/drawing/2014/main" id="{BA6F63BD-D62D-49C8-A563-6D44C4D48D36}"/>
              </a:ext>
            </a:extLst>
          </p:cNvPr>
          <p:cNvSpPr/>
          <p:nvPr/>
        </p:nvSpPr>
        <p:spPr>
          <a:xfrm>
            <a:off x="3958542" y="833377"/>
            <a:ext cx="7280074" cy="547788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3FC87BEE-1064-48E9-8DA2-DDDD83DE4FFB}"/>
              </a:ext>
            </a:extLst>
          </p:cNvPr>
          <p:cNvSpPr/>
          <p:nvPr/>
        </p:nvSpPr>
        <p:spPr>
          <a:xfrm>
            <a:off x="4049072" y="6437126"/>
            <a:ext cx="7016806" cy="307777"/>
          </a:xfrm>
          <a:prstGeom prst="rect">
            <a:avLst/>
          </a:prstGeom>
        </p:spPr>
        <p:txBody>
          <a:bodyPr wrap="square">
            <a:spAutoFit/>
          </a:bodyPr>
          <a:lstStyle/>
          <a:p>
            <a:r>
              <a:rPr lang="en-US" sz="1400" dirty="0">
                <a:latin typeface="Segoe UI" panose="020B0502040204020203" pitchFamily="34" charset="0"/>
              </a:rPr>
              <a:t>*Scrum, SAFe, and various agile tools use different terms to reference the same thing</a:t>
            </a:r>
          </a:p>
        </p:txBody>
      </p:sp>
    </p:spTree>
    <p:custDataLst>
      <p:tags r:id="rId1"/>
    </p:custDataLst>
    <p:extLst>
      <p:ext uri="{BB962C8B-B14F-4D97-AF65-F5344CB8AC3E}">
        <p14:creationId xmlns:p14="http://schemas.microsoft.com/office/powerpoint/2010/main" val="298133106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C0734-6487-4EA0-928F-71F7198418F8}"/>
              </a:ext>
            </a:extLst>
          </p:cNvPr>
          <p:cNvSpPr>
            <a:spLocks noGrp="1"/>
          </p:cNvSpPr>
          <p:nvPr>
            <p:ph type="ctrTitle"/>
          </p:nvPr>
        </p:nvSpPr>
        <p:spPr/>
        <p:txBody>
          <a:bodyPr/>
          <a:lstStyle/>
          <a:p>
            <a:pPr lvl="0"/>
            <a:r>
              <a:rPr lang="en-US" sz="2400" b="1" dirty="0">
                <a:solidFill>
                  <a:prstClr val="black"/>
                </a:solidFill>
                <a:ea typeface="+mn-ea"/>
                <a:cs typeface="+mn-cs"/>
              </a:rPr>
              <a:t>Closing, resources and support</a:t>
            </a:r>
            <a:endParaRPr lang="en-US" dirty="0"/>
          </a:p>
        </p:txBody>
      </p:sp>
      <p:sp>
        <p:nvSpPr>
          <p:cNvPr id="3" name="Subtitle 2">
            <a:extLst>
              <a:ext uri="{FF2B5EF4-FFF2-40B4-BE49-F238E27FC236}">
                <a16:creationId xmlns:a16="http://schemas.microsoft.com/office/drawing/2014/main" id="{DACF0C58-4DCE-4B38-A04B-D3AB3D44EA7C}"/>
              </a:ext>
            </a:extLst>
          </p:cNvPr>
          <p:cNvSpPr>
            <a:spLocks noGrp="1"/>
          </p:cNvSpPr>
          <p:nvPr>
            <p:ph type="subTitle" idx="1"/>
          </p:nvPr>
        </p:nvSpPr>
        <p:spPr/>
        <p:txBody>
          <a:bodyPr/>
          <a:lstStyle/>
          <a:p>
            <a:pPr lvl="0">
              <a:buClrTx/>
              <a:buSzTx/>
            </a:pPr>
            <a:r>
              <a:rPr lang="en-US" sz="2000" dirty="0">
                <a:solidFill>
                  <a:prstClr val="black"/>
                </a:solidFill>
                <a:cs typeface="+mn-cs"/>
              </a:rPr>
              <a:t>Objectives: Find additional resources and learning path next steps</a:t>
            </a:r>
          </a:p>
        </p:txBody>
      </p:sp>
      <p:pic>
        <p:nvPicPr>
          <p:cNvPr id="8" name="Picture 7">
            <a:extLst>
              <a:ext uri="{FF2B5EF4-FFF2-40B4-BE49-F238E27FC236}">
                <a16:creationId xmlns:a16="http://schemas.microsoft.com/office/drawing/2014/main" id="{DD375978-3C82-4A0E-8C5E-EA3D0F333461}"/>
              </a:ext>
            </a:extLst>
          </p:cNvPr>
          <p:cNvPicPr>
            <a:picLocks noChangeAspect="1"/>
          </p:cNvPicPr>
          <p:nvPr/>
        </p:nvPicPr>
        <p:blipFill>
          <a:blip r:embed="rId4"/>
          <a:stretch>
            <a:fillRect/>
          </a:stretch>
        </p:blipFill>
        <p:spPr>
          <a:xfrm>
            <a:off x="-93827" y="497004"/>
            <a:ext cx="3312983" cy="3168791"/>
          </a:xfrm>
          <a:prstGeom prst="rect">
            <a:avLst/>
          </a:prstGeom>
        </p:spPr>
      </p:pic>
      <p:graphicFrame>
        <p:nvGraphicFramePr>
          <p:cNvPr id="9" name="Table 3">
            <a:extLst>
              <a:ext uri="{FF2B5EF4-FFF2-40B4-BE49-F238E27FC236}">
                <a16:creationId xmlns:a16="http://schemas.microsoft.com/office/drawing/2014/main" id="{6473A281-E24F-425F-B1E3-C26927CCFD99}"/>
              </a:ext>
            </a:extLst>
          </p:cNvPr>
          <p:cNvGraphicFramePr>
            <a:graphicFrameLocks noGrp="1"/>
          </p:cNvGraphicFramePr>
          <p:nvPr>
            <p:extLst>
              <p:ext uri="{D42A27DB-BD31-4B8C-83A1-F6EECF244321}">
                <p14:modId xmlns:p14="http://schemas.microsoft.com/office/powerpoint/2010/main" val="285407768"/>
              </p:ext>
            </p:extLst>
          </p:nvPr>
        </p:nvGraphicFramePr>
        <p:xfrm>
          <a:off x="3327400" y="3846700"/>
          <a:ext cx="8127999" cy="2656840"/>
        </p:xfrm>
        <a:graphic>
          <a:graphicData uri="http://schemas.openxmlformats.org/drawingml/2006/table">
            <a:tbl>
              <a:tblPr firstRow="1">
                <a:tableStyleId>{7E9639D4-E3E2-4D34-9284-5A2195B3D0D7}</a:tableStyleId>
              </a:tblPr>
              <a:tblGrid>
                <a:gridCol w="2709333">
                  <a:extLst>
                    <a:ext uri="{9D8B030D-6E8A-4147-A177-3AD203B41FA5}">
                      <a16:colId xmlns:a16="http://schemas.microsoft.com/office/drawing/2014/main" val="1302357475"/>
                    </a:ext>
                  </a:extLst>
                </a:gridCol>
                <a:gridCol w="2709333">
                  <a:extLst>
                    <a:ext uri="{9D8B030D-6E8A-4147-A177-3AD203B41FA5}">
                      <a16:colId xmlns:a16="http://schemas.microsoft.com/office/drawing/2014/main" val="3582792877"/>
                    </a:ext>
                  </a:extLst>
                </a:gridCol>
                <a:gridCol w="2709333">
                  <a:extLst>
                    <a:ext uri="{9D8B030D-6E8A-4147-A177-3AD203B41FA5}">
                      <a16:colId xmlns:a16="http://schemas.microsoft.com/office/drawing/2014/main" val="2400945895"/>
                    </a:ext>
                  </a:extLst>
                </a:gridCol>
              </a:tblGrid>
              <a:tr h="370840">
                <a:tc>
                  <a:txBody>
                    <a:bodyPr/>
                    <a:lstStyle/>
                    <a:p>
                      <a:pPr algn="ctr"/>
                      <a:r>
                        <a:rPr lang="en-US" dirty="0"/>
                        <a:t>To Do</a:t>
                      </a:r>
                    </a:p>
                  </a:txBody>
                  <a:tcPr>
                    <a:solidFill>
                      <a:schemeClr val="tx2"/>
                    </a:solidFill>
                  </a:tcPr>
                </a:tc>
                <a:tc>
                  <a:txBody>
                    <a:bodyPr/>
                    <a:lstStyle/>
                    <a:p>
                      <a:pPr algn="ctr"/>
                      <a:r>
                        <a:rPr lang="en-US" dirty="0"/>
                        <a:t>In Progress</a:t>
                      </a:r>
                    </a:p>
                  </a:txBody>
                  <a:tcPr>
                    <a:solidFill>
                      <a:schemeClr val="tx2"/>
                    </a:solidFill>
                  </a:tcPr>
                </a:tc>
                <a:tc>
                  <a:txBody>
                    <a:bodyPr/>
                    <a:lstStyle/>
                    <a:p>
                      <a:pPr algn="ctr"/>
                      <a:r>
                        <a:rPr lang="en-US" dirty="0"/>
                        <a:t>Complete</a:t>
                      </a:r>
                    </a:p>
                  </a:txBody>
                  <a:tcPr>
                    <a:solidFill>
                      <a:schemeClr val="tx2"/>
                    </a:solidFill>
                  </a:tcPr>
                </a:tc>
                <a:extLst>
                  <a:ext uri="{0D108BD9-81ED-4DB2-BD59-A6C34878D82A}">
                    <a16:rowId xmlns:a16="http://schemas.microsoft.com/office/drawing/2014/main" val="2502423330"/>
                  </a:ext>
                </a:extLst>
              </a:tr>
              <a:tr h="2286000">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4201607972"/>
                  </a:ext>
                </a:extLst>
              </a:tr>
            </a:tbl>
          </a:graphicData>
        </a:graphic>
      </p:graphicFrame>
      <p:sp>
        <p:nvSpPr>
          <p:cNvPr id="10" name="Rectangle: Folded Corner 9">
            <a:extLst>
              <a:ext uri="{FF2B5EF4-FFF2-40B4-BE49-F238E27FC236}">
                <a16:creationId xmlns:a16="http://schemas.microsoft.com/office/drawing/2014/main" id="{E7616EA3-16D4-4532-8325-188E7C307A57}"/>
              </a:ext>
            </a:extLst>
          </p:cNvPr>
          <p:cNvSpPr/>
          <p:nvPr/>
        </p:nvSpPr>
        <p:spPr bwMode="gray">
          <a:xfrm>
            <a:off x="8864808" y="4396982"/>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hat is agile?</a:t>
            </a:r>
          </a:p>
        </p:txBody>
      </p:sp>
      <p:sp>
        <p:nvSpPr>
          <p:cNvPr id="11" name="Rectangle: Folded Corner 10">
            <a:extLst>
              <a:ext uri="{FF2B5EF4-FFF2-40B4-BE49-F238E27FC236}">
                <a16:creationId xmlns:a16="http://schemas.microsoft.com/office/drawing/2014/main" id="{98E67F09-0D4F-473F-979C-8A5B694DF145}"/>
              </a:ext>
            </a:extLst>
          </p:cNvPr>
          <p:cNvSpPr/>
          <p:nvPr/>
        </p:nvSpPr>
        <p:spPr bwMode="gray">
          <a:xfrm>
            <a:off x="10118793" y="4405742"/>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gile overview</a:t>
            </a:r>
          </a:p>
        </p:txBody>
      </p:sp>
      <p:sp>
        <p:nvSpPr>
          <p:cNvPr id="12" name="Rectangle: Folded Corner 11">
            <a:extLst>
              <a:ext uri="{FF2B5EF4-FFF2-40B4-BE49-F238E27FC236}">
                <a16:creationId xmlns:a16="http://schemas.microsoft.com/office/drawing/2014/main" id="{44017E89-AE4E-47D9-B5EE-C2B6186B8F5A}"/>
              </a:ext>
            </a:extLst>
          </p:cNvPr>
          <p:cNvSpPr/>
          <p:nvPr/>
        </p:nvSpPr>
        <p:spPr bwMode="gray">
          <a:xfrm>
            <a:off x="6370319" y="5448525"/>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ringing it all together</a:t>
            </a:r>
          </a:p>
        </p:txBody>
      </p:sp>
      <p:sp>
        <p:nvSpPr>
          <p:cNvPr id="13" name="Rectangle: Folded Corner 12">
            <a:extLst>
              <a:ext uri="{FF2B5EF4-FFF2-40B4-BE49-F238E27FC236}">
                <a16:creationId xmlns:a16="http://schemas.microsoft.com/office/drawing/2014/main" id="{7478379D-9D2C-40E0-88A4-3B1B15201C0A}"/>
              </a:ext>
            </a:extLst>
          </p:cNvPr>
          <p:cNvSpPr/>
          <p:nvPr/>
        </p:nvSpPr>
        <p:spPr bwMode="gray">
          <a:xfrm>
            <a:off x="4728472" y="5448526"/>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losing</a:t>
            </a:r>
          </a:p>
        </p:txBody>
      </p:sp>
    </p:spTree>
    <p:custDataLst>
      <p:tags r:id="rId1"/>
    </p:custDataLst>
    <p:extLst>
      <p:ext uri="{BB962C8B-B14F-4D97-AF65-F5344CB8AC3E}">
        <p14:creationId xmlns:p14="http://schemas.microsoft.com/office/powerpoint/2010/main" val="35113682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2.91667E-6 1.11111E-6 L 0.20443 0.00324 " pathEditMode="relative" rAng="0" ptsTypes="AA">
                                      <p:cBhvr>
                                        <p:cTn id="6" dur="2000" fill="hold"/>
                                        <p:tgtEl>
                                          <p:spTgt spid="12"/>
                                        </p:tgtEl>
                                        <p:attrNameLst>
                                          <p:attrName>ppt_x</p:attrName>
                                          <p:attrName>ppt_y</p:attrName>
                                        </p:attrNameLst>
                                      </p:cBhvr>
                                      <p:rCtr x="10221" y="162"/>
                                    </p:animMotion>
                                  </p:childTnLst>
                                </p:cTn>
                              </p:par>
                            </p:childTnLst>
                          </p:cTn>
                        </p:par>
                        <p:par>
                          <p:cTn id="7" fill="hold">
                            <p:stCondLst>
                              <p:cond delay="2000"/>
                            </p:stCondLst>
                            <p:childTnLst>
                              <p:par>
                                <p:cTn id="8" presetID="63" presetClass="path" presetSubtype="0" accel="50000" decel="50000" fill="hold" grpId="0" nodeType="afterEffect">
                                  <p:stCondLst>
                                    <p:cond delay="0"/>
                                  </p:stCondLst>
                                  <p:childTnLst>
                                    <p:animMotion origin="layout" path="M 2.5E-6 1.11111E-6 L 0.13464 3.7037E-7 " pathEditMode="relative" rAng="0" ptsTypes="AA">
                                      <p:cBhvr>
                                        <p:cTn id="9" dur="2000" fill="hold"/>
                                        <p:tgtEl>
                                          <p:spTgt spid="13"/>
                                        </p:tgtEl>
                                        <p:attrNameLst>
                                          <p:attrName>ppt_x</p:attrName>
                                          <p:attrName>ppt_y</p:attrName>
                                        </p:attrNameLst>
                                      </p:cBhvr>
                                      <p:rCtr x="8828" y="1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27965E-8D3F-4221-80AE-7777935A79C2}"/>
              </a:ext>
            </a:extLst>
          </p:cNvPr>
          <p:cNvSpPr>
            <a:spLocks noGrp="1"/>
          </p:cNvSpPr>
          <p:nvPr>
            <p:ph type="title"/>
          </p:nvPr>
        </p:nvSpPr>
        <p:spPr/>
        <p:txBody>
          <a:bodyPr/>
          <a:lstStyle/>
          <a:p>
            <a:r>
              <a:rPr lang="en-US" dirty="0"/>
              <a:t>Agile resources consolidated in one location</a:t>
            </a:r>
            <a:endParaRPr lang="en-US" sz="2100" dirty="0">
              <a:latin typeface="Calibri" panose="020F0502020204030204" pitchFamily="34" charset="0"/>
              <a:cs typeface="Calibri" panose="020F0502020204030204" pitchFamily="34" charset="0"/>
            </a:endParaRPr>
          </a:p>
        </p:txBody>
      </p:sp>
      <p:sp>
        <p:nvSpPr>
          <p:cNvPr id="2" name="Text Placeholder 1">
            <a:extLst>
              <a:ext uri="{FF2B5EF4-FFF2-40B4-BE49-F238E27FC236}">
                <a16:creationId xmlns:a16="http://schemas.microsoft.com/office/drawing/2014/main" id="{48A153D9-029A-4798-9A01-EDD8340449D8}"/>
              </a:ext>
            </a:extLst>
          </p:cNvPr>
          <p:cNvSpPr>
            <a:spLocks noGrp="1"/>
          </p:cNvSpPr>
          <p:nvPr>
            <p:ph type="body" sz="quarter" idx="13"/>
          </p:nvPr>
        </p:nvSpPr>
        <p:spPr/>
        <p:txBody>
          <a:bodyPr/>
          <a:lstStyle/>
          <a:p>
            <a:pPr lvl="0">
              <a:buClrTx/>
            </a:pPr>
            <a:r>
              <a:rPr lang="en-US" dirty="0">
                <a:solidFill>
                  <a:srgbClr val="191919"/>
                </a:solidFill>
                <a:ea typeface="Verdana" panose="020B0604030504040204" pitchFamily="34" charset="0"/>
              </a:rPr>
              <a:t>Visit the </a:t>
            </a:r>
            <a:r>
              <a:rPr lang="fr-FR" dirty="0">
                <a:solidFill>
                  <a:srgbClr val="0070C0"/>
                </a:solidFill>
                <a:ea typeface="Verdana" panose="020B0604030504040204" pitchFamily="34" charset="0"/>
                <a:hlinkClick r:id="rId4">
                  <a:extLst>
                    <a:ext uri="{A12FA001-AC4F-418D-AE19-62706E023703}">
                      <ahyp:hlinkClr xmlns:ahyp="http://schemas.microsoft.com/office/drawing/2018/hyperlinkcolor" val="tx"/>
                    </a:ext>
                  </a:extLst>
                </a:hlinkClick>
              </a:rPr>
              <a:t>Agile &amp; DevOps Excellence Hub web page </a:t>
            </a:r>
            <a:r>
              <a:rPr lang="en-US" dirty="0">
                <a:solidFill>
                  <a:srgbClr val="191919"/>
                </a:solidFill>
                <a:ea typeface="Verdana" panose="020B0604030504040204" pitchFamily="34" charset="0"/>
              </a:rPr>
              <a:t>for more information </a:t>
            </a:r>
          </a:p>
        </p:txBody>
      </p:sp>
      <p:pic>
        <p:nvPicPr>
          <p:cNvPr id="11" name="Picture 2">
            <a:extLst>
              <a:ext uri="{FF2B5EF4-FFF2-40B4-BE49-F238E27FC236}">
                <a16:creationId xmlns:a16="http://schemas.microsoft.com/office/drawing/2014/main" id="{E93AC209-E2A0-4CF3-8D60-8694778F13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525" y="1235582"/>
            <a:ext cx="5730875" cy="445188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3E3D2D84-F345-4D72-809C-F0A288CD20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50383" y="2850995"/>
            <a:ext cx="5223609" cy="3407569"/>
          </a:xfrm>
          <a:prstGeom prst="rect">
            <a:avLst/>
          </a:prstGeom>
          <a:noFill/>
          <a:extLst>
            <a:ext uri="{909E8E84-426E-40DD-AFC4-6F175D3DCCD1}">
              <a14:hiddenFill xmlns:a14="http://schemas.microsoft.com/office/drawing/2010/main">
                <a:solidFill>
                  <a:srgbClr val="FFFFFF"/>
                </a:solidFill>
              </a14:hiddenFill>
            </a:ext>
          </a:extLst>
        </p:spPr>
      </p:pic>
      <p:sp>
        <p:nvSpPr>
          <p:cNvPr id="13" name="Callout: Bent Line 12">
            <a:extLst>
              <a:ext uri="{FF2B5EF4-FFF2-40B4-BE49-F238E27FC236}">
                <a16:creationId xmlns:a16="http://schemas.microsoft.com/office/drawing/2014/main" id="{642E8C1B-26AA-46B1-A4B1-811377C1B1C2}"/>
              </a:ext>
            </a:extLst>
          </p:cNvPr>
          <p:cNvSpPr/>
          <p:nvPr/>
        </p:nvSpPr>
        <p:spPr bwMode="gray">
          <a:xfrm>
            <a:off x="3092164" y="3540724"/>
            <a:ext cx="2022566" cy="767076"/>
          </a:xfrm>
          <a:prstGeom prst="borderCallout2">
            <a:avLst>
              <a:gd name="adj1" fmla="val 18750"/>
              <a:gd name="adj2" fmla="val -8333"/>
              <a:gd name="adj3" fmla="val 18750"/>
              <a:gd name="adj4" fmla="val -31434"/>
              <a:gd name="adj5" fmla="val 221345"/>
              <a:gd name="adj6" fmla="val -64869"/>
            </a:avLst>
          </a:prstGeom>
          <a:ln>
            <a:prstDash val="dash"/>
            <a:headEnd/>
            <a:tailEnd/>
          </a:ln>
          <a:effectLst>
            <a:innerShdw blurRad="63500" dist="50800" dir="27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Verdana"/>
              </a:rPr>
              <a:t>Find learning resources &amp; information on certifications</a:t>
            </a:r>
          </a:p>
        </p:txBody>
      </p:sp>
      <p:sp>
        <p:nvSpPr>
          <p:cNvPr id="14" name="Callout: Bent Line 13">
            <a:extLst>
              <a:ext uri="{FF2B5EF4-FFF2-40B4-BE49-F238E27FC236}">
                <a16:creationId xmlns:a16="http://schemas.microsoft.com/office/drawing/2014/main" id="{9F15BCEB-85F8-4530-919C-B13611685E83}"/>
              </a:ext>
            </a:extLst>
          </p:cNvPr>
          <p:cNvSpPr/>
          <p:nvPr/>
        </p:nvSpPr>
        <p:spPr bwMode="gray">
          <a:xfrm>
            <a:off x="2313922" y="2803140"/>
            <a:ext cx="1556485" cy="625860"/>
          </a:xfrm>
          <a:prstGeom prst="borderCallout2">
            <a:avLst>
              <a:gd name="adj1" fmla="val 18750"/>
              <a:gd name="adj2" fmla="val -8333"/>
              <a:gd name="adj3" fmla="val 18750"/>
              <a:gd name="adj4" fmla="val -31434"/>
              <a:gd name="adj5" fmla="val 381347"/>
              <a:gd name="adj6" fmla="val -99723"/>
            </a:avLst>
          </a:prstGeom>
          <a:ln>
            <a:prstDash val="dash"/>
            <a:headEnd/>
            <a:tailEnd/>
          </a:ln>
          <a:effectLst>
            <a:innerShdw blurRad="63500" dist="50800" dir="27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Verdana"/>
              </a:rPr>
              <a:t>Find delivery guidance</a:t>
            </a:r>
          </a:p>
        </p:txBody>
      </p:sp>
      <p:sp>
        <p:nvSpPr>
          <p:cNvPr id="15" name="Callout: Bent Line 14">
            <a:extLst>
              <a:ext uri="{FF2B5EF4-FFF2-40B4-BE49-F238E27FC236}">
                <a16:creationId xmlns:a16="http://schemas.microsoft.com/office/drawing/2014/main" id="{04CDBF92-DEC5-4F99-A63A-446DA30E6124}"/>
              </a:ext>
            </a:extLst>
          </p:cNvPr>
          <p:cNvSpPr/>
          <p:nvPr/>
        </p:nvSpPr>
        <p:spPr bwMode="gray">
          <a:xfrm>
            <a:off x="4291597" y="5415649"/>
            <a:ext cx="2022566" cy="767076"/>
          </a:xfrm>
          <a:prstGeom prst="borderCallout2">
            <a:avLst>
              <a:gd name="adj1" fmla="val 18750"/>
              <a:gd name="adj2" fmla="val -8333"/>
              <a:gd name="adj3" fmla="val 13074"/>
              <a:gd name="adj4" fmla="val -7214"/>
              <a:gd name="adj5" fmla="val -26489"/>
              <a:gd name="adj6" fmla="val -18920"/>
            </a:avLst>
          </a:prstGeom>
          <a:ln>
            <a:prstDash val="dash"/>
            <a:headEnd/>
            <a:tailEnd/>
          </a:ln>
          <a:effectLst>
            <a:innerShdw blurRad="63500" dist="50800" dir="27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0" cap="none" spc="0" normalizeH="0" baseline="0" noProof="0" dirty="0">
                <a:ln>
                  <a:noFill/>
                </a:ln>
                <a:solidFill>
                  <a:sysClr val="windowText" lastClr="000000"/>
                </a:solidFill>
                <a:effectLst/>
                <a:uLnTx/>
                <a:uFillTx/>
                <a:latin typeface="Verdana"/>
              </a:rPr>
              <a:t>Access Octane &amp; Enterprise Jira and Confluence</a:t>
            </a:r>
          </a:p>
        </p:txBody>
      </p:sp>
      <p:sp>
        <p:nvSpPr>
          <p:cNvPr id="16" name="Rectangle 15">
            <a:extLst>
              <a:ext uri="{FF2B5EF4-FFF2-40B4-BE49-F238E27FC236}">
                <a16:creationId xmlns:a16="http://schemas.microsoft.com/office/drawing/2014/main" id="{A2564950-4156-4DEE-B35E-3B6AF6FED2BC}"/>
              </a:ext>
            </a:extLst>
          </p:cNvPr>
          <p:cNvSpPr/>
          <p:nvPr/>
        </p:nvSpPr>
        <p:spPr bwMode="gray">
          <a:xfrm>
            <a:off x="482089" y="6258564"/>
            <a:ext cx="11287636" cy="510363"/>
          </a:xfrm>
          <a:prstGeom prst="rect">
            <a:avLst/>
          </a:prstGeom>
          <a:solidFill>
            <a:schemeClr val="bg2"/>
          </a:solidFill>
          <a:ln w="19050" algn="ctr">
            <a:noFill/>
            <a:miter lim="800000"/>
            <a:headEnd/>
            <a:tailEnd/>
          </a:ln>
        </p:spPr>
        <p:txBody>
          <a:bodyPr wrap="square" lIns="66836" tIns="66836" rIns="66836" bIns="66836" rtlCol="0" anchor="ctr"/>
          <a:lstStyle/>
          <a:p>
            <a:pPr algn="ctr">
              <a:lnSpc>
                <a:spcPct val="106000"/>
              </a:lnSpc>
            </a:pPr>
            <a:r>
              <a:rPr lang="en-US" altLang="en-US" dirty="0">
                <a:cs typeface="Segoe UI" panose="020B0502040204020203" pitchFamily="34" charset="0"/>
              </a:rPr>
              <a:t>Plus, find accelerators, pursuit materials, SoW templates, and DevOps</a:t>
            </a:r>
          </a:p>
        </p:txBody>
      </p:sp>
      <p:sp>
        <p:nvSpPr>
          <p:cNvPr id="17" name="Callout: Bent Line 16">
            <a:extLst>
              <a:ext uri="{FF2B5EF4-FFF2-40B4-BE49-F238E27FC236}">
                <a16:creationId xmlns:a16="http://schemas.microsoft.com/office/drawing/2014/main" id="{1EBF9770-433D-4B5B-A62A-14458A684C1A}"/>
              </a:ext>
            </a:extLst>
          </p:cNvPr>
          <p:cNvSpPr/>
          <p:nvPr/>
        </p:nvSpPr>
        <p:spPr bwMode="gray">
          <a:xfrm>
            <a:off x="9353454" y="2181907"/>
            <a:ext cx="2022566" cy="767076"/>
          </a:xfrm>
          <a:prstGeom prst="borderCallout2">
            <a:avLst>
              <a:gd name="adj1" fmla="val 18750"/>
              <a:gd name="adj2" fmla="val -8333"/>
              <a:gd name="adj3" fmla="val 13074"/>
              <a:gd name="adj4" fmla="val -7214"/>
              <a:gd name="adj5" fmla="val 165092"/>
              <a:gd name="adj6" fmla="val -41525"/>
            </a:avLst>
          </a:prstGeom>
          <a:ln>
            <a:prstDash val="dash"/>
            <a:headEnd/>
            <a:tailEnd/>
          </a:ln>
          <a:effectLst>
            <a:innerShdw blurRad="63500" dist="50800" dir="27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0" cap="none" spc="0" normalizeH="0" baseline="0" noProof="0" dirty="0">
                <a:ln>
                  <a:noFill/>
                </a:ln>
                <a:solidFill>
                  <a:sysClr val="windowText" lastClr="000000"/>
                </a:solidFill>
                <a:effectLst/>
                <a:uLnTx/>
                <a:uFillTx/>
                <a:latin typeface="Verdana"/>
              </a:rPr>
              <a:t>Join the Agile &amp; DevOps communities</a:t>
            </a:r>
          </a:p>
        </p:txBody>
      </p:sp>
      <p:sp>
        <p:nvSpPr>
          <p:cNvPr id="22" name="Callout: Bent Line 21">
            <a:extLst>
              <a:ext uri="{FF2B5EF4-FFF2-40B4-BE49-F238E27FC236}">
                <a16:creationId xmlns:a16="http://schemas.microsoft.com/office/drawing/2014/main" id="{400B75C3-B19B-4D3B-88D1-A87E10D90E2F}"/>
              </a:ext>
            </a:extLst>
          </p:cNvPr>
          <p:cNvSpPr/>
          <p:nvPr/>
        </p:nvSpPr>
        <p:spPr bwMode="gray">
          <a:xfrm>
            <a:off x="9353454" y="2181907"/>
            <a:ext cx="2022566" cy="767076"/>
          </a:xfrm>
          <a:prstGeom prst="borderCallout2">
            <a:avLst>
              <a:gd name="adj1" fmla="val 18750"/>
              <a:gd name="adj2" fmla="val -8333"/>
              <a:gd name="adj3" fmla="val 13074"/>
              <a:gd name="adj4" fmla="val -7214"/>
              <a:gd name="adj5" fmla="val 400666"/>
              <a:gd name="adj6" fmla="val -46369"/>
            </a:avLst>
          </a:prstGeom>
          <a:ln>
            <a:prstDash val="dash"/>
            <a:headEnd/>
            <a:tailEnd/>
          </a:ln>
          <a:effectLst>
            <a:innerShdw blurRad="63500" dist="50800" dir="27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wrap="square" lIns="66666" tIns="66666" rIns="66666" bIns="66666"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0" cap="none" spc="0" normalizeH="0" baseline="0" noProof="0" dirty="0">
                <a:ln>
                  <a:noFill/>
                </a:ln>
                <a:solidFill>
                  <a:sysClr val="windowText" lastClr="000000"/>
                </a:solidFill>
                <a:effectLst/>
                <a:uLnTx/>
                <a:uFillTx/>
                <a:latin typeface="Verdana"/>
              </a:rPr>
              <a:t>Join the Agile &amp; DevOps communities</a:t>
            </a:r>
          </a:p>
        </p:txBody>
      </p:sp>
    </p:spTree>
    <p:custDataLst>
      <p:tags r:id="rId1"/>
    </p:custDataLst>
    <p:extLst>
      <p:ext uri="{BB962C8B-B14F-4D97-AF65-F5344CB8AC3E}">
        <p14:creationId xmlns:p14="http://schemas.microsoft.com/office/powerpoint/2010/main" val="287161858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rotWithShape="1">
          <a:blip r:embed="rId4">
            <a:extLst>
              <a:ext uri="{28A0092B-C50C-407E-A947-70E740481C1C}">
                <a14:useLocalDpi xmlns:a14="http://schemas.microsoft.com/office/drawing/2010/main" val="0"/>
              </a:ext>
            </a:extLst>
          </a:blip>
          <a:srcRect l="1" t="5993" r="-1" b="8301"/>
          <a:stretch/>
        </p:blipFill>
        <p:spPr>
          <a:xfrm flipH="1">
            <a:off x="-3" y="-28418"/>
            <a:ext cx="12191997" cy="6874696"/>
          </a:xfrm>
        </p:spPr>
      </p:pic>
      <p:sp>
        <p:nvSpPr>
          <p:cNvPr id="5" name="Text Placeholder 4"/>
          <p:cNvSpPr>
            <a:spLocks noGrp="1"/>
          </p:cNvSpPr>
          <p:nvPr>
            <p:ph type="body" sz="quarter" idx="13"/>
          </p:nvPr>
        </p:nvSpPr>
        <p:spPr/>
        <p:txBody>
          <a:bodyPr/>
          <a:lstStyle/>
          <a:p>
            <a:pPr marL="0" lvl="1" indent="0">
              <a:buNone/>
            </a:pPr>
            <a:r>
              <a:rPr lang="en-US" sz="1800" b="0" dirty="0">
                <a:solidFill>
                  <a:schemeClr val="tx1">
                    <a:lumMod val="75000"/>
                    <a:lumOff val="25000"/>
                  </a:schemeClr>
                </a:solidFill>
                <a:latin typeface="Calibri" panose="020F0502020204030204" pitchFamily="34" charset="0"/>
                <a:cs typeface="Calibri" panose="020F0502020204030204" pitchFamily="34" charset="0"/>
              </a:rPr>
              <a:t>Save time, reduce risk, and drive high-quality outcomes!</a:t>
            </a:r>
          </a:p>
        </p:txBody>
      </p:sp>
      <p:sp>
        <p:nvSpPr>
          <p:cNvPr id="2" name="Title 1"/>
          <p:cNvSpPr>
            <a:spLocks noGrp="1"/>
          </p:cNvSpPr>
          <p:nvPr>
            <p:ph type="title"/>
          </p:nvPr>
        </p:nvSpPr>
        <p:spPr/>
        <p:txBody>
          <a:bodyPr/>
          <a:lstStyle/>
          <a:p>
            <a:r>
              <a:rPr lang="en-US" sz="2100" b="0" dirty="0">
                <a:latin typeface="Calibri" panose="020F0502020204030204" pitchFamily="34" charset="0"/>
                <a:cs typeface="Calibri" panose="020F0502020204030204" pitchFamily="34" charset="0"/>
              </a:rPr>
              <a:t>Project Launch Services</a:t>
            </a:r>
          </a:p>
        </p:txBody>
      </p:sp>
      <p:sp>
        <p:nvSpPr>
          <p:cNvPr id="3" name="Footer Placeholder 2"/>
          <p:cNvSpPr>
            <a:spLocks noGrp="1"/>
          </p:cNvSpPr>
          <p:nvPr>
            <p:ph type="ftr" sz="quarter" idx="3"/>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2021. For information, contact Deloitte Touche Tohmatsu</a:t>
            </a:r>
            <a:endParaRPr kumimoji="0" lang="en-GB" sz="7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7" name="TextBox 4"/>
          <p:cNvSpPr txBox="1">
            <a:spLocks noChangeArrowheads="1"/>
          </p:cNvSpPr>
          <p:nvPr/>
        </p:nvSpPr>
        <p:spPr bwMode="auto">
          <a:xfrm>
            <a:off x="-1" y="6225345"/>
            <a:ext cx="12191999" cy="648963"/>
          </a:xfrm>
          <a:prstGeom prst="rect">
            <a:avLst/>
          </a:prstGeom>
          <a:solidFill>
            <a:schemeClr val="bg1">
              <a:lumMod val="95000"/>
            </a:schemeClr>
          </a:solidFill>
          <a:ln w="12700">
            <a:noFill/>
            <a:miter lim="800000"/>
            <a:headEnd/>
            <a:tailEnd/>
          </a:ln>
          <a:effectLst/>
        </p:spPr>
        <p:txBody>
          <a:bodyPr wrap="square" lIns="120951" tIns="60473" rIns="120951" bIns="60473"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3565A"/>
                </a:solidFill>
                <a:effectLst/>
                <a:uLnTx/>
                <a:uFillTx/>
                <a:latin typeface="Calibri" panose="020F0502020204030204" pitchFamily="34" charset="0"/>
                <a:cs typeface="Calibri" panose="020F0502020204030204" pitchFamily="34" charset="0"/>
                <a:hlinkClick r:id="rId5"/>
              </a:rPr>
              <a:t>Engage a coach</a:t>
            </a:r>
            <a:r>
              <a:rPr kumimoji="0" lang="en-US" sz="2000" b="1" i="0" u="none" strike="noStrike" kern="1200" cap="none" spc="0" normalizeH="0" baseline="0" noProof="0" dirty="0">
                <a:ln>
                  <a:noFill/>
                </a:ln>
                <a:solidFill>
                  <a:srgbClr val="53565A"/>
                </a:solidFill>
                <a:effectLst/>
                <a:uLnTx/>
                <a:uFillTx/>
                <a:latin typeface="Calibri" panose="020F0502020204030204" pitchFamily="34" charset="0"/>
                <a:cs typeface="Calibri" panose="020F0502020204030204" pitchFamily="34" charset="0"/>
              </a:rPr>
              <a:t> </a:t>
            </a:r>
            <a:r>
              <a:rPr kumimoji="0" lang="en-US" sz="2000" b="0" i="0" u="none" strike="noStrike" kern="1200" cap="none" spc="0" normalizeH="0" baseline="0" noProof="0" dirty="0">
                <a:ln>
                  <a:noFill/>
                </a:ln>
                <a:solidFill>
                  <a:srgbClr val="53565A"/>
                </a:solidFill>
                <a:effectLst/>
                <a:uLnTx/>
                <a:uFillTx/>
                <a:latin typeface="Calibri" panose="020F0502020204030204" pitchFamily="34" charset="0"/>
                <a:cs typeface="Calibri" panose="020F0502020204030204" pitchFamily="34" charset="0"/>
              </a:rPr>
              <a:t>today or learn more by visiting the </a:t>
            </a:r>
            <a:r>
              <a:rPr kumimoji="0" lang="en-US" sz="2000" b="1" i="0" u="none" strike="noStrike" kern="1200" cap="none" spc="0" normalizeH="0" baseline="0" noProof="0" dirty="0">
                <a:ln>
                  <a:noFill/>
                </a:ln>
                <a:solidFill>
                  <a:srgbClr val="53565A"/>
                </a:solidFill>
                <a:effectLst/>
                <a:uLnTx/>
                <a:uFillTx/>
                <a:latin typeface="Calibri" panose="020F0502020204030204" pitchFamily="34" charset="0"/>
                <a:cs typeface="Calibri" panose="020F0502020204030204" pitchFamily="34" charset="0"/>
                <a:hlinkClick r:id="rId6"/>
              </a:rPr>
              <a:t>Project Launch Services site</a:t>
            </a:r>
            <a:endParaRPr kumimoji="0" lang="en-US" sz="2000" b="0" i="0" u="none" strike="noStrike" kern="1200" cap="none" spc="0" normalizeH="0" baseline="0" noProof="0" dirty="0">
              <a:ln>
                <a:noFill/>
              </a:ln>
              <a:solidFill>
                <a:srgbClr val="53565A"/>
              </a:solidFill>
              <a:effectLst/>
              <a:uLnTx/>
              <a:uFillTx/>
              <a:latin typeface="Calibri" panose="020F0502020204030204" pitchFamily="34" charset="0"/>
              <a:cs typeface="Calibri" panose="020F0502020204030204" pitchFamily="34" charset="0"/>
            </a:endParaRPr>
          </a:p>
        </p:txBody>
      </p:sp>
      <p:sp>
        <p:nvSpPr>
          <p:cNvPr id="18" name="TextBox 17"/>
          <p:cNvSpPr txBox="1"/>
          <p:nvPr/>
        </p:nvSpPr>
        <p:spPr>
          <a:xfrm>
            <a:off x="5638800" y="3662291"/>
            <a:ext cx="6553200" cy="1196215"/>
          </a:xfrm>
          <a:prstGeom prst="rect">
            <a:avLst/>
          </a:prstGeom>
          <a:solidFill>
            <a:schemeClr val="tx1">
              <a:lumMod val="50000"/>
              <a:lumOff val="50000"/>
              <a:alpha val="90000"/>
            </a:schemeClr>
          </a:solidFill>
          <a:ln>
            <a:noFill/>
          </a:ln>
        </p:spPr>
        <p:style>
          <a:lnRef idx="2">
            <a:schemeClr val="lt1">
              <a:hueOff val="0"/>
              <a:satOff val="0"/>
              <a:lumOff val="0"/>
              <a:alphaOff val="0"/>
            </a:schemeClr>
          </a:lnRef>
          <a:fillRef idx="1">
            <a:schemeClr val="accent3">
              <a:hueOff val="-5137147"/>
              <a:satOff val="-49999"/>
              <a:lumOff val="-7451"/>
              <a:alphaOff val="0"/>
            </a:schemeClr>
          </a:fillRef>
          <a:effectRef idx="0">
            <a:schemeClr val="accent3">
              <a:hueOff val="-5137147"/>
              <a:satOff val="-49999"/>
              <a:lumOff val="-7451"/>
              <a:alphaOff val="0"/>
            </a:schemeClr>
          </a:effectRef>
          <a:fontRef idx="minor">
            <a:schemeClr val="lt1"/>
          </a:fontRef>
        </p:style>
        <p:txBody>
          <a:bodyPr spcFirstLastPara="0" vert="horz" wrap="square" lIns="243383" tIns="90575" rIns="60847" bIns="90575" numCol="1" spcCol="1139" anchor="ctr" anchorCtr="0">
            <a:noAutofit/>
          </a:bodyPr>
          <a:lstStyle>
            <a:defPPr>
              <a:defRPr lang="en-US"/>
            </a:defPPr>
            <a:lvl1pPr algn="ctr" defTabSz="794037">
              <a:lnSpc>
                <a:spcPct val="90000"/>
              </a:lnSpc>
              <a:defRPr sz="1900" b="1"/>
            </a:lvl1pPr>
            <a:lvl2pPr marL="408364"/>
            <a:lvl3pPr marL="816732"/>
            <a:lvl4pPr marL="1225091"/>
            <a:lvl5pPr marL="1633455"/>
            <a:lvl6pPr marL="2041813" defTabSz="816732"/>
            <a:lvl7pPr marL="2450178" defTabSz="816732"/>
            <a:lvl8pPr marL="2858538" defTabSz="816732"/>
            <a:lvl9pPr marL="3266901" defTabSz="816732"/>
          </a:lstStyle>
          <a:p>
            <a:pPr marL="0" marR="0" lvl="0" indent="0" algn="l" defTabSz="794037"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Includes pursuit support, estimation services, project management, and project delivery services for traditional and agile engagements</a:t>
            </a:r>
          </a:p>
        </p:txBody>
      </p:sp>
      <p:sp>
        <p:nvSpPr>
          <p:cNvPr id="15" name="TextBox 14"/>
          <p:cNvSpPr txBox="1"/>
          <p:nvPr/>
        </p:nvSpPr>
        <p:spPr>
          <a:xfrm>
            <a:off x="5638796" y="2004489"/>
            <a:ext cx="6553200" cy="1196215"/>
          </a:xfrm>
          <a:prstGeom prst="rect">
            <a:avLst/>
          </a:prstGeom>
          <a:solidFill>
            <a:schemeClr val="tx1">
              <a:lumMod val="85000"/>
              <a:lumOff val="15000"/>
              <a:alpha val="90000"/>
            </a:schemeClr>
          </a:solidFill>
          <a:ln>
            <a:noFill/>
          </a:ln>
        </p:spPr>
        <p:style>
          <a:lnRef idx="2">
            <a:schemeClr val="lt1">
              <a:hueOff val="0"/>
              <a:satOff val="0"/>
              <a:lumOff val="0"/>
              <a:alphaOff val="0"/>
            </a:schemeClr>
          </a:lnRef>
          <a:fillRef idx="1">
            <a:schemeClr val="accent3">
              <a:hueOff val="-1712382"/>
              <a:satOff val="-16666"/>
              <a:lumOff val="-2484"/>
              <a:alphaOff val="0"/>
            </a:schemeClr>
          </a:fillRef>
          <a:effectRef idx="0">
            <a:schemeClr val="accent3">
              <a:hueOff val="-1712382"/>
              <a:satOff val="-16666"/>
              <a:lumOff val="-2484"/>
              <a:alphaOff val="0"/>
            </a:schemeClr>
          </a:effectRef>
          <a:fontRef idx="minor">
            <a:schemeClr val="lt1"/>
          </a:fontRef>
        </p:style>
        <p:txBody>
          <a:bodyPr spcFirstLastPara="0" vert="horz" wrap="square" lIns="243383" tIns="90575" rIns="90575" bIns="90575" numCol="1" spcCol="1139" anchor="ctr" anchorCtr="0">
            <a:noAutofit/>
          </a:bodyPr>
          <a:lstStyle>
            <a:defPPr>
              <a:defRPr lang="en-US"/>
            </a:defPPr>
            <a:lvl1pPr algn="ctr" defTabSz="794037">
              <a:lnSpc>
                <a:spcPct val="90000"/>
              </a:lnSpc>
              <a:spcAft>
                <a:spcPts val="0"/>
              </a:spcAft>
              <a:defRPr sz="1900" b="1">
                <a:solidFill>
                  <a:schemeClr val="lt1"/>
                </a:solidFill>
                <a:latin typeface="+mn-lt"/>
                <a:cs typeface="+mn-cs"/>
              </a:defRPr>
            </a:lvl1pPr>
            <a:lvl2pPr marL="408364">
              <a:defRPr>
                <a:solidFill>
                  <a:schemeClr val="lt1"/>
                </a:solidFill>
                <a:latin typeface="+mn-lt"/>
                <a:cs typeface="+mn-cs"/>
              </a:defRPr>
            </a:lvl2pPr>
            <a:lvl3pPr marL="816732">
              <a:defRPr>
                <a:solidFill>
                  <a:schemeClr val="lt1"/>
                </a:solidFill>
                <a:latin typeface="+mn-lt"/>
                <a:cs typeface="+mn-cs"/>
              </a:defRPr>
            </a:lvl3pPr>
            <a:lvl4pPr marL="1225091">
              <a:defRPr>
                <a:solidFill>
                  <a:schemeClr val="lt1"/>
                </a:solidFill>
                <a:latin typeface="+mn-lt"/>
                <a:cs typeface="+mn-cs"/>
              </a:defRPr>
            </a:lvl4pPr>
            <a:lvl5pPr marL="1633455">
              <a:defRPr>
                <a:solidFill>
                  <a:schemeClr val="lt1"/>
                </a:solidFill>
                <a:latin typeface="+mn-lt"/>
                <a:cs typeface="+mn-cs"/>
              </a:defRPr>
            </a:lvl5pPr>
            <a:lvl6pPr marL="2041813" defTabSz="816732">
              <a:defRPr>
                <a:solidFill>
                  <a:schemeClr val="lt1"/>
                </a:solidFill>
                <a:latin typeface="+mn-lt"/>
                <a:cs typeface="+mn-cs"/>
              </a:defRPr>
            </a:lvl6pPr>
            <a:lvl7pPr marL="2450178" defTabSz="816732">
              <a:defRPr>
                <a:solidFill>
                  <a:schemeClr val="lt1"/>
                </a:solidFill>
                <a:latin typeface="+mn-lt"/>
                <a:cs typeface="+mn-cs"/>
              </a:defRPr>
            </a:lvl7pPr>
            <a:lvl8pPr marL="2858538" defTabSz="816732">
              <a:defRPr>
                <a:solidFill>
                  <a:schemeClr val="lt1"/>
                </a:solidFill>
                <a:latin typeface="+mn-lt"/>
                <a:cs typeface="+mn-cs"/>
              </a:defRPr>
            </a:lvl8pPr>
            <a:lvl9pPr marL="3266901" defTabSz="816732">
              <a:defRPr>
                <a:solidFill>
                  <a:schemeClr val="lt1"/>
                </a:solidFill>
                <a:latin typeface="+mn-lt"/>
                <a:cs typeface="+mn-cs"/>
              </a:defRPr>
            </a:lvl9pPr>
          </a:lstStyle>
          <a:p>
            <a:pPr marL="0" marR="0" lvl="0" indent="0" algn="l" defTabSz="794037"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Dedicated resources bring deep expertise and proven, pragmatic approaches aligned with Deloitte’s delivery standards</a:t>
            </a:r>
          </a:p>
        </p:txBody>
      </p:sp>
    </p:spTree>
    <p:custDataLst>
      <p:tags r:id="rId1"/>
    </p:custDataLst>
    <p:extLst>
      <p:ext uri="{BB962C8B-B14F-4D97-AF65-F5344CB8AC3E}">
        <p14:creationId xmlns:p14="http://schemas.microsoft.com/office/powerpoint/2010/main" val="388956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arning Objectives</a:t>
            </a:r>
          </a:p>
        </p:txBody>
      </p:sp>
      <p:sp>
        <p:nvSpPr>
          <p:cNvPr id="8" name="Text Placeholder 7">
            <a:extLst>
              <a:ext uri="{FF2B5EF4-FFF2-40B4-BE49-F238E27FC236}">
                <a16:creationId xmlns:a16="http://schemas.microsoft.com/office/drawing/2014/main" id="{9220F7E4-C211-4F18-BA5C-BDB0E17E58ED}"/>
              </a:ext>
            </a:extLst>
          </p:cNvPr>
          <p:cNvSpPr>
            <a:spLocks noGrp="1"/>
          </p:cNvSpPr>
          <p:nvPr>
            <p:ph type="body" sz="quarter" idx="13"/>
          </p:nvPr>
        </p:nvSpPr>
        <p:spPr/>
        <p:txBody>
          <a:bodyPr/>
          <a:lstStyle/>
          <a:p>
            <a:r>
              <a:rPr lang="en-US" dirty="0"/>
              <a:t> </a:t>
            </a:r>
          </a:p>
        </p:txBody>
      </p:sp>
      <p:grpSp>
        <p:nvGrpSpPr>
          <p:cNvPr id="25" name="Group 24">
            <a:extLst>
              <a:ext uri="{FF2B5EF4-FFF2-40B4-BE49-F238E27FC236}">
                <a16:creationId xmlns:a16="http://schemas.microsoft.com/office/drawing/2014/main" id="{CA6738DA-B8D3-494D-B45B-BAAFB775F22D}"/>
              </a:ext>
            </a:extLst>
          </p:cNvPr>
          <p:cNvGrpSpPr/>
          <p:nvPr/>
        </p:nvGrpSpPr>
        <p:grpSpPr>
          <a:xfrm>
            <a:off x="1165806" y="1360160"/>
            <a:ext cx="9860389" cy="4620280"/>
            <a:chOff x="2363093" y="1831320"/>
            <a:chExt cx="7697881" cy="3606994"/>
          </a:xfrm>
        </p:grpSpPr>
        <p:grpSp>
          <p:nvGrpSpPr>
            <p:cNvPr id="26" name="Group 25">
              <a:extLst>
                <a:ext uri="{FF2B5EF4-FFF2-40B4-BE49-F238E27FC236}">
                  <a16:creationId xmlns:a16="http://schemas.microsoft.com/office/drawing/2014/main" id="{4036E126-5307-43F6-91AB-8B4E905B9231}"/>
                </a:ext>
              </a:extLst>
            </p:cNvPr>
            <p:cNvGrpSpPr/>
            <p:nvPr/>
          </p:nvGrpSpPr>
          <p:grpSpPr>
            <a:xfrm>
              <a:off x="2363093" y="1831320"/>
              <a:ext cx="4491791" cy="917245"/>
              <a:chOff x="775135" y="1071610"/>
              <a:chExt cx="5989837" cy="1223153"/>
            </a:xfrm>
          </p:grpSpPr>
          <p:sp>
            <p:nvSpPr>
              <p:cNvPr id="42" name="Rectangle 41">
                <a:extLst>
                  <a:ext uri="{FF2B5EF4-FFF2-40B4-BE49-F238E27FC236}">
                    <a16:creationId xmlns:a16="http://schemas.microsoft.com/office/drawing/2014/main" id="{40A89F89-01FB-4799-8B96-05394B26618D}"/>
                  </a:ext>
                </a:extLst>
              </p:cNvPr>
              <p:cNvSpPr/>
              <p:nvPr/>
            </p:nvSpPr>
            <p:spPr>
              <a:xfrm>
                <a:off x="775135" y="1241843"/>
                <a:ext cx="5980959" cy="1052920"/>
              </a:xfrm>
              <a:prstGeom prst="rect">
                <a:avLst/>
              </a:prstGeom>
              <a:solidFill>
                <a:srgbClr val="86BC25"/>
              </a:solidFill>
              <a:ln w="25400" cap="flat" cmpd="sng" algn="ctr">
                <a:noFill/>
                <a:prstDash val="solid"/>
              </a:ln>
              <a:effectLst/>
            </p:spPr>
            <p:txBody>
              <a:bodyPr lIns="205714" rIns="891424" rtlCol="0" anchor="ctr"/>
              <a:lstStyle/>
              <a:p>
                <a:pPr defTabSz="914204">
                  <a:defRPr/>
                </a:pPr>
                <a:r>
                  <a:rPr lang="en-US" sz="2000" kern="0" dirty="0">
                    <a:solidFill>
                      <a:prstClr val="white"/>
                    </a:solidFill>
                    <a:cs typeface="Verdana" panose="020B0604030504040204" pitchFamily="34" charset="0"/>
                  </a:rPr>
                  <a:t>Define agile and the agile mindset</a:t>
                </a:r>
              </a:p>
            </p:txBody>
          </p:sp>
          <p:sp>
            <p:nvSpPr>
              <p:cNvPr id="43" name="Freeform 7">
                <a:extLst>
                  <a:ext uri="{FF2B5EF4-FFF2-40B4-BE49-F238E27FC236}">
                    <a16:creationId xmlns:a16="http://schemas.microsoft.com/office/drawing/2014/main" id="{9CED8736-BAFA-4880-A83F-5DFB30209A91}"/>
                  </a:ext>
                </a:extLst>
              </p:cNvPr>
              <p:cNvSpPr>
                <a:spLocks/>
              </p:cNvSpPr>
              <p:nvPr/>
            </p:nvSpPr>
            <p:spPr bwMode="auto">
              <a:xfrm>
                <a:off x="5607911" y="1241843"/>
                <a:ext cx="1157061" cy="1052920"/>
              </a:xfrm>
              <a:custGeom>
                <a:avLst/>
                <a:gdLst>
                  <a:gd name="T0" fmla="*/ 1510 w 1524"/>
                  <a:gd name="T1" fmla="*/ 0 h 1002"/>
                  <a:gd name="T2" fmla="*/ 1524 w 1524"/>
                  <a:gd name="T3" fmla="*/ 1002 h 1002"/>
                  <a:gd name="T4" fmla="*/ 0 w 1524"/>
                  <a:gd name="T5" fmla="*/ 901 h 1002"/>
                  <a:gd name="T6" fmla="*/ 269 w 1524"/>
                  <a:gd name="T7" fmla="*/ 366 h 1002"/>
                  <a:gd name="T8" fmla="*/ 399 w 1524"/>
                  <a:gd name="T9" fmla="*/ 86 h 1002"/>
                  <a:gd name="T10" fmla="*/ 1510 w 1524"/>
                  <a:gd name="T11" fmla="*/ 0 h 1002"/>
                </a:gdLst>
                <a:ahLst/>
                <a:cxnLst>
                  <a:cxn ang="0">
                    <a:pos x="T0" y="T1"/>
                  </a:cxn>
                  <a:cxn ang="0">
                    <a:pos x="T2" y="T3"/>
                  </a:cxn>
                  <a:cxn ang="0">
                    <a:pos x="T4" y="T5"/>
                  </a:cxn>
                  <a:cxn ang="0">
                    <a:pos x="T6" y="T7"/>
                  </a:cxn>
                  <a:cxn ang="0">
                    <a:pos x="T8" y="T9"/>
                  </a:cxn>
                  <a:cxn ang="0">
                    <a:pos x="T10" y="T11"/>
                  </a:cxn>
                </a:cxnLst>
                <a:rect l="0" t="0" r="r" b="b"/>
                <a:pathLst>
                  <a:path w="1524" h="1002">
                    <a:moveTo>
                      <a:pt x="1510" y="0"/>
                    </a:moveTo>
                    <a:lnTo>
                      <a:pt x="1524" y="1002"/>
                    </a:lnTo>
                    <a:lnTo>
                      <a:pt x="0" y="901"/>
                    </a:lnTo>
                    <a:lnTo>
                      <a:pt x="269" y="366"/>
                    </a:lnTo>
                    <a:lnTo>
                      <a:pt x="399" y="86"/>
                    </a:lnTo>
                    <a:lnTo>
                      <a:pt x="1510" y="0"/>
                    </a:lnTo>
                    <a:close/>
                  </a:path>
                </a:pathLst>
              </a:custGeom>
              <a:solidFill>
                <a:srgbClr val="2C5234"/>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44" name="Freeform 8">
                <a:extLst>
                  <a:ext uri="{FF2B5EF4-FFF2-40B4-BE49-F238E27FC236}">
                    <a16:creationId xmlns:a16="http://schemas.microsoft.com/office/drawing/2014/main" id="{4C2C9403-67C1-4110-B2E3-D58C0268473B}"/>
                  </a:ext>
                </a:extLst>
              </p:cNvPr>
              <p:cNvSpPr>
                <a:spLocks/>
              </p:cNvSpPr>
              <p:nvPr/>
            </p:nvSpPr>
            <p:spPr bwMode="auto">
              <a:xfrm>
                <a:off x="5582330" y="1201911"/>
                <a:ext cx="895128" cy="988819"/>
              </a:xfrm>
              <a:custGeom>
                <a:avLst/>
                <a:gdLst>
                  <a:gd name="T0" fmla="*/ 779 w 1179"/>
                  <a:gd name="T1" fmla="*/ 0 h 941"/>
                  <a:gd name="T2" fmla="*/ 883 w 1179"/>
                  <a:gd name="T3" fmla="*/ 126 h 941"/>
                  <a:gd name="T4" fmla="*/ 1179 w 1179"/>
                  <a:gd name="T5" fmla="*/ 892 h 941"/>
                  <a:gd name="T6" fmla="*/ 0 w 1179"/>
                  <a:gd name="T7" fmla="*/ 941 h 941"/>
                  <a:gd name="T8" fmla="*/ 127 w 1179"/>
                  <a:gd name="T9" fmla="*/ 55 h 941"/>
                  <a:gd name="T10" fmla="*/ 779 w 1179"/>
                  <a:gd name="T11" fmla="*/ 0 h 941"/>
                </a:gdLst>
                <a:ahLst/>
                <a:cxnLst>
                  <a:cxn ang="0">
                    <a:pos x="T0" y="T1"/>
                  </a:cxn>
                  <a:cxn ang="0">
                    <a:pos x="T2" y="T3"/>
                  </a:cxn>
                  <a:cxn ang="0">
                    <a:pos x="T4" y="T5"/>
                  </a:cxn>
                  <a:cxn ang="0">
                    <a:pos x="T6" y="T7"/>
                  </a:cxn>
                  <a:cxn ang="0">
                    <a:pos x="T8" y="T9"/>
                  </a:cxn>
                  <a:cxn ang="0">
                    <a:pos x="T10" y="T11"/>
                  </a:cxn>
                </a:cxnLst>
                <a:rect l="0" t="0" r="r" b="b"/>
                <a:pathLst>
                  <a:path w="1179" h="941">
                    <a:moveTo>
                      <a:pt x="779" y="0"/>
                    </a:moveTo>
                    <a:lnTo>
                      <a:pt x="883" y="126"/>
                    </a:lnTo>
                    <a:lnTo>
                      <a:pt x="1179" y="892"/>
                    </a:lnTo>
                    <a:lnTo>
                      <a:pt x="0" y="941"/>
                    </a:lnTo>
                    <a:lnTo>
                      <a:pt x="127" y="55"/>
                    </a:lnTo>
                    <a:lnTo>
                      <a:pt x="779" y="0"/>
                    </a:lnTo>
                    <a:close/>
                  </a:path>
                </a:pathLst>
              </a:custGeom>
              <a:solidFill>
                <a:srgbClr val="E3E48D"/>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45" name="Freeform 9">
                <a:extLst>
                  <a:ext uri="{FF2B5EF4-FFF2-40B4-BE49-F238E27FC236}">
                    <a16:creationId xmlns:a16="http://schemas.microsoft.com/office/drawing/2014/main" id="{72ED0E5A-18EA-4DCB-B133-92B384139A96}"/>
                  </a:ext>
                </a:extLst>
              </p:cNvPr>
              <p:cNvSpPr>
                <a:spLocks/>
              </p:cNvSpPr>
              <p:nvPr/>
            </p:nvSpPr>
            <p:spPr bwMode="auto">
              <a:xfrm>
                <a:off x="5674196" y="1071610"/>
                <a:ext cx="816169" cy="1079190"/>
              </a:xfrm>
              <a:custGeom>
                <a:avLst/>
                <a:gdLst>
                  <a:gd name="T0" fmla="*/ 278 w 1075"/>
                  <a:gd name="T1" fmla="*/ 0 h 1027"/>
                  <a:gd name="T2" fmla="*/ 852 w 1075"/>
                  <a:gd name="T3" fmla="*/ 33 h 1027"/>
                  <a:gd name="T4" fmla="*/ 1075 w 1075"/>
                  <a:gd name="T5" fmla="*/ 1027 h 1027"/>
                  <a:gd name="T6" fmla="*/ 0 w 1075"/>
                  <a:gd name="T7" fmla="*/ 939 h 1027"/>
                  <a:gd name="T8" fmla="*/ 278 w 1075"/>
                  <a:gd name="T9" fmla="*/ 0 h 1027"/>
                </a:gdLst>
                <a:ahLst/>
                <a:cxnLst>
                  <a:cxn ang="0">
                    <a:pos x="T0" y="T1"/>
                  </a:cxn>
                  <a:cxn ang="0">
                    <a:pos x="T2" y="T3"/>
                  </a:cxn>
                  <a:cxn ang="0">
                    <a:pos x="T4" y="T5"/>
                  </a:cxn>
                  <a:cxn ang="0">
                    <a:pos x="T6" y="T7"/>
                  </a:cxn>
                  <a:cxn ang="0">
                    <a:pos x="T8" y="T9"/>
                  </a:cxn>
                </a:cxnLst>
                <a:rect l="0" t="0" r="r" b="b"/>
                <a:pathLst>
                  <a:path w="1075" h="1027">
                    <a:moveTo>
                      <a:pt x="278" y="0"/>
                    </a:moveTo>
                    <a:lnTo>
                      <a:pt x="852" y="33"/>
                    </a:lnTo>
                    <a:lnTo>
                      <a:pt x="1075" y="1027"/>
                    </a:lnTo>
                    <a:lnTo>
                      <a:pt x="0" y="939"/>
                    </a:lnTo>
                    <a:lnTo>
                      <a:pt x="278" y="0"/>
                    </a:lnTo>
                    <a:close/>
                  </a:path>
                </a:pathLst>
              </a:custGeom>
              <a:solidFill>
                <a:srgbClr val="86BC25"/>
              </a:solidFill>
              <a:ln w="0">
                <a:noFill/>
                <a:prstDash val="solid"/>
                <a:round/>
                <a:headEnd/>
                <a:tailEnd/>
              </a:ln>
              <a:effectLst/>
            </p:spPr>
            <p:txBody>
              <a:bodyPr vert="horz" wrap="square" lIns="137142" tIns="205714" rIns="137142" bIns="137142" numCol="1" anchor="ctr" anchorCtr="1" compatLnSpc="1">
                <a:prstTxWarp prst="textNoShape">
                  <a:avLst/>
                </a:prstTxWarp>
              </a:bodyPr>
              <a:lstStyle/>
              <a:p>
                <a:pPr defTabSz="914204">
                  <a:defRPr/>
                </a:pPr>
                <a:r>
                  <a:rPr lang="en-US" sz="2000" b="1" kern="0" dirty="0">
                    <a:solidFill>
                      <a:prstClr val="white"/>
                    </a:solidFill>
                    <a:cs typeface="Verdana" panose="020B0604030504040204" pitchFamily="34" charset="0"/>
                  </a:rPr>
                  <a:t>1</a:t>
                </a:r>
              </a:p>
            </p:txBody>
          </p:sp>
        </p:grpSp>
        <p:grpSp>
          <p:nvGrpSpPr>
            <p:cNvPr id="27" name="Group 26">
              <a:extLst>
                <a:ext uri="{FF2B5EF4-FFF2-40B4-BE49-F238E27FC236}">
                  <a16:creationId xmlns:a16="http://schemas.microsoft.com/office/drawing/2014/main" id="{B4E1490B-1E4A-4F4F-915A-07F2BAC5CEFD}"/>
                </a:ext>
              </a:extLst>
            </p:cNvPr>
            <p:cNvGrpSpPr/>
            <p:nvPr/>
          </p:nvGrpSpPr>
          <p:grpSpPr>
            <a:xfrm>
              <a:off x="5037789" y="2786624"/>
              <a:ext cx="5023185" cy="868738"/>
              <a:chOff x="4310134" y="2240813"/>
              <a:chExt cx="6698453" cy="1158469"/>
            </a:xfrm>
          </p:grpSpPr>
          <p:sp>
            <p:nvSpPr>
              <p:cNvPr id="38" name="Rectangle 37">
                <a:extLst>
                  <a:ext uri="{FF2B5EF4-FFF2-40B4-BE49-F238E27FC236}">
                    <a16:creationId xmlns:a16="http://schemas.microsoft.com/office/drawing/2014/main" id="{2AC41C9D-EF71-4C03-8EA9-60F69266B738}"/>
                  </a:ext>
                </a:extLst>
              </p:cNvPr>
              <p:cNvSpPr/>
              <p:nvPr/>
            </p:nvSpPr>
            <p:spPr>
              <a:xfrm flipH="1">
                <a:off x="4310134" y="2342452"/>
                <a:ext cx="6698453" cy="1052920"/>
              </a:xfrm>
              <a:prstGeom prst="rect">
                <a:avLst/>
              </a:prstGeom>
              <a:solidFill>
                <a:srgbClr val="0097A9"/>
              </a:solidFill>
              <a:ln w="25400" cap="flat" cmpd="sng" algn="ctr">
                <a:noFill/>
                <a:prstDash val="solid"/>
              </a:ln>
              <a:effectLst/>
            </p:spPr>
            <p:txBody>
              <a:bodyPr lIns="1028566" rtlCol="0" anchor="ctr"/>
              <a:lstStyle/>
              <a:p>
                <a:pPr defTabSz="914204">
                  <a:defRPr/>
                </a:pPr>
                <a:r>
                  <a:rPr lang="en-US" sz="2000" kern="0" dirty="0">
                    <a:solidFill>
                      <a:prstClr val="white"/>
                    </a:solidFill>
                    <a:cs typeface="Verdana" panose="020B0604030504040204" pitchFamily="34" charset="0"/>
                  </a:rPr>
                  <a:t>Define and provide context around agile vocabulary (roles, artifacts, ceremonies)</a:t>
                </a:r>
              </a:p>
            </p:txBody>
          </p:sp>
          <p:sp>
            <p:nvSpPr>
              <p:cNvPr id="39" name="Freeform 11">
                <a:extLst>
                  <a:ext uri="{FF2B5EF4-FFF2-40B4-BE49-F238E27FC236}">
                    <a16:creationId xmlns:a16="http://schemas.microsoft.com/office/drawing/2014/main" id="{6C2390B7-E10A-46EB-BFF3-8B5CA3862CCF}"/>
                  </a:ext>
                </a:extLst>
              </p:cNvPr>
              <p:cNvSpPr>
                <a:spLocks/>
              </p:cNvSpPr>
              <p:nvPr/>
            </p:nvSpPr>
            <p:spPr bwMode="auto">
              <a:xfrm flipH="1">
                <a:off x="4310135" y="2347997"/>
                <a:ext cx="921993" cy="1051285"/>
              </a:xfrm>
              <a:custGeom>
                <a:avLst/>
                <a:gdLst>
                  <a:gd name="T0" fmla="*/ 1077 w 1077"/>
                  <a:gd name="T1" fmla="*/ 0 h 950"/>
                  <a:gd name="T2" fmla="*/ 1077 w 1077"/>
                  <a:gd name="T3" fmla="*/ 950 h 950"/>
                  <a:gd name="T4" fmla="*/ 0 w 1077"/>
                  <a:gd name="T5" fmla="*/ 897 h 950"/>
                  <a:gd name="T6" fmla="*/ 212 w 1077"/>
                  <a:gd name="T7" fmla="*/ 229 h 950"/>
                  <a:gd name="T8" fmla="*/ 333 w 1077"/>
                  <a:gd name="T9" fmla="*/ 17 h 950"/>
                  <a:gd name="T10" fmla="*/ 1077 w 1077"/>
                  <a:gd name="T11" fmla="*/ 0 h 950"/>
                  <a:gd name="connsiteX0" fmla="*/ 10000 w 10000"/>
                  <a:gd name="connsiteY0" fmla="*/ 0 h 10239"/>
                  <a:gd name="connsiteX1" fmla="*/ 9971 w 10000"/>
                  <a:gd name="connsiteY1" fmla="*/ 10239 h 10239"/>
                  <a:gd name="connsiteX2" fmla="*/ 0 w 10000"/>
                  <a:gd name="connsiteY2" fmla="*/ 9442 h 10239"/>
                  <a:gd name="connsiteX3" fmla="*/ 1968 w 10000"/>
                  <a:gd name="connsiteY3" fmla="*/ 2411 h 10239"/>
                  <a:gd name="connsiteX4" fmla="*/ 3092 w 10000"/>
                  <a:gd name="connsiteY4" fmla="*/ 179 h 10239"/>
                  <a:gd name="connsiteX5" fmla="*/ 10000 w 10000"/>
                  <a:gd name="connsiteY5" fmla="*/ 0 h 10239"/>
                  <a:gd name="connsiteX0" fmla="*/ 10000 w 10000"/>
                  <a:gd name="connsiteY0" fmla="*/ 0 h 10345"/>
                  <a:gd name="connsiteX1" fmla="*/ 9971 w 10000"/>
                  <a:gd name="connsiteY1" fmla="*/ 10345 h 10345"/>
                  <a:gd name="connsiteX2" fmla="*/ 0 w 10000"/>
                  <a:gd name="connsiteY2" fmla="*/ 9442 h 10345"/>
                  <a:gd name="connsiteX3" fmla="*/ 1968 w 10000"/>
                  <a:gd name="connsiteY3" fmla="*/ 2411 h 10345"/>
                  <a:gd name="connsiteX4" fmla="*/ 3092 w 10000"/>
                  <a:gd name="connsiteY4" fmla="*/ 179 h 10345"/>
                  <a:gd name="connsiteX5" fmla="*/ 10000 w 10000"/>
                  <a:gd name="connsiteY5" fmla="*/ 0 h 10345"/>
                  <a:gd name="connsiteX0" fmla="*/ 10000 w 10000"/>
                  <a:gd name="connsiteY0" fmla="*/ 0 h 10531"/>
                  <a:gd name="connsiteX1" fmla="*/ 9971 w 10000"/>
                  <a:gd name="connsiteY1" fmla="*/ 10531 h 10531"/>
                  <a:gd name="connsiteX2" fmla="*/ 0 w 10000"/>
                  <a:gd name="connsiteY2" fmla="*/ 9442 h 10531"/>
                  <a:gd name="connsiteX3" fmla="*/ 1968 w 10000"/>
                  <a:gd name="connsiteY3" fmla="*/ 2411 h 10531"/>
                  <a:gd name="connsiteX4" fmla="*/ 3092 w 10000"/>
                  <a:gd name="connsiteY4" fmla="*/ 179 h 10531"/>
                  <a:gd name="connsiteX5" fmla="*/ 10000 w 10000"/>
                  <a:gd name="connsiteY5" fmla="*/ 0 h 1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531">
                    <a:moveTo>
                      <a:pt x="10000" y="0"/>
                    </a:moveTo>
                    <a:cubicBezTo>
                      <a:pt x="9990" y="3413"/>
                      <a:pt x="9981" y="7118"/>
                      <a:pt x="9971" y="10531"/>
                    </a:cubicBezTo>
                    <a:lnTo>
                      <a:pt x="0" y="9442"/>
                    </a:lnTo>
                    <a:lnTo>
                      <a:pt x="1968" y="2411"/>
                    </a:lnTo>
                    <a:lnTo>
                      <a:pt x="3092" y="179"/>
                    </a:lnTo>
                    <a:lnTo>
                      <a:pt x="10000" y="0"/>
                    </a:lnTo>
                    <a:close/>
                  </a:path>
                </a:pathLst>
              </a:custGeom>
              <a:solidFill>
                <a:srgbClr val="004F59"/>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40" name="Freeform 12">
                <a:extLst>
                  <a:ext uri="{FF2B5EF4-FFF2-40B4-BE49-F238E27FC236}">
                    <a16:creationId xmlns:a16="http://schemas.microsoft.com/office/drawing/2014/main" id="{3C09214E-2193-47DD-85C4-ED8C06330A61}"/>
                  </a:ext>
                </a:extLst>
              </p:cNvPr>
              <p:cNvSpPr>
                <a:spLocks/>
              </p:cNvSpPr>
              <p:nvPr/>
            </p:nvSpPr>
            <p:spPr bwMode="auto">
              <a:xfrm flipH="1">
                <a:off x="4343521" y="2247403"/>
                <a:ext cx="1098345" cy="1051868"/>
              </a:xfrm>
              <a:custGeom>
                <a:avLst/>
                <a:gdLst>
                  <a:gd name="T0" fmla="*/ 1069 w 1283"/>
                  <a:gd name="T1" fmla="*/ 0 h 1001"/>
                  <a:gd name="T2" fmla="*/ 1283 w 1283"/>
                  <a:gd name="T3" fmla="*/ 848 h 1001"/>
                  <a:gd name="T4" fmla="*/ 236 w 1283"/>
                  <a:gd name="T5" fmla="*/ 1001 h 1001"/>
                  <a:gd name="T6" fmla="*/ 0 w 1283"/>
                  <a:gd name="T7" fmla="*/ 155 h 1001"/>
                  <a:gd name="T8" fmla="*/ 1069 w 1283"/>
                  <a:gd name="T9" fmla="*/ 0 h 1001"/>
                </a:gdLst>
                <a:ahLst/>
                <a:cxnLst>
                  <a:cxn ang="0">
                    <a:pos x="T0" y="T1"/>
                  </a:cxn>
                  <a:cxn ang="0">
                    <a:pos x="T2" y="T3"/>
                  </a:cxn>
                  <a:cxn ang="0">
                    <a:pos x="T4" y="T5"/>
                  </a:cxn>
                  <a:cxn ang="0">
                    <a:pos x="T6" y="T7"/>
                  </a:cxn>
                  <a:cxn ang="0">
                    <a:pos x="T8" y="T9"/>
                  </a:cxn>
                </a:cxnLst>
                <a:rect l="0" t="0" r="r" b="b"/>
                <a:pathLst>
                  <a:path w="1283" h="1001">
                    <a:moveTo>
                      <a:pt x="1069" y="0"/>
                    </a:moveTo>
                    <a:lnTo>
                      <a:pt x="1283" y="848"/>
                    </a:lnTo>
                    <a:lnTo>
                      <a:pt x="236" y="1001"/>
                    </a:lnTo>
                    <a:lnTo>
                      <a:pt x="0" y="155"/>
                    </a:lnTo>
                    <a:lnTo>
                      <a:pt x="1069" y="0"/>
                    </a:lnTo>
                    <a:close/>
                  </a:path>
                </a:pathLst>
              </a:custGeom>
              <a:solidFill>
                <a:srgbClr val="9DD4CF"/>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41" name="Freeform 13">
                <a:extLst>
                  <a:ext uri="{FF2B5EF4-FFF2-40B4-BE49-F238E27FC236}">
                    <a16:creationId xmlns:a16="http://schemas.microsoft.com/office/drawing/2014/main" id="{00261DEB-8141-4AAF-8A18-338692B5BBB2}"/>
                  </a:ext>
                </a:extLst>
              </p:cNvPr>
              <p:cNvSpPr>
                <a:spLocks/>
              </p:cNvSpPr>
              <p:nvPr/>
            </p:nvSpPr>
            <p:spPr bwMode="auto">
              <a:xfrm flipH="1">
                <a:off x="4343521" y="2240813"/>
                <a:ext cx="819264" cy="891094"/>
              </a:xfrm>
              <a:custGeom>
                <a:avLst/>
                <a:gdLst>
                  <a:gd name="T0" fmla="*/ 743 w 957"/>
                  <a:gd name="T1" fmla="*/ 0 h 848"/>
                  <a:gd name="T2" fmla="*/ 957 w 957"/>
                  <a:gd name="T3" fmla="*/ 848 h 848"/>
                  <a:gd name="T4" fmla="*/ 0 w 957"/>
                  <a:gd name="T5" fmla="*/ 813 h 848"/>
                  <a:gd name="T6" fmla="*/ 23 w 957"/>
                  <a:gd name="T7" fmla="*/ 208 h 848"/>
                  <a:gd name="T8" fmla="*/ 743 w 957"/>
                  <a:gd name="T9" fmla="*/ 0 h 848"/>
                </a:gdLst>
                <a:ahLst/>
                <a:cxnLst>
                  <a:cxn ang="0">
                    <a:pos x="T0" y="T1"/>
                  </a:cxn>
                  <a:cxn ang="0">
                    <a:pos x="T2" y="T3"/>
                  </a:cxn>
                  <a:cxn ang="0">
                    <a:pos x="T4" y="T5"/>
                  </a:cxn>
                  <a:cxn ang="0">
                    <a:pos x="T6" y="T7"/>
                  </a:cxn>
                  <a:cxn ang="0">
                    <a:pos x="T8" y="T9"/>
                  </a:cxn>
                </a:cxnLst>
                <a:rect l="0" t="0" r="r" b="b"/>
                <a:pathLst>
                  <a:path w="957" h="848">
                    <a:moveTo>
                      <a:pt x="743" y="0"/>
                    </a:moveTo>
                    <a:lnTo>
                      <a:pt x="957" y="848"/>
                    </a:lnTo>
                    <a:lnTo>
                      <a:pt x="0" y="813"/>
                    </a:lnTo>
                    <a:lnTo>
                      <a:pt x="23" y="208"/>
                    </a:lnTo>
                    <a:lnTo>
                      <a:pt x="743" y="0"/>
                    </a:lnTo>
                    <a:close/>
                  </a:path>
                </a:pathLst>
              </a:custGeom>
              <a:solidFill>
                <a:srgbClr val="0097A9"/>
              </a:solidFill>
              <a:ln w="0">
                <a:noFill/>
                <a:prstDash val="solid"/>
                <a:round/>
                <a:headEnd/>
                <a:tailEnd/>
              </a:ln>
              <a:effectLst/>
            </p:spPr>
            <p:txBody>
              <a:bodyPr vert="horz" wrap="square" lIns="137142" tIns="274284" rIns="205714" bIns="137142" numCol="1" anchor="ctr" anchorCtr="1" compatLnSpc="1">
                <a:prstTxWarp prst="textNoShape">
                  <a:avLst/>
                </a:prstTxWarp>
              </a:bodyPr>
              <a:lstStyle/>
              <a:p>
                <a:pPr defTabSz="914204">
                  <a:defRPr/>
                </a:pPr>
                <a:r>
                  <a:rPr lang="en-US" sz="2000" b="1" kern="0" dirty="0">
                    <a:solidFill>
                      <a:prstClr val="white"/>
                    </a:solidFill>
                    <a:cs typeface="Verdana" panose="020B0604030504040204" pitchFamily="34" charset="0"/>
                  </a:rPr>
                  <a:t>2</a:t>
                </a:r>
              </a:p>
            </p:txBody>
          </p:sp>
        </p:grpSp>
        <p:grpSp>
          <p:nvGrpSpPr>
            <p:cNvPr id="28" name="Group 27">
              <a:extLst>
                <a:ext uri="{FF2B5EF4-FFF2-40B4-BE49-F238E27FC236}">
                  <a16:creationId xmlns:a16="http://schemas.microsoft.com/office/drawing/2014/main" id="{3F36C5C6-F3A1-4C8D-8B65-7FAC9A2B621F}"/>
                </a:ext>
              </a:extLst>
            </p:cNvPr>
            <p:cNvGrpSpPr/>
            <p:nvPr/>
          </p:nvGrpSpPr>
          <p:grpSpPr>
            <a:xfrm>
              <a:off x="2654342" y="3678723"/>
              <a:ext cx="5025975" cy="887974"/>
              <a:chOff x="556181" y="3316292"/>
              <a:chExt cx="6702175" cy="1184120"/>
            </a:xfrm>
          </p:grpSpPr>
          <p:sp>
            <p:nvSpPr>
              <p:cNvPr id="34" name="Rectangle 22">
                <a:extLst>
                  <a:ext uri="{FF2B5EF4-FFF2-40B4-BE49-F238E27FC236}">
                    <a16:creationId xmlns:a16="http://schemas.microsoft.com/office/drawing/2014/main" id="{9DBF49B0-D1B6-4400-A980-B124379D538D}"/>
                  </a:ext>
                </a:extLst>
              </p:cNvPr>
              <p:cNvSpPr/>
              <p:nvPr/>
            </p:nvSpPr>
            <p:spPr>
              <a:xfrm>
                <a:off x="556181" y="3444970"/>
                <a:ext cx="6702175" cy="1055442"/>
              </a:xfrm>
              <a:custGeom>
                <a:avLst/>
                <a:gdLst>
                  <a:gd name="connsiteX0" fmla="*/ 0 w 8402638"/>
                  <a:gd name="connsiteY0" fmla="*/ 0 h 1590675"/>
                  <a:gd name="connsiteX1" fmla="*/ 8402638 w 8402638"/>
                  <a:gd name="connsiteY1" fmla="*/ 0 h 1590675"/>
                  <a:gd name="connsiteX2" fmla="*/ 8402638 w 8402638"/>
                  <a:gd name="connsiteY2" fmla="*/ 1590675 h 1590675"/>
                  <a:gd name="connsiteX3" fmla="*/ 0 w 8402638"/>
                  <a:gd name="connsiteY3" fmla="*/ 1590675 h 1590675"/>
                  <a:gd name="connsiteX4" fmla="*/ 0 w 8402638"/>
                  <a:gd name="connsiteY4" fmla="*/ 0 h 1590675"/>
                  <a:gd name="connsiteX0" fmla="*/ 0 w 8421688"/>
                  <a:gd name="connsiteY0" fmla="*/ 0 h 1590675"/>
                  <a:gd name="connsiteX1" fmla="*/ 8402638 w 8421688"/>
                  <a:gd name="connsiteY1" fmla="*/ 0 h 1590675"/>
                  <a:gd name="connsiteX2" fmla="*/ 8421688 w 8421688"/>
                  <a:gd name="connsiteY2" fmla="*/ 1590675 h 1590675"/>
                  <a:gd name="connsiteX3" fmla="*/ 0 w 8421688"/>
                  <a:gd name="connsiteY3" fmla="*/ 1590675 h 1590675"/>
                  <a:gd name="connsiteX4" fmla="*/ 0 w 8421688"/>
                  <a:gd name="connsiteY4" fmla="*/ 0 h 1590675"/>
                  <a:gd name="connsiteX0" fmla="*/ 0 w 8450263"/>
                  <a:gd name="connsiteY0" fmla="*/ 0 h 1590675"/>
                  <a:gd name="connsiteX1" fmla="*/ 8402638 w 8450263"/>
                  <a:gd name="connsiteY1" fmla="*/ 0 h 1590675"/>
                  <a:gd name="connsiteX2" fmla="*/ 8450263 w 8450263"/>
                  <a:gd name="connsiteY2" fmla="*/ 1590675 h 1590675"/>
                  <a:gd name="connsiteX3" fmla="*/ 0 w 8450263"/>
                  <a:gd name="connsiteY3" fmla="*/ 1590675 h 1590675"/>
                  <a:gd name="connsiteX4" fmla="*/ 0 w 8450263"/>
                  <a:gd name="connsiteY4" fmla="*/ 0 h 1590675"/>
                  <a:gd name="connsiteX0" fmla="*/ 0 w 8526463"/>
                  <a:gd name="connsiteY0" fmla="*/ 0 h 1590675"/>
                  <a:gd name="connsiteX1" fmla="*/ 8402638 w 8526463"/>
                  <a:gd name="connsiteY1" fmla="*/ 0 h 1590675"/>
                  <a:gd name="connsiteX2" fmla="*/ 8526463 w 8526463"/>
                  <a:gd name="connsiteY2" fmla="*/ 1590675 h 1590675"/>
                  <a:gd name="connsiteX3" fmla="*/ 0 w 8526463"/>
                  <a:gd name="connsiteY3" fmla="*/ 1590675 h 1590675"/>
                  <a:gd name="connsiteX4" fmla="*/ 0 w 8526463"/>
                  <a:gd name="connsiteY4" fmla="*/ 0 h 1590675"/>
                  <a:gd name="connsiteX0" fmla="*/ 0 w 8650288"/>
                  <a:gd name="connsiteY0" fmla="*/ 0 h 1590675"/>
                  <a:gd name="connsiteX1" fmla="*/ 8402638 w 8650288"/>
                  <a:gd name="connsiteY1" fmla="*/ 0 h 1590675"/>
                  <a:gd name="connsiteX2" fmla="*/ 8650288 w 8650288"/>
                  <a:gd name="connsiteY2" fmla="*/ 1590675 h 1590675"/>
                  <a:gd name="connsiteX3" fmla="*/ 0 w 8650288"/>
                  <a:gd name="connsiteY3" fmla="*/ 1590675 h 1590675"/>
                  <a:gd name="connsiteX4" fmla="*/ 0 w 8650288"/>
                  <a:gd name="connsiteY4" fmla="*/ 0 h 1590675"/>
                  <a:gd name="connsiteX0" fmla="*/ 0 w 8749348"/>
                  <a:gd name="connsiteY0" fmla="*/ 3810 h 1590675"/>
                  <a:gd name="connsiteX1" fmla="*/ 8501698 w 8749348"/>
                  <a:gd name="connsiteY1" fmla="*/ 0 h 1590675"/>
                  <a:gd name="connsiteX2" fmla="*/ 8749348 w 8749348"/>
                  <a:gd name="connsiteY2" fmla="*/ 1590675 h 1590675"/>
                  <a:gd name="connsiteX3" fmla="*/ 99060 w 8749348"/>
                  <a:gd name="connsiteY3" fmla="*/ 1590675 h 1590675"/>
                  <a:gd name="connsiteX4" fmla="*/ 0 w 8749348"/>
                  <a:gd name="connsiteY4" fmla="*/ 3810 h 1590675"/>
                  <a:gd name="connsiteX0" fmla="*/ 3810 w 8753158"/>
                  <a:gd name="connsiteY0" fmla="*/ 3810 h 1594485"/>
                  <a:gd name="connsiteX1" fmla="*/ 8505508 w 8753158"/>
                  <a:gd name="connsiteY1" fmla="*/ 0 h 1594485"/>
                  <a:gd name="connsiteX2" fmla="*/ 8753158 w 8753158"/>
                  <a:gd name="connsiteY2" fmla="*/ 1590675 h 1594485"/>
                  <a:gd name="connsiteX3" fmla="*/ 0 w 8753158"/>
                  <a:gd name="connsiteY3" fmla="*/ 1594485 h 1594485"/>
                  <a:gd name="connsiteX4" fmla="*/ 3810 w 8753158"/>
                  <a:gd name="connsiteY4" fmla="*/ 3810 h 159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3158" h="1594485">
                    <a:moveTo>
                      <a:pt x="3810" y="3810"/>
                    </a:moveTo>
                    <a:lnTo>
                      <a:pt x="8505508" y="0"/>
                    </a:lnTo>
                    <a:lnTo>
                      <a:pt x="8753158" y="1590675"/>
                    </a:lnTo>
                    <a:lnTo>
                      <a:pt x="0" y="1594485"/>
                    </a:lnTo>
                    <a:lnTo>
                      <a:pt x="3810" y="3810"/>
                    </a:lnTo>
                    <a:close/>
                  </a:path>
                </a:pathLst>
              </a:custGeom>
              <a:solidFill>
                <a:srgbClr val="005587"/>
              </a:solidFill>
              <a:ln w="25400" cap="flat" cmpd="sng" algn="ctr">
                <a:noFill/>
                <a:prstDash val="solid"/>
              </a:ln>
              <a:effectLst/>
            </p:spPr>
            <p:txBody>
              <a:bodyPr lIns="205714" rIns="1028566" rtlCol="0" anchor="ctr"/>
              <a:lstStyle/>
              <a:p>
                <a:pPr defTabSz="914204">
                  <a:defRPr/>
                </a:pPr>
                <a:r>
                  <a:rPr lang="en-US" sz="2000" kern="0" dirty="0">
                    <a:solidFill>
                      <a:prstClr val="white"/>
                    </a:solidFill>
                    <a:cs typeface="Verdana" panose="020B0604030504040204" pitchFamily="34" charset="0"/>
                  </a:rPr>
                  <a:t>Explain discovery, sprint cycles, and release and introduce the Deloitte agile framework  </a:t>
                </a:r>
              </a:p>
            </p:txBody>
          </p:sp>
          <p:sp>
            <p:nvSpPr>
              <p:cNvPr id="35" name="Freeform 7">
                <a:extLst>
                  <a:ext uri="{FF2B5EF4-FFF2-40B4-BE49-F238E27FC236}">
                    <a16:creationId xmlns:a16="http://schemas.microsoft.com/office/drawing/2014/main" id="{4C10AFC8-9872-409A-9AE7-2FEF1808709E}"/>
                  </a:ext>
                </a:extLst>
              </p:cNvPr>
              <p:cNvSpPr>
                <a:spLocks/>
              </p:cNvSpPr>
              <p:nvPr/>
            </p:nvSpPr>
            <p:spPr bwMode="auto">
              <a:xfrm>
                <a:off x="6100229" y="3421011"/>
                <a:ext cx="1157061" cy="1052920"/>
              </a:xfrm>
              <a:custGeom>
                <a:avLst/>
                <a:gdLst>
                  <a:gd name="T0" fmla="*/ 1510 w 1524"/>
                  <a:gd name="T1" fmla="*/ 0 h 1002"/>
                  <a:gd name="T2" fmla="*/ 1524 w 1524"/>
                  <a:gd name="T3" fmla="*/ 1002 h 1002"/>
                  <a:gd name="T4" fmla="*/ 0 w 1524"/>
                  <a:gd name="T5" fmla="*/ 901 h 1002"/>
                  <a:gd name="T6" fmla="*/ 269 w 1524"/>
                  <a:gd name="T7" fmla="*/ 366 h 1002"/>
                  <a:gd name="T8" fmla="*/ 399 w 1524"/>
                  <a:gd name="T9" fmla="*/ 86 h 1002"/>
                  <a:gd name="T10" fmla="*/ 1510 w 1524"/>
                  <a:gd name="T11" fmla="*/ 0 h 1002"/>
                </a:gdLst>
                <a:ahLst/>
                <a:cxnLst>
                  <a:cxn ang="0">
                    <a:pos x="T0" y="T1"/>
                  </a:cxn>
                  <a:cxn ang="0">
                    <a:pos x="T2" y="T3"/>
                  </a:cxn>
                  <a:cxn ang="0">
                    <a:pos x="T4" y="T5"/>
                  </a:cxn>
                  <a:cxn ang="0">
                    <a:pos x="T6" y="T7"/>
                  </a:cxn>
                  <a:cxn ang="0">
                    <a:pos x="T8" y="T9"/>
                  </a:cxn>
                  <a:cxn ang="0">
                    <a:pos x="T10" y="T11"/>
                  </a:cxn>
                </a:cxnLst>
                <a:rect l="0" t="0" r="r" b="b"/>
                <a:pathLst>
                  <a:path w="1524" h="1002">
                    <a:moveTo>
                      <a:pt x="1510" y="0"/>
                    </a:moveTo>
                    <a:lnTo>
                      <a:pt x="1524" y="1002"/>
                    </a:lnTo>
                    <a:lnTo>
                      <a:pt x="0" y="901"/>
                    </a:lnTo>
                    <a:lnTo>
                      <a:pt x="269" y="366"/>
                    </a:lnTo>
                    <a:lnTo>
                      <a:pt x="399" y="86"/>
                    </a:lnTo>
                    <a:lnTo>
                      <a:pt x="1510" y="0"/>
                    </a:lnTo>
                    <a:close/>
                  </a:path>
                </a:pathLst>
              </a:custGeom>
              <a:solidFill>
                <a:srgbClr val="041E42"/>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36" name="Freeform 8">
                <a:extLst>
                  <a:ext uri="{FF2B5EF4-FFF2-40B4-BE49-F238E27FC236}">
                    <a16:creationId xmlns:a16="http://schemas.microsoft.com/office/drawing/2014/main" id="{9692031E-9FAA-4841-9B83-54A6F2BB66A0}"/>
                  </a:ext>
                </a:extLst>
              </p:cNvPr>
              <p:cNvSpPr>
                <a:spLocks/>
              </p:cNvSpPr>
              <p:nvPr/>
            </p:nvSpPr>
            <p:spPr bwMode="auto">
              <a:xfrm>
                <a:off x="6083526" y="3381079"/>
                <a:ext cx="895128" cy="988819"/>
              </a:xfrm>
              <a:custGeom>
                <a:avLst/>
                <a:gdLst>
                  <a:gd name="T0" fmla="*/ 779 w 1179"/>
                  <a:gd name="T1" fmla="*/ 0 h 941"/>
                  <a:gd name="T2" fmla="*/ 883 w 1179"/>
                  <a:gd name="T3" fmla="*/ 126 h 941"/>
                  <a:gd name="T4" fmla="*/ 1179 w 1179"/>
                  <a:gd name="T5" fmla="*/ 892 h 941"/>
                  <a:gd name="T6" fmla="*/ 0 w 1179"/>
                  <a:gd name="T7" fmla="*/ 941 h 941"/>
                  <a:gd name="T8" fmla="*/ 127 w 1179"/>
                  <a:gd name="T9" fmla="*/ 55 h 941"/>
                  <a:gd name="T10" fmla="*/ 779 w 1179"/>
                  <a:gd name="T11" fmla="*/ 0 h 941"/>
                </a:gdLst>
                <a:ahLst/>
                <a:cxnLst>
                  <a:cxn ang="0">
                    <a:pos x="T0" y="T1"/>
                  </a:cxn>
                  <a:cxn ang="0">
                    <a:pos x="T2" y="T3"/>
                  </a:cxn>
                  <a:cxn ang="0">
                    <a:pos x="T4" y="T5"/>
                  </a:cxn>
                  <a:cxn ang="0">
                    <a:pos x="T6" y="T7"/>
                  </a:cxn>
                  <a:cxn ang="0">
                    <a:pos x="T8" y="T9"/>
                  </a:cxn>
                  <a:cxn ang="0">
                    <a:pos x="T10" y="T11"/>
                  </a:cxn>
                </a:cxnLst>
                <a:rect l="0" t="0" r="r" b="b"/>
                <a:pathLst>
                  <a:path w="1179" h="941">
                    <a:moveTo>
                      <a:pt x="779" y="0"/>
                    </a:moveTo>
                    <a:lnTo>
                      <a:pt x="883" y="126"/>
                    </a:lnTo>
                    <a:lnTo>
                      <a:pt x="1179" y="892"/>
                    </a:lnTo>
                    <a:lnTo>
                      <a:pt x="0" y="941"/>
                    </a:lnTo>
                    <a:lnTo>
                      <a:pt x="127" y="55"/>
                    </a:lnTo>
                    <a:lnTo>
                      <a:pt x="779" y="0"/>
                    </a:lnTo>
                    <a:close/>
                  </a:path>
                </a:pathLst>
              </a:custGeom>
              <a:solidFill>
                <a:srgbClr val="62B5E5"/>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37" name="Freeform 9">
                <a:extLst>
                  <a:ext uri="{FF2B5EF4-FFF2-40B4-BE49-F238E27FC236}">
                    <a16:creationId xmlns:a16="http://schemas.microsoft.com/office/drawing/2014/main" id="{5BB6756F-4DCD-43C1-88C0-1821FD2D40EC}"/>
                  </a:ext>
                </a:extLst>
              </p:cNvPr>
              <p:cNvSpPr>
                <a:spLocks/>
              </p:cNvSpPr>
              <p:nvPr/>
            </p:nvSpPr>
            <p:spPr bwMode="auto">
              <a:xfrm>
                <a:off x="6157636" y="3316292"/>
                <a:ext cx="816169" cy="1013676"/>
              </a:xfrm>
              <a:custGeom>
                <a:avLst/>
                <a:gdLst>
                  <a:gd name="T0" fmla="*/ 278 w 1075"/>
                  <a:gd name="T1" fmla="*/ 0 h 1027"/>
                  <a:gd name="T2" fmla="*/ 852 w 1075"/>
                  <a:gd name="T3" fmla="*/ 33 h 1027"/>
                  <a:gd name="T4" fmla="*/ 1075 w 1075"/>
                  <a:gd name="T5" fmla="*/ 1027 h 1027"/>
                  <a:gd name="T6" fmla="*/ 0 w 1075"/>
                  <a:gd name="T7" fmla="*/ 939 h 1027"/>
                  <a:gd name="T8" fmla="*/ 278 w 1075"/>
                  <a:gd name="T9" fmla="*/ 0 h 1027"/>
                </a:gdLst>
                <a:ahLst/>
                <a:cxnLst>
                  <a:cxn ang="0">
                    <a:pos x="T0" y="T1"/>
                  </a:cxn>
                  <a:cxn ang="0">
                    <a:pos x="T2" y="T3"/>
                  </a:cxn>
                  <a:cxn ang="0">
                    <a:pos x="T4" y="T5"/>
                  </a:cxn>
                  <a:cxn ang="0">
                    <a:pos x="T6" y="T7"/>
                  </a:cxn>
                  <a:cxn ang="0">
                    <a:pos x="T8" y="T9"/>
                  </a:cxn>
                </a:cxnLst>
                <a:rect l="0" t="0" r="r" b="b"/>
                <a:pathLst>
                  <a:path w="1075" h="1027">
                    <a:moveTo>
                      <a:pt x="278" y="0"/>
                    </a:moveTo>
                    <a:lnTo>
                      <a:pt x="852" y="33"/>
                    </a:lnTo>
                    <a:lnTo>
                      <a:pt x="1075" y="1027"/>
                    </a:lnTo>
                    <a:lnTo>
                      <a:pt x="0" y="939"/>
                    </a:lnTo>
                    <a:lnTo>
                      <a:pt x="278" y="0"/>
                    </a:lnTo>
                    <a:close/>
                  </a:path>
                </a:pathLst>
              </a:custGeom>
              <a:solidFill>
                <a:srgbClr val="005587"/>
              </a:solidFill>
              <a:ln w="0">
                <a:noFill/>
                <a:prstDash val="solid"/>
                <a:round/>
                <a:headEnd/>
                <a:tailEnd/>
              </a:ln>
              <a:effectLst/>
            </p:spPr>
            <p:txBody>
              <a:bodyPr vert="horz" wrap="square" lIns="137142" tIns="205714" rIns="137142" bIns="137142" numCol="1" anchor="ctr" anchorCtr="1" compatLnSpc="1">
                <a:prstTxWarp prst="textNoShape">
                  <a:avLst/>
                </a:prstTxWarp>
              </a:bodyPr>
              <a:lstStyle/>
              <a:p>
                <a:pPr defTabSz="914204">
                  <a:defRPr/>
                </a:pPr>
                <a:r>
                  <a:rPr lang="en-US" sz="2000" b="1" kern="0" dirty="0">
                    <a:solidFill>
                      <a:prstClr val="white"/>
                    </a:solidFill>
                    <a:cs typeface="Verdana" panose="020B0604030504040204" pitchFamily="34" charset="0"/>
                  </a:rPr>
                  <a:t>3</a:t>
                </a:r>
              </a:p>
            </p:txBody>
          </p:sp>
        </p:grpSp>
        <p:grpSp>
          <p:nvGrpSpPr>
            <p:cNvPr id="29" name="Group 28">
              <a:extLst>
                <a:ext uri="{FF2B5EF4-FFF2-40B4-BE49-F238E27FC236}">
                  <a16:creationId xmlns:a16="http://schemas.microsoft.com/office/drawing/2014/main" id="{615E72F8-DA48-4653-AE53-6C43FAD483ED}"/>
                </a:ext>
              </a:extLst>
            </p:cNvPr>
            <p:cNvGrpSpPr/>
            <p:nvPr/>
          </p:nvGrpSpPr>
          <p:grpSpPr>
            <a:xfrm>
              <a:off x="5167328" y="4569576"/>
              <a:ext cx="4488917" cy="868738"/>
              <a:chOff x="5092561" y="4484982"/>
              <a:chExt cx="5986004" cy="1158469"/>
            </a:xfrm>
          </p:grpSpPr>
          <p:sp>
            <p:nvSpPr>
              <p:cNvPr id="30" name="Rectangle 29">
                <a:extLst>
                  <a:ext uri="{FF2B5EF4-FFF2-40B4-BE49-F238E27FC236}">
                    <a16:creationId xmlns:a16="http://schemas.microsoft.com/office/drawing/2014/main" id="{0D678190-D921-4839-9C5D-520004602238}"/>
                  </a:ext>
                </a:extLst>
              </p:cNvPr>
              <p:cNvSpPr/>
              <p:nvPr/>
            </p:nvSpPr>
            <p:spPr>
              <a:xfrm flipH="1">
                <a:off x="5092561" y="4586621"/>
                <a:ext cx="5986004" cy="1052920"/>
              </a:xfrm>
              <a:prstGeom prst="rect">
                <a:avLst/>
              </a:prstGeom>
              <a:solidFill>
                <a:srgbClr val="63666A"/>
              </a:solidFill>
              <a:ln w="25400" cap="flat" cmpd="sng" algn="ctr">
                <a:noFill/>
                <a:prstDash val="solid"/>
              </a:ln>
              <a:effectLst/>
            </p:spPr>
            <p:txBody>
              <a:bodyPr lIns="1028566" rtlCol="0" anchor="ctr"/>
              <a:lstStyle/>
              <a:p>
                <a:pPr defTabSz="914204">
                  <a:defRPr/>
                </a:pPr>
                <a:r>
                  <a:rPr lang="en-US" sz="2000" dirty="0">
                    <a:solidFill>
                      <a:prstClr val="white"/>
                    </a:solidFill>
                  </a:rPr>
                  <a:t>Find additional resources and support</a:t>
                </a:r>
              </a:p>
            </p:txBody>
          </p:sp>
          <p:sp>
            <p:nvSpPr>
              <p:cNvPr id="31" name="Freeform 11">
                <a:extLst>
                  <a:ext uri="{FF2B5EF4-FFF2-40B4-BE49-F238E27FC236}">
                    <a16:creationId xmlns:a16="http://schemas.microsoft.com/office/drawing/2014/main" id="{22BD1E67-FFB2-4A71-AA66-07D00F2AC9A1}"/>
                  </a:ext>
                </a:extLst>
              </p:cNvPr>
              <p:cNvSpPr>
                <a:spLocks/>
              </p:cNvSpPr>
              <p:nvPr/>
            </p:nvSpPr>
            <p:spPr bwMode="auto">
              <a:xfrm flipH="1">
                <a:off x="5092563" y="4592166"/>
                <a:ext cx="921993" cy="1051285"/>
              </a:xfrm>
              <a:custGeom>
                <a:avLst/>
                <a:gdLst>
                  <a:gd name="T0" fmla="*/ 1077 w 1077"/>
                  <a:gd name="T1" fmla="*/ 0 h 950"/>
                  <a:gd name="T2" fmla="*/ 1077 w 1077"/>
                  <a:gd name="T3" fmla="*/ 950 h 950"/>
                  <a:gd name="T4" fmla="*/ 0 w 1077"/>
                  <a:gd name="T5" fmla="*/ 897 h 950"/>
                  <a:gd name="T6" fmla="*/ 212 w 1077"/>
                  <a:gd name="T7" fmla="*/ 229 h 950"/>
                  <a:gd name="T8" fmla="*/ 333 w 1077"/>
                  <a:gd name="T9" fmla="*/ 17 h 950"/>
                  <a:gd name="T10" fmla="*/ 1077 w 1077"/>
                  <a:gd name="T11" fmla="*/ 0 h 950"/>
                  <a:gd name="connsiteX0" fmla="*/ 10000 w 10000"/>
                  <a:gd name="connsiteY0" fmla="*/ 0 h 10239"/>
                  <a:gd name="connsiteX1" fmla="*/ 9971 w 10000"/>
                  <a:gd name="connsiteY1" fmla="*/ 10239 h 10239"/>
                  <a:gd name="connsiteX2" fmla="*/ 0 w 10000"/>
                  <a:gd name="connsiteY2" fmla="*/ 9442 h 10239"/>
                  <a:gd name="connsiteX3" fmla="*/ 1968 w 10000"/>
                  <a:gd name="connsiteY3" fmla="*/ 2411 h 10239"/>
                  <a:gd name="connsiteX4" fmla="*/ 3092 w 10000"/>
                  <a:gd name="connsiteY4" fmla="*/ 179 h 10239"/>
                  <a:gd name="connsiteX5" fmla="*/ 10000 w 10000"/>
                  <a:gd name="connsiteY5" fmla="*/ 0 h 10239"/>
                  <a:gd name="connsiteX0" fmla="*/ 10000 w 10000"/>
                  <a:gd name="connsiteY0" fmla="*/ 0 h 10345"/>
                  <a:gd name="connsiteX1" fmla="*/ 9971 w 10000"/>
                  <a:gd name="connsiteY1" fmla="*/ 10345 h 10345"/>
                  <a:gd name="connsiteX2" fmla="*/ 0 w 10000"/>
                  <a:gd name="connsiteY2" fmla="*/ 9442 h 10345"/>
                  <a:gd name="connsiteX3" fmla="*/ 1968 w 10000"/>
                  <a:gd name="connsiteY3" fmla="*/ 2411 h 10345"/>
                  <a:gd name="connsiteX4" fmla="*/ 3092 w 10000"/>
                  <a:gd name="connsiteY4" fmla="*/ 179 h 10345"/>
                  <a:gd name="connsiteX5" fmla="*/ 10000 w 10000"/>
                  <a:gd name="connsiteY5" fmla="*/ 0 h 10345"/>
                  <a:gd name="connsiteX0" fmla="*/ 10000 w 10000"/>
                  <a:gd name="connsiteY0" fmla="*/ 0 h 10531"/>
                  <a:gd name="connsiteX1" fmla="*/ 9971 w 10000"/>
                  <a:gd name="connsiteY1" fmla="*/ 10531 h 10531"/>
                  <a:gd name="connsiteX2" fmla="*/ 0 w 10000"/>
                  <a:gd name="connsiteY2" fmla="*/ 9442 h 10531"/>
                  <a:gd name="connsiteX3" fmla="*/ 1968 w 10000"/>
                  <a:gd name="connsiteY3" fmla="*/ 2411 h 10531"/>
                  <a:gd name="connsiteX4" fmla="*/ 3092 w 10000"/>
                  <a:gd name="connsiteY4" fmla="*/ 179 h 10531"/>
                  <a:gd name="connsiteX5" fmla="*/ 10000 w 10000"/>
                  <a:gd name="connsiteY5" fmla="*/ 0 h 1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531">
                    <a:moveTo>
                      <a:pt x="10000" y="0"/>
                    </a:moveTo>
                    <a:cubicBezTo>
                      <a:pt x="9990" y="3413"/>
                      <a:pt x="9981" y="7118"/>
                      <a:pt x="9971" y="10531"/>
                    </a:cubicBezTo>
                    <a:lnTo>
                      <a:pt x="0" y="9442"/>
                    </a:lnTo>
                    <a:lnTo>
                      <a:pt x="1968" y="2411"/>
                    </a:lnTo>
                    <a:lnTo>
                      <a:pt x="3092" y="179"/>
                    </a:lnTo>
                    <a:lnTo>
                      <a:pt x="10000" y="0"/>
                    </a:lnTo>
                    <a:close/>
                  </a:path>
                </a:pathLst>
              </a:custGeom>
              <a:solidFill>
                <a:srgbClr val="53565A"/>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32" name="Freeform 12">
                <a:extLst>
                  <a:ext uri="{FF2B5EF4-FFF2-40B4-BE49-F238E27FC236}">
                    <a16:creationId xmlns:a16="http://schemas.microsoft.com/office/drawing/2014/main" id="{84273ECA-C58F-4C90-AEBE-1A236898A802}"/>
                  </a:ext>
                </a:extLst>
              </p:cNvPr>
              <p:cNvSpPr>
                <a:spLocks/>
              </p:cNvSpPr>
              <p:nvPr/>
            </p:nvSpPr>
            <p:spPr bwMode="auto">
              <a:xfrm flipH="1">
                <a:off x="5125949" y="4484982"/>
                <a:ext cx="1098345" cy="1051868"/>
              </a:xfrm>
              <a:custGeom>
                <a:avLst/>
                <a:gdLst>
                  <a:gd name="T0" fmla="*/ 1069 w 1283"/>
                  <a:gd name="T1" fmla="*/ 0 h 1001"/>
                  <a:gd name="T2" fmla="*/ 1283 w 1283"/>
                  <a:gd name="T3" fmla="*/ 848 h 1001"/>
                  <a:gd name="T4" fmla="*/ 236 w 1283"/>
                  <a:gd name="T5" fmla="*/ 1001 h 1001"/>
                  <a:gd name="T6" fmla="*/ 0 w 1283"/>
                  <a:gd name="T7" fmla="*/ 155 h 1001"/>
                  <a:gd name="T8" fmla="*/ 1069 w 1283"/>
                  <a:gd name="T9" fmla="*/ 0 h 1001"/>
                </a:gdLst>
                <a:ahLst/>
                <a:cxnLst>
                  <a:cxn ang="0">
                    <a:pos x="T0" y="T1"/>
                  </a:cxn>
                  <a:cxn ang="0">
                    <a:pos x="T2" y="T3"/>
                  </a:cxn>
                  <a:cxn ang="0">
                    <a:pos x="T4" y="T5"/>
                  </a:cxn>
                  <a:cxn ang="0">
                    <a:pos x="T6" y="T7"/>
                  </a:cxn>
                  <a:cxn ang="0">
                    <a:pos x="T8" y="T9"/>
                  </a:cxn>
                </a:cxnLst>
                <a:rect l="0" t="0" r="r" b="b"/>
                <a:pathLst>
                  <a:path w="1283" h="1001">
                    <a:moveTo>
                      <a:pt x="1069" y="0"/>
                    </a:moveTo>
                    <a:lnTo>
                      <a:pt x="1283" y="848"/>
                    </a:lnTo>
                    <a:lnTo>
                      <a:pt x="236" y="1001"/>
                    </a:lnTo>
                    <a:lnTo>
                      <a:pt x="0" y="155"/>
                    </a:lnTo>
                    <a:lnTo>
                      <a:pt x="1069" y="0"/>
                    </a:lnTo>
                    <a:close/>
                  </a:path>
                </a:pathLst>
              </a:custGeom>
              <a:solidFill>
                <a:srgbClr val="A7A8AA"/>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33" name="Freeform 13">
                <a:extLst>
                  <a:ext uri="{FF2B5EF4-FFF2-40B4-BE49-F238E27FC236}">
                    <a16:creationId xmlns:a16="http://schemas.microsoft.com/office/drawing/2014/main" id="{6BA8A3BC-1762-4B8B-82CF-2C42864AEE88}"/>
                  </a:ext>
                </a:extLst>
              </p:cNvPr>
              <p:cNvSpPr>
                <a:spLocks/>
              </p:cNvSpPr>
              <p:nvPr/>
            </p:nvSpPr>
            <p:spPr bwMode="auto">
              <a:xfrm flipH="1">
                <a:off x="5125949" y="4484982"/>
                <a:ext cx="819264" cy="891094"/>
              </a:xfrm>
              <a:custGeom>
                <a:avLst/>
                <a:gdLst>
                  <a:gd name="T0" fmla="*/ 743 w 957"/>
                  <a:gd name="T1" fmla="*/ 0 h 848"/>
                  <a:gd name="T2" fmla="*/ 957 w 957"/>
                  <a:gd name="T3" fmla="*/ 848 h 848"/>
                  <a:gd name="T4" fmla="*/ 0 w 957"/>
                  <a:gd name="T5" fmla="*/ 813 h 848"/>
                  <a:gd name="T6" fmla="*/ 23 w 957"/>
                  <a:gd name="T7" fmla="*/ 208 h 848"/>
                  <a:gd name="T8" fmla="*/ 743 w 957"/>
                  <a:gd name="T9" fmla="*/ 0 h 848"/>
                </a:gdLst>
                <a:ahLst/>
                <a:cxnLst>
                  <a:cxn ang="0">
                    <a:pos x="T0" y="T1"/>
                  </a:cxn>
                  <a:cxn ang="0">
                    <a:pos x="T2" y="T3"/>
                  </a:cxn>
                  <a:cxn ang="0">
                    <a:pos x="T4" y="T5"/>
                  </a:cxn>
                  <a:cxn ang="0">
                    <a:pos x="T6" y="T7"/>
                  </a:cxn>
                  <a:cxn ang="0">
                    <a:pos x="T8" y="T9"/>
                  </a:cxn>
                </a:cxnLst>
                <a:rect l="0" t="0" r="r" b="b"/>
                <a:pathLst>
                  <a:path w="957" h="848">
                    <a:moveTo>
                      <a:pt x="743" y="0"/>
                    </a:moveTo>
                    <a:lnTo>
                      <a:pt x="957" y="848"/>
                    </a:lnTo>
                    <a:lnTo>
                      <a:pt x="0" y="813"/>
                    </a:lnTo>
                    <a:lnTo>
                      <a:pt x="23" y="208"/>
                    </a:lnTo>
                    <a:lnTo>
                      <a:pt x="743" y="0"/>
                    </a:lnTo>
                    <a:close/>
                  </a:path>
                </a:pathLst>
              </a:custGeom>
              <a:solidFill>
                <a:srgbClr val="63666A"/>
              </a:solidFill>
              <a:ln w="0">
                <a:noFill/>
                <a:prstDash val="solid"/>
                <a:round/>
                <a:headEnd/>
                <a:tailEnd/>
              </a:ln>
              <a:effectLst/>
            </p:spPr>
            <p:txBody>
              <a:bodyPr vert="horz" wrap="square" lIns="137142" tIns="274284" rIns="205714" bIns="137142" numCol="1" anchor="ctr" anchorCtr="1" compatLnSpc="1">
                <a:prstTxWarp prst="textNoShape">
                  <a:avLst/>
                </a:prstTxWarp>
              </a:bodyPr>
              <a:lstStyle/>
              <a:p>
                <a:pPr defTabSz="914204">
                  <a:defRPr/>
                </a:pPr>
                <a:r>
                  <a:rPr lang="en-US" sz="2000" b="1" kern="0" dirty="0">
                    <a:solidFill>
                      <a:prstClr val="white"/>
                    </a:solidFill>
                    <a:cs typeface="Verdana" panose="020B0604030504040204" pitchFamily="34" charset="0"/>
                  </a:rPr>
                  <a:t>4</a:t>
                </a:r>
              </a:p>
            </p:txBody>
          </p:sp>
        </p:grpSp>
      </p:grpSp>
    </p:spTree>
    <p:custDataLst>
      <p:tags r:id="rId1"/>
    </p:custDataLst>
    <p:extLst>
      <p:ext uri="{BB962C8B-B14F-4D97-AF65-F5344CB8AC3E}">
        <p14:creationId xmlns:p14="http://schemas.microsoft.com/office/powerpoint/2010/main" val="32314143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989F33C5-9FDC-40D5-A738-F3BADAE44741}"/>
              </a:ext>
            </a:extLst>
          </p:cNvPr>
          <p:cNvPicPr>
            <a:picLocks noChangeAspect="1"/>
          </p:cNvPicPr>
          <p:nvPr/>
        </p:nvPicPr>
        <p:blipFill>
          <a:blip r:embed="rId4">
            <a:biLevel thresh="50000"/>
          </a:blip>
          <a:stretch>
            <a:fillRect/>
          </a:stretch>
        </p:blipFill>
        <p:spPr>
          <a:xfrm>
            <a:off x="3712563" y="1040789"/>
            <a:ext cx="4789551" cy="4789551"/>
          </a:xfrm>
          <a:prstGeom prst="rect">
            <a:avLst/>
          </a:prstGeom>
        </p:spPr>
      </p:pic>
    </p:spTree>
    <p:custDataLst>
      <p:tags r:id="rId1"/>
    </p:custDataLst>
    <p:extLst>
      <p:ext uri="{BB962C8B-B14F-4D97-AF65-F5344CB8AC3E}">
        <p14:creationId xmlns:p14="http://schemas.microsoft.com/office/powerpoint/2010/main" val="123582459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1"/>
          <p:cNvSpPr txBox="1">
            <a:spLocks/>
          </p:cNvSpPr>
          <p:nvPr/>
        </p:nvSpPr>
        <p:spPr>
          <a:xfrm>
            <a:off x="3529426" y="1078959"/>
            <a:ext cx="5133150" cy="4490743"/>
          </a:xfrm>
          <a:prstGeom prst="rect">
            <a:avLst/>
          </a:prstGeom>
        </p:spPr>
        <p:txBody>
          <a:bodyPr vert="horz" lIns="0" tIns="0" rIns="0" bIns="0" rtlCol="0" anchor="ctr">
            <a:noAutofit/>
          </a:bodyPr>
          <a:lstStyle>
            <a:lvl1pPr marL="0" indent="0" algn="l" defTabSz="913117" rtl="0" eaLnBrk="1" latinLnBrk="0" hangingPunct="1">
              <a:spcBef>
                <a:spcPts val="1200"/>
              </a:spcBef>
              <a:buFont typeface="Arial" pitchFamily="34" charset="0"/>
              <a:buNone/>
              <a:defRPr sz="3000" b="0" kern="1200">
                <a:solidFill>
                  <a:schemeClr val="bg1"/>
                </a:solidFill>
                <a:latin typeface="Verdana" panose="020B0604030504040204" pitchFamily="34" charset="0"/>
                <a:ea typeface="+mn-ea"/>
                <a:cs typeface="+mn-cs"/>
              </a:defRPr>
            </a:lvl1pPr>
            <a:lvl2pPr marL="0" indent="0" algn="l" defTabSz="913117" rtl="0" eaLnBrk="1" latinLnBrk="0" hangingPunct="1">
              <a:spcBef>
                <a:spcPts val="1200"/>
              </a:spcBef>
              <a:buFont typeface="Arial" pitchFamily="34" charset="0"/>
              <a:buNone/>
              <a:tabLst/>
              <a:defRPr sz="3000" b="0" kern="1200">
                <a:solidFill>
                  <a:schemeClr val="bg1"/>
                </a:solidFill>
                <a:latin typeface="Verdana" panose="020B0604030504040204" pitchFamily="34" charset="0"/>
                <a:ea typeface="+mn-ea"/>
                <a:cs typeface="+mn-cs"/>
              </a:defRPr>
            </a:lvl2pPr>
            <a:lvl3pPr marL="274254" indent="-274254" algn="l" defTabSz="913117" rtl="0" eaLnBrk="1" latinLnBrk="0" hangingPunct="1">
              <a:spcBef>
                <a:spcPts val="1200"/>
              </a:spcBef>
              <a:buFont typeface="Arial" pitchFamily="34" charset="0"/>
              <a:buChar char="•"/>
              <a:defRPr sz="3000" b="0" i="1" kern="1200">
                <a:solidFill>
                  <a:schemeClr val="bg1"/>
                </a:solidFill>
                <a:latin typeface="Verdana" panose="020B0604030504040204" pitchFamily="34" charset="0"/>
                <a:ea typeface="+mn-ea"/>
                <a:cs typeface="+mn-cs"/>
              </a:defRPr>
            </a:lvl3pPr>
            <a:lvl4pPr marL="538993" indent="-272666" algn="l" defTabSz="913117" rtl="0" eaLnBrk="1" latinLnBrk="0" hangingPunct="1">
              <a:spcBef>
                <a:spcPts val="1200"/>
              </a:spcBef>
              <a:buFont typeface="Arial" pitchFamily="34" charset="0"/>
              <a:buChar char="−"/>
              <a:defRPr sz="3000" b="0" kern="1200">
                <a:solidFill>
                  <a:schemeClr val="bg1"/>
                </a:solidFill>
                <a:latin typeface="Verdana" panose="020B0604030504040204" pitchFamily="34" charset="0"/>
                <a:ea typeface="+mn-ea"/>
                <a:cs typeface="+mn-cs"/>
              </a:defRPr>
            </a:lvl4pPr>
            <a:lvl5pPr marL="805319" indent="-266327" algn="l" defTabSz="913117" rtl="0" eaLnBrk="1" latinLnBrk="0" hangingPunct="1">
              <a:spcBef>
                <a:spcPts val="1200"/>
              </a:spcBef>
              <a:buFont typeface="Arial" pitchFamily="34" charset="0"/>
              <a:buChar char="−"/>
              <a:defRPr sz="3000" b="0" kern="1200">
                <a:solidFill>
                  <a:schemeClr val="bg1"/>
                </a:solidFill>
                <a:latin typeface="Verdana" panose="020B0604030504040204" pitchFamily="34" charset="0"/>
                <a:ea typeface="+mn-ea"/>
                <a:cs typeface="+mn-cs"/>
              </a:defRPr>
            </a:lvl5pPr>
            <a:lvl6pPr marL="2511074" indent="-228282" algn="l" defTabSz="91311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634" indent="-228282" algn="l" defTabSz="91311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191" indent="-228282" algn="l" defTabSz="91311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748" indent="-228282" algn="l" defTabSz="91311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4810">
              <a:spcBef>
                <a:spcPts val="900"/>
              </a:spcBef>
              <a:defRPr/>
            </a:pPr>
            <a:r>
              <a:rPr lang="en-US" dirty="0">
                <a:solidFill>
                  <a:sysClr val="window" lastClr="FFFFFF"/>
                </a:solidFill>
                <a:latin typeface="+mn-lt"/>
              </a:rPr>
              <a:t>Thank you!</a:t>
            </a:r>
          </a:p>
        </p:txBody>
      </p:sp>
    </p:spTree>
    <p:custDataLst>
      <p:tags r:id="rId1"/>
    </p:custDataLst>
    <p:extLst>
      <p:ext uri="{BB962C8B-B14F-4D97-AF65-F5344CB8AC3E}">
        <p14:creationId xmlns:p14="http://schemas.microsoft.com/office/powerpoint/2010/main" val="371486436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467337" y="5523293"/>
            <a:ext cx="9068549"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b="1" dirty="0">
                <a:solidFill>
                  <a:schemeClr val="tx1"/>
                </a:solidFill>
              </a:rPr>
              <a:t>About Deloitte</a:t>
            </a:r>
            <a:br>
              <a:rPr lang="en-US" sz="900" dirty="0">
                <a:solidFill>
                  <a:schemeClr val="tx1"/>
                </a:solidFill>
              </a:rPr>
            </a:br>
            <a:r>
              <a:rPr lang="en-US" sz="900" dirty="0">
                <a:solidFill>
                  <a:schemeClr val="tx1"/>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900" dirty="0">
                <a:solidFill>
                  <a:schemeClr val="tx1"/>
                </a:solidFill>
                <a:hlinkClick r:id="rId3"/>
              </a:rPr>
              <a:t>www.deloitte.com/about</a:t>
            </a:r>
            <a:r>
              <a:rPr lang="en-US" sz="900" dirty="0">
                <a:solidFill>
                  <a:schemeClr val="tx1"/>
                </a:solidFill>
              </a:rPr>
              <a:t> to learn more about our global network of member firms.</a:t>
            </a:r>
            <a:br>
              <a:rPr lang="en-US" sz="900" dirty="0">
                <a:solidFill>
                  <a:schemeClr val="tx1"/>
                </a:solidFill>
              </a:rPr>
            </a:br>
            <a:endParaRPr lang="en-US" sz="900" dirty="0">
              <a:solidFill>
                <a:schemeClr val="tx1"/>
              </a:solidFill>
            </a:endParaRPr>
          </a:p>
          <a:p>
            <a:endParaRPr lang="en-US" sz="900" dirty="0">
              <a:solidFill>
                <a:schemeClr val="tx1"/>
              </a:solidFill>
            </a:endParaRPr>
          </a:p>
        </p:txBody>
      </p:sp>
      <p:sp>
        <p:nvSpPr>
          <p:cNvPr id="14" name="USOC_Text">
            <a:extLst>
              <a:ext uri="{FF2B5EF4-FFF2-40B4-BE49-F238E27FC236}">
                <a16:creationId xmlns:a16="http://schemas.microsoft.com/office/drawing/2014/main" id="{CEDEAACE-3FA4-46C9-BBB8-3B42FA5EB67E}"/>
              </a:ext>
            </a:extLst>
          </p:cNvPr>
          <p:cNvSpPr txBox="1">
            <a:spLocks/>
          </p:cNvSpPr>
          <p:nvPr/>
        </p:nvSpPr>
        <p:spPr bwMode="gray">
          <a:xfrm>
            <a:off x="467337" y="6310750"/>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dirty="0">
                <a:solidFill>
                  <a:schemeClr val="tx1"/>
                </a:solidFill>
              </a:rPr>
              <a:t>Copyright © 2021 Deloitte Development LLC. All rights reserved.</a:t>
            </a:r>
            <a:br>
              <a:rPr lang="en-US" sz="900" dirty="0">
                <a:solidFill>
                  <a:schemeClr val="tx1"/>
                </a:solidFill>
              </a:rPr>
            </a:br>
            <a:endParaRPr lang="en-US" sz="900" dirty="0">
              <a:solidFill>
                <a:schemeClr val="tx1"/>
              </a:solidFill>
            </a:endParaRPr>
          </a:p>
        </p:txBody>
      </p:sp>
    </p:spTree>
    <p:extLst>
      <p:ext uri="{BB962C8B-B14F-4D97-AF65-F5344CB8AC3E}">
        <p14:creationId xmlns:p14="http://schemas.microsoft.com/office/powerpoint/2010/main" val="114131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arning Objectives</a:t>
            </a:r>
          </a:p>
        </p:txBody>
      </p:sp>
      <p:sp>
        <p:nvSpPr>
          <p:cNvPr id="8" name="Text Placeholder 7">
            <a:extLst>
              <a:ext uri="{FF2B5EF4-FFF2-40B4-BE49-F238E27FC236}">
                <a16:creationId xmlns:a16="http://schemas.microsoft.com/office/drawing/2014/main" id="{9220F7E4-C211-4F18-BA5C-BDB0E17E58ED}"/>
              </a:ext>
            </a:extLst>
          </p:cNvPr>
          <p:cNvSpPr>
            <a:spLocks noGrp="1"/>
          </p:cNvSpPr>
          <p:nvPr>
            <p:ph type="body" sz="quarter" idx="13"/>
          </p:nvPr>
        </p:nvSpPr>
        <p:spPr/>
        <p:txBody>
          <a:bodyPr/>
          <a:lstStyle/>
          <a:p>
            <a:r>
              <a:rPr lang="en-US" dirty="0"/>
              <a:t> </a:t>
            </a:r>
          </a:p>
        </p:txBody>
      </p:sp>
      <p:grpSp>
        <p:nvGrpSpPr>
          <p:cNvPr id="4" name="Group 3">
            <a:extLst>
              <a:ext uri="{FF2B5EF4-FFF2-40B4-BE49-F238E27FC236}">
                <a16:creationId xmlns:a16="http://schemas.microsoft.com/office/drawing/2014/main" id="{CC6C3A5D-C655-4CC7-A1C2-8307B640DD93}"/>
              </a:ext>
            </a:extLst>
          </p:cNvPr>
          <p:cNvGrpSpPr/>
          <p:nvPr/>
        </p:nvGrpSpPr>
        <p:grpSpPr>
          <a:xfrm>
            <a:off x="1165806" y="1360160"/>
            <a:ext cx="9860389" cy="4620280"/>
            <a:chOff x="2363093" y="1831320"/>
            <a:chExt cx="7697881" cy="3606994"/>
          </a:xfrm>
        </p:grpSpPr>
        <p:grpSp>
          <p:nvGrpSpPr>
            <p:cNvPr id="56" name="Group 55"/>
            <p:cNvGrpSpPr/>
            <p:nvPr/>
          </p:nvGrpSpPr>
          <p:grpSpPr>
            <a:xfrm>
              <a:off x="2363093" y="1831320"/>
              <a:ext cx="4491791" cy="917245"/>
              <a:chOff x="775135" y="1071610"/>
              <a:chExt cx="5989837" cy="1223153"/>
            </a:xfrm>
          </p:grpSpPr>
          <p:sp>
            <p:nvSpPr>
              <p:cNvPr id="22" name="Rectangle 21"/>
              <p:cNvSpPr/>
              <p:nvPr/>
            </p:nvSpPr>
            <p:spPr>
              <a:xfrm>
                <a:off x="775135" y="1241843"/>
                <a:ext cx="5980959" cy="1052920"/>
              </a:xfrm>
              <a:prstGeom prst="rect">
                <a:avLst/>
              </a:prstGeom>
              <a:solidFill>
                <a:srgbClr val="86BC25"/>
              </a:solidFill>
              <a:ln w="25400" cap="flat" cmpd="sng" algn="ctr">
                <a:noFill/>
                <a:prstDash val="solid"/>
              </a:ln>
              <a:effectLst/>
            </p:spPr>
            <p:txBody>
              <a:bodyPr lIns="205714" rIns="891424" rtlCol="0" anchor="ctr"/>
              <a:lstStyle/>
              <a:p>
                <a:pPr defTabSz="914204">
                  <a:defRPr/>
                </a:pPr>
                <a:r>
                  <a:rPr lang="en-US" sz="2000" kern="0" dirty="0">
                    <a:solidFill>
                      <a:prstClr val="white"/>
                    </a:solidFill>
                    <a:cs typeface="Verdana" panose="020B0604030504040204" pitchFamily="34" charset="0"/>
                  </a:rPr>
                  <a:t>Define agile and the agile mindset</a:t>
                </a:r>
              </a:p>
            </p:txBody>
          </p:sp>
          <p:sp>
            <p:nvSpPr>
              <p:cNvPr id="23" name="Freeform 7"/>
              <p:cNvSpPr>
                <a:spLocks/>
              </p:cNvSpPr>
              <p:nvPr/>
            </p:nvSpPr>
            <p:spPr bwMode="auto">
              <a:xfrm>
                <a:off x="5607911" y="1241843"/>
                <a:ext cx="1157061" cy="1052920"/>
              </a:xfrm>
              <a:custGeom>
                <a:avLst/>
                <a:gdLst>
                  <a:gd name="T0" fmla="*/ 1510 w 1524"/>
                  <a:gd name="T1" fmla="*/ 0 h 1002"/>
                  <a:gd name="T2" fmla="*/ 1524 w 1524"/>
                  <a:gd name="T3" fmla="*/ 1002 h 1002"/>
                  <a:gd name="T4" fmla="*/ 0 w 1524"/>
                  <a:gd name="T5" fmla="*/ 901 h 1002"/>
                  <a:gd name="T6" fmla="*/ 269 w 1524"/>
                  <a:gd name="T7" fmla="*/ 366 h 1002"/>
                  <a:gd name="T8" fmla="*/ 399 w 1524"/>
                  <a:gd name="T9" fmla="*/ 86 h 1002"/>
                  <a:gd name="T10" fmla="*/ 1510 w 1524"/>
                  <a:gd name="T11" fmla="*/ 0 h 1002"/>
                </a:gdLst>
                <a:ahLst/>
                <a:cxnLst>
                  <a:cxn ang="0">
                    <a:pos x="T0" y="T1"/>
                  </a:cxn>
                  <a:cxn ang="0">
                    <a:pos x="T2" y="T3"/>
                  </a:cxn>
                  <a:cxn ang="0">
                    <a:pos x="T4" y="T5"/>
                  </a:cxn>
                  <a:cxn ang="0">
                    <a:pos x="T6" y="T7"/>
                  </a:cxn>
                  <a:cxn ang="0">
                    <a:pos x="T8" y="T9"/>
                  </a:cxn>
                  <a:cxn ang="0">
                    <a:pos x="T10" y="T11"/>
                  </a:cxn>
                </a:cxnLst>
                <a:rect l="0" t="0" r="r" b="b"/>
                <a:pathLst>
                  <a:path w="1524" h="1002">
                    <a:moveTo>
                      <a:pt x="1510" y="0"/>
                    </a:moveTo>
                    <a:lnTo>
                      <a:pt x="1524" y="1002"/>
                    </a:lnTo>
                    <a:lnTo>
                      <a:pt x="0" y="901"/>
                    </a:lnTo>
                    <a:lnTo>
                      <a:pt x="269" y="366"/>
                    </a:lnTo>
                    <a:lnTo>
                      <a:pt x="399" y="86"/>
                    </a:lnTo>
                    <a:lnTo>
                      <a:pt x="1510" y="0"/>
                    </a:lnTo>
                    <a:close/>
                  </a:path>
                </a:pathLst>
              </a:custGeom>
              <a:solidFill>
                <a:srgbClr val="2C5234"/>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24" name="Freeform 8"/>
              <p:cNvSpPr>
                <a:spLocks/>
              </p:cNvSpPr>
              <p:nvPr/>
            </p:nvSpPr>
            <p:spPr bwMode="auto">
              <a:xfrm>
                <a:off x="5582330" y="1201911"/>
                <a:ext cx="895128" cy="988819"/>
              </a:xfrm>
              <a:custGeom>
                <a:avLst/>
                <a:gdLst>
                  <a:gd name="T0" fmla="*/ 779 w 1179"/>
                  <a:gd name="T1" fmla="*/ 0 h 941"/>
                  <a:gd name="T2" fmla="*/ 883 w 1179"/>
                  <a:gd name="T3" fmla="*/ 126 h 941"/>
                  <a:gd name="T4" fmla="*/ 1179 w 1179"/>
                  <a:gd name="T5" fmla="*/ 892 h 941"/>
                  <a:gd name="T6" fmla="*/ 0 w 1179"/>
                  <a:gd name="T7" fmla="*/ 941 h 941"/>
                  <a:gd name="T8" fmla="*/ 127 w 1179"/>
                  <a:gd name="T9" fmla="*/ 55 h 941"/>
                  <a:gd name="T10" fmla="*/ 779 w 1179"/>
                  <a:gd name="T11" fmla="*/ 0 h 941"/>
                </a:gdLst>
                <a:ahLst/>
                <a:cxnLst>
                  <a:cxn ang="0">
                    <a:pos x="T0" y="T1"/>
                  </a:cxn>
                  <a:cxn ang="0">
                    <a:pos x="T2" y="T3"/>
                  </a:cxn>
                  <a:cxn ang="0">
                    <a:pos x="T4" y="T5"/>
                  </a:cxn>
                  <a:cxn ang="0">
                    <a:pos x="T6" y="T7"/>
                  </a:cxn>
                  <a:cxn ang="0">
                    <a:pos x="T8" y="T9"/>
                  </a:cxn>
                  <a:cxn ang="0">
                    <a:pos x="T10" y="T11"/>
                  </a:cxn>
                </a:cxnLst>
                <a:rect l="0" t="0" r="r" b="b"/>
                <a:pathLst>
                  <a:path w="1179" h="941">
                    <a:moveTo>
                      <a:pt x="779" y="0"/>
                    </a:moveTo>
                    <a:lnTo>
                      <a:pt x="883" y="126"/>
                    </a:lnTo>
                    <a:lnTo>
                      <a:pt x="1179" y="892"/>
                    </a:lnTo>
                    <a:lnTo>
                      <a:pt x="0" y="941"/>
                    </a:lnTo>
                    <a:lnTo>
                      <a:pt x="127" y="55"/>
                    </a:lnTo>
                    <a:lnTo>
                      <a:pt x="779" y="0"/>
                    </a:lnTo>
                    <a:close/>
                  </a:path>
                </a:pathLst>
              </a:custGeom>
              <a:solidFill>
                <a:srgbClr val="E3E48D"/>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25" name="Freeform 9"/>
              <p:cNvSpPr>
                <a:spLocks/>
              </p:cNvSpPr>
              <p:nvPr/>
            </p:nvSpPr>
            <p:spPr bwMode="auto">
              <a:xfrm>
                <a:off x="5674196" y="1071610"/>
                <a:ext cx="816169" cy="1079190"/>
              </a:xfrm>
              <a:custGeom>
                <a:avLst/>
                <a:gdLst>
                  <a:gd name="T0" fmla="*/ 278 w 1075"/>
                  <a:gd name="T1" fmla="*/ 0 h 1027"/>
                  <a:gd name="T2" fmla="*/ 852 w 1075"/>
                  <a:gd name="T3" fmla="*/ 33 h 1027"/>
                  <a:gd name="T4" fmla="*/ 1075 w 1075"/>
                  <a:gd name="T5" fmla="*/ 1027 h 1027"/>
                  <a:gd name="T6" fmla="*/ 0 w 1075"/>
                  <a:gd name="T7" fmla="*/ 939 h 1027"/>
                  <a:gd name="T8" fmla="*/ 278 w 1075"/>
                  <a:gd name="T9" fmla="*/ 0 h 1027"/>
                </a:gdLst>
                <a:ahLst/>
                <a:cxnLst>
                  <a:cxn ang="0">
                    <a:pos x="T0" y="T1"/>
                  </a:cxn>
                  <a:cxn ang="0">
                    <a:pos x="T2" y="T3"/>
                  </a:cxn>
                  <a:cxn ang="0">
                    <a:pos x="T4" y="T5"/>
                  </a:cxn>
                  <a:cxn ang="0">
                    <a:pos x="T6" y="T7"/>
                  </a:cxn>
                  <a:cxn ang="0">
                    <a:pos x="T8" y="T9"/>
                  </a:cxn>
                </a:cxnLst>
                <a:rect l="0" t="0" r="r" b="b"/>
                <a:pathLst>
                  <a:path w="1075" h="1027">
                    <a:moveTo>
                      <a:pt x="278" y="0"/>
                    </a:moveTo>
                    <a:lnTo>
                      <a:pt x="852" y="33"/>
                    </a:lnTo>
                    <a:lnTo>
                      <a:pt x="1075" y="1027"/>
                    </a:lnTo>
                    <a:lnTo>
                      <a:pt x="0" y="939"/>
                    </a:lnTo>
                    <a:lnTo>
                      <a:pt x="278" y="0"/>
                    </a:lnTo>
                    <a:close/>
                  </a:path>
                </a:pathLst>
              </a:custGeom>
              <a:solidFill>
                <a:srgbClr val="86BC25"/>
              </a:solidFill>
              <a:ln w="0">
                <a:noFill/>
                <a:prstDash val="solid"/>
                <a:round/>
                <a:headEnd/>
                <a:tailEnd/>
              </a:ln>
              <a:effectLst/>
            </p:spPr>
            <p:txBody>
              <a:bodyPr vert="horz" wrap="square" lIns="137142" tIns="205714" rIns="137142" bIns="137142" numCol="1" anchor="ctr" anchorCtr="1" compatLnSpc="1">
                <a:prstTxWarp prst="textNoShape">
                  <a:avLst/>
                </a:prstTxWarp>
              </a:bodyPr>
              <a:lstStyle/>
              <a:p>
                <a:pPr defTabSz="914204">
                  <a:defRPr/>
                </a:pPr>
                <a:r>
                  <a:rPr lang="en-US" sz="2000" b="1" kern="0" dirty="0">
                    <a:solidFill>
                      <a:prstClr val="white"/>
                    </a:solidFill>
                    <a:cs typeface="Verdana" panose="020B0604030504040204" pitchFamily="34" charset="0"/>
                  </a:rPr>
                  <a:t>1</a:t>
                </a:r>
              </a:p>
            </p:txBody>
          </p:sp>
        </p:grpSp>
        <p:grpSp>
          <p:nvGrpSpPr>
            <p:cNvPr id="57" name="Group 56"/>
            <p:cNvGrpSpPr/>
            <p:nvPr/>
          </p:nvGrpSpPr>
          <p:grpSpPr>
            <a:xfrm>
              <a:off x="5037789" y="2786624"/>
              <a:ext cx="5023185" cy="868738"/>
              <a:chOff x="4310134" y="2240813"/>
              <a:chExt cx="6698453" cy="1158469"/>
            </a:xfrm>
          </p:grpSpPr>
          <p:sp>
            <p:nvSpPr>
              <p:cNvPr id="26" name="Rectangle 25"/>
              <p:cNvSpPr/>
              <p:nvPr/>
            </p:nvSpPr>
            <p:spPr>
              <a:xfrm flipH="1">
                <a:off x="4310134" y="2342452"/>
                <a:ext cx="6698453" cy="1052920"/>
              </a:xfrm>
              <a:prstGeom prst="rect">
                <a:avLst/>
              </a:prstGeom>
              <a:solidFill>
                <a:srgbClr val="0097A9"/>
              </a:solidFill>
              <a:ln w="25400" cap="flat" cmpd="sng" algn="ctr">
                <a:noFill/>
                <a:prstDash val="solid"/>
              </a:ln>
              <a:effectLst/>
            </p:spPr>
            <p:txBody>
              <a:bodyPr lIns="1028566" rtlCol="0" anchor="ctr"/>
              <a:lstStyle/>
              <a:p>
                <a:pPr defTabSz="914204">
                  <a:defRPr/>
                </a:pPr>
                <a:r>
                  <a:rPr lang="en-US" sz="2000" kern="0" dirty="0">
                    <a:solidFill>
                      <a:prstClr val="white"/>
                    </a:solidFill>
                    <a:cs typeface="Verdana" panose="020B0604030504040204" pitchFamily="34" charset="0"/>
                  </a:rPr>
                  <a:t>Define and provide context around agile vocabulary (roles, artifacts, ceremonies)</a:t>
                </a:r>
              </a:p>
            </p:txBody>
          </p:sp>
          <p:sp>
            <p:nvSpPr>
              <p:cNvPr id="27" name="Freeform 11"/>
              <p:cNvSpPr>
                <a:spLocks/>
              </p:cNvSpPr>
              <p:nvPr/>
            </p:nvSpPr>
            <p:spPr bwMode="auto">
              <a:xfrm flipH="1">
                <a:off x="4310135" y="2347997"/>
                <a:ext cx="921993" cy="1051285"/>
              </a:xfrm>
              <a:custGeom>
                <a:avLst/>
                <a:gdLst>
                  <a:gd name="T0" fmla="*/ 1077 w 1077"/>
                  <a:gd name="T1" fmla="*/ 0 h 950"/>
                  <a:gd name="T2" fmla="*/ 1077 w 1077"/>
                  <a:gd name="T3" fmla="*/ 950 h 950"/>
                  <a:gd name="T4" fmla="*/ 0 w 1077"/>
                  <a:gd name="T5" fmla="*/ 897 h 950"/>
                  <a:gd name="T6" fmla="*/ 212 w 1077"/>
                  <a:gd name="T7" fmla="*/ 229 h 950"/>
                  <a:gd name="T8" fmla="*/ 333 w 1077"/>
                  <a:gd name="T9" fmla="*/ 17 h 950"/>
                  <a:gd name="T10" fmla="*/ 1077 w 1077"/>
                  <a:gd name="T11" fmla="*/ 0 h 950"/>
                  <a:gd name="connsiteX0" fmla="*/ 10000 w 10000"/>
                  <a:gd name="connsiteY0" fmla="*/ 0 h 10239"/>
                  <a:gd name="connsiteX1" fmla="*/ 9971 w 10000"/>
                  <a:gd name="connsiteY1" fmla="*/ 10239 h 10239"/>
                  <a:gd name="connsiteX2" fmla="*/ 0 w 10000"/>
                  <a:gd name="connsiteY2" fmla="*/ 9442 h 10239"/>
                  <a:gd name="connsiteX3" fmla="*/ 1968 w 10000"/>
                  <a:gd name="connsiteY3" fmla="*/ 2411 h 10239"/>
                  <a:gd name="connsiteX4" fmla="*/ 3092 w 10000"/>
                  <a:gd name="connsiteY4" fmla="*/ 179 h 10239"/>
                  <a:gd name="connsiteX5" fmla="*/ 10000 w 10000"/>
                  <a:gd name="connsiteY5" fmla="*/ 0 h 10239"/>
                  <a:gd name="connsiteX0" fmla="*/ 10000 w 10000"/>
                  <a:gd name="connsiteY0" fmla="*/ 0 h 10345"/>
                  <a:gd name="connsiteX1" fmla="*/ 9971 w 10000"/>
                  <a:gd name="connsiteY1" fmla="*/ 10345 h 10345"/>
                  <a:gd name="connsiteX2" fmla="*/ 0 w 10000"/>
                  <a:gd name="connsiteY2" fmla="*/ 9442 h 10345"/>
                  <a:gd name="connsiteX3" fmla="*/ 1968 w 10000"/>
                  <a:gd name="connsiteY3" fmla="*/ 2411 h 10345"/>
                  <a:gd name="connsiteX4" fmla="*/ 3092 w 10000"/>
                  <a:gd name="connsiteY4" fmla="*/ 179 h 10345"/>
                  <a:gd name="connsiteX5" fmla="*/ 10000 w 10000"/>
                  <a:gd name="connsiteY5" fmla="*/ 0 h 10345"/>
                  <a:gd name="connsiteX0" fmla="*/ 10000 w 10000"/>
                  <a:gd name="connsiteY0" fmla="*/ 0 h 10531"/>
                  <a:gd name="connsiteX1" fmla="*/ 9971 w 10000"/>
                  <a:gd name="connsiteY1" fmla="*/ 10531 h 10531"/>
                  <a:gd name="connsiteX2" fmla="*/ 0 w 10000"/>
                  <a:gd name="connsiteY2" fmla="*/ 9442 h 10531"/>
                  <a:gd name="connsiteX3" fmla="*/ 1968 w 10000"/>
                  <a:gd name="connsiteY3" fmla="*/ 2411 h 10531"/>
                  <a:gd name="connsiteX4" fmla="*/ 3092 w 10000"/>
                  <a:gd name="connsiteY4" fmla="*/ 179 h 10531"/>
                  <a:gd name="connsiteX5" fmla="*/ 10000 w 10000"/>
                  <a:gd name="connsiteY5" fmla="*/ 0 h 1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531">
                    <a:moveTo>
                      <a:pt x="10000" y="0"/>
                    </a:moveTo>
                    <a:cubicBezTo>
                      <a:pt x="9990" y="3413"/>
                      <a:pt x="9981" y="7118"/>
                      <a:pt x="9971" y="10531"/>
                    </a:cubicBezTo>
                    <a:lnTo>
                      <a:pt x="0" y="9442"/>
                    </a:lnTo>
                    <a:lnTo>
                      <a:pt x="1968" y="2411"/>
                    </a:lnTo>
                    <a:lnTo>
                      <a:pt x="3092" y="179"/>
                    </a:lnTo>
                    <a:lnTo>
                      <a:pt x="10000" y="0"/>
                    </a:lnTo>
                    <a:close/>
                  </a:path>
                </a:pathLst>
              </a:custGeom>
              <a:solidFill>
                <a:srgbClr val="004F59"/>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28" name="Freeform 12"/>
              <p:cNvSpPr>
                <a:spLocks/>
              </p:cNvSpPr>
              <p:nvPr/>
            </p:nvSpPr>
            <p:spPr bwMode="auto">
              <a:xfrm flipH="1">
                <a:off x="4343521" y="2247403"/>
                <a:ext cx="1098345" cy="1051868"/>
              </a:xfrm>
              <a:custGeom>
                <a:avLst/>
                <a:gdLst>
                  <a:gd name="T0" fmla="*/ 1069 w 1283"/>
                  <a:gd name="T1" fmla="*/ 0 h 1001"/>
                  <a:gd name="T2" fmla="*/ 1283 w 1283"/>
                  <a:gd name="T3" fmla="*/ 848 h 1001"/>
                  <a:gd name="T4" fmla="*/ 236 w 1283"/>
                  <a:gd name="T5" fmla="*/ 1001 h 1001"/>
                  <a:gd name="T6" fmla="*/ 0 w 1283"/>
                  <a:gd name="T7" fmla="*/ 155 h 1001"/>
                  <a:gd name="T8" fmla="*/ 1069 w 1283"/>
                  <a:gd name="T9" fmla="*/ 0 h 1001"/>
                </a:gdLst>
                <a:ahLst/>
                <a:cxnLst>
                  <a:cxn ang="0">
                    <a:pos x="T0" y="T1"/>
                  </a:cxn>
                  <a:cxn ang="0">
                    <a:pos x="T2" y="T3"/>
                  </a:cxn>
                  <a:cxn ang="0">
                    <a:pos x="T4" y="T5"/>
                  </a:cxn>
                  <a:cxn ang="0">
                    <a:pos x="T6" y="T7"/>
                  </a:cxn>
                  <a:cxn ang="0">
                    <a:pos x="T8" y="T9"/>
                  </a:cxn>
                </a:cxnLst>
                <a:rect l="0" t="0" r="r" b="b"/>
                <a:pathLst>
                  <a:path w="1283" h="1001">
                    <a:moveTo>
                      <a:pt x="1069" y="0"/>
                    </a:moveTo>
                    <a:lnTo>
                      <a:pt x="1283" y="848"/>
                    </a:lnTo>
                    <a:lnTo>
                      <a:pt x="236" y="1001"/>
                    </a:lnTo>
                    <a:lnTo>
                      <a:pt x="0" y="155"/>
                    </a:lnTo>
                    <a:lnTo>
                      <a:pt x="1069" y="0"/>
                    </a:lnTo>
                    <a:close/>
                  </a:path>
                </a:pathLst>
              </a:custGeom>
              <a:solidFill>
                <a:srgbClr val="9DD4CF"/>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29" name="Freeform 13"/>
              <p:cNvSpPr>
                <a:spLocks/>
              </p:cNvSpPr>
              <p:nvPr/>
            </p:nvSpPr>
            <p:spPr bwMode="auto">
              <a:xfrm flipH="1">
                <a:off x="4343521" y="2240813"/>
                <a:ext cx="819264" cy="891094"/>
              </a:xfrm>
              <a:custGeom>
                <a:avLst/>
                <a:gdLst>
                  <a:gd name="T0" fmla="*/ 743 w 957"/>
                  <a:gd name="T1" fmla="*/ 0 h 848"/>
                  <a:gd name="T2" fmla="*/ 957 w 957"/>
                  <a:gd name="T3" fmla="*/ 848 h 848"/>
                  <a:gd name="T4" fmla="*/ 0 w 957"/>
                  <a:gd name="T5" fmla="*/ 813 h 848"/>
                  <a:gd name="T6" fmla="*/ 23 w 957"/>
                  <a:gd name="T7" fmla="*/ 208 h 848"/>
                  <a:gd name="T8" fmla="*/ 743 w 957"/>
                  <a:gd name="T9" fmla="*/ 0 h 848"/>
                </a:gdLst>
                <a:ahLst/>
                <a:cxnLst>
                  <a:cxn ang="0">
                    <a:pos x="T0" y="T1"/>
                  </a:cxn>
                  <a:cxn ang="0">
                    <a:pos x="T2" y="T3"/>
                  </a:cxn>
                  <a:cxn ang="0">
                    <a:pos x="T4" y="T5"/>
                  </a:cxn>
                  <a:cxn ang="0">
                    <a:pos x="T6" y="T7"/>
                  </a:cxn>
                  <a:cxn ang="0">
                    <a:pos x="T8" y="T9"/>
                  </a:cxn>
                </a:cxnLst>
                <a:rect l="0" t="0" r="r" b="b"/>
                <a:pathLst>
                  <a:path w="957" h="848">
                    <a:moveTo>
                      <a:pt x="743" y="0"/>
                    </a:moveTo>
                    <a:lnTo>
                      <a:pt x="957" y="848"/>
                    </a:lnTo>
                    <a:lnTo>
                      <a:pt x="0" y="813"/>
                    </a:lnTo>
                    <a:lnTo>
                      <a:pt x="23" y="208"/>
                    </a:lnTo>
                    <a:lnTo>
                      <a:pt x="743" y="0"/>
                    </a:lnTo>
                    <a:close/>
                  </a:path>
                </a:pathLst>
              </a:custGeom>
              <a:solidFill>
                <a:srgbClr val="0097A9"/>
              </a:solidFill>
              <a:ln w="0">
                <a:noFill/>
                <a:prstDash val="solid"/>
                <a:round/>
                <a:headEnd/>
                <a:tailEnd/>
              </a:ln>
              <a:effectLst/>
            </p:spPr>
            <p:txBody>
              <a:bodyPr vert="horz" wrap="square" lIns="137142" tIns="274284" rIns="205714" bIns="137142" numCol="1" anchor="ctr" anchorCtr="1" compatLnSpc="1">
                <a:prstTxWarp prst="textNoShape">
                  <a:avLst/>
                </a:prstTxWarp>
              </a:bodyPr>
              <a:lstStyle/>
              <a:p>
                <a:pPr defTabSz="914204">
                  <a:defRPr/>
                </a:pPr>
                <a:r>
                  <a:rPr lang="en-US" sz="2000" b="1" kern="0" dirty="0">
                    <a:solidFill>
                      <a:prstClr val="white"/>
                    </a:solidFill>
                    <a:cs typeface="Verdana" panose="020B0604030504040204" pitchFamily="34" charset="0"/>
                  </a:rPr>
                  <a:t>2</a:t>
                </a:r>
              </a:p>
            </p:txBody>
          </p:sp>
        </p:grpSp>
        <p:grpSp>
          <p:nvGrpSpPr>
            <p:cNvPr id="58" name="Group 57"/>
            <p:cNvGrpSpPr/>
            <p:nvPr/>
          </p:nvGrpSpPr>
          <p:grpSpPr>
            <a:xfrm>
              <a:off x="2654342" y="3678723"/>
              <a:ext cx="5025975" cy="887974"/>
              <a:chOff x="556181" y="3316292"/>
              <a:chExt cx="6702175" cy="1184120"/>
            </a:xfrm>
          </p:grpSpPr>
          <p:sp>
            <p:nvSpPr>
              <p:cNvPr id="30" name="Rectangle 22"/>
              <p:cNvSpPr/>
              <p:nvPr/>
            </p:nvSpPr>
            <p:spPr>
              <a:xfrm>
                <a:off x="556181" y="3444970"/>
                <a:ext cx="6702175" cy="1055442"/>
              </a:xfrm>
              <a:custGeom>
                <a:avLst/>
                <a:gdLst>
                  <a:gd name="connsiteX0" fmla="*/ 0 w 8402638"/>
                  <a:gd name="connsiteY0" fmla="*/ 0 h 1590675"/>
                  <a:gd name="connsiteX1" fmla="*/ 8402638 w 8402638"/>
                  <a:gd name="connsiteY1" fmla="*/ 0 h 1590675"/>
                  <a:gd name="connsiteX2" fmla="*/ 8402638 w 8402638"/>
                  <a:gd name="connsiteY2" fmla="*/ 1590675 h 1590675"/>
                  <a:gd name="connsiteX3" fmla="*/ 0 w 8402638"/>
                  <a:gd name="connsiteY3" fmla="*/ 1590675 h 1590675"/>
                  <a:gd name="connsiteX4" fmla="*/ 0 w 8402638"/>
                  <a:gd name="connsiteY4" fmla="*/ 0 h 1590675"/>
                  <a:gd name="connsiteX0" fmla="*/ 0 w 8421688"/>
                  <a:gd name="connsiteY0" fmla="*/ 0 h 1590675"/>
                  <a:gd name="connsiteX1" fmla="*/ 8402638 w 8421688"/>
                  <a:gd name="connsiteY1" fmla="*/ 0 h 1590675"/>
                  <a:gd name="connsiteX2" fmla="*/ 8421688 w 8421688"/>
                  <a:gd name="connsiteY2" fmla="*/ 1590675 h 1590675"/>
                  <a:gd name="connsiteX3" fmla="*/ 0 w 8421688"/>
                  <a:gd name="connsiteY3" fmla="*/ 1590675 h 1590675"/>
                  <a:gd name="connsiteX4" fmla="*/ 0 w 8421688"/>
                  <a:gd name="connsiteY4" fmla="*/ 0 h 1590675"/>
                  <a:gd name="connsiteX0" fmla="*/ 0 w 8450263"/>
                  <a:gd name="connsiteY0" fmla="*/ 0 h 1590675"/>
                  <a:gd name="connsiteX1" fmla="*/ 8402638 w 8450263"/>
                  <a:gd name="connsiteY1" fmla="*/ 0 h 1590675"/>
                  <a:gd name="connsiteX2" fmla="*/ 8450263 w 8450263"/>
                  <a:gd name="connsiteY2" fmla="*/ 1590675 h 1590675"/>
                  <a:gd name="connsiteX3" fmla="*/ 0 w 8450263"/>
                  <a:gd name="connsiteY3" fmla="*/ 1590675 h 1590675"/>
                  <a:gd name="connsiteX4" fmla="*/ 0 w 8450263"/>
                  <a:gd name="connsiteY4" fmla="*/ 0 h 1590675"/>
                  <a:gd name="connsiteX0" fmla="*/ 0 w 8526463"/>
                  <a:gd name="connsiteY0" fmla="*/ 0 h 1590675"/>
                  <a:gd name="connsiteX1" fmla="*/ 8402638 w 8526463"/>
                  <a:gd name="connsiteY1" fmla="*/ 0 h 1590675"/>
                  <a:gd name="connsiteX2" fmla="*/ 8526463 w 8526463"/>
                  <a:gd name="connsiteY2" fmla="*/ 1590675 h 1590675"/>
                  <a:gd name="connsiteX3" fmla="*/ 0 w 8526463"/>
                  <a:gd name="connsiteY3" fmla="*/ 1590675 h 1590675"/>
                  <a:gd name="connsiteX4" fmla="*/ 0 w 8526463"/>
                  <a:gd name="connsiteY4" fmla="*/ 0 h 1590675"/>
                  <a:gd name="connsiteX0" fmla="*/ 0 w 8650288"/>
                  <a:gd name="connsiteY0" fmla="*/ 0 h 1590675"/>
                  <a:gd name="connsiteX1" fmla="*/ 8402638 w 8650288"/>
                  <a:gd name="connsiteY1" fmla="*/ 0 h 1590675"/>
                  <a:gd name="connsiteX2" fmla="*/ 8650288 w 8650288"/>
                  <a:gd name="connsiteY2" fmla="*/ 1590675 h 1590675"/>
                  <a:gd name="connsiteX3" fmla="*/ 0 w 8650288"/>
                  <a:gd name="connsiteY3" fmla="*/ 1590675 h 1590675"/>
                  <a:gd name="connsiteX4" fmla="*/ 0 w 8650288"/>
                  <a:gd name="connsiteY4" fmla="*/ 0 h 1590675"/>
                  <a:gd name="connsiteX0" fmla="*/ 0 w 8749348"/>
                  <a:gd name="connsiteY0" fmla="*/ 3810 h 1590675"/>
                  <a:gd name="connsiteX1" fmla="*/ 8501698 w 8749348"/>
                  <a:gd name="connsiteY1" fmla="*/ 0 h 1590675"/>
                  <a:gd name="connsiteX2" fmla="*/ 8749348 w 8749348"/>
                  <a:gd name="connsiteY2" fmla="*/ 1590675 h 1590675"/>
                  <a:gd name="connsiteX3" fmla="*/ 99060 w 8749348"/>
                  <a:gd name="connsiteY3" fmla="*/ 1590675 h 1590675"/>
                  <a:gd name="connsiteX4" fmla="*/ 0 w 8749348"/>
                  <a:gd name="connsiteY4" fmla="*/ 3810 h 1590675"/>
                  <a:gd name="connsiteX0" fmla="*/ 3810 w 8753158"/>
                  <a:gd name="connsiteY0" fmla="*/ 3810 h 1594485"/>
                  <a:gd name="connsiteX1" fmla="*/ 8505508 w 8753158"/>
                  <a:gd name="connsiteY1" fmla="*/ 0 h 1594485"/>
                  <a:gd name="connsiteX2" fmla="*/ 8753158 w 8753158"/>
                  <a:gd name="connsiteY2" fmla="*/ 1590675 h 1594485"/>
                  <a:gd name="connsiteX3" fmla="*/ 0 w 8753158"/>
                  <a:gd name="connsiteY3" fmla="*/ 1594485 h 1594485"/>
                  <a:gd name="connsiteX4" fmla="*/ 3810 w 8753158"/>
                  <a:gd name="connsiteY4" fmla="*/ 3810 h 159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3158" h="1594485">
                    <a:moveTo>
                      <a:pt x="3810" y="3810"/>
                    </a:moveTo>
                    <a:lnTo>
                      <a:pt x="8505508" y="0"/>
                    </a:lnTo>
                    <a:lnTo>
                      <a:pt x="8753158" y="1590675"/>
                    </a:lnTo>
                    <a:lnTo>
                      <a:pt x="0" y="1594485"/>
                    </a:lnTo>
                    <a:lnTo>
                      <a:pt x="3810" y="3810"/>
                    </a:lnTo>
                    <a:close/>
                  </a:path>
                </a:pathLst>
              </a:custGeom>
              <a:solidFill>
                <a:srgbClr val="005587"/>
              </a:solidFill>
              <a:ln w="25400" cap="flat" cmpd="sng" algn="ctr">
                <a:noFill/>
                <a:prstDash val="solid"/>
              </a:ln>
              <a:effectLst/>
            </p:spPr>
            <p:txBody>
              <a:bodyPr lIns="205714" rIns="1028566" rtlCol="0" anchor="ctr"/>
              <a:lstStyle/>
              <a:p>
                <a:pPr defTabSz="914204">
                  <a:defRPr/>
                </a:pPr>
                <a:r>
                  <a:rPr lang="en-US" sz="2000" kern="0" dirty="0">
                    <a:solidFill>
                      <a:prstClr val="white"/>
                    </a:solidFill>
                    <a:cs typeface="Verdana" panose="020B0604030504040204" pitchFamily="34" charset="0"/>
                  </a:rPr>
                  <a:t>Explain discovery, sprint cycles, and release and introduce the Deloitte agile framework  </a:t>
                </a:r>
              </a:p>
            </p:txBody>
          </p:sp>
          <p:sp>
            <p:nvSpPr>
              <p:cNvPr id="53" name="Freeform 7"/>
              <p:cNvSpPr>
                <a:spLocks/>
              </p:cNvSpPr>
              <p:nvPr/>
            </p:nvSpPr>
            <p:spPr bwMode="auto">
              <a:xfrm>
                <a:off x="6100229" y="3421011"/>
                <a:ext cx="1157061" cy="1052920"/>
              </a:xfrm>
              <a:custGeom>
                <a:avLst/>
                <a:gdLst>
                  <a:gd name="T0" fmla="*/ 1510 w 1524"/>
                  <a:gd name="T1" fmla="*/ 0 h 1002"/>
                  <a:gd name="T2" fmla="*/ 1524 w 1524"/>
                  <a:gd name="T3" fmla="*/ 1002 h 1002"/>
                  <a:gd name="T4" fmla="*/ 0 w 1524"/>
                  <a:gd name="T5" fmla="*/ 901 h 1002"/>
                  <a:gd name="T6" fmla="*/ 269 w 1524"/>
                  <a:gd name="T7" fmla="*/ 366 h 1002"/>
                  <a:gd name="T8" fmla="*/ 399 w 1524"/>
                  <a:gd name="T9" fmla="*/ 86 h 1002"/>
                  <a:gd name="T10" fmla="*/ 1510 w 1524"/>
                  <a:gd name="T11" fmla="*/ 0 h 1002"/>
                </a:gdLst>
                <a:ahLst/>
                <a:cxnLst>
                  <a:cxn ang="0">
                    <a:pos x="T0" y="T1"/>
                  </a:cxn>
                  <a:cxn ang="0">
                    <a:pos x="T2" y="T3"/>
                  </a:cxn>
                  <a:cxn ang="0">
                    <a:pos x="T4" y="T5"/>
                  </a:cxn>
                  <a:cxn ang="0">
                    <a:pos x="T6" y="T7"/>
                  </a:cxn>
                  <a:cxn ang="0">
                    <a:pos x="T8" y="T9"/>
                  </a:cxn>
                  <a:cxn ang="0">
                    <a:pos x="T10" y="T11"/>
                  </a:cxn>
                </a:cxnLst>
                <a:rect l="0" t="0" r="r" b="b"/>
                <a:pathLst>
                  <a:path w="1524" h="1002">
                    <a:moveTo>
                      <a:pt x="1510" y="0"/>
                    </a:moveTo>
                    <a:lnTo>
                      <a:pt x="1524" y="1002"/>
                    </a:lnTo>
                    <a:lnTo>
                      <a:pt x="0" y="901"/>
                    </a:lnTo>
                    <a:lnTo>
                      <a:pt x="269" y="366"/>
                    </a:lnTo>
                    <a:lnTo>
                      <a:pt x="399" y="86"/>
                    </a:lnTo>
                    <a:lnTo>
                      <a:pt x="1510" y="0"/>
                    </a:lnTo>
                    <a:close/>
                  </a:path>
                </a:pathLst>
              </a:custGeom>
              <a:solidFill>
                <a:srgbClr val="041E42"/>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54" name="Freeform 8"/>
              <p:cNvSpPr>
                <a:spLocks/>
              </p:cNvSpPr>
              <p:nvPr/>
            </p:nvSpPr>
            <p:spPr bwMode="auto">
              <a:xfrm>
                <a:off x="6083526" y="3381079"/>
                <a:ext cx="895128" cy="988819"/>
              </a:xfrm>
              <a:custGeom>
                <a:avLst/>
                <a:gdLst>
                  <a:gd name="T0" fmla="*/ 779 w 1179"/>
                  <a:gd name="T1" fmla="*/ 0 h 941"/>
                  <a:gd name="T2" fmla="*/ 883 w 1179"/>
                  <a:gd name="T3" fmla="*/ 126 h 941"/>
                  <a:gd name="T4" fmla="*/ 1179 w 1179"/>
                  <a:gd name="T5" fmla="*/ 892 h 941"/>
                  <a:gd name="T6" fmla="*/ 0 w 1179"/>
                  <a:gd name="T7" fmla="*/ 941 h 941"/>
                  <a:gd name="T8" fmla="*/ 127 w 1179"/>
                  <a:gd name="T9" fmla="*/ 55 h 941"/>
                  <a:gd name="T10" fmla="*/ 779 w 1179"/>
                  <a:gd name="T11" fmla="*/ 0 h 941"/>
                </a:gdLst>
                <a:ahLst/>
                <a:cxnLst>
                  <a:cxn ang="0">
                    <a:pos x="T0" y="T1"/>
                  </a:cxn>
                  <a:cxn ang="0">
                    <a:pos x="T2" y="T3"/>
                  </a:cxn>
                  <a:cxn ang="0">
                    <a:pos x="T4" y="T5"/>
                  </a:cxn>
                  <a:cxn ang="0">
                    <a:pos x="T6" y="T7"/>
                  </a:cxn>
                  <a:cxn ang="0">
                    <a:pos x="T8" y="T9"/>
                  </a:cxn>
                  <a:cxn ang="0">
                    <a:pos x="T10" y="T11"/>
                  </a:cxn>
                </a:cxnLst>
                <a:rect l="0" t="0" r="r" b="b"/>
                <a:pathLst>
                  <a:path w="1179" h="941">
                    <a:moveTo>
                      <a:pt x="779" y="0"/>
                    </a:moveTo>
                    <a:lnTo>
                      <a:pt x="883" y="126"/>
                    </a:lnTo>
                    <a:lnTo>
                      <a:pt x="1179" y="892"/>
                    </a:lnTo>
                    <a:lnTo>
                      <a:pt x="0" y="941"/>
                    </a:lnTo>
                    <a:lnTo>
                      <a:pt x="127" y="55"/>
                    </a:lnTo>
                    <a:lnTo>
                      <a:pt x="779" y="0"/>
                    </a:lnTo>
                    <a:close/>
                  </a:path>
                </a:pathLst>
              </a:custGeom>
              <a:solidFill>
                <a:srgbClr val="62B5E5"/>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55" name="Freeform 9"/>
              <p:cNvSpPr>
                <a:spLocks/>
              </p:cNvSpPr>
              <p:nvPr/>
            </p:nvSpPr>
            <p:spPr bwMode="auto">
              <a:xfrm>
                <a:off x="6157636" y="3316292"/>
                <a:ext cx="816169" cy="1013676"/>
              </a:xfrm>
              <a:custGeom>
                <a:avLst/>
                <a:gdLst>
                  <a:gd name="T0" fmla="*/ 278 w 1075"/>
                  <a:gd name="T1" fmla="*/ 0 h 1027"/>
                  <a:gd name="T2" fmla="*/ 852 w 1075"/>
                  <a:gd name="T3" fmla="*/ 33 h 1027"/>
                  <a:gd name="T4" fmla="*/ 1075 w 1075"/>
                  <a:gd name="T5" fmla="*/ 1027 h 1027"/>
                  <a:gd name="T6" fmla="*/ 0 w 1075"/>
                  <a:gd name="T7" fmla="*/ 939 h 1027"/>
                  <a:gd name="T8" fmla="*/ 278 w 1075"/>
                  <a:gd name="T9" fmla="*/ 0 h 1027"/>
                </a:gdLst>
                <a:ahLst/>
                <a:cxnLst>
                  <a:cxn ang="0">
                    <a:pos x="T0" y="T1"/>
                  </a:cxn>
                  <a:cxn ang="0">
                    <a:pos x="T2" y="T3"/>
                  </a:cxn>
                  <a:cxn ang="0">
                    <a:pos x="T4" y="T5"/>
                  </a:cxn>
                  <a:cxn ang="0">
                    <a:pos x="T6" y="T7"/>
                  </a:cxn>
                  <a:cxn ang="0">
                    <a:pos x="T8" y="T9"/>
                  </a:cxn>
                </a:cxnLst>
                <a:rect l="0" t="0" r="r" b="b"/>
                <a:pathLst>
                  <a:path w="1075" h="1027">
                    <a:moveTo>
                      <a:pt x="278" y="0"/>
                    </a:moveTo>
                    <a:lnTo>
                      <a:pt x="852" y="33"/>
                    </a:lnTo>
                    <a:lnTo>
                      <a:pt x="1075" y="1027"/>
                    </a:lnTo>
                    <a:lnTo>
                      <a:pt x="0" y="939"/>
                    </a:lnTo>
                    <a:lnTo>
                      <a:pt x="278" y="0"/>
                    </a:lnTo>
                    <a:close/>
                  </a:path>
                </a:pathLst>
              </a:custGeom>
              <a:solidFill>
                <a:srgbClr val="005587"/>
              </a:solidFill>
              <a:ln w="0">
                <a:noFill/>
                <a:prstDash val="solid"/>
                <a:round/>
                <a:headEnd/>
                <a:tailEnd/>
              </a:ln>
              <a:effectLst/>
            </p:spPr>
            <p:txBody>
              <a:bodyPr vert="horz" wrap="square" lIns="137142" tIns="205714" rIns="137142" bIns="137142" numCol="1" anchor="ctr" anchorCtr="1" compatLnSpc="1">
                <a:prstTxWarp prst="textNoShape">
                  <a:avLst/>
                </a:prstTxWarp>
              </a:bodyPr>
              <a:lstStyle/>
              <a:p>
                <a:pPr defTabSz="914204">
                  <a:defRPr/>
                </a:pPr>
                <a:r>
                  <a:rPr lang="en-US" sz="2000" b="1" kern="0" dirty="0">
                    <a:solidFill>
                      <a:prstClr val="white"/>
                    </a:solidFill>
                    <a:cs typeface="Verdana" panose="020B0604030504040204" pitchFamily="34" charset="0"/>
                  </a:rPr>
                  <a:t>3</a:t>
                </a:r>
              </a:p>
            </p:txBody>
          </p:sp>
        </p:grpSp>
        <p:grpSp>
          <p:nvGrpSpPr>
            <p:cNvPr id="59" name="Group 58"/>
            <p:cNvGrpSpPr/>
            <p:nvPr/>
          </p:nvGrpSpPr>
          <p:grpSpPr>
            <a:xfrm>
              <a:off x="5167328" y="4569576"/>
              <a:ext cx="4488917" cy="868738"/>
              <a:chOff x="5092561" y="4484982"/>
              <a:chExt cx="5986004" cy="1158469"/>
            </a:xfrm>
          </p:grpSpPr>
          <p:sp>
            <p:nvSpPr>
              <p:cNvPr id="42" name="Rectangle 41"/>
              <p:cNvSpPr/>
              <p:nvPr/>
            </p:nvSpPr>
            <p:spPr>
              <a:xfrm flipH="1">
                <a:off x="5092561" y="4586621"/>
                <a:ext cx="5986004" cy="1052920"/>
              </a:xfrm>
              <a:prstGeom prst="rect">
                <a:avLst/>
              </a:prstGeom>
              <a:solidFill>
                <a:srgbClr val="63666A"/>
              </a:solidFill>
              <a:ln w="25400" cap="flat" cmpd="sng" algn="ctr">
                <a:noFill/>
                <a:prstDash val="solid"/>
              </a:ln>
              <a:effectLst/>
            </p:spPr>
            <p:txBody>
              <a:bodyPr lIns="1028566" rtlCol="0" anchor="ctr"/>
              <a:lstStyle/>
              <a:p>
                <a:pPr defTabSz="914204">
                  <a:defRPr/>
                </a:pPr>
                <a:r>
                  <a:rPr lang="en-US" sz="2000" dirty="0">
                    <a:solidFill>
                      <a:prstClr val="white"/>
                    </a:solidFill>
                  </a:rPr>
                  <a:t>Find additional resources and support</a:t>
                </a:r>
              </a:p>
            </p:txBody>
          </p:sp>
          <p:sp>
            <p:nvSpPr>
              <p:cNvPr id="43" name="Freeform 11"/>
              <p:cNvSpPr>
                <a:spLocks/>
              </p:cNvSpPr>
              <p:nvPr/>
            </p:nvSpPr>
            <p:spPr bwMode="auto">
              <a:xfrm flipH="1">
                <a:off x="5092563" y="4592166"/>
                <a:ext cx="921993" cy="1051285"/>
              </a:xfrm>
              <a:custGeom>
                <a:avLst/>
                <a:gdLst>
                  <a:gd name="T0" fmla="*/ 1077 w 1077"/>
                  <a:gd name="T1" fmla="*/ 0 h 950"/>
                  <a:gd name="T2" fmla="*/ 1077 w 1077"/>
                  <a:gd name="T3" fmla="*/ 950 h 950"/>
                  <a:gd name="T4" fmla="*/ 0 w 1077"/>
                  <a:gd name="T5" fmla="*/ 897 h 950"/>
                  <a:gd name="T6" fmla="*/ 212 w 1077"/>
                  <a:gd name="T7" fmla="*/ 229 h 950"/>
                  <a:gd name="T8" fmla="*/ 333 w 1077"/>
                  <a:gd name="T9" fmla="*/ 17 h 950"/>
                  <a:gd name="T10" fmla="*/ 1077 w 1077"/>
                  <a:gd name="T11" fmla="*/ 0 h 950"/>
                  <a:gd name="connsiteX0" fmla="*/ 10000 w 10000"/>
                  <a:gd name="connsiteY0" fmla="*/ 0 h 10239"/>
                  <a:gd name="connsiteX1" fmla="*/ 9971 w 10000"/>
                  <a:gd name="connsiteY1" fmla="*/ 10239 h 10239"/>
                  <a:gd name="connsiteX2" fmla="*/ 0 w 10000"/>
                  <a:gd name="connsiteY2" fmla="*/ 9442 h 10239"/>
                  <a:gd name="connsiteX3" fmla="*/ 1968 w 10000"/>
                  <a:gd name="connsiteY3" fmla="*/ 2411 h 10239"/>
                  <a:gd name="connsiteX4" fmla="*/ 3092 w 10000"/>
                  <a:gd name="connsiteY4" fmla="*/ 179 h 10239"/>
                  <a:gd name="connsiteX5" fmla="*/ 10000 w 10000"/>
                  <a:gd name="connsiteY5" fmla="*/ 0 h 10239"/>
                  <a:gd name="connsiteX0" fmla="*/ 10000 w 10000"/>
                  <a:gd name="connsiteY0" fmla="*/ 0 h 10345"/>
                  <a:gd name="connsiteX1" fmla="*/ 9971 w 10000"/>
                  <a:gd name="connsiteY1" fmla="*/ 10345 h 10345"/>
                  <a:gd name="connsiteX2" fmla="*/ 0 w 10000"/>
                  <a:gd name="connsiteY2" fmla="*/ 9442 h 10345"/>
                  <a:gd name="connsiteX3" fmla="*/ 1968 w 10000"/>
                  <a:gd name="connsiteY3" fmla="*/ 2411 h 10345"/>
                  <a:gd name="connsiteX4" fmla="*/ 3092 w 10000"/>
                  <a:gd name="connsiteY4" fmla="*/ 179 h 10345"/>
                  <a:gd name="connsiteX5" fmla="*/ 10000 w 10000"/>
                  <a:gd name="connsiteY5" fmla="*/ 0 h 10345"/>
                  <a:gd name="connsiteX0" fmla="*/ 10000 w 10000"/>
                  <a:gd name="connsiteY0" fmla="*/ 0 h 10531"/>
                  <a:gd name="connsiteX1" fmla="*/ 9971 w 10000"/>
                  <a:gd name="connsiteY1" fmla="*/ 10531 h 10531"/>
                  <a:gd name="connsiteX2" fmla="*/ 0 w 10000"/>
                  <a:gd name="connsiteY2" fmla="*/ 9442 h 10531"/>
                  <a:gd name="connsiteX3" fmla="*/ 1968 w 10000"/>
                  <a:gd name="connsiteY3" fmla="*/ 2411 h 10531"/>
                  <a:gd name="connsiteX4" fmla="*/ 3092 w 10000"/>
                  <a:gd name="connsiteY4" fmla="*/ 179 h 10531"/>
                  <a:gd name="connsiteX5" fmla="*/ 10000 w 10000"/>
                  <a:gd name="connsiteY5" fmla="*/ 0 h 1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531">
                    <a:moveTo>
                      <a:pt x="10000" y="0"/>
                    </a:moveTo>
                    <a:cubicBezTo>
                      <a:pt x="9990" y="3413"/>
                      <a:pt x="9981" y="7118"/>
                      <a:pt x="9971" y="10531"/>
                    </a:cubicBezTo>
                    <a:lnTo>
                      <a:pt x="0" y="9442"/>
                    </a:lnTo>
                    <a:lnTo>
                      <a:pt x="1968" y="2411"/>
                    </a:lnTo>
                    <a:lnTo>
                      <a:pt x="3092" y="179"/>
                    </a:lnTo>
                    <a:lnTo>
                      <a:pt x="10000" y="0"/>
                    </a:lnTo>
                    <a:close/>
                  </a:path>
                </a:pathLst>
              </a:custGeom>
              <a:solidFill>
                <a:srgbClr val="53565A"/>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44" name="Freeform 12"/>
              <p:cNvSpPr>
                <a:spLocks/>
              </p:cNvSpPr>
              <p:nvPr/>
            </p:nvSpPr>
            <p:spPr bwMode="auto">
              <a:xfrm flipH="1">
                <a:off x="5125949" y="4484982"/>
                <a:ext cx="1098345" cy="1051868"/>
              </a:xfrm>
              <a:custGeom>
                <a:avLst/>
                <a:gdLst>
                  <a:gd name="T0" fmla="*/ 1069 w 1283"/>
                  <a:gd name="T1" fmla="*/ 0 h 1001"/>
                  <a:gd name="T2" fmla="*/ 1283 w 1283"/>
                  <a:gd name="T3" fmla="*/ 848 h 1001"/>
                  <a:gd name="T4" fmla="*/ 236 w 1283"/>
                  <a:gd name="T5" fmla="*/ 1001 h 1001"/>
                  <a:gd name="T6" fmla="*/ 0 w 1283"/>
                  <a:gd name="T7" fmla="*/ 155 h 1001"/>
                  <a:gd name="T8" fmla="*/ 1069 w 1283"/>
                  <a:gd name="T9" fmla="*/ 0 h 1001"/>
                </a:gdLst>
                <a:ahLst/>
                <a:cxnLst>
                  <a:cxn ang="0">
                    <a:pos x="T0" y="T1"/>
                  </a:cxn>
                  <a:cxn ang="0">
                    <a:pos x="T2" y="T3"/>
                  </a:cxn>
                  <a:cxn ang="0">
                    <a:pos x="T4" y="T5"/>
                  </a:cxn>
                  <a:cxn ang="0">
                    <a:pos x="T6" y="T7"/>
                  </a:cxn>
                  <a:cxn ang="0">
                    <a:pos x="T8" y="T9"/>
                  </a:cxn>
                </a:cxnLst>
                <a:rect l="0" t="0" r="r" b="b"/>
                <a:pathLst>
                  <a:path w="1283" h="1001">
                    <a:moveTo>
                      <a:pt x="1069" y="0"/>
                    </a:moveTo>
                    <a:lnTo>
                      <a:pt x="1283" y="848"/>
                    </a:lnTo>
                    <a:lnTo>
                      <a:pt x="236" y="1001"/>
                    </a:lnTo>
                    <a:lnTo>
                      <a:pt x="0" y="155"/>
                    </a:lnTo>
                    <a:lnTo>
                      <a:pt x="1069" y="0"/>
                    </a:lnTo>
                    <a:close/>
                  </a:path>
                </a:pathLst>
              </a:custGeom>
              <a:solidFill>
                <a:srgbClr val="A7A8AA"/>
              </a:solidFill>
              <a:ln w="0">
                <a:noFill/>
                <a:prstDash val="solid"/>
                <a:round/>
                <a:headEnd/>
                <a:tailEnd/>
              </a:ln>
              <a:effectLst/>
            </p:spPr>
            <p:txBody>
              <a:bodyPr vert="horz" wrap="square" lIns="68571" tIns="34286" rIns="68571" bIns="34286" numCol="1" anchor="t" anchorCtr="0" compatLnSpc="1">
                <a:prstTxWarp prst="textNoShape">
                  <a:avLst/>
                </a:prstTxWarp>
              </a:bodyPr>
              <a:lstStyle/>
              <a:p>
                <a:pPr defTabSz="914204">
                  <a:defRPr/>
                </a:pPr>
                <a:endParaRPr lang="en-US" sz="2000" kern="0" dirty="0">
                  <a:solidFill>
                    <a:prstClr val="black"/>
                  </a:solidFill>
                  <a:cs typeface="Verdana" panose="020B0604030504040204" pitchFamily="34" charset="0"/>
                </a:endParaRPr>
              </a:p>
            </p:txBody>
          </p:sp>
          <p:sp>
            <p:nvSpPr>
              <p:cNvPr id="45" name="Freeform 13"/>
              <p:cNvSpPr>
                <a:spLocks/>
              </p:cNvSpPr>
              <p:nvPr/>
            </p:nvSpPr>
            <p:spPr bwMode="auto">
              <a:xfrm flipH="1">
                <a:off x="5125949" y="4484982"/>
                <a:ext cx="819264" cy="891094"/>
              </a:xfrm>
              <a:custGeom>
                <a:avLst/>
                <a:gdLst>
                  <a:gd name="T0" fmla="*/ 743 w 957"/>
                  <a:gd name="T1" fmla="*/ 0 h 848"/>
                  <a:gd name="T2" fmla="*/ 957 w 957"/>
                  <a:gd name="T3" fmla="*/ 848 h 848"/>
                  <a:gd name="T4" fmla="*/ 0 w 957"/>
                  <a:gd name="T5" fmla="*/ 813 h 848"/>
                  <a:gd name="T6" fmla="*/ 23 w 957"/>
                  <a:gd name="T7" fmla="*/ 208 h 848"/>
                  <a:gd name="T8" fmla="*/ 743 w 957"/>
                  <a:gd name="T9" fmla="*/ 0 h 848"/>
                </a:gdLst>
                <a:ahLst/>
                <a:cxnLst>
                  <a:cxn ang="0">
                    <a:pos x="T0" y="T1"/>
                  </a:cxn>
                  <a:cxn ang="0">
                    <a:pos x="T2" y="T3"/>
                  </a:cxn>
                  <a:cxn ang="0">
                    <a:pos x="T4" y="T5"/>
                  </a:cxn>
                  <a:cxn ang="0">
                    <a:pos x="T6" y="T7"/>
                  </a:cxn>
                  <a:cxn ang="0">
                    <a:pos x="T8" y="T9"/>
                  </a:cxn>
                </a:cxnLst>
                <a:rect l="0" t="0" r="r" b="b"/>
                <a:pathLst>
                  <a:path w="957" h="848">
                    <a:moveTo>
                      <a:pt x="743" y="0"/>
                    </a:moveTo>
                    <a:lnTo>
                      <a:pt x="957" y="848"/>
                    </a:lnTo>
                    <a:lnTo>
                      <a:pt x="0" y="813"/>
                    </a:lnTo>
                    <a:lnTo>
                      <a:pt x="23" y="208"/>
                    </a:lnTo>
                    <a:lnTo>
                      <a:pt x="743" y="0"/>
                    </a:lnTo>
                    <a:close/>
                  </a:path>
                </a:pathLst>
              </a:custGeom>
              <a:solidFill>
                <a:srgbClr val="63666A"/>
              </a:solidFill>
              <a:ln w="0">
                <a:noFill/>
                <a:prstDash val="solid"/>
                <a:round/>
                <a:headEnd/>
                <a:tailEnd/>
              </a:ln>
              <a:effectLst/>
            </p:spPr>
            <p:txBody>
              <a:bodyPr vert="horz" wrap="square" lIns="137142" tIns="274284" rIns="205714" bIns="137142" numCol="1" anchor="ctr" anchorCtr="1" compatLnSpc="1">
                <a:prstTxWarp prst="textNoShape">
                  <a:avLst/>
                </a:prstTxWarp>
              </a:bodyPr>
              <a:lstStyle/>
              <a:p>
                <a:pPr defTabSz="914204">
                  <a:defRPr/>
                </a:pPr>
                <a:r>
                  <a:rPr lang="en-US" sz="2000" b="1" kern="0" dirty="0">
                    <a:solidFill>
                      <a:prstClr val="white"/>
                    </a:solidFill>
                    <a:cs typeface="Verdana" panose="020B0604030504040204" pitchFamily="34" charset="0"/>
                  </a:rPr>
                  <a:t>4</a:t>
                </a:r>
              </a:p>
            </p:txBody>
          </p:sp>
        </p:grpSp>
      </p:grpSp>
    </p:spTree>
    <p:custDataLst>
      <p:tags r:id="rId1"/>
    </p:custDataLst>
    <p:extLst>
      <p:ext uri="{BB962C8B-B14F-4D97-AF65-F5344CB8AC3E}">
        <p14:creationId xmlns:p14="http://schemas.microsoft.com/office/powerpoint/2010/main" val="12732458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3E0F2B9-2C04-4EF5-BC67-AA80E33D4ED7}"/>
              </a:ext>
            </a:extLst>
          </p:cNvPr>
          <p:cNvSpPr>
            <a:spLocks noGrp="1"/>
          </p:cNvSpPr>
          <p:nvPr>
            <p:ph type="ctrTitle"/>
          </p:nvPr>
        </p:nvSpPr>
        <p:spPr/>
        <p:txBody>
          <a:bodyPr/>
          <a:lstStyle/>
          <a:p>
            <a:r>
              <a:rPr lang="en-US" sz="2400" b="1" dirty="0">
                <a:solidFill>
                  <a:schemeClr val="tx1"/>
                </a:solidFill>
              </a:rPr>
              <a:t>What is agile?</a:t>
            </a:r>
          </a:p>
        </p:txBody>
      </p:sp>
      <p:sp>
        <p:nvSpPr>
          <p:cNvPr id="11" name="Text Placeholder 10">
            <a:extLst>
              <a:ext uri="{FF2B5EF4-FFF2-40B4-BE49-F238E27FC236}">
                <a16:creationId xmlns:a16="http://schemas.microsoft.com/office/drawing/2014/main" id="{22B94A5D-C9AF-4FD4-95FE-C67AFC77EEF5}"/>
              </a:ext>
            </a:extLst>
          </p:cNvPr>
          <p:cNvSpPr>
            <a:spLocks noGrp="1"/>
          </p:cNvSpPr>
          <p:nvPr>
            <p:ph type="subTitle" idx="1"/>
          </p:nvPr>
        </p:nvSpPr>
        <p:spPr/>
        <p:txBody>
          <a:bodyPr/>
          <a:lstStyle/>
          <a:p>
            <a:r>
              <a:rPr lang="en-US" sz="2000" dirty="0">
                <a:solidFill>
                  <a:schemeClr val="tx1"/>
                </a:solidFill>
              </a:rPr>
              <a:t>Objective: Define agile and the agile mindset </a:t>
            </a:r>
          </a:p>
        </p:txBody>
      </p:sp>
      <p:pic>
        <p:nvPicPr>
          <p:cNvPr id="3" name="Picture 2">
            <a:extLst>
              <a:ext uri="{FF2B5EF4-FFF2-40B4-BE49-F238E27FC236}">
                <a16:creationId xmlns:a16="http://schemas.microsoft.com/office/drawing/2014/main" id="{8AF3A19F-5870-49C7-A5B4-A4F21511941B}"/>
              </a:ext>
            </a:extLst>
          </p:cNvPr>
          <p:cNvPicPr>
            <a:picLocks noChangeAspect="1"/>
          </p:cNvPicPr>
          <p:nvPr/>
        </p:nvPicPr>
        <p:blipFill>
          <a:blip r:embed="rId4"/>
          <a:stretch>
            <a:fillRect/>
          </a:stretch>
        </p:blipFill>
        <p:spPr>
          <a:xfrm>
            <a:off x="-93827" y="497004"/>
            <a:ext cx="3312983" cy="3168791"/>
          </a:xfrm>
          <a:prstGeom prst="rect">
            <a:avLst/>
          </a:prstGeom>
        </p:spPr>
      </p:pic>
      <p:graphicFrame>
        <p:nvGraphicFramePr>
          <p:cNvPr id="2" name="Table 3">
            <a:extLst>
              <a:ext uri="{FF2B5EF4-FFF2-40B4-BE49-F238E27FC236}">
                <a16:creationId xmlns:a16="http://schemas.microsoft.com/office/drawing/2014/main" id="{2750623E-2C91-4DDB-B948-58E58F6B7319}"/>
              </a:ext>
            </a:extLst>
          </p:cNvPr>
          <p:cNvGraphicFramePr>
            <a:graphicFrameLocks noGrp="1"/>
          </p:cNvGraphicFramePr>
          <p:nvPr>
            <p:extLst>
              <p:ext uri="{D42A27DB-BD31-4B8C-83A1-F6EECF244321}">
                <p14:modId xmlns:p14="http://schemas.microsoft.com/office/powerpoint/2010/main" val="1410676577"/>
              </p:ext>
            </p:extLst>
          </p:nvPr>
        </p:nvGraphicFramePr>
        <p:xfrm>
          <a:off x="3327400" y="3846700"/>
          <a:ext cx="8127999" cy="2656840"/>
        </p:xfrm>
        <a:graphic>
          <a:graphicData uri="http://schemas.openxmlformats.org/drawingml/2006/table">
            <a:tbl>
              <a:tblPr firstRow="1">
                <a:tableStyleId>{7E9639D4-E3E2-4D34-9284-5A2195B3D0D7}</a:tableStyleId>
              </a:tblPr>
              <a:tblGrid>
                <a:gridCol w="2709333">
                  <a:extLst>
                    <a:ext uri="{9D8B030D-6E8A-4147-A177-3AD203B41FA5}">
                      <a16:colId xmlns:a16="http://schemas.microsoft.com/office/drawing/2014/main" val="1302357475"/>
                    </a:ext>
                  </a:extLst>
                </a:gridCol>
                <a:gridCol w="2709333">
                  <a:extLst>
                    <a:ext uri="{9D8B030D-6E8A-4147-A177-3AD203B41FA5}">
                      <a16:colId xmlns:a16="http://schemas.microsoft.com/office/drawing/2014/main" val="3582792877"/>
                    </a:ext>
                  </a:extLst>
                </a:gridCol>
                <a:gridCol w="2709333">
                  <a:extLst>
                    <a:ext uri="{9D8B030D-6E8A-4147-A177-3AD203B41FA5}">
                      <a16:colId xmlns:a16="http://schemas.microsoft.com/office/drawing/2014/main" val="2400945895"/>
                    </a:ext>
                  </a:extLst>
                </a:gridCol>
              </a:tblGrid>
              <a:tr h="370840">
                <a:tc>
                  <a:txBody>
                    <a:bodyPr/>
                    <a:lstStyle/>
                    <a:p>
                      <a:pPr algn="ctr"/>
                      <a:r>
                        <a:rPr lang="en-US" dirty="0"/>
                        <a:t>To Do</a:t>
                      </a:r>
                    </a:p>
                  </a:txBody>
                  <a:tcPr>
                    <a:solidFill>
                      <a:schemeClr val="tx2"/>
                    </a:solidFill>
                  </a:tcPr>
                </a:tc>
                <a:tc>
                  <a:txBody>
                    <a:bodyPr/>
                    <a:lstStyle/>
                    <a:p>
                      <a:pPr algn="ctr"/>
                      <a:r>
                        <a:rPr lang="en-US" dirty="0"/>
                        <a:t>In Progress</a:t>
                      </a:r>
                    </a:p>
                  </a:txBody>
                  <a:tcPr>
                    <a:solidFill>
                      <a:schemeClr val="tx2"/>
                    </a:solidFill>
                  </a:tcPr>
                </a:tc>
                <a:tc>
                  <a:txBody>
                    <a:bodyPr/>
                    <a:lstStyle/>
                    <a:p>
                      <a:pPr algn="ctr"/>
                      <a:r>
                        <a:rPr lang="en-US" dirty="0"/>
                        <a:t>Complete</a:t>
                      </a:r>
                    </a:p>
                  </a:txBody>
                  <a:tcPr>
                    <a:solidFill>
                      <a:schemeClr val="tx2"/>
                    </a:solidFill>
                  </a:tcPr>
                </a:tc>
                <a:extLst>
                  <a:ext uri="{0D108BD9-81ED-4DB2-BD59-A6C34878D82A}">
                    <a16:rowId xmlns:a16="http://schemas.microsoft.com/office/drawing/2014/main" val="2502423330"/>
                  </a:ext>
                </a:extLst>
              </a:tr>
              <a:tr h="2286000">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4201607972"/>
                  </a:ext>
                </a:extLst>
              </a:tr>
            </a:tbl>
          </a:graphicData>
        </a:graphic>
      </p:graphicFrame>
      <p:sp>
        <p:nvSpPr>
          <p:cNvPr id="5" name="Rectangle: Folded Corner 4">
            <a:extLst>
              <a:ext uri="{FF2B5EF4-FFF2-40B4-BE49-F238E27FC236}">
                <a16:creationId xmlns:a16="http://schemas.microsoft.com/office/drawing/2014/main" id="{4C05043E-BBFD-459A-9995-17F2D7F882AF}"/>
              </a:ext>
            </a:extLst>
          </p:cNvPr>
          <p:cNvSpPr/>
          <p:nvPr/>
        </p:nvSpPr>
        <p:spPr bwMode="gray">
          <a:xfrm>
            <a:off x="3550033" y="4393515"/>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hat is agile?</a:t>
            </a:r>
          </a:p>
        </p:txBody>
      </p:sp>
      <p:sp>
        <p:nvSpPr>
          <p:cNvPr id="8" name="Rectangle: Folded Corner 7">
            <a:extLst>
              <a:ext uri="{FF2B5EF4-FFF2-40B4-BE49-F238E27FC236}">
                <a16:creationId xmlns:a16="http://schemas.microsoft.com/office/drawing/2014/main" id="{DB4F6B75-B262-4DAE-A85A-C580D49FFCB0}"/>
              </a:ext>
            </a:extLst>
          </p:cNvPr>
          <p:cNvSpPr/>
          <p:nvPr/>
        </p:nvSpPr>
        <p:spPr bwMode="gray">
          <a:xfrm>
            <a:off x="4728472" y="4396982"/>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gile overview</a:t>
            </a:r>
          </a:p>
        </p:txBody>
      </p:sp>
      <p:sp>
        <p:nvSpPr>
          <p:cNvPr id="9" name="Rectangle: Folded Corner 8">
            <a:extLst>
              <a:ext uri="{FF2B5EF4-FFF2-40B4-BE49-F238E27FC236}">
                <a16:creationId xmlns:a16="http://schemas.microsoft.com/office/drawing/2014/main" id="{E75B1E66-FA0D-4C23-B78A-B45828ACD363}"/>
              </a:ext>
            </a:extLst>
          </p:cNvPr>
          <p:cNvSpPr/>
          <p:nvPr/>
        </p:nvSpPr>
        <p:spPr bwMode="gray">
          <a:xfrm>
            <a:off x="3550033" y="5448527"/>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ringing it all together</a:t>
            </a:r>
          </a:p>
        </p:txBody>
      </p:sp>
      <p:sp>
        <p:nvSpPr>
          <p:cNvPr id="12" name="Rectangle: Folded Corner 11">
            <a:extLst>
              <a:ext uri="{FF2B5EF4-FFF2-40B4-BE49-F238E27FC236}">
                <a16:creationId xmlns:a16="http://schemas.microsoft.com/office/drawing/2014/main" id="{AF9B224F-2A57-4934-9C89-C0997D6CCA0C}"/>
              </a:ext>
            </a:extLst>
          </p:cNvPr>
          <p:cNvSpPr/>
          <p:nvPr/>
        </p:nvSpPr>
        <p:spPr bwMode="gray">
          <a:xfrm>
            <a:off x="4728472" y="5448526"/>
            <a:ext cx="1021080" cy="781605"/>
          </a:xfrm>
          <a:prstGeom prst="foldedCorner">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losing</a:t>
            </a:r>
          </a:p>
        </p:txBody>
      </p:sp>
    </p:spTree>
    <p:custDataLst>
      <p:tags r:id="rId1"/>
    </p:custDataLst>
    <p:extLst>
      <p:ext uri="{BB962C8B-B14F-4D97-AF65-F5344CB8AC3E}">
        <p14:creationId xmlns:p14="http://schemas.microsoft.com/office/powerpoint/2010/main" val="945953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500"/>
                                  </p:stCondLst>
                                  <p:childTnLst>
                                    <p:animMotion origin="layout" path="M -2.70833E-6 4.81481E-6 L 0.22709 0.00231 " pathEditMode="relative" rAng="0" ptsTypes="AA">
                                      <p:cBhvr>
                                        <p:cTn id="6" dur="2000" fill="hold"/>
                                        <p:tgtEl>
                                          <p:spTgt spid="5"/>
                                        </p:tgtEl>
                                        <p:attrNameLst>
                                          <p:attrName>ppt_x</p:attrName>
                                          <p:attrName>ppt_y</p:attrName>
                                        </p:attrNameLst>
                                      </p:cBhvr>
                                      <p:rCtr x="11354" y="1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5C45D0F-EFD0-4D9E-9C06-EF714EA97B0E}"/>
              </a:ext>
            </a:extLst>
          </p:cNvPr>
          <p:cNvSpPr txBox="1">
            <a:spLocks/>
          </p:cNvSpPr>
          <p:nvPr/>
        </p:nvSpPr>
        <p:spPr>
          <a:xfrm>
            <a:off x="2465298" y="1145070"/>
            <a:ext cx="7652230" cy="565278"/>
          </a:xfrm>
          <a:prstGeom prst="rect">
            <a:avLst/>
          </a:prstGeom>
        </p:spPr>
        <p:txBody>
          <a:bodyPr vert="horz" lIns="68746" tIns="34374" rIns="68746" bIns="34374" rtlCol="0" anchor="t">
            <a:normAutofit/>
          </a:bodyPr>
          <a:lstStyle>
            <a:lvl1pPr algn="l" defTabSz="912114" rtl="0" eaLnBrk="1" latinLnBrk="0" hangingPunct="1">
              <a:spcBef>
                <a:spcPct val="0"/>
              </a:spcBef>
              <a:buNone/>
              <a:defRPr sz="1995" kern="1200">
                <a:solidFill>
                  <a:schemeClr val="bg1"/>
                </a:solidFill>
                <a:latin typeface="+mj-lt"/>
                <a:ea typeface="+mj-ea"/>
                <a:cs typeface="+mj-cs"/>
              </a:defRPr>
            </a:lvl1pPr>
          </a:lstStyle>
          <a:p>
            <a:endParaRPr lang="en-US" sz="1500" dirty="0">
              <a:solidFill>
                <a:schemeClr val="tx1"/>
              </a:solidFill>
            </a:endParaRPr>
          </a:p>
        </p:txBody>
      </p:sp>
      <p:sp>
        <p:nvSpPr>
          <p:cNvPr id="40" name="Title 39">
            <a:extLst>
              <a:ext uri="{FF2B5EF4-FFF2-40B4-BE49-F238E27FC236}">
                <a16:creationId xmlns:a16="http://schemas.microsoft.com/office/drawing/2014/main" id="{BEF54530-206A-4AA0-B71F-63EF4242DB10}"/>
              </a:ext>
            </a:extLst>
          </p:cNvPr>
          <p:cNvSpPr>
            <a:spLocks noGrp="1"/>
          </p:cNvSpPr>
          <p:nvPr>
            <p:ph type="title"/>
          </p:nvPr>
        </p:nvSpPr>
        <p:spPr/>
        <p:txBody>
          <a:bodyPr/>
          <a:lstStyle/>
          <a:p>
            <a:r>
              <a:rPr lang="en-GB" dirty="0"/>
              <a:t>Agile as a mindset</a:t>
            </a:r>
            <a:endParaRPr lang="en-US" dirty="0"/>
          </a:p>
        </p:txBody>
      </p:sp>
      <p:sp>
        <p:nvSpPr>
          <p:cNvPr id="41" name="Text Placeholder 40">
            <a:extLst>
              <a:ext uri="{FF2B5EF4-FFF2-40B4-BE49-F238E27FC236}">
                <a16:creationId xmlns:a16="http://schemas.microsoft.com/office/drawing/2014/main" id="{CBBD7214-3E9D-4DF2-B840-ED1665F484E3}"/>
              </a:ext>
            </a:extLst>
          </p:cNvPr>
          <p:cNvSpPr>
            <a:spLocks noGrp="1"/>
          </p:cNvSpPr>
          <p:nvPr>
            <p:ph type="body" sz="quarter" idx="13"/>
          </p:nvPr>
        </p:nvSpPr>
        <p:spPr/>
        <p:txBody>
          <a:bodyPr/>
          <a:lstStyle/>
          <a:p>
            <a:r>
              <a:rPr lang="en-GB" dirty="0">
                <a:solidFill>
                  <a:schemeClr val="accent6">
                    <a:lumMod val="75000"/>
                  </a:schemeClr>
                </a:solidFill>
              </a:rPr>
              <a:t> </a:t>
            </a:r>
            <a:endParaRPr lang="en-US" dirty="0">
              <a:solidFill>
                <a:schemeClr val="accent6">
                  <a:lumMod val="75000"/>
                </a:schemeClr>
              </a:solidFill>
            </a:endParaRPr>
          </a:p>
        </p:txBody>
      </p:sp>
      <p:grpSp>
        <p:nvGrpSpPr>
          <p:cNvPr id="38" name="Group 37">
            <a:extLst>
              <a:ext uri="{FF2B5EF4-FFF2-40B4-BE49-F238E27FC236}">
                <a16:creationId xmlns:a16="http://schemas.microsoft.com/office/drawing/2014/main" id="{EEC5C181-24B6-4F3F-A33E-B5C95D6824C4}"/>
              </a:ext>
            </a:extLst>
          </p:cNvPr>
          <p:cNvGrpSpPr/>
          <p:nvPr/>
        </p:nvGrpSpPr>
        <p:grpSpPr>
          <a:xfrm>
            <a:off x="4832675" y="3121177"/>
            <a:ext cx="352017" cy="2201836"/>
            <a:chOff x="4887740" y="3108961"/>
            <a:chExt cx="468222" cy="2928688"/>
          </a:xfrm>
        </p:grpSpPr>
        <p:grpSp>
          <p:nvGrpSpPr>
            <p:cNvPr id="39" name="Group 38">
              <a:extLst>
                <a:ext uri="{FF2B5EF4-FFF2-40B4-BE49-F238E27FC236}">
                  <a16:creationId xmlns:a16="http://schemas.microsoft.com/office/drawing/2014/main" id="{AF57EB13-DD3B-48A7-A7C0-F47505629785}"/>
                </a:ext>
              </a:extLst>
            </p:cNvPr>
            <p:cNvGrpSpPr/>
            <p:nvPr/>
          </p:nvGrpSpPr>
          <p:grpSpPr>
            <a:xfrm>
              <a:off x="5258679" y="3108961"/>
              <a:ext cx="89609" cy="2416164"/>
              <a:chOff x="5263443" y="3434303"/>
              <a:chExt cx="78242" cy="2090821"/>
            </a:xfrm>
          </p:grpSpPr>
          <p:sp>
            <p:nvSpPr>
              <p:cNvPr id="44" name="Rectangle 75">
                <a:extLst>
                  <a:ext uri="{FF2B5EF4-FFF2-40B4-BE49-F238E27FC236}">
                    <a16:creationId xmlns:a16="http://schemas.microsoft.com/office/drawing/2014/main" id="{8C76B5E4-777E-473F-9657-DABB27CA5DCC}"/>
                  </a:ext>
                </a:extLst>
              </p:cNvPr>
              <p:cNvSpPr>
                <a:spLocks noChangeArrowheads="1"/>
              </p:cNvSpPr>
              <p:nvPr/>
            </p:nvSpPr>
            <p:spPr bwMode="auto">
              <a:xfrm>
                <a:off x="5275783" y="3434303"/>
                <a:ext cx="65902" cy="2090821"/>
              </a:xfrm>
              <a:prstGeom prst="rect">
                <a:avLst/>
              </a:prstGeom>
              <a:solidFill>
                <a:srgbClr val="B7BEC0"/>
              </a:solidFill>
              <a:ln>
                <a:noFill/>
              </a:ln>
            </p:spPr>
            <p:txBody>
              <a:bodyPr vert="horz" wrap="square" lIns="68746" tIns="34374" rIns="68746" bIns="34374" numCol="1" anchor="t" anchorCtr="0" compatLnSpc="1">
                <a:prstTxWarp prst="textNoShape">
                  <a:avLst/>
                </a:prstTxWarp>
              </a:bodyPr>
              <a:lstStyle/>
              <a:p>
                <a:endParaRPr lang="en-US" sz="1354" dirty="0"/>
              </a:p>
            </p:txBody>
          </p:sp>
          <p:sp>
            <p:nvSpPr>
              <p:cNvPr id="45" name="Rectangle 76">
                <a:extLst>
                  <a:ext uri="{FF2B5EF4-FFF2-40B4-BE49-F238E27FC236}">
                    <a16:creationId xmlns:a16="http://schemas.microsoft.com/office/drawing/2014/main" id="{EAAB98B9-D63E-4CF8-8F00-7330398A3031}"/>
                  </a:ext>
                </a:extLst>
              </p:cNvPr>
              <p:cNvSpPr>
                <a:spLocks noChangeArrowheads="1"/>
              </p:cNvSpPr>
              <p:nvPr/>
            </p:nvSpPr>
            <p:spPr bwMode="auto">
              <a:xfrm>
                <a:off x="5263443" y="3434303"/>
                <a:ext cx="45719" cy="2090821"/>
              </a:xfrm>
              <a:prstGeom prst="rect">
                <a:avLst/>
              </a:prstGeom>
              <a:solidFill>
                <a:srgbClr val="CDD5D7"/>
              </a:solidFill>
              <a:ln>
                <a:noFill/>
              </a:ln>
            </p:spPr>
            <p:txBody>
              <a:bodyPr vert="horz" wrap="square" lIns="68746" tIns="34374" rIns="68746" bIns="34374" numCol="1" anchor="t" anchorCtr="0" compatLnSpc="1">
                <a:prstTxWarp prst="textNoShape">
                  <a:avLst/>
                </a:prstTxWarp>
              </a:bodyPr>
              <a:lstStyle/>
              <a:p>
                <a:endParaRPr lang="en-US" sz="1354" dirty="0"/>
              </a:p>
            </p:txBody>
          </p:sp>
        </p:grpSp>
        <p:sp>
          <p:nvSpPr>
            <p:cNvPr id="42" name="Freeform 77">
              <a:extLst>
                <a:ext uri="{FF2B5EF4-FFF2-40B4-BE49-F238E27FC236}">
                  <a16:creationId xmlns:a16="http://schemas.microsoft.com/office/drawing/2014/main" id="{FB6A0381-5B4C-41A6-93A2-7658D658F978}"/>
                </a:ext>
              </a:extLst>
            </p:cNvPr>
            <p:cNvSpPr>
              <a:spLocks/>
            </p:cNvSpPr>
            <p:nvPr/>
          </p:nvSpPr>
          <p:spPr bwMode="auto">
            <a:xfrm>
              <a:off x="4887740" y="5515289"/>
              <a:ext cx="468222" cy="522360"/>
            </a:xfrm>
            <a:custGeom>
              <a:avLst/>
              <a:gdLst>
                <a:gd name="T0" fmla="*/ 196 w 356"/>
                <a:gd name="T1" fmla="*/ 394 h 396"/>
                <a:gd name="T2" fmla="*/ 68 w 356"/>
                <a:gd name="T3" fmla="*/ 151 h 396"/>
                <a:gd name="T4" fmla="*/ 81 w 356"/>
                <a:gd name="T5" fmla="*/ 143 h 396"/>
                <a:gd name="T6" fmla="*/ 131 w 356"/>
                <a:gd name="T7" fmla="*/ 174 h 396"/>
                <a:gd name="T8" fmla="*/ 135 w 356"/>
                <a:gd name="T9" fmla="*/ 196 h 396"/>
                <a:gd name="T10" fmla="*/ 145 w 356"/>
                <a:gd name="T11" fmla="*/ 291 h 396"/>
                <a:gd name="T12" fmla="*/ 275 w 356"/>
                <a:gd name="T13" fmla="*/ 236 h 396"/>
                <a:gd name="T14" fmla="*/ 275 w 356"/>
                <a:gd name="T15" fmla="*/ 6 h 396"/>
                <a:gd name="T16" fmla="*/ 281 w 356"/>
                <a:gd name="T17" fmla="*/ 0 h 396"/>
                <a:gd name="T18" fmla="*/ 350 w 356"/>
                <a:gd name="T19" fmla="*/ 0 h 396"/>
                <a:gd name="T20" fmla="*/ 356 w 356"/>
                <a:gd name="T21" fmla="*/ 6 h 396"/>
                <a:gd name="T22" fmla="*/ 356 w 356"/>
                <a:gd name="T23" fmla="*/ 237 h 396"/>
                <a:gd name="T24" fmla="*/ 196 w 356"/>
                <a:gd name="T25" fmla="*/ 394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6" h="396">
                  <a:moveTo>
                    <a:pt x="196" y="394"/>
                  </a:moveTo>
                  <a:cubicBezTo>
                    <a:pt x="75" y="392"/>
                    <a:pt x="0" y="255"/>
                    <a:pt x="68" y="151"/>
                  </a:cubicBezTo>
                  <a:cubicBezTo>
                    <a:pt x="71" y="147"/>
                    <a:pt x="76" y="144"/>
                    <a:pt x="81" y="143"/>
                  </a:cubicBezTo>
                  <a:cubicBezTo>
                    <a:pt x="89" y="142"/>
                    <a:pt x="90" y="144"/>
                    <a:pt x="131" y="174"/>
                  </a:cubicBezTo>
                  <a:cubicBezTo>
                    <a:pt x="138" y="179"/>
                    <a:pt x="140" y="189"/>
                    <a:pt x="135" y="196"/>
                  </a:cubicBezTo>
                  <a:cubicBezTo>
                    <a:pt x="116" y="226"/>
                    <a:pt x="119" y="265"/>
                    <a:pt x="145" y="291"/>
                  </a:cubicBezTo>
                  <a:cubicBezTo>
                    <a:pt x="193" y="339"/>
                    <a:pt x="275" y="305"/>
                    <a:pt x="275" y="236"/>
                  </a:cubicBezTo>
                  <a:cubicBezTo>
                    <a:pt x="275" y="6"/>
                    <a:pt x="275" y="6"/>
                    <a:pt x="275" y="6"/>
                  </a:cubicBezTo>
                  <a:cubicBezTo>
                    <a:pt x="275" y="3"/>
                    <a:pt x="278" y="0"/>
                    <a:pt x="281" y="0"/>
                  </a:cubicBezTo>
                  <a:cubicBezTo>
                    <a:pt x="350" y="0"/>
                    <a:pt x="350" y="0"/>
                    <a:pt x="350" y="0"/>
                  </a:cubicBezTo>
                  <a:cubicBezTo>
                    <a:pt x="353" y="0"/>
                    <a:pt x="356" y="3"/>
                    <a:pt x="356" y="6"/>
                  </a:cubicBezTo>
                  <a:cubicBezTo>
                    <a:pt x="356" y="237"/>
                    <a:pt x="356" y="237"/>
                    <a:pt x="356" y="237"/>
                  </a:cubicBezTo>
                  <a:cubicBezTo>
                    <a:pt x="356" y="324"/>
                    <a:pt x="284" y="396"/>
                    <a:pt x="196" y="394"/>
                  </a:cubicBezTo>
                  <a:close/>
                </a:path>
              </a:pathLst>
            </a:custGeom>
            <a:solidFill>
              <a:srgbClr val="596273"/>
            </a:solidFill>
            <a:ln>
              <a:noFill/>
            </a:ln>
          </p:spPr>
          <p:txBody>
            <a:bodyPr vert="horz" wrap="square" lIns="68746" tIns="34374" rIns="68746" bIns="34374" numCol="1" anchor="t" anchorCtr="0" compatLnSpc="1">
              <a:prstTxWarp prst="textNoShape">
                <a:avLst/>
              </a:prstTxWarp>
            </a:bodyPr>
            <a:lstStyle/>
            <a:p>
              <a:endParaRPr lang="en-US" sz="1354" dirty="0"/>
            </a:p>
          </p:txBody>
        </p:sp>
      </p:grpSp>
      <p:grpSp>
        <p:nvGrpSpPr>
          <p:cNvPr id="57" name="Group 56">
            <a:extLst>
              <a:ext uri="{FF2B5EF4-FFF2-40B4-BE49-F238E27FC236}">
                <a16:creationId xmlns:a16="http://schemas.microsoft.com/office/drawing/2014/main" id="{83C54E29-E73A-4681-859C-FDFDBEBE127F}"/>
              </a:ext>
            </a:extLst>
          </p:cNvPr>
          <p:cNvGrpSpPr/>
          <p:nvPr/>
        </p:nvGrpSpPr>
        <p:grpSpPr>
          <a:xfrm>
            <a:off x="2726837" y="1635689"/>
            <a:ext cx="4871328" cy="1712972"/>
            <a:chOff x="1341438" y="1814513"/>
            <a:chExt cx="6475413" cy="1597026"/>
          </a:xfrm>
          <a:solidFill>
            <a:schemeClr val="accent1"/>
          </a:solidFill>
        </p:grpSpPr>
        <p:sp>
          <p:nvSpPr>
            <p:cNvPr id="58" name="TextBox 57">
              <a:extLst>
                <a:ext uri="{FF2B5EF4-FFF2-40B4-BE49-F238E27FC236}">
                  <a16:creationId xmlns:a16="http://schemas.microsoft.com/office/drawing/2014/main" id="{6038F428-D09E-45E3-A45B-3A663B07768E}"/>
                </a:ext>
              </a:extLst>
            </p:cNvPr>
            <p:cNvSpPr txBox="1"/>
            <p:nvPr/>
          </p:nvSpPr>
          <p:spPr>
            <a:xfrm>
              <a:off x="4007087" y="2722580"/>
              <a:ext cx="1098980" cy="373980"/>
            </a:xfrm>
            <a:prstGeom prst="rect">
              <a:avLst/>
            </a:prstGeom>
            <a:grpFill/>
            <a:ln>
              <a:solidFill>
                <a:srgbClr val="BBBCBC"/>
              </a:solidFill>
            </a:ln>
          </p:spPr>
          <p:txBody>
            <a:bodyPr wrap="square" rtlCol="0">
              <a:spAutoFit/>
            </a:bodyPr>
            <a:lstStyle/>
            <a:p>
              <a:pPr algn="ctr"/>
              <a:r>
                <a:rPr lang="en-US" sz="2005" dirty="0">
                  <a:latin typeface="Verdana" panose="020B0604030504040204" pitchFamily="34" charset="0"/>
                </a:rPr>
                <a:t>Agile</a:t>
              </a:r>
            </a:p>
          </p:txBody>
        </p:sp>
        <p:sp>
          <p:nvSpPr>
            <p:cNvPr id="59" name="Freeform 69">
              <a:extLst>
                <a:ext uri="{FF2B5EF4-FFF2-40B4-BE49-F238E27FC236}">
                  <a16:creationId xmlns:a16="http://schemas.microsoft.com/office/drawing/2014/main" id="{4532F535-FFEF-4555-AA66-EC1C42AB774C}"/>
                </a:ext>
              </a:extLst>
            </p:cNvPr>
            <p:cNvSpPr>
              <a:spLocks/>
            </p:cNvSpPr>
            <p:nvPr/>
          </p:nvSpPr>
          <p:spPr bwMode="auto">
            <a:xfrm>
              <a:off x="4584700" y="1814513"/>
              <a:ext cx="69850" cy="138113"/>
            </a:xfrm>
            <a:custGeom>
              <a:avLst/>
              <a:gdLst>
                <a:gd name="T0" fmla="*/ 17 w 17"/>
                <a:gd name="T1" fmla="*/ 49 h 51"/>
                <a:gd name="T2" fmla="*/ 8 w 17"/>
                <a:gd name="T3" fmla="*/ 2 h 51"/>
                <a:gd name="T4" fmla="*/ 0 w 17"/>
                <a:gd name="T5" fmla="*/ 0 h 51"/>
                <a:gd name="T6" fmla="*/ 0 w 17"/>
                <a:gd name="T7" fmla="*/ 51 h 51"/>
              </a:gdLst>
              <a:ahLst/>
              <a:cxnLst>
                <a:cxn ang="0">
                  <a:pos x="T0" y="T1"/>
                </a:cxn>
                <a:cxn ang="0">
                  <a:pos x="T2" y="T3"/>
                </a:cxn>
                <a:cxn ang="0">
                  <a:pos x="T4" y="T5"/>
                </a:cxn>
                <a:cxn ang="0">
                  <a:pos x="T6" y="T7"/>
                </a:cxn>
              </a:cxnLst>
              <a:rect l="0" t="0" r="r" b="b"/>
              <a:pathLst>
                <a:path w="17" h="51">
                  <a:moveTo>
                    <a:pt x="17" y="49"/>
                  </a:moveTo>
                  <a:cubicBezTo>
                    <a:pt x="8" y="2"/>
                    <a:pt x="8" y="2"/>
                    <a:pt x="8" y="2"/>
                  </a:cubicBezTo>
                  <a:cubicBezTo>
                    <a:pt x="8" y="1"/>
                    <a:pt x="4" y="0"/>
                    <a:pt x="0" y="0"/>
                  </a:cubicBezTo>
                  <a:cubicBezTo>
                    <a:pt x="0" y="51"/>
                    <a:pt x="0" y="51"/>
                    <a:pt x="0" y="51"/>
                  </a:cubicBezTo>
                </a:path>
              </a:pathLst>
            </a:custGeom>
            <a:grpFill/>
            <a:ln w="9525">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0" name="Freeform 6">
              <a:extLst>
                <a:ext uri="{FF2B5EF4-FFF2-40B4-BE49-F238E27FC236}">
                  <a16:creationId xmlns:a16="http://schemas.microsoft.com/office/drawing/2014/main" id="{0F9769D3-449E-44E0-A73F-A505DA586EA3}"/>
                </a:ext>
              </a:extLst>
            </p:cNvPr>
            <p:cNvSpPr>
              <a:spLocks/>
            </p:cNvSpPr>
            <p:nvPr/>
          </p:nvSpPr>
          <p:spPr bwMode="auto">
            <a:xfrm>
              <a:off x="4508500" y="1814513"/>
              <a:ext cx="80963" cy="138113"/>
            </a:xfrm>
            <a:custGeom>
              <a:avLst/>
              <a:gdLst>
                <a:gd name="T0" fmla="*/ 20 w 20"/>
                <a:gd name="T1" fmla="*/ 51 h 51"/>
                <a:gd name="T2" fmla="*/ 20 w 20"/>
                <a:gd name="T3" fmla="*/ 0 h 51"/>
                <a:gd name="T4" fmla="*/ 10 w 20"/>
                <a:gd name="T5" fmla="*/ 2 h 51"/>
                <a:gd name="T6" fmla="*/ 0 w 20"/>
                <a:gd name="T7" fmla="*/ 49 h 51"/>
              </a:gdLst>
              <a:ahLst/>
              <a:cxnLst>
                <a:cxn ang="0">
                  <a:pos x="T0" y="T1"/>
                </a:cxn>
                <a:cxn ang="0">
                  <a:pos x="T2" y="T3"/>
                </a:cxn>
                <a:cxn ang="0">
                  <a:pos x="T4" y="T5"/>
                </a:cxn>
                <a:cxn ang="0">
                  <a:pos x="T6" y="T7"/>
                </a:cxn>
              </a:cxnLst>
              <a:rect l="0" t="0" r="r" b="b"/>
              <a:pathLst>
                <a:path w="20" h="51">
                  <a:moveTo>
                    <a:pt x="20" y="51"/>
                  </a:moveTo>
                  <a:cubicBezTo>
                    <a:pt x="20" y="0"/>
                    <a:pt x="20" y="0"/>
                    <a:pt x="20" y="0"/>
                  </a:cubicBezTo>
                  <a:cubicBezTo>
                    <a:pt x="14" y="0"/>
                    <a:pt x="10" y="1"/>
                    <a:pt x="10" y="2"/>
                  </a:cubicBezTo>
                  <a:cubicBezTo>
                    <a:pt x="0" y="49"/>
                    <a:pt x="0" y="49"/>
                    <a:pt x="0" y="49"/>
                  </a:cubicBezTo>
                </a:path>
              </a:pathLst>
            </a:custGeom>
            <a:grpFill/>
            <a:ln w="9525">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1" name="Freeform 7">
              <a:extLst>
                <a:ext uri="{FF2B5EF4-FFF2-40B4-BE49-F238E27FC236}">
                  <a16:creationId xmlns:a16="http://schemas.microsoft.com/office/drawing/2014/main" id="{8EFBB0D4-E18C-4FD1-B450-659A7C4F69A7}"/>
                </a:ext>
              </a:extLst>
            </p:cNvPr>
            <p:cNvSpPr>
              <a:spLocks noEditPoints="1"/>
            </p:cNvSpPr>
            <p:nvPr/>
          </p:nvSpPr>
          <p:spPr bwMode="auto">
            <a:xfrm>
              <a:off x="1341438" y="3197226"/>
              <a:ext cx="6475413" cy="214313"/>
            </a:xfrm>
            <a:custGeom>
              <a:avLst/>
              <a:gdLst>
                <a:gd name="T0" fmla="*/ 35 w 1583"/>
                <a:gd name="T1" fmla="*/ 4 h 79"/>
                <a:gd name="T2" fmla="*/ 27 w 1583"/>
                <a:gd name="T3" fmla="*/ 7 h 79"/>
                <a:gd name="T4" fmla="*/ 1 w 1583"/>
                <a:gd name="T5" fmla="*/ 68 h 79"/>
                <a:gd name="T6" fmla="*/ 5 w 1583"/>
                <a:gd name="T7" fmla="*/ 77 h 79"/>
                <a:gd name="T8" fmla="*/ 13 w 1583"/>
                <a:gd name="T9" fmla="*/ 73 h 79"/>
                <a:gd name="T10" fmla="*/ 39 w 1583"/>
                <a:gd name="T11" fmla="*/ 13 h 79"/>
                <a:gd name="T12" fmla="*/ 35 w 1583"/>
                <a:gd name="T13" fmla="*/ 4 h 79"/>
                <a:gd name="T14" fmla="*/ 328 w 1583"/>
                <a:gd name="T15" fmla="*/ 0 h 79"/>
                <a:gd name="T16" fmla="*/ 321 w 1583"/>
                <a:gd name="T17" fmla="*/ 6 h 79"/>
                <a:gd name="T18" fmla="*/ 314 w 1583"/>
                <a:gd name="T19" fmla="*/ 72 h 79"/>
                <a:gd name="T20" fmla="*/ 320 w 1583"/>
                <a:gd name="T21" fmla="*/ 79 h 79"/>
                <a:gd name="T22" fmla="*/ 327 w 1583"/>
                <a:gd name="T23" fmla="*/ 73 h 79"/>
                <a:gd name="T24" fmla="*/ 333 w 1583"/>
                <a:gd name="T25" fmla="*/ 8 h 79"/>
                <a:gd name="T26" fmla="*/ 328 w 1583"/>
                <a:gd name="T27" fmla="*/ 0 h 79"/>
                <a:gd name="T28" fmla="*/ 636 w 1583"/>
                <a:gd name="T29" fmla="*/ 0 h 79"/>
                <a:gd name="T30" fmla="*/ 629 w 1583"/>
                <a:gd name="T31" fmla="*/ 7 h 79"/>
                <a:gd name="T32" fmla="*/ 629 w 1583"/>
                <a:gd name="T33" fmla="*/ 73 h 79"/>
                <a:gd name="T34" fmla="*/ 636 w 1583"/>
                <a:gd name="T35" fmla="*/ 79 h 79"/>
                <a:gd name="T36" fmla="*/ 642 w 1583"/>
                <a:gd name="T37" fmla="*/ 73 h 79"/>
                <a:gd name="T38" fmla="*/ 642 w 1583"/>
                <a:gd name="T39" fmla="*/ 7 h 79"/>
                <a:gd name="T40" fmla="*/ 636 w 1583"/>
                <a:gd name="T41" fmla="*/ 0 h 79"/>
                <a:gd name="T42" fmla="*/ 947 w 1583"/>
                <a:gd name="T43" fmla="*/ 0 h 79"/>
                <a:gd name="T44" fmla="*/ 941 w 1583"/>
                <a:gd name="T45" fmla="*/ 7 h 79"/>
                <a:gd name="T46" fmla="*/ 941 w 1583"/>
                <a:gd name="T47" fmla="*/ 73 h 79"/>
                <a:gd name="T48" fmla="*/ 947 w 1583"/>
                <a:gd name="T49" fmla="*/ 79 h 79"/>
                <a:gd name="T50" fmla="*/ 954 w 1583"/>
                <a:gd name="T51" fmla="*/ 73 h 79"/>
                <a:gd name="T52" fmla="*/ 954 w 1583"/>
                <a:gd name="T53" fmla="*/ 7 h 79"/>
                <a:gd name="T54" fmla="*/ 947 w 1583"/>
                <a:gd name="T55" fmla="*/ 0 h 79"/>
                <a:gd name="T56" fmla="*/ 1581 w 1583"/>
                <a:gd name="T57" fmla="*/ 68 h 79"/>
                <a:gd name="T58" fmla="*/ 1556 w 1583"/>
                <a:gd name="T59" fmla="*/ 7 h 79"/>
                <a:gd name="T60" fmla="*/ 1547 w 1583"/>
                <a:gd name="T61" fmla="*/ 4 h 79"/>
                <a:gd name="T62" fmla="*/ 1544 w 1583"/>
                <a:gd name="T63" fmla="*/ 13 h 79"/>
                <a:gd name="T64" fmla="*/ 1570 w 1583"/>
                <a:gd name="T65" fmla="*/ 73 h 79"/>
                <a:gd name="T66" fmla="*/ 1578 w 1583"/>
                <a:gd name="T67" fmla="*/ 77 h 79"/>
                <a:gd name="T68" fmla="*/ 1581 w 1583"/>
                <a:gd name="T69" fmla="*/ 68 h 79"/>
                <a:gd name="T70" fmla="*/ 1262 w 1583"/>
                <a:gd name="T71" fmla="*/ 6 h 79"/>
                <a:gd name="T72" fmla="*/ 1255 w 1583"/>
                <a:gd name="T73" fmla="*/ 0 h 79"/>
                <a:gd name="T74" fmla="*/ 1249 w 1583"/>
                <a:gd name="T75" fmla="*/ 8 h 79"/>
                <a:gd name="T76" fmla="*/ 1256 w 1583"/>
                <a:gd name="T77" fmla="*/ 73 h 79"/>
                <a:gd name="T78" fmla="*/ 1263 w 1583"/>
                <a:gd name="T79" fmla="*/ 79 h 79"/>
                <a:gd name="T80" fmla="*/ 1269 w 1583"/>
                <a:gd name="T81" fmla="*/ 72 h 79"/>
                <a:gd name="T82" fmla="*/ 1262 w 1583"/>
                <a:gd name="T83"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3" h="79">
                  <a:moveTo>
                    <a:pt x="35" y="4"/>
                  </a:moveTo>
                  <a:cubicBezTo>
                    <a:pt x="32" y="2"/>
                    <a:pt x="28" y="4"/>
                    <a:pt x="27" y="7"/>
                  </a:cubicBezTo>
                  <a:cubicBezTo>
                    <a:pt x="1" y="68"/>
                    <a:pt x="1" y="68"/>
                    <a:pt x="1" y="68"/>
                  </a:cubicBezTo>
                  <a:cubicBezTo>
                    <a:pt x="0" y="71"/>
                    <a:pt x="1" y="75"/>
                    <a:pt x="5" y="77"/>
                  </a:cubicBezTo>
                  <a:cubicBezTo>
                    <a:pt x="8" y="78"/>
                    <a:pt x="12" y="76"/>
                    <a:pt x="13" y="73"/>
                  </a:cubicBezTo>
                  <a:cubicBezTo>
                    <a:pt x="39" y="13"/>
                    <a:pt x="39" y="13"/>
                    <a:pt x="39" y="13"/>
                  </a:cubicBezTo>
                  <a:cubicBezTo>
                    <a:pt x="40" y="9"/>
                    <a:pt x="39" y="5"/>
                    <a:pt x="35" y="4"/>
                  </a:cubicBezTo>
                  <a:close/>
                  <a:moveTo>
                    <a:pt x="328" y="0"/>
                  </a:moveTo>
                  <a:cubicBezTo>
                    <a:pt x="324" y="0"/>
                    <a:pt x="321" y="3"/>
                    <a:pt x="321" y="6"/>
                  </a:cubicBezTo>
                  <a:cubicBezTo>
                    <a:pt x="314" y="72"/>
                    <a:pt x="314" y="72"/>
                    <a:pt x="314" y="72"/>
                  </a:cubicBezTo>
                  <a:cubicBezTo>
                    <a:pt x="313" y="75"/>
                    <a:pt x="316" y="79"/>
                    <a:pt x="320" y="79"/>
                  </a:cubicBezTo>
                  <a:cubicBezTo>
                    <a:pt x="323" y="79"/>
                    <a:pt x="326" y="77"/>
                    <a:pt x="327" y="73"/>
                  </a:cubicBezTo>
                  <a:cubicBezTo>
                    <a:pt x="333" y="8"/>
                    <a:pt x="333" y="8"/>
                    <a:pt x="333" y="8"/>
                  </a:cubicBezTo>
                  <a:cubicBezTo>
                    <a:pt x="334" y="4"/>
                    <a:pt x="331" y="1"/>
                    <a:pt x="328" y="0"/>
                  </a:cubicBezTo>
                  <a:close/>
                  <a:moveTo>
                    <a:pt x="636" y="0"/>
                  </a:moveTo>
                  <a:cubicBezTo>
                    <a:pt x="632" y="0"/>
                    <a:pt x="629" y="3"/>
                    <a:pt x="629" y="7"/>
                  </a:cubicBezTo>
                  <a:cubicBezTo>
                    <a:pt x="629" y="73"/>
                    <a:pt x="629" y="73"/>
                    <a:pt x="629" y="73"/>
                  </a:cubicBezTo>
                  <a:cubicBezTo>
                    <a:pt x="629" y="76"/>
                    <a:pt x="632" y="79"/>
                    <a:pt x="636" y="79"/>
                  </a:cubicBezTo>
                  <a:cubicBezTo>
                    <a:pt x="639" y="79"/>
                    <a:pt x="642" y="76"/>
                    <a:pt x="642" y="73"/>
                  </a:cubicBezTo>
                  <a:cubicBezTo>
                    <a:pt x="642" y="7"/>
                    <a:pt x="642" y="7"/>
                    <a:pt x="642" y="7"/>
                  </a:cubicBezTo>
                  <a:cubicBezTo>
                    <a:pt x="642" y="3"/>
                    <a:pt x="639" y="0"/>
                    <a:pt x="636" y="0"/>
                  </a:cubicBezTo>
                  <a:close/>
                  <a:moveTo>
                    <a:pt x="947" y="0"/>
                  </a:moveTo>
                  <a:cubicBezTo>
                    <a:pt x="944" y="0"/>
                    <a:pt x="941" y="3"/>
                    <a:pt x="941" y="7"/>
                  </a:cubicBezTo>
                  <a:cubicBezTo>
                    <a:pt x="941" y="73"/>
                    <a:pt x="941" y="73"/>
                    <a:pt x="941" y="73"/>
                  </a:cubicBezTo>
                  <a:cubicBezTo>
                    <a:pt x="941" y="76"/>
                    <a:pt x="944" y="79"/>
                    <a:pt x="947" y="79"/>
                  </a:cubicBezTo>
                  <a:cubicBezTo>
                    <a:pt x="951" y="79"/>
                    <a:pt x="954" y="76"/>
                    <a:pt x="954" y="73"/>
                  </a:cubicBezTo>
                  <a:cubicBezTo>
                    <a:pt x="954" y="7"/>
                    <a:pt x="954" y="7"/>
                    <a:pt x="954" y="7"/>
                  </a:cubicBezTo>
                  <a:cubicBezTo>
                    <a:pt x="954" y="3"/>
                    <a:pt x="951" y="0"/>
                    <a:pt x="947" y="0"/>
                  </a:cubicBezTo>
                  <a:close/>
                  <a:moveTo>
                    <a:pt x="1581" y="68"/>
                  </a:moveTo>
                  <a:cubicBezTo>
                    <a:pt x="1556" y="7"/>
                    <a:pt x="1556" y="7"/>
                    <a:pt x="1556" y="7"/>
                  </a:cubicBezTo>
                  <a:cubicBezTo>
                    <a:pt x="1554" y="4"/>
                    <a:pt x="1551" y="2"/>
                    <a:pt x="1547" y="4"/>
                  </a:cubicBezTo>
                  <a:cubicBezTo>
                    <a:pt x="1544" y="5"/>
                    <a:pt x="1543" y="9"/>
                    <a:pt x="1544" y="13"/>
                  </a:cubicBezTo>
                  <a:cubicBezTo>
                    <a:pt x="1570" y="73"/>
                    <a:pt x="1570" y="73"/>
                    <a:pt x="1570" y="73"/>
                  </a:cubicBezTo>
                  <a:cubicBezTo>
                    <a:pt x="1571" y="76"/>
                    <a:pt x="1575" y="78"/>
                    <a:pt x="1578" y="77"/>
                  </a:cubicBezTo>
                  <a:cubicBezTo>
                    <a:pt x="1581" y="75"/>
                    <a:pt x="1583" y="71"/>
                    <a:pt x="1581" y="68"/>
                  </a:cubicBezTo>
                  <a:close/>
                  <a:moveTo>
                    <a:pt x="1262" y="6"/>
                  </a:moveTo>
                  <a:cubicBezTo>
                    <a:pt x="1262" y="3"/>
                    <a:pt x="1259" y="0"/>
                    <a:pt x="1255" y="0"/>
                  </a:cubicBezTo>
                  <a:cubicBezTo>
                    <a:pt x="1251" y="1"/>
                    <a:pt x="1249" y="4"/>
                    <a:pt x="1249" y="8"/>
                  </a:cubicBezTo>
                  <a:cubicBezTo>
                    <a:pt x="1256" y="73"/>
                    <a:pt x="1256" y="73"/>
                    <a:pt x="1256" y="73"/>
                  </a:cubicBezTo>
                  <a:cubicBezTo>
                    <a:pt x="1256" y="77"/>
                    <a:pt x="1260" y="79"/>
                    <a:pt x="1263" y="79"/>
                  </a:cubicBezTo>
                  <a:cubicBezTo>
                    <a:pt x="1267" y="79"/>
                    <a:pt x="1269" y="75"/>
                    <a:pt x="1269" y="72"/>
                  </a:cubicBezTo>
                  <a:lnTo>
                    <a:pt x="1262" y="6"/>
                  </a:lnTo>
                  <a:close/>
                </a:path>
              </a:pathLst>
            </a:custGeom>
            <a:grpFill/>
            <a:ln w="9525">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2" name="Freeform 8">
              <a:extLst>
                <a:ext uri="{FF2B5EF4-FFF2-40B4-BE49-F238E27FC236}">
                  <a16:creationId xmlns:a16="http://schemas.microsoft.com/office/drawing/2014/main" id="{7D6347E2-8FF8-4A6E-BEC1-4B30B725191E}"/>
                </a:ext>
              </a:extLst>
            </p:cNvPr>
            <p:cNvSpPr>
              <a:spLocks/>
            </p:cNvSpPr>
            <p:nvPr/>
          </p:nvSpPr>
          <p:spPr bwMode="auto">
            <a:xfrm>
              <a:off x="4573588" y="1928813"/>
              <a:ext cx="1938338" cy="1431925"/>
            </a:xfrm>
            <a:custGeom>
              <a:avLst/>
              <a:gdLst>
                <a:gd name="T0" fmla="*/ 0 w 474"/>
                <a:gd name="T1" fmla="*/ 0 h 527"/>
                <a:gd name="T2" fmla="*/ 317 w 474"/>
                <a:gd name="T3" fmla="*/ 501 h 527"/>
                <a:gd name="T4" fmla="*/ 474 w 474"/>
                <a:gd name="T5" fmla="*/ 527 h 527"/>
                <a:gd name="T6" fmla="*/ 0 w 474"/>
                <a:gd name="T7" fmla="*/ 0 h 527"/>
              </a:gdLst>
              <a:ahLst/>
              <a:cxnLst>
                <a:cxn ang="0">
                  <a:pos x="T0" y="T1"/>
                </a:cxn>
                <a:cxn ang="0">
                  <a:pos x="T2" y="T3"/>
                </a:cxn>
                <a:cxn ang="0">
                  <a:pos x="T4" y="T5"/>
                </a:cxn>
                <a:cxn ang="0">
                  <a:pos x="T6" y="T7"/>
                </a:cxn>
              </a:cxnLst>
              <a:rect l="0" t="0" r="r" b="b"/>
              <a:pathLst>
                <a:path w="474" h="527">
                  <a:moveTo>
                    <a:pt x="0" y="0"/>
                  </a:moveTo>
                  <a:cubicBezTo>
                    <a:pt x="167" y="0"/>
                    <a:pt x="306" y="226"/>
                    <a:pt x="317" y="501"/>
                  </a:cubicBezTo>
                  <a:cubicBezTo>
                    <a:pt x="399" y="501"/>
                    <a:pt x="465" y="524"/>
                    <a:pt x="474" y="527"/>
                  </a:cubicBezTo>
                  <a:cubicBezTo>
                    <a:pt x="469" y="240"/>
                    <a:pt x="259" y="0"/>
                    <a:pt x="0"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3" name="Freeform 10">
              <a:extLst>
                <a:ext uri="{FF2B5EF4-FFF2-40B4-BE49-F238E27FC236}">
                  <a16:creationId xmlns:a16="http://schemas.microsoft.com/office/drawing/2014/main" id="{53EDF6D6-934F-4BEB-8E4D-00FB9591116F}"/>
                </a:ext>
              </a:extLst>
            </p:cNvPr>
            <p:cNvSpPr>
              <a:spLocks/>
            </p:cNvSpPr>
            <p:nvPr/>
          </p:nvSpPr>
          <p:spPr bwMode="auto">
            <a:xfrm>
              <a:off x="4573588" y="1928813"/>
              <a:ext cx="646113" cy="1431925"/>
            </a:xfrm>
            <a:custGeom>
              <a:avLst/>
              <a:gdLst>
                <a:gd name="T0" fmla="*/ 0 w 158"/>
                <a:gd name="T1" fmla="*/ 0 h 527"/>
                <a:gd name="T2" fmla="*/ 0 w 158"/>
                <a:gd name="T3" fmla="*/ 501 h 527"/>
                <a:gd name="T4" fmla="*/ 158 w 158"/>
                <a:gd name="T5" fmla="*/ 527 h 527"/>
                <a:gd name="T6" fmla="*/ 0 w 158"/>
                <a:gd name="T7" fmla="*/ 0 h 527"/>
              </a:gdLst>
              <a:ahLst/>
              <a:cxnLst>
                <a:cxn ang="0">
                  <a:pos x="T0" y="T1"/>
                </a:cxn>
                <a:cxn ang="0">
                  <a:pos x="T2" y="T3"/>
                </a:cxn>
                <a:cxn ang="0">
                  <a:pos x="T4" y="T5"/>
                </a:cxn>
                <a:cxn ang="0">
                  <a:pos x="T6" y="T7"/>
                </a:cxn>
              </a:cxnLst>
              <a:rect l="0" t="0" r="r" b="b"/>
              <a:pathLst>
                <a:path w="158" h="527">
                  <a:moveTo>
                    <a:pt x="0" y="0"/>
                  </a:moveTo>
                  <a:cubicBezTo>
                    <a:pt x="0" y="501"/>
                    <a:pt x="0" y="501"/>
                    <a:pt x="0" y="501"/>
                  </a:cubicBezTo>
                  <a:cubicBezTo>
                    <a:pt x="83" y="501"/>
                    <a:pt x="152" y="525"/>
                    <a:pt x="158" y="527"/>
                  </a:cubicBezTo>
                  <a:cubicBezTo>
                    <a:pt x="156" y="240"/>
                    <a:pt x="86" y="0"/>
                    <a:pt x="0"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4" name="Freeform 12">
              <a:extLst>
                <a:ext uri="{FF2B5EF4-FFF2-40B4-BE49-F238E27FC236}">
                  <a16:creationId xmlns:a16="http://schemas.microsoft.com/office/drawing/2014/main" id="{D12B87F1-9CD6-4FBF-8334-3B92AB5C4CC3}"/>
                </a:ext>
              </a:extLst>
            </p:cNvPr>
            <p:cNvSpPr>
              <a:spLocks/>
            </p:cNvSpPr>
            <p:nvPr/>
          </p:nvSpPr>
          <p:spPr bwMode="auto">
            <a:xfrm>
              <a:off x="5056188" y="1952626"/>
              <a:ext cx="2752725" cy="1408113"/>
            </a:xfrm>
            <a:custGeom>
              <a:avLst/>
              <a:gdLst>
                <a:gd name="T0" fmla="*/ 673 w 673"/>
                <a:gd name="T1" fmla="*/ 518 h 518"/>
                <a:gd name="T2" fmla="*/ 0 w 673"/>
                <a:gd name="T3" fmla="*/ 0 h 518"/>
                <a:gd name="T4" fmla="*/ 16 w 673"/>
                <a:gd name="T5" fmla="*/ 3 h 518"/>
                <a:gd name="T6" fmla="*/ 514 w 673"/>
                <a:gd name="T7" fmla="*/ 492 h 518"/>
                <a:gd name="T8" fmla="*/ 515 w 673"/>
                <a:gd name="T9" fmla="*/ 492 h 518"/>
                <a:gd name="T10" fmla="*/ 673 w 673"/>
                <a:gd name="T11" fmla="*/ 518 h 518"/>
              </a:gdLst>
              <a:ahLst/>
              <a:cxnLst>
                <a:cxn ang="0">
                  <a:pos x="T0" y="T1"/>
                </a:cxn>
                <a:cxn ang="0">
                  <a:pos x="T2" y="T3"/>
                </a:cxn>
                <a:cxn ang="0">
                  <a:pos x="T4" y="T5"/>
                </a:cxn>
                <a:cxn ang="0">
                  <a:pos x="T6" y="T7"/>
                </a:cxn>
                <a:cxn ang="0">
                  <a:pos x="T8" y="T9"/>
                </a:cxn>
                <a:cxn ang="0">
                  <a:pos x="T10" y="T11"/>
                </a:cxn>
              </a:cxnLst>
              <a:rect l="0" t="0" r="r" b="b"/>
              <a:pathLst>
                <a:path w="673" h="518">
                  <a:moveTo>
                    <a:pt x="673" y="518"/>
                  </a:moveTo>
                  <a:cubicBezTo>
                    <a:pt x="540" y="165"/>
                    <a:pt x="224" y="34"/>
                    <a:pt x="0" y="0"/>
                  </a:cubicBezTo>
                  <a:cubicBezTo>
                    <a:pt x="5" y="1"/>
                    <a:pt x="11" y="2"/>
                    <a:pt x="16" y="3"/>
                  </a:cubicBezTo>
                  <a:cubicBezTo>
                    <a:pt x="288" y="52"/>
                    <a:pt x="495" y="254"/>
                    <a:pt x="514" y="492"/>
                  </a:cubicBezTo>
                  <a:cubicBezTo>
                    <a:pt x="514" y="492"/>
                    <a:pt x="514" y="492"/>
                    <a:pt x="515" y="492"/>
                  </a:cubicBezTo>
                  <a:cubicBezTo>
                    <a:pt x="602" y="492"/>
                    <a:pt x="673" y="518"/>
                    <a:pt x="673" y="518"/>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5" name="Freeform 14">
              <a:extLst>
                <a:ext uri="{FF2B5EF4-FFF2-40B4-BE49-F238E27FC236}">
                  <a16:creationId xmlns:a16="http://schemas.microsoft.com/office/drawing/2014/main" id="{A101CD3C-6723-483A-8B26-5DD2C00DFB82}"/>
                </a:ext>
              </a:extLst>
            </p:cNvPr>
            <p:cNvSpPr>
              <a:spLocks/>
            </p:cNvSpPr>
            <p:nvPr/>
          </p:nvSpPr>
          <p:spPr bwMode="auto">
            <a:xfrm>
              <a:off x="4573588" y="1928813"/>
              <a:ext cx="1295400" cy="1431925"/>
            </a:xfrm>
            <a:custGeom>
              <a:avLst/>
              <a:gdLst>
                <a:gd name="T0" fmla="*/ 0 w 317"/>
                <a:gd name="T1" fmla="*/ 0 h 527"/>
                <a:gd name="T2" fmla="*/ 158 w 317"/>
                <a:gd name="T3" fmla="*/ 527 h 527"/>
                <a:gd name="T4" fmla="*/ 158 w 317"/>
                <a:gd name="T5" fmla="*/ 527 h 527"/>
                <a:gd name="T6" fmla="*/ 316 w 317"/>
                <a:gd name="T7" fmla="*/ 501 h 527"/>
                <a:gd name="T8" fmla="*/ 317 w 317"/>
                <a:gd name="T9" fmla="*/ 501 h 527"/>
                <a:gd name="T10" fmla="*/ 0 w 317"/>
                <a:gd name="T11" fmla="*/ 0 h 527"/>
              </a:gdLst>
              <a:ahLst/>
              <a:cxnLst>
                <a:cxn ang="0">
                  <a:pos x="T0" y="T1"/>
                </a:cxn>
                <a:cxn ang="0">
                  <a:pos x="T2" y="T3"/>
                </a:cxn>
                <a:cxn ang="0">
                  <a:pos x="T4" y="T5"/>
                </a:cxn>
                <a:cxn ang="0">
                  <a:pos x="T6" y="T7"/>
                </a:cxn>
                <a:cxn ang="0">
                  <a:pos x="T8" y="T9"/>
                </a:cxn>
                <a:cxn ang="0">
                  <a:pos x="T10" y="T11"/>
                </a:cxn>
              </a:cxnLst>
              <a:rect l="0" t="0" r="r" b="b"/>
              <a:pathLst>
                <a:path w="317" h="527">
                  <a:moveTo>
                    <a:pt x="0" y="0"/>
                  </a:moveTo>
                  <a:cubicBezTo>
                    <a:pt x="86" y="0"/>
                    <a:pt x="156" y="240"/>
                    <a:pt x="158" y="527"/>
                  </a:cubicBezTo>
                  <a:cubicBezTo>
                    <a:pt x="158" y="527"/>
                    <a:pt x="158" y="527"/>
                    <a:pt x="158" y="527"/>
                  </a:cubicBezTo>
                  <a:cubicBezTo>
                    <a:pt x="158" y="527"/>
                    <a:pt x="229" y="501"/>
                    <a:pt x="316" y="501"/>
                  </a:cubicBezTo>
                  <a:cubicBezTo>
                    <a:pt x="317" y="501"/>
                    <a:pt x="317" y="501"/>
                    <a:pt x="317" y="501"/>
                  </a:cubicBezTo>
                  <a:cubicBezTo>
                    <a:pt x="306" y="226"/>
                    <a:pt x="167" y="0"/>
                    <a:pt x="0"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6" name="Freeform 16">
              <a:extLst>
                <a:ext uri="{FF2B5EF4-FFF2-40B4-BE49-F238E27FC236}">
                  <a16:creationId xmlns:a16="http://schemas.microsoft.com/office/drawing/2014/main" id="{696348C4-6AF7-4F91-8A04-771608280D34}"/>
                </a:ext>
              </a:extLst>
            </p:cNvPr>
            <p:cNvSpPr>
              <a:spLocks/>
            </p:cNvSpPr>
            <p:nvPr/>
          </p:nvSpPr>
          <p:spPr bwMode="auto">
            <a:xfrm>
              <a:off x="4573588" y="1928813"/>
              <a:ext cx="2584450" cy="1431925"/>
            </a:xfrm>
            <a:custGeom>
              <a:avLst/>
              <a:gdLst>
                <a:gd name="T0" fmla="*/ 134 w 632"/>
                <a:gd name="T1" fmla="*/ 12 h 527"/>
                <a:gd name="T2" fmla="*/ 118 w 632"/>
                <a:gd name="T3" fmla="*/ 9 h 527"/>
                <a:gd name="T4" fmla="*/ 117 w 632"/>
                <a:gd name="T5" fmla="*/ 9 h 527"/>
                <a:gd name="T6" fmla="*/ 70 w 632"/>
                <a:gd name="T7" fmla="*/ 4 h 527"/>
                <a:gd name="T8" fmla="*/ 70 w 632"/>
                <a:gd name="T9" fmla="*/ 3 h 527"/>
                <a:gd name="T10" fmla="*/ 27 w 632"/>
                <a:gd name="T11" fmla="*/ 1 h 527"/>
                <a:gd name="T12" fmla="*/ 25 w 632"/>
                <a:gd name="T13" fmla="*/ 1 h 527"/>
                <a:gd name="T14" fmla="*/ 12 w 632"/>
                <a:gd name="T15" fmla="*/ 0 h 527"/>
                <a:gd name="T16" fmla="*/ 12 w 632"/>
                <a:gd name="T17" fmla="*/ 0 h 527"/>
                <a:gd name="T18" fmla="*/ 0 w 632"/>
                <a:gd name="T19" fmla="*/ 0 h 527"/>
                <a:gd name="T20" fmla="*/ 474 w 632"/>
                <a:gd name="T21" fmla="*/ 527 h 527"/>
                <a:gd name="T22" fmla="*/ 474 w 632"/>
                <a:gd name="T23" fmla="*/ 527 h 527"/>
                <a:gd name="T24" fmla="*/ 632 w 632"/>
                <a:gd name="T25" fmla="*/ 501 h 527"/>
                <a:gd name="T26" fmla="*/ 134 w 632"/>
                <a:gd name="T27" fmla="*/ 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2" h="527">
                  <a:moveTo>
                    <a:pt x="134" y="12"/>
                  </a:moveTo>
                  <a:cubicBezTo>
                    <a:pt x="129" y="11"/>
                    <a:pt x="123" y="10"/>
                    <a:pt x="118" y="9"/>
                  </a:cubicBezTo>
                  <a:cubicBezTo>
                    <a:pt x="118" y="9"/>
                    <a:pt x="118" y="9"/>
                    <a:pt x="117" y="9"/>
                  </a:cubicBezTo>
                  <a:cubicBezTo>
                    <a:pt x="101" y="7"/>
                    <a:pt x="86" y="5"/>
                    <a:pt x="70" y="4"/>
                  </a:cubicBezTo>
                  <a:cubicBezTo>
                    <a:pt x="70" y="4"/>
                    <a:pt x="70" y="4"/>
                    <a:pt x="70" y="3"/>
                  </a:cubicBezTo>
                  <a:cubicBezTo>
                    <a:pt x="55" y="2"/>
                    <a:pt x="40" y="1"/>
                    <a:pt x="27" y="1"/>
                  </a:cubicBezTo>
                  <a:cubicBezTo>
                    <a:pt x="26" y="1"/>
                    <a:pt x="26" y="1"/>
                    <a:pt x="25" y="1"/>
                  </a:cubicBezTo>
                  <a:cubicBezTo>
                    <a:pt x="21" y="0"/>
                    <a:pt x="17" y="0"/>
                    <a:pt x="12" y="0"/>
                  </a:cubicBezTo>
                  <a:cubicBezTo>
                    <a:pt x="12" y="0"/>
                    <a:pt x="12" y="0"/>
                    <a:pt x="12" y="0"/>
                  </a:cubicBezTo>
                  <a:cubicBezTo>
                    <a:pt x="8" y="0"/>
                    <a:pt x="4" y="0"/>
                    <a:pt x="0" y="0"/>
                  </a:cubicBezTo>
                  <a:cubicBezTo>
                    <a:pt x="259" y="0"/>
                    <a:pt x="469" y="240"/>
                    <a:pt x="474" y="527"/>
                  </a:cubicBezTo>
                  <a:cubicBezTo>
                    <a:pt x="474" y="527"/>
                    <a:pt x="474" y="527"/>
                    <a:pt x="474" y="527"/>
                  </a:cubicBezTo>
                  <a:cubicBezTo>
                    <a:pt x="474" y="527"/>
                    <a:pt x="545" y="501"/>
                    <a:pt x="632" y="501"/>
                  </a:cubicBezTo>
                  <a:cubicBezTo>
                    <a:pt x="613" y="263"/>
                    <a:pt x="406" y="61"/>
                    <a:pt x="134" y="12"/>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7" name="Freeform 18">
              <a:extLst>
                <a:ext uri="{FF2B5EF4-FFF2-40B4-BE49-F238E27FC236}">
                  <a16:creationId xmlns:a16="http://schemas.microsoft.com/office/drawing/2014/main" id="{5616BBAB-8ADE-4A76-B2B4-5EBEC44FBC21}"/>
                </a:ext>
              </a:extLst>
            </p:cNvPr>
            <p:cNvSpPr>
              <a:spLocks/>
            </p:cNvSpPr>
            <p:nvPr/>
          </p:nvSpPr>
          <p:spPr bwMode="auto">
            <a:xfrm>
              <a:off x="2646363" y="1928813"/>
              <a:ext cx="1938338" cy="1431925"/>
            </a:xfrm>
            <a:custGeom>
              <a:avLst/>
              <a:gdLst>
                <a:gd name="T0" fmla="*/ 474 w 474"/>
                <a:gd name="T1" fmla="*/ 0 h 527"/>
                <a:gd name="T2" fmla="*/ 156 w 474"/>
                <a:gd name="T3" fmla="*/ 501 h 527"/>
                <a:gd name="T4" fmla="*/ 0 w 474"/>
                <a:gd name="T5" fmla="*/ 527 h 527"/>
                <a:gd name="T6" fmla="*/ 474 w 474"/>
                <a:gd name="T7" fmla="*/ 0 h 527"/>
              </a:gdLst>
              <a:ahLst/>
              <a:cxnLst>
                <a:cxn ang="0">
                  <a:pos x="T0" y="T1"/>
                </a:cxn>
                <a:cxn ang="0">
                  <a:pos x="T2" y="T3"/>
                </a:cxn>
                <a:cxn ang="0">
                  <a:pos x="T4" y="T5"/>
                </a:cxn>
                <a:cxn ang="0">
                  <a:pos x="T6" y="T7"/>
                </a:cxn>
              </a:cxnLst>
              <a:rect l="0" t="0" r="r" b="b"/>
              <a:pathLst>
                <a:path w="474" h="527">
                  <a:moveTo>
                    <a:pt x="474" y="0"/>
                  </a:moveTo>
                  <a:cubicBezTo>
                    <a:pt x="306" y="0"/>
                    <a:pt x="168" y="226"/>
                    <a:pt x="156" y="501"/>
                  </a:cubicBezTo>
                  <a:cubicBezTo>
                    <a:pt x="75" y="501"/>
                    <a:pt x="8" y="524"/>
                    <a:pt x="0" y="527"/>
                  </a:cubicBezTo>
                  <a:cubicBezTo>
                    <a:pt x="4" y="240"/>
                    <a:pt x="214" y="0"/>
                    <a:pt x="474"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8" name="Freeform 20">
              <a:extLst>
                <a:ext uri="{FF2B5EF4-FFF2-40B4-BE49-F238E27FC236}">
                  <a16:creationId xmlns:a16="http://schemas.microsoft.com/office/drawing/2014/main" id="{BB08C630-C9FB-4D2A-9820-9CF0A272F001}"/>
                </a:ext>
              </a:extLst>
            </p:cNvPr>
            <p:cNvSpPr>
              <a:spLocks/>
            </p:cNvSpPr>
            <p:nvPr/>
          </p:nvSpPr>
          <p:spPr bwMode="auto">
            <a:xfrm>
              <a:off x="3938588" y="1928813"/>
              <a:ext cx="646113" cy="1431925"/>
            </a:xfrm>
            <a:custGeom>
              <a:avLst/>
              <a:gdLst>
                <a:gd name="T0" fmla="*/ 158 w 158"/>
                <a:gd name="T1" fmla="*/ 0 h 527"/>
                <a:gd name="T2" fmla="*/ 158 w 158"/>
                <a:gd name="T3" fmla="*/ 501 h 527"/>
                <a:gd name="T4" fmla="*/ 0 w 158"/>
                <a:gd name="T5" fmla="*/ 527 h 527"/>
                <a:gd name="T6" fmla="*/ 158 w 158"/>
                <a:gd name="T7" fmla="*/ 0 h 527"/>
              </a:gdLst>
              <a:ahLst/>
              <a:cxnLst>
                <a:cxn ang="0">
                  <a:pos x="T0" y="T1"/>
                </a:cxn>
                <a:cxn ang="0">
                  <a:pos x="T2" y="T3"/>
                </a:cxn>
                <a:cxn ang="0">
                  <a:pos x="T4" y="T5"/>
                </a:cxn>
                <a:cxn ang="0">
                  <a:pos x="T6" y="T7"/>
                </a:cxn>
              </a:cxnLst>
              <a:rect l="0" t="0" r="r" b="b"/>
              <a:pathLst>
                <a:path w="158" h="527">
                  <a:moveTo>
                    <a:pt x="158" y="0"/>
                  </a:moveTo>
                  <a:cubicBezTo>
                    <a:pt x="158" y="501"/>
                    <a:pt x="158" y="501"/>
                    <a:pt x="158" y="501"/>
                  </a:cubicBezTo>
                  <a:cubicBezTo>
                    <a:pt x="74" y="501"/>
                    <a:pt x="6" y="525"/>
                    <a:pt x="0" y="527"/>
                  </a:cubicBezTo>
                  <a:cubicBezTo>
                    <a:pt x="2" y="240"/>
                    <a:pt x="71" y="0"/>
                    <a:pt x="158"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9" name="Freeform 22">
              <a:extLst>
                <a:ext uri="{FF2B5EF4-FFF2-40B4-BE49-F238E27FC236}">
                  <a16:creationId xmlns:a16="http://schemas.microsoft.com/office/drawing/2014/main" id="{60925E96-B7EA-49FF-A966-849DA8A89B64}"/>
                </a:ext>
              </a:extLst>
            </p:cNvPr>
            <p:cNvSpPr>
              <a:spLocks/>
            </p:cNvSpPr>
            <p:nvPr/>
          </p:nvSpPr>
          <p:spPr bwMode="auto">
            <a:xfrm>
              <a:off x="1349375" y="1952626"/>
              <a:ext cx="2752725" cy="1408113"/>
            </a:xfrm>
            <a:custGeom>
              <a:avLst/>
              <a:gdLst>
                <a:gd name="T0" fmla="*/ 0 w 673"/>
                <a:gd name="T1" fmla="*/ 518 h 518"/>
                <a:gd name="T2" fmla="*/ 673 w 673"/>
                <a:gd name="T3" fmla="*/ 0 h 518"/>
                <a:gd name="T4" fmla="*/ 656 w 673"/>
                <a:gd name="T5" fmla="*/ 3 h 518"/>
                <a:gd name="T6" fmla="*/ 159 w 673"/>
                <a:gd name="T7" fmla="*/ 492 h 518"/>
                <a:gd name="T8" fmla="*/ 158 w 673"/>
                <a:gd name="T9" fmla="*/ 492 h 518"/>
                <a:gd name="T10" fmla="*/ 0 w 673"/>
                <a:gd name="T11" fmla="*/ 518 h 518"/>
              </a:gdLst>
              <a:ahLst/>
              <a:cxnLst>
                <a:cxn ang="0">
                  <a:pos x="T0" y="T1"/>
                </a:cxn>
                <a:cxn ang="0">
                  <a:pos x="T2" y="T3"/>
                </a:cxn>
                <a:cxn ang="0">
                  <a:pos x="T4" y="T5"/>
                </a:cxn>
                <a:cxn ang="0">
                  <a:pos x="T6" y="T7"/>
                </a:cxn>
                <a:cxn ang="0">
                  <a:pos x="T8" y="T9"/>
                </a:cxn>
                <a:cxn ang="0">
                  <a:pos x="T10" y="T11"/>
                </a:cxn>
              </a:cxnLst>
              <a:rect l="0" t="0" r="r" b="b"/>
              <a:pathLst>
                <a:path w="673" h="518">
                  <a:moveTo>
                    <a:pt x="0" y="518"/>
                  </a:moveTo>
                  <a:cubicBezTo>
                    <a:pt x="132" y="165"/>
                    <a:pt x="449" y="34"/>
                    <a:pt x="673" y="0"/>
                  </a:cubicBezTo>
                  <a:cubicBezTo>
                    <a:pt x="667" y="1"/>
                    <a:pt x="662" y="2"/>
                    <a:pt x="656" y="3"/>
                  </a:cubicBezTo>
                  <a:cubicBezTo>
                    <a:pt x="385" y="52"/>
                    <a:pt x="177" y="254"/>
                    <a:pt x="159" y="492"/>
                  </a:cubicBezTo>
                  <a:cubicBezTo>
                    <a:pt x="159" y="492"/>
                    <a:pt x="158" y="492"/>
                    <a:pt x="158" y="492"/>
                  </a:cubicBezTo>
                  <a:cubicBezTo>
                    <a:pt x="71" y="492"/>
                    <a:pt x="0" y="518"/>
                    <a:pt x="0" y="518"/>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0" name="Freeform 24">
              <a:extLst>
                <a:ext uri="{FF2B5EF4-FFF2-40B4-BE49-F238E27FC236}">
                  <a16:creationId xmlns:a16="http://schemas.microsoft.com/office/drawing/2014/main" id="{1E491BB2-4E8F-4382-B7F9-00C38F9870C1}"/>
                </a:ext>
              </a:extLst>
            </p:cNvPr>
            <p:cNvSpPr>
              <a:spLocks/>
            </p:cNvSpPr>
            <p:nvPr/>
          </p:nvSpPr>
          <p:spPr bwMode="auto">
            <a:xfrm>
              <a:off x="3284538" y="1928813"/>
              <a:ext cx="1300163" cy="1431925"/>
            </a:xfrm>
            <a:custGeom>
              <a:avLst/>
              <a:gdLst>
                <a:gd name="T0" fmla="*/ 318 w 318"/>
                <a:gd name="T1" fmla="*/ 0 h 527"/>
                <a:gd name="T2" fmla="*/ 160 w 318"/>
                <a:gd name="T3" fmla="*/ 527 h 527"/>
                <a:gd name="T4" fmla="*/ 160 w 318"/>
                <a:gd name="T5" fmla="*/ 527 h 527"/>
                <a:gd name="T6" fmla="*/ 1 w 318"/>
                <a:gd name="T7" fmla="*/ 501 h 527"/>
                <a:gd name="T8" fmla="*/ 0 w 318"/>
                <a:gd name="T9" fmla="*/ 501 h 527"/>
                <a:gd name="T10" fmla="*/ 318 w 318"/>
                <a:gd name="T11" fmla="*/ 0 h 527"/>
              </a:gdLst>
              <a:ahLst/>
              <a:cxnLst>
                <a:cxn ang="0">
                  <a:pos x="T0" y="T1"/>
                </a:cxn>
                <a:cxn ang="0">
                  <a:pos x="T2" y="T3"/>
                </a:cxn>
                <a:cxn ang="0">
                  <a:pos x="T4" y="T5"/>
                </a:cxn>
                <a:cxn ang="0">
                  <a:pos x="T6" y="T7"/>
                </a:cxn>
                <a:cxn ang="0">
                  <a:pos x="T8" y="T9"/>
                </a:cxn>
                <a:cxn ang="0">
                  <a:pos x="T10" y="T11"/>
                </a:cxn>
              </a:cxnLst>
              <a:rect l="0" t="0" r="r" b="b"/>
              <a:pathLst>
                <a:path w="318" h="527">
                  <a:moveTo>
                    <a:pt x="318" y="0"/>
                  </a:moveTo>
                  <a:cubicBezTo>
                    <a:pt x="231" y="0"/>
                    <a:pt x="162" y="240"/>
                    <a:pt x="160" y="527"/>
                  </a:cubicBezTo>
                  <a:cubicBezTo>
                    <a:pt x="160" y="527"/>
                    <a:pt x="160" y="527"/>
                    <a:pt x="160" y="527"/>
                  </a:cubicBezTo>
                  <a:cubicBezTo>
                    <a:pt x="160" y="527"/>
                    <a:pt x="89" y="501"/>
                    <a:pt x="1" y="501"/>
                  </a:cubicBezTo>
                  <a:cubicBezTo>
                    <a:pt x="1" y="501"/>
                    <a:pt x="1" y="501"/>
                    <a:pt x="0" y="501"/>
                  </a:cubicBezTo>
                  <a:cubicBezTo>
                    <a:pt x="12" y="226"/>
                    <a:pt x="150" y="0"/>
                    <a:pt x="318"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1" name="Freeform 26">
              <a:extLst>
                <a:ext uri="{FF2B5EF4-FFF2-40B4-BE49-F238E27FC236}">
                  <a16:creationId xmlns:a16="http://schemas.microsoft.com/office/drawing/2014/main" id="{B064DB5C-C572-4A82-A6EA-E6F34EB1D1E6}"/>
                </a:ext>
              </a:extLst>
            </p:cNvPr>
            <p:cNvSpPr>
              <a:spLocks/>
            </p:cNvSpPr>
            <p:nvPr/>
          </p:nvSpPr>
          <p:spPr bwMode="auto">
            <a:xfrm>
              <a:off x="2000250" y="1928813"/>
              <a:ext cx="2584450" cy="1431925"/>
            </a:xfrm>
            <a:custGeom>
              <a:avLst/>
              <a:gdLst>
                <a:gd name="T0" fmla="*/ 497 w 632"/>
                <a:gd name="T1" fmla="*/ 12 h 527"/>
                <a:gd name="T2" fmla="*/ 514 w 632"/>
                <a:gd name="T3" fmla="*/ 9 h 527"/>
                <a:gd name="T4" fmla="*/ 514 w 632"/>
                <a:gd name="T5" fmla="*/ 9 h 527"/>
                <a:gd name="T6" fmla="*/ 561 w 632"/>
                <a:gd name="T7" fmla="*/ 4 h 527"/>
                <a:gd name="T8" fmla="*/ 562 w 632"/>
                <a:gd name="T9" fmla="*/ 3 h 527"/>
                <a:gd name="T10" fmla="*/ 605 w 632"/>
                <a:gd name="T11" fmla="*/ 1 h 527"/>
                <a:gd name="T12" fmla="*/ 606 w 632"/>
                <a:gd name="T13" fmla="*/ 1 h 527"/>
                <a:gd name="T14" fmla="*/ 619 w 632"/>
                <a:gd name="T15" fmla="*/ 0 h 527"/>
                <a:gd name="T16" fmla="*/ 620 w 632"/>
                <a:gd name="T17" fmla="*/ 0 h 527"/>
                <a:gd name="T18" fmla="*/ 632 w 632"/>
                <a:gd name="T19" fmla="*/ 0 h 527"/>
                <a:gd name="T20" fmla="*/ 158 w 632"/>
                <a:gd name="T21" fmla="*/ 527 h 527"/>
                <a:gd name="T22" fmla="*/ 157 w 632"/>
                <a:gd name="T23" fmla="*/ 527 h 527"/>
                <a:gd name="T24" fmla="*/ 0 w 632"/>
                <a:gd name="T25" fmla="*/ 501 h 527"/>
                <a:gd name="T26" fmla="*/ 497 w 632"/>
                <a:gd name="T27" fmla="*/ 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2" h="527">
                  <a:moveTo>
                    <a:pt x="497" y="12"/>
                  </a:moveTo>
                  <a:cubicBezTo>
                    <a:pt x="503" y="11"/>
                    <a:pt x="508" y="10"/>
                    <a:pt x="514" y="9"/>
                  </a:cubicBezTo>
                  <a:cubicBezTo>
                    <a:pt x="514" y="9"/>
                    <a:pt x="514" y="9"/>
                    <a:pt x="514" y="9"/>
                  </a:cubicBezTo>
                  <a:cubicBezTo>
                    <a:pt x="531" y="7"/>
                    <a:pt x="546" y="5"/>
                    <a:pt x="561" y="4"/>
                  </a:cubicBezTo>
                  <a:cubicBezTo>
                    <a:pt x="562" y="4"/>
                    <a:pt x="562" y="4"/>
                    <a:pt x="562" y="3"/>
                  </a:cubicBezTo>
                  <a:cubicBezTo>
                    <a:pt x="577" y="2"/>
                    <a:pt x="591" y="1"/>
                    <a:pt x="605" y="1"/>
                  </a:cubicBezTo>
                  <a:cubicBezTo>
                    <a:pt x="606" y="1"/>
                    <a:pt x="606" y="1"/>
                    <a:pt x="606" y="1"/>
                  </a:cubicBezTo>
                  <a:cubicBezTo>
                    <a:pt x="611" y="0"/>
                    <a:pt x="615" y="0"/>
                    <a:pt x="619" y="0"/>
                  </a:cubicBezTo>
                  <a:cubicBezTo>
                    <a:pt x="619" y="0"/>
                    <a:pt x="619" y="0"/>
                    <a:pt x="620" y="0"/>
                  </a:cubicBezTo>
                  <a:cubicBezTo>
                    <a:pt x="624" y="0"/>
                    <a:pt x="628" y="0"/>
                    <a:pt x="632" y="0"/>
                  </a:cubicBezTo>
                  <a:cubicBezTo>
                    <a:pt x="372" y="0"/>
                    <a:pt x="162" y="240"/>
                    <a:pt x="158" y="527"/>
                  </a:cubicBezTo>
                  <a:cubicBezTo>
                    <a:pt x="158" y="527"/>
                    <a:pt x="157" y="527"/>
                    <a:pt x="157" y="527"/>
                  </a:cubicBezTo>
                  <a:cubicBezTo>
                    <a:pt x="157" y="527"/>
                    <a:pt x="87" y="501"/>
                    <a:pt x="0" y="501"/>
                  </a:cubicBezTo>
                  <a:cubicBezTo>
                    <a:pt x="18" y="263"/>
                    <a:pt x="226" y="61"/>
                    <a:pt x="497" y="12"/>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grpSp>
      <p:sp>
        <p:nvSpPr>
          <p:cNvPr id="74" name="TextBox 73">
            <a:extLst>
              <a:ext uri="{FF2B5EF4-FFF2-40B4-BE49-F238E27FC236}">
                <a16:creationId xmlns:a16="http://schemas.microsoft.com/office/drawing/2014/main" id="{E6A9919A-FB20-4563-A864-7C0FE1F5EF70}"/>
              </a:ext>
            </a:extLst>
          </p:cNvPr>
          <p:cNvSpPr txBox="1"/>
          <p:nvPr/>
        </p:nvSpPr>
        <p:spPr>
          <a:xfrm>
            <a:off x="4736984" y="2684251"/>
            <a:ext cx="826231" cy="401131"/>
          </a:xfrm>
          <a:prstGeom prst="rect">
            <a:avLst/>
          </a:prstGeom>
          <a:noFill/>
        </p:spPr>
        <p:txBody>
          <a:bodyPr wrap="square" rtlCol="0">
            <a:spAutoFit/>
          </a:bodyPr>
          <a:lstStyle/>
          <a:p>
            <a:pPr algn="ctr"/>
            <a:r>
              <a:rPr lang="en-US" sz="2005" dirty="0">
                <a:effectLst>
                  <a:outerShdw blurRad="50800" dist="38100" dir="2700000" algn="tl" rotWithShape="0">
                    <a:prstClr val="black">
                      <a:alpha val="40000"/>
                    </a:prstClr>
                  </a:outerShdw>
                </a:effectLst>
                <a:latin typeface="Verdana" panose="020B0604030504040204" pitchFamily="34" charset="0"/>
              </a:rPr>
              <a:t>Agile</a:t>
            </a:r>
          </a:p>
        </p:txBody>
      </p:sp>
      <p:sp>
        <p:nvSpPr>
          <p:cNvPr id="75" name="Rectangle 74">
            <a:extLst>
              <a:ext uri="{FF2B5EF4-FFF2-40B4-BE49-F238E27FC236}">
                <a16:creationId xmlns:a16="http://schemas.microsoft.com/office/drawing/2014/main" id="{0AE83ED5-C01E-4AA4-A134-D1973D17625D}"/>
              </a:ext>
            </a:extLst>
          </p:cNvPr>
          <p:cNvSpPr/>
          <p:nvPr/>
        </p:nvSpPr>
        <p:spPr bwMode="gray">
          <a:xfrm>
            <a:off x="3748207" y="2223374"/>
            <a:ext cx="2783204" cy="646213"/>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Fail Fast, Fail Early and Learn</a:t>
            </a:r>
          </a:p>
        </p:txBody>
      </p:sp>
      <p:sp>
        <p:nvSpPr>
          <p:cNvPr id="76" name="Rectangle 75">
            <a:extLst>
              <a:ext uri="{FF2B5EF4-FFF2-40B4-BE49-F238E27FC236}">
                <a16:creationId xmlns:a16="http://schemas.microsoft.com/office/drawing/2014/main" id="{9FE43D79-AE2D-4D5A-838D-E517EE74B96F}"/>
              </a:ext>
            </a:extLst>
          </p:cNvPr>
          <p:cNvSpPr/>
          <p:nvPr/>
        </p:nvSpPr>
        <p:spPr bwMode="gray">
          <a:xfrm>
            <a:off x="2758059" y="3578421"/>
            <a:ext cx="958375" cy="513507"/>
          </a:xfrm>
          <a:prstGeom prst="rect">
            <a:avLst/>
          </a:prstGeom>
          <a:noFill/>
          <a:ln w="19050" algn="ctr">
            <a:noFill/>
            <a:miter lim="800000"/>
            <a:headEnd/>
            <a:tailEnd/>
          </a:ln>
        </p:spPr>
        <p:txBody>
          <a:bodyPr spcFirstLastPara="1" wrap="square" lIns="66836" tIns="66836" rIns="66836" bIns="66836" numCol="1" rtlCol="0" anchor="ctr">
            <a:prstTxWarp prst="textArchUp">
              <a:avLst>
                <a:gd name="adj" fmla="val 11029083"/>
              </a:avLst>
            </a:prstTxWarp>
          </a:bodyPr>
          <a:lstStyle/>
          <a:p>
            <a:pPr algn="ctr">
              <a:lnSpc>
                <a:spcPct val="106000"/>
              </a:lnSpc>
              <a:buFont typeface="Wingdings 2" pitchFamily="18" charset="2"/>
              <a:buNone/>
            </a:pPr>
            <a:r>
              <a:rPr lang="en-US" sz="1053" b="1" dirty="0">
                <a:solidFill>
                  <a:schemeClr val="accent6"/>
                </a:solidFill>
              </a:rPr>
              <a:t>Deliver </a:t>
            </a:r>
            <a:br>
              <a:rPr lang="en-US" sz="1053" b="1" dirty="0">
                <a:solidFill>
                  <a:schemeClr val="accent6"/>
                </a:solidFill>
              </a:rPr>
            </a:br>
            <a:r>
              <a:rPr lang="en-US" sz="1053" b="1" dirty="0">
                <a:solidFill>
                  <a:schemeClr val="accent6"/>
                </a:solidFill>
              </a:rPr>
              <a:t>value</a:t>
            </a:r>
          </a:p>
        </p:txBody>
      </p:sp>
      <p:sp>
        <p:nvSpPr>
          <p:cNvPr id="77" name="Rectangle 76">
            <a:extLst>
              <a:ext uri="{FF2B5EF4-FFF2-40B4-BE49-F238E27FC236}">
                <a16:creationId xmlns:a16="http://schemas.microsoft.com/office/drawing/2014/main" id="{80C4178D-4BD6-4936-8B18-996D9CA4BFAF}"/>
              </a:ext>
            </a:extLst>
          </p:cNvPr>
          <p:cNvSpPr/>
          <p:nvPr/>
        </p:nvSpPr>
        <p:spPr bwMode="gray">
          <a:xfrm>
            <a:off x="4619749" y="3408103"/>
            <a:ext cx="1080114" cy="479205"/>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Collaboration</a:t>
            </a:r>
          </a:p>
        </p:txBody>
      </p:sp>
      <p:sp>
        <p:nvSpPr>
          <p:cNvPr id="78" name="Rectangle 77">
            <a:extLst>
              <a:ext uri="{FF2B5EF4-FFF2-40B4-BE49-F238E27FC236}">
                <a16:creationId xmlns:a16="http://schemas.microsoft.com/office/drawing/2014/main" id="{FC09FA79-6387-4A63-BAAE-E8A8290761E4}"/>
              </a:ext>
            </a:extLst>
          </p:cNvPr>
          <p:cNvSpPr/>
          <p:nvPr/>
        </p:nvSpPr>
        <p:spPr bwMode="gray">
          <a:xfrm>
            <a:off x="3629725" y="3580220"/>
            <a:ext cx="1034066" cy="645439"/>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Continuous </a:t>
            </a:r>
            <a:br>
              <a:rPr lang="en-US" sz="1053" b="1" dirty="0">
                <a:solidFill>
                  <a:schemeClr val="accent6"/>
                </a:solidFill>
              </a:rPr>
            </a:br>
            <a:r>
              <a:rPr lang="en-US" sz="1053" b="1" dirty="0">
                <a:solidFill>
                  <a:schemeClr val="accent6"/>
                </a:solidFill>
              </a:rPr>
              <a:t>Improvement</a:t>
            </a:r>
          </a:p>
        </p:txBody>
      </p:sp>
      <p:sp>
        <p:nvSpPr>
          <p:cNvPr id="79" name="Rectangle 78">
            <a:extLst>
              <a:ext uri="{FF2B5EF4-FFF2-40B4-BE49-F238E27FC236}">
                <a16:creationId xmlns:a16="http://schemas.microsoft.com/office/drawing/2014/main" id="{79031E9E-E8CF-48EC-BBFA-73F11C3C683A}"/>
              </a:ext>
            </a:extLst>
          </p:cNvPr>
          <p:cNvSpPr/>
          <p:nvPr/>
        </p:nvSpPr>
        <p:spPr bwMode="gray">
          <a:xfrm>
            <a:off x="6673986" y="3400256"/>
            <a:ext cx="964778" cy="496228"/>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Flexibility</a:t>
            </a:r>
          </a:p>
        </p:txBody>
      </p:sp>
      <p:sp>
        <p:nvSpPr>
          <p:cNvPr id="80" name="Rectangle 79">
            <a:extLst>
              <a:ext uri="{FF2B5EF4-FFF2-40B4-BE49-F238E27FC236}">
                <a16:creationId xmlns:a16="http://schemas.microsoft.com/office/drawing/2014/main" id="{7290ACA8-D465-4E96-9BD1-FFD6832BE8EA}"/>
              </a:ext>
            </a:extLst>
          </p:cNvPr>
          <p:cNvSpPr/>
          <p:nvPr/>
        </p:nvSpPr>
        <p:spPr bwMode="gray">
          <a:xfrm>
            <a:off x="5799426" y="3562945"/>
            <a:ext cx="908105" cy="496228"/>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Trust &amp; </a:t>
            </a:r>
            <a:br>
              <a:rPr lang="en-US" sz="1053" b="1" dirty="0">
                <a:solidFill>
                  <a:schemeClr val="accent6"/>
                </a:solidFill>
              </a:rPr>
            </a:br>
            <a:r>
              <a:rPr lang="en-US" sz="1053" b="1" dirty="0">
                <a:solidFill>
                  <a:schemeClr val="accent6"/>
                </a:solidFill>
              </a:rPr>
              <a:t>respect</a:t>
            </a:r>
          </a:p>
        </p:txBody>
      </p:sp>
      <p:sp>
        <p:nvSpPr>
          <p:cNvPr id="34" name="Rectangle 33">
            <a:extLst>
              <a:ext uri="{FF2B5EF4-FFF2-40B4-BE49-F238E27FC236}">
                <a16:creationId xmlns:a16="http://schemas.microsoft.com/office/drawing/2014/main" id="{B0496267-8621-4A01-87C9-82D602DE39EC}"/>
              </a:ext>
            </a:extLst>
          </p:cNvPr>
          <p:cNvSpPr/>
          <p:nvPr/>
        </p:nvSpPr>
        <p:spPr bwMode="gray">
          <a:xfrm>
            <a:off x="467760" y="6270882"/>
            <a:ext cx="11287636" cy="360919"/>
          </a:xfrm>
          <a:prstGeom prst="rect">
            <a:avLst/>
          </a:prstGeom>
          <a:solidFill>
            <a:schemeClr val="bg2"/>
          </a:solidFill>
          <a:ln w="19050" algn="ctr">
            <a:noFill/>
            <a:miter lim="800000"/>
            <a:headEnd/>
            <a:tailEnd/>
          </a:ln>
        </p:spPr>
        <p:txBody>
          <a:bodyPr wrap="square" lIns="66836" tIns="66836" rIns="66836" bIns="66836" rtlCol="0" anchor="ctr"/>
          <a:lstStyle/>
          <a:p>
            <a:pPr algn="ctr">
              <a:lnSpc>
                <a:spcPct val="106000"/>
              </a:lnSpc>
            </a:pPr>
            <a:r>
              <a:rPr lang="en-US" sz="2400" dirty="0"/>
              <a:t>Agile is iterative and incremental</a:t>
            </a:r>
          </a:p>
        </p:txBody>
      </p:sp>
    </p:spTree>
    <p:custDataLst>
      <p:tags r:id="rId1"/>
    </p:custDataLst>
    <p:extLst>
      <p:ext uri="{BB962C8B-B14F-4D97-AF65-F5344CB8AC3E}">
        <p14:creationId xmlns:p14="http://schemas.microsoft.com/office/powerpoint/2010/main" val="24835992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5C45D0F-EFD0-4D9E-9C06-EF714EA97B0E}"/>
              </a:ext>
            </a:extLst>
          </p:cNvPr>
          <p:cNvSpPr txBox="1">
            <a:spLocks/>
          </p:cNvSpPr>
          <p:nvPr/>
        </p:nvSpPr>
        <p:spPr>
          <a:xfrm>
            <a:off x="2465298" y="1145070"/>
            <a:ext cx="7652230" cy="565278"/>
          </a:xfrm>
          <a:prstGeom prst="rect">
            <a:avLst/>
          </a:prstGeom>
        </p:spPr>
        <p:txBody>
          <a:bodyPr vert="horz" lIns="68746" tIns="34374" rIns="68746" bIns="34374" rtlCol="0" anchor="t">
            <a:normAutofit/>
          </a:bodyPr>
          <a:lstStyle>
            <a:lvl1pPr algn="l" defTabSz="912114" rtl="0" eaLnBrk="1" latinLnBrk="0" hangingPunct="1">
              <a:spcBef>
                <a:spcPct val="0"/>
              </a:spcBef>
              <a:buNone/>
              <a:defRPr sz="1995" kern="1200">
                <a:solidFill>
                  <a:schemeClr val="bg1"/>
                </a:solidFill>
                <a:latin typeface="+mj-lt"/>
                <a:ea typeface="+mj-ea"/>
                <a:cs typeface="+mj-cs"/>
              </a:defRPr>
            </a:lvl1pPr>
          </a:lstStyle>
          <a:p>
            <a:endParaRPr lang="en-US" sz="1500" dirty="0">
              <a:solidFill>
                <a:schemeClr val="tx1"/>
              </a:solidFill>
            </a:endParaRPr>
          </a:p>
        </p:txBody>
      </p:sp>
      <p:sp>
        <p:nvSpPr>
          <p:cNvPr id="40" name="Title 39">
            <a:extLst>
              <a:ext uri="{FF2B5EF4-FFF2-40B4-BE49-F238E27FC236}">
                <a16:creationId xmlns:a16="http://schemas.microsoft.com/office/drawing/2014/main" id="{BEF54530-206A-4AA0-B71F-63EF4242DB10}"/>
              </a:ext>
            </a:extLst>
          </p:cNvPr>
          <p:cNvSpPr>
            <a:spLocks noGrp="1"/>
          </p:cNvSpPr>
          <p:nvPr>
            <p:ph type="title"/>
          </p:nvPr>
        </p:nvSpPr>
        <p:spPr/>
        <p:txBody>
          <a:bodyPr/>
          <a:lstStyle/>
          <a:p>
            <a:r>
              <a:rPr lang="en-GB" dirty="0"/>
              <a:t>Agile as a mindset</a:t>
            </a:r>
            <a:endParaRPr lang="en-US" dirty="0"/>
          </a:p>
        </p:txBody>
      </p:sp>
      <p:sp>
        <p:nvSpPr>
          <p:cNvPr id="41" name="Text Placeholder 40">
            <a:extLst>
              <a:ext uri="{FF2B5EF4-FFF2-40B4-BE49-F238E27FC236}">
                <a16:creationId xmlns:a16="http://schemas.microsoft.com/office/drawing/2014/main" id="{CBBD7214-3E9D-4DF2-B840-ED1665F484E3}"/>
              </a:ext>
            </a:extLst>
          </p:cNvPr>
          <p:cNvSpPr>
            <a:spLocks noGrp="1"/>
          </p:cNvSpPr>
          <p:nvPr>
            <p:ph type="body" sz="quarter" idx="13"/>
          </p:nvPr>
        </p:nvSpPr>
        <p:spPr/>
        <p:txBody>
          <a:bodyPr/>
          <a:lstStyle/>
          <a:p>
            <a:r>
              <a:rPr lang="en-GB" dirty="0"/>
              <a:t>Methods</a:t>
            </a:r>
            <a:endParaRPr lang="en-US" dirty="0"/>
          </a:p>
        </p:txBody>
      </p:sp>
      <p:grpSp>
        <p:nvGrpSpPr>
          <p:cNvPr id="2" name="Group 1">
            <a:extLst>
              <a:ext uri="{FF2B5EF4-FFF2-40B4-BE49-F238E27FC236}">
                <a16:creationId xmlns:a16="http://schemas.microsoft.com/office/drawing/2014/main" id="{F12AB603-AFD9-4B62-A5EB-B2B14F7E8E26}"/>
              </a:ext>
            </a:extLst>
          </p:cNvPr>
          <p:cNvGrpSpPr/>
          <p:nvPr/>
        </p:nvGrpSpPr>
        <p:grpSpPr>
          <a:xfrm>
            <a:off x="1943519" y="1635689"/>
            <a:ext cx="8157496" cy="3798406"/>
            <a:chOff x="418186" y="1631524"/>
            <a:chExt cx="8136725" cy="3788734"/>
          </a:xfrm>
        </p:grpSpPr>
        <p:grpSp>
          <p:nvGrpSpPr>
            <p:cNvPr id="38" name="Group 37">
              <a:extLst>
                <a:ext uri="{FF2B5EF4-FFF2-40B4-BE49-F238E27FC236}">
                  <a16:creationId xmlns:a16="http://schemas.microsoft.com/office/drawing/2014/main" id="{EEC5C181-24B6-4F3F-A33E-B5C95D6824C4}"/>
                </a:ext>
              </a:extLst>
            </p:cNvPr>
            <p:cNvGrpSpPr/>
            <p:nvPr/>
          </p:nvGrpSpPr>
          <p:grpSpPr>
            <a:xfrm>
              <a:off x="3299985" y="3113230"/>
              <a:ext cx="351121" cy="2196229"/>
              <a:chOff x="4887740" y="3108961"/>
              <a:chExt cx="468222" cy="2928688"/>
            </a:xfrm>
          </p:grpSpPr>
          <p:grpSp>
            <p:nvGrpSpPr>
              <p:cNvPr id="39" name="Group 38">
                <a:extLst>
                  <a:ext uri="{FF2B5EF4-FFF2-40B4-BE49-F238E27FC236}">
                    <a16:creationId xmlns:a16="http://schemas.microsoft.com/office/drawing/2014/main" id="{AF57EB13-DD3B-48A7-A7C0-F47505629785}"/>
                  </a:ext>
                </a:extLst>
              </p:cNvPr>
              <p:cNvGrpSpPr/>
              <p:nvPr/>
            </p:nvGrpSpPr>
            <p:grpSpPr>
              <a:xfrm>
                <a:off x="5258679" y="3108961"/>
                <a:ext cx="89609" cy="2416164"/>
                <a:chOff x="5263443" y="3434303"/>
                <a:chExt cx="78242" cy="2090821"/>
              </a:xfrm>
            </p:grpSpPr>
            <p:sp>
              <p:nvSpPr>
                <p:cNvPr id="44" name="Rectangle 75">
                  <a:extLst>
                    <a:ext uri="{FF2B5EF4-FFF2-40B4-BE49-F238E27FC236}">
                      <a16:creationId xmlns:a16="http://schemas.microsoft.com/office/drawing/2014/main" id="{8C76B5E4-777E-473F-9657-DABB27CA5DCC}"/>
                    </a:ext>
                  </a:extLst>
                </p:cNvPr>
                <p:cNvSpPr>
                  <a:spLocks noChangeArrowheads="1"/>
                </p:cNvSpPr>
                <p:nvPr/>
              </p:nvSpPr>
              <p:spPr bwMode="auto">
                <a:xfrm>
                  <a:off x="5275783" y="3434303"/>
                  <a:ext cx="65902" cy="2090821"/>
                </a:xfrm>
                <a:prstGeom prst="rect">
                  <a:avLst/>
                </a:prstGeom>
                <a:solidFill>
                  <a:srgbClr val="B7BEC0"/>
                </a:solidFill>
                <a:ln>
                  <a:noFill/>
                </a:ln>
              </p:spPr>
              <p:txBody>
                <a:bodyPr vert="horz" wrap="square" lIns="68746" tIns="34374" rIns="68746" bIns="34374" numCol="1" anchor="t" anchorCtr="0" compatLnSpc="1">
                  <a:prstTxWarp prst="textNoShape">
                    <a:avLst/>
                  </a:prstTxWarp>
                </a:bodyPr>
                <a:lstStyle/>
                <a:p>
                  <a:endParaRPr lang="en-US" sz="1354" dirty="0"/>
                </a:p>
              </p:txBody>
            </p:sp>
            <p:sp>
              <p:nvSpPr>
                <p:cNvPr id="45" name="Rectangle 76">
                  <a:extLst>
                    <a:ext uri="{FF2B5EF4-FFF2-40B4-BE49-F238E27FC236}">
                      <a16:creationId xmlns:a16="http://schemas.microsoft.com/office/drawing/2014/main" id="{EAAB98B9-D63E-4CF8-8F00-7330398A3031}"/>
                    </a:ext>
                  </a:extLst>
                </p:cNvPr>
                <p:cNvSpPr>
                  <a:spLocks noChangeArrowheads="1"/>
                </p:cNvSpPr>
                <p:nvPr/>
              </p:nvSpPr>
              <p:spPr bwMode="auto">
                <a:xfrm>
                  <a:off x="5263443" y="3434303"/>
                  <a:ext cx="45719" cy="2090821"/>
                </a:xfrm>
                <a:prstGeom prst="rect">
                  <a:avLst/>
                </a:prstGeom>
                <a:solidFill>
                  <a:srgbClr val="CDD5D7"/>
                </a:solidFill>
                <a:ln>
                  <a:noFill/>
                </a:ln>
              </p:spPr>
              <p:txBody>
                <a:bodyPr vert="horz" wrap="square" lIns="68746" tIns="34374" rIns="68746" bIns="34374" numCol="1" anchor="t" anchorCtr="0" compatLnSpc="1">
                  <a:prstTxWarp prst="textNoShape">
                    <a:avLst/>
                  </a:prstTxWarp>
                </a:bodyPr>
                <a:lstStyle/>
                <a:p>
                  <a:endParaRPr lang="en-US" sz="1354" dirty="0"/>
                </a:p>
              </p:txBody>
            </p:sp>
          </p:grpSp>
          <p:sp>
            <p:nvSpPr>
              <p:cNvPr id="42" name="Freeform 77">
                <a:extLst>
                  <a:ext uri="{FF2B5EF4-FFF2-40B4-BE49-F238E27FC236}">
                    <a16:creationId xmlns:a16="http://schemas.microsoft.com/office/drawing/2014/main" id="{FB6A0381-5B4C-41A6-93A2-7658D658F978}"/>
                  </a:ext>
                </a:extLst>
              </p:cNvPr>
              <p:cNvSpPr>
                <a:spLocks/>
              </p:cNvSpPr>
              <p:nvPr/>
            </p:nvSpPr>
            <p:spPr bwMode="auto">
              <a:xfrm>
                <a:off x="4887740" y="5515289"/>
                <a:ext cx="468222" cy="522360"/>
              </a:xfrm>
              <a:custGeom>
                <a:avLst/>
                <a:gdLst>
                  <a:gd name="T0" fmla="*/ 196 w 356"/>
                  <a:gd name="T1" fmla="*/ 394 h 396"/>
                  <a:gd name="T2" fmla="*/ 68 w 356"/>
                  <a:gd name="T3" fmla="*/ 151 h 396"/>
                  <a:gd name="T4" fmla="*/ 81 w 356"/>
                  <a:gd name="T5" fmla="*/ 143 h 396"/>
                  <a:gd name="T6" fmla="*/ 131 w 356"/>
                  <a:gd name="T7" fmla="*/ 174 h 396"/>
                  <a:gd name="T8" fmla="*/ 135 w 356"/>
                  <a:gd name="T9" fmla="*/ 196 h 396"/>
                  <a:gd name="T10" fmla="*/ 145 w 356"/>
                  <a:gd name="T11" fmla="*/ 291 h 396"/>
                  <a:gd name="T12" fmla="*/ 275 w 356"/>
                  <a:gd name="T13" fmla="*/ 236 h 396"/>
                  <a:gd name="T14" fmla="*/ 275 w 356"/>
                  <a:gd name="T15" fmla="*/ 6 h 396"/>
                  <a:gd name="T16" fmla="*/ 281 w 356"/>
                  <a:gd name="T17" fmla="*/ 0 h 396"/>
                  <a:gd name="T18" fmla="*/ 350 w 356"/>
                  <a:gd name="T19" fmla="*/ 0 h 396"/>
                  <a:gd name="T20" fmla="*/ 356 w 356"/>
                  <a:gd name="T21" fmla="*/ 6 h 396"/>
                  <a:gd name="T22" fmla="*/ 356 w 356"/>
                  <a:gd name="T23" fmla="*/ 237 h 396"/>
                  <a:gd name="T24" fmla="*/ 196 w 356"/>
                  <a:gd name="T25" fmla="*/ 394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6" h="396">
                    <a:moveTo>
                      <a:pt x="196" y="394"/>
                    </a:moveTo>
                    <a:cubicBezTo>
                      <a:pt x="75" y="392"/>
                      <a:pt x="0" y="255"/>
                      <a:pt x="68" y="151"/>
                    </a:cubicBezTo>
                    <a:cubicBezTo>
                      <a:pt x="71" y="147"/>
                      <a:pt x="76" y="144"/>
                      <a:pt x="81" y="143"/>
                    </a:cubicBezTo>
                    <a:cubicBezTo>
                      <a:pt x="89" y="142"/>
                      <a:pt x="90" y="144"/>
                      <a:pt x="131" y="174"/>
                    </a:cubicBezTo>
                    <a:cubicBezTo>
                      <a:pt x="138" y="179"/>
                      <a:pt x="140" y="189"/>
                      <a:pt x="135" y="196"/>
                    </a:cubicBezTo>
                    <a:cubicBezTo>
                      <a:pt x="116" y="226"/>
                      <a:pt x="119" y="265"/>
                      <a:pt x="145" y="291"/>
                    </a:cubicBezTo>
                    <a:cubicBezTo>
                      <a:pt x="193" y="339"/>
                      <a:pt x="275" y="305"/>
                      <a:pt x="275" y="236"/>
                    </a:cubicBezTo>
                    <a:cubicBezTo>
                      <a:pt x="275" y="6"/>
                      <a:pt x="275" y="6"/>
                      <a:pt x="275" y="6"/>
                    </a:cubicBezTo>
                    <a:cubicBezTo>
                      <a:pt x="275" y="3"/>
                      <a:pt x="278" y="0"/>
                      <a:pt x="281" y="0"/>
                    </a:cubicBezTo>
                    <a:cubicBezTo>
                      <a:pt x="350" y="0"/>
                      <a:pt x="350" y="0"/>
                      <a:pt x="350" y="0"/>
                    </a:cubicBezTo>
                    <a:cubicBezTo>
                      <a:pt x="353" y="0"/>
                      <a:pt x="356" y="3"/>
                      <a:pt x="356" y="6"/>
                    </a:cubicBezTo>
                    <a:cubicBezTo>
                      <a:pt x="356" y="237"/>
                      <a:pt x="356" y="237"/>
                      <a:pt x="356" y="237"/>
                    </a:cubicBezTo>
                    <a:cubicBezTo>
                      <a:pt x="356" y="324"/>
                      <a:pt x="284" y="396"/>
                      <a:pt x="196" y="394"/>
                    </a:cubicBezTo>
                    <a:close/>
                  </a:path>
                </a:pathLst>
              </a:custGeom>
              <a:solidFill>
                <a:srgbClr val="596273"/>
              </a:solidFill>
              <a:ln>
                <a:noFill/>
              </a:ln>
            </p:spPr>
            <p:txBody>
              <a:bodyPr vert="horz" wrap="square" lIns="68746" tIns="34374" rIns="68746" bIns="34374" numCol="1" anchor="t" anchorCtr="0" compatLnSpc="1">
                <a:prstTxWarp prst="textNoShape">
                  <a:avLst/>
                </a:prstTxWarp>
              </a:bodyPr>
              <a:lstStyle/>
              <a:p>
                <a:endParaRPr lang="en-US" sz="1354" dirty="0"/>
              </a:p>
            </p:txBody>
          </p:sp>
        </p:grpSp>
        <p:sp>
          <p:nvSpPr>
            <p:cNvPr id="46" name="Rectangle 45">
              <a:extLst>
                <a:ext uri="{FF2B5EF4-FFF2-40B4-BE49-F238E27FC236}">
                  <a16:creationId xmlns:a16="http://schemas.microsoft.com/office/drawing/2014/main" id="{18B1EFD0-3BE5-4FB8-ADC5-3A9D3963CDCC}"/>
                </a:ext>
              </a:extLst>
            </p:cNvPr>
            <p:cNvSpPr/>
            <p:nvPr/>
          </p:nvSpPr>
          <p:spPr bwMode="gray">
            <a:xfrm>
              <a:off x="1413463" y="4933764"/>
              <a:ext cx="1316736" cy="369166"/>
            </a:xfrm>
            <a:prstGeom prst="rect">
              <a:avLst/>
            </a:prstGeom>
            <a:noFill/>
            <a:ln w="12700" algn="ctr">
              <a:solidFill>
                <a:schemeClr val="accent3"/>
              </a:solidFill>
              <a:prstDash val="sysDash"/>
              <a:miter lim="800000"/>
              <a:headEnd/>
              <a:tailEnd/>
            </a:ln>
          </p:spPr>
          <p:txBody>
            <a:bodyPr wrap="square" lIns="66836" tIns="66836" rIns="66836" bIns="66836" rtlCol="0" anchor="ctr"/>
            <a:lstStyle/>
            <a:p>
              <a:pPr algn="ctr"/>
              <a:r>
                <a:rPr lang="en-US" sz="902" dirty="0">
                  <a:solidFill>
                    <a:schemeClr val="accent3"/>
                  </a:solidFill>
                  <a:latin typeface="Verdana" panose="020B0604030504040204" pitchFamily="34" charset="0"/>
                </a:rPr>
                <a:t>Feature Driven Development (FDD)</a:t>
              </a:r>
            </a:p>
          </p:txBody>
        </p:sp>
        <p:sp>
          <p:nvSpPr>
            <p:cNvPr id="47" name="Rectangle 46">
              <a:extLst>
                <a:ext uri="{FF2B5EF4-FFF2-40B4-BE49-F238E27FC236}">
                  <a16:creationId xmlns:a16="http://schemas.microsoft.com/office/drawing/2014/main" id="{266C7389-2E2D-45B4-AD1B-04C6650DB106}"/>
                </a:ext>
              </a:extLst>
            </p:cNvPr>
            <p:cNvSpPr/>
            <p:nvPr/>
          </p:nvSpPr>
          <p:spPr bwMode="gray">
            <a:xfrm>
              <a:off x="1199509" y="3915258"/>
              <a:ext cx="1316736" cy="369166"/>
            </a:xfrm>
            <a:prstGeom prst="rect">
              <a:avLst/>
            </a:prstGeom>
            <a:noFill/>
            <a:ln w="12700" algn="ctr">
              <a:solidFill>
                <a:schemeClr val="accent2"/>
              </a:solidFill>
              <a:prstDash val="sysDash"/>
              <a:miter lim="800000"/>
              <a:headEnd/>
              <a:tailEnd/>
            </a:ln>
          </p:spPr>
          <p:txBody>
            <a:bodyPr wrap="square" lIns="66836" tIns="66836" rIns="66836" bIns="66836" rtlCol="0" anchor="ctr"/>
            <a:lstStyle/>
            <a:p>
              <a:pPr algn="ctr"/>
              <a:r>
                <a:rPr lang="en-US" sz="902" dirty="0">
                  <a:solidFill>
                    <a:schemeClr val="accent2"/>
                  </a:solidFill>
                  <a:latin typeface="Verdana" panose="020B0604030504040204" pitchFamily="34" charset="0"/>
                </a:rPr>
                <a:t>Disciplined Agile</a:t>
              </a:r>
            </a:p>
          </p:txBody>
        </p:sp>
        <p:sp>
          <p:nvSpPr>
            <p:cNvPr id="50" name="Rectangle 49">
              <a:extLst>
                <a:ext uri="{FF2B5EF4-FFF2-40B4-BE49-F238E27FC236}">
                  <a16:creationId xmlns:a16="http://schemas.microsoft.com/office/drawing/2014/main" id="{4683C5FC-7244-4938-BEEC-198EB9920EE6}"/>
                </a:ext>
              </a:extLst>
            </p:cNvPr>
            <p:cNvSpPr/>
            <p:nvPr/>
          </p:nvSpPr>
          <p:spPr bwMode="gray">
            <a:xfrm>
              <a:off x="2028479" y="4367333"/>
              <a:ext cx="1316736" cy="369166"/>
            </a:xfrm>
            <a:prstGeom prst="rect">
              <a:avLst/>
            </a:prstGeom>
            <a:noFill/>
            <a:ln w="12700" algn="ctr">
              <a:solidFill>
                <a:schemeClr val="tx1"/>
              </a:solidFill>
              <a:prstDash val="sysDash"/>
              <a:miter lim="800000"/>
              <a:headEnd/>
              <a:tailEnd/>
            </a:ln>
          </p:spPr>
          <p:txBody>
            <a:bodyPr wrap="square" lIns="66836" tIns="66836" rIns="66836" bIns="66836" rtlCol="0" anchor="ctr"/>
            <a:lstStyle/>
            <a:p>
              <a:pPr algn="ctr"/>
              <a:r>
                <a:rPr lang="en-US" sz="1504" b="1" i="1" dirty="0">
                  <a:latin typeface="Verdana" panose="020B0604030504040204" pitchFamily="34" charset="0"/>
                </a:rPr>
                <a:t>Scrum</a:t>
              </a:r>
              <a:endParaRPr lang="en-US" sz="902" dirty="0">
                <a:latin typeface="Verdana" panose="020B0604030504040204" pitchFamily="34" charset="0"/>
              </a:endParaRPr>
            </a:p>
          </p:txBody>
        </p:sp>
        <p:sp>
          <p:nvSpPr>
            <p:cNvPr id="51" name="Rectangle 50">
              <a:extLst>
                <a:ext uri="{FF2B5EF4-FFF2-40B4-BE49-F238E27FC236}">
                  <a16:creationId xmlns:a16="http://schemas.microsoft.com/office/drawing/2014/main" id="{89F56801-571A-43C0-944D-BA958FA084D2}"/>
                </a:ext>
              </a:extLst>
            </p:cNvPr>
            <p:cNvSpPr/>
            <p:nvPr/>
          </p:nvSpPr>
          <p:spPr bwMode="gray">
            <a:xfrm>
              <a:off x="4165361" y="3943269"/>
              <a:ext cx="1316736" cy="369166"/>
            </a:xfrm>
            <a:prstGeom prst="rect">
              <a:avLst/>
            </a:prstGeom>
            <a:noFill/>
            <a:ln w="12700" algn="ctr">
              <a:solidFill>
                <a:srgbClr val="00ABAB"/>
              </a:solidFill>
              <a:prstDash val="sysDash"/>
              <a:miter lim="800000"/>
              <a:headEnd/>
              <a:tailEnd/>
            </a:ln>
          </p:spPr>
          <p:txBody>
            <a:bodyPr wrap="square" lIns="66836" tIns="66836" rIns="66836" bIns="66836" rtlCol="0" anchor="ctr"/>
            <a:lstStyle/>
            <a:p>
              <a:pPr algn="ctr"/>
              <a:r>
                <a:rPr lang="en-US" sz="902" dirty="0">
                  <a:solidFill>
                    <a:srgbClr val="00ABAB"/>
                  </a:solidFill>
                  <a:latin typeface="Verdana" panose="020B0604030504040204" pitchFamily="34" charset="0"/>
                </a:rPr>
                <a:t>Extreme Programming (XP)</a:t>
              </a:r>
            </a:p>
          </p:txBody>
        </p:sp>
        <p:sp>
          <p:nvSpPr>
            <p:cNvPr id="52" name="Rectangle 51">
              <a:extLst>
                <a:ext uri="{FF2B5EF4-FFF2-40B4-BE49-F238E27FC236}">
                  <a16:creationId xmlns:a16="http://schemas.microsoft.com/office/drawing/2014/main" id="{4CA78514-66D0-4C5D-B66B-EE5A75AB9776}"/>
                </a:ext>
              </a:extLst>
            </p:cNvPr>
            <p:cNvSpPr/>
            <p:nvPr/>
          </p:nvSpPr>
          <p:spPr bwMode="gray">
            <a:xfrm>
              <a:off x="4187208" y="4966518"/>
              <a:ext cx="1316736" cy="369166"/>
            </a:xfrm>
            <a:prstGeom prst="rect">
              <a:avLst/>
            </a:prstGeom>
            <a:noFill/>
            <a:ln w="12700" algn="ctr">
              <a:solidFill>
                <a:schemeClr val="tx2"/>
              </a:solidFill>
              <a:prstDash val="sysDash"/>
              <a:miter lim="800000"/>
              <a:headEnd/>
              <a:tailEnd/>
            </a:ln>
          </p:spPr>
          <p:txBody>
            <a:bodyPr wrap="square" lIns="66836" tIns="66836" rIns="66836" bIns="66836" rtlCol="0" anchor="ctr"/>
            <a:lstStyle/>
            <a:p>
              <a:pPr algn="ctr"/>
              <a:r>
                <a:rPr lang="en-US" sz="902" dirty="0">
                  <a:solidFill>
                    <a:schemeClr val="tx2"/>
                  </a:solidFill>
                  <a:latin typeface="Verdana" panose="020B0604030504040204" pitchFamily="34" charset="0"/>
                </a:rPr>
                <a:t>Nexus </a:t>
              </a:r>
            </a:p>
          </p:txBody>
        </p:sp>
        <p:sp>
          <p:nvSpPr>
            <p:cNvPr id="53" name="Rectangle 52">
              <a:extLst>
                <a:ext uri="{FF2B5EF4-FFF2-40B4-BE49-F238E27FC236}">
                  <a16:creationId xmlns:a16="http://schemas.microsoft.com/office/drawing/2014/main" id="{235620FD-D058-4D87-9409-3D6B585B2AF0}"/>
                </a:ext>
              </a:extLst>
            </p:cNvPr>
            <p:cNvSpPr/>
            <p:nvPr/>
          </p:nvSpPr>
          <p:spPr bwMode="gray">
            <a:xfrm>
              <a:off x="5083425" y="4384490"/>
              <a:ext cx="1316736" cy="369166"/>
            </a:xfrm>
            <a:prstGeom prst="rect">
              <a:avLst/>
            </a:prstGeom>
            <a:noFill/>
            <a:ln w="12700" algn="ctr">
              <a:solidFill>
                <a:schemeClr val="accent4"/>
              </a:solidFill>
              <a:prstDash val="sysDash"/>
              <a:miter lim="800000"/>
              <a:headEnd/>
              <a:tailEnd/>
            </a:ln>
          </p:spPr>
          <p:txBody>
            <a:bodyPr wrap="square" lIns="66836" tIns="66836" rIns="66836" bIns="66836" rtlCol="0" anchor="ctr"/>
            <a:lstStyle/>
            <a:p>
              <a:pPr algn="ctr"/>
              <a:r>
                <a:rPr lang="en-US" sz="902" dirty="0">
                  <a:solidFill>
                    <a:schemeClr val="accent4"/>
                  </a:solidFill>
                  <a:latin typeface="Verdana" panose="020B0604030504040204" pitchFamily="34" charset="0"/>
                </a:rPr>
                <a:t>Kanban</a:t>
              </a:r>
            </a:p>
          </p:txBody>
        </p:sp>
        <p:sp>
          <p:nvSpPr>
            <p:cNvPr id="54" name="Rectangle 53">
              <a:extLst>
                <a:ext uri="{FF2B5EF4-FFF2-40B4-BE49-F238E27FC236}">
                  <a16:creationId xmlns:a16="http://schemas.microsoft.com/office/drawing/2014/main" id="{6ACF63DB-6CB1-4254-97F3-248B245E7816}"/>
                </a:ext>
              </a:extLst>
            </p:cNvPr>
            <p:cNvSpPr/>
            <p:nvPr/>
          </p:nvSpPr>
          <p:spPr bwMode="gray">
            <a:xfrm>
              <a:off x="418186" y="4457155"/>
              <a:ext cx="1316736" cy="369166"/>
            </a:xfrm>
            <a:prstGeom prst="rect">
              <a:avLst/>
            </a:prstGeom>
            <a:noFill/>
            <a:ln w="12700" algn="ctr">
              <a:solidFill>
                <a:schemeClr val="accent1"/>
              </a:solidFill>
              <a:prstDash val="sysDash"/>
              <a:miter lim="800000"/>
              <a:headEnd/>
              <a:tailEnd/>
            </a:ln>
          </p:spPr>
          <p:txBody>
            <a:bodyPr wrap="square" lIns="66836" tIns="66836" rIns="66836" bIns="66836" rtlCol="0" anchor="ctr"/>
            <a:lstStyle/>
            <a:p>
              <a:pPr algn="ctr"/>
              <a:r>
                <a:rPr lang="en-US" sz="902" dirty="0">
                  <a:solidFill>
                    <a:schemeClr val="accent1"/>
                  </a:solidFill>
                  <a:latin typeface="Verdana" panose="020B0604030504040204" pitchFamily="34" charset="0"/>
                </a:rPr>
                <a:t>LeSS</a:t>
              </a:r>
            </a:p>
          </p:txBody>
        </p:sp>
        <p:sp>
          <p:nvSpPr>
            <p:cNvPr id="55" name="Freeform 5">
              <a:extLst>
                <a:ext uri="{FF2B5EF4-FFF2-40B4-BE49-F238E27FC236}">
                  <a16:creationId xmlns:a16="http://schemas.microsoft.com/office/drawing/2014/main" id="{68F7EE0F-DD0F-4B2A-9E12-8C8A4326A6B9}"/>
                </a:ext>
              </a:extLst>
            </p:cNvPr>
            <p:cNvSpPr>
              <a:spLocks/>
            </p:cNvSpPr>
            <p:nvPr/>
          </p:nvSpPr>
          <p:spPr bwMode="auto">
            <a:xfrm>
              <a:off x="6399499" y="3651651"/>
              <a:ext cx="446595" cy="1768607"/>
            </a:xfrm>
            <a:custGeom>
              <a:avLst/>
              <a:gdLst>
                <a:gd name="T0" fmla="*/ 0 w 272"/>
                <a:gd name="T1" fmla="*/ 1088 h 1088"/>
                <a:gd name="T2" fmla="*/ 48 w 272"/>
                <a:gd name="T3" fmla="*/ 1088 h 1088"/>
                <a:gd name="T4" fmla="*/ 212 w 272"/>
                <a:gd name="T5" fmla="*/ 924 h 1088"/>
                <a:gd name="T6" fmla="*/ 212 w 272"/>
                <a:gd name="T7" fmla="*/ 604 h 1088"/>
                <a:gd name="T8" fmla="*/ 272 w 272"/>
                <a:gd name="T9" fmla="*/ 544 h 1088"/>
                <a:gd name="T10" fmla="*/ 212 w 272"/>
                <a:gd name="T11" fmla="*/ 483 h 1088"/>
                <a:gd name="T12" fmla="*/ 212 w 272"/>
                <a:gd name="T13" fmla="*/ 164 h 1088"/>
                <a:gd name="T14" fmla="*/ 48 w 272"/>
                <a:gd name="T15" fmla="*/ 0 h 1088"/>
                <a:gd name="T16" fmla="*/ 0 w 272"/>
                <a:gd name="T17" fmla="*/ 0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1088">
                  <a:moveTo>
                    <a:pt x="0" y="1088"/>
                  </a:moveTo>
                  <a:cubicBezTo>
                    <a:pt x="48" y="1088"/>
                    <a:pt x="48" y="1088"/>
                    <a:pt x="48" y="1088"/>
                  </a:cubicBezTo>
                  <a:cubicBezTo>
                    <a:pt x="138" y="1088"/>
                    <a:pt x="212" y="1014"/>
                    <a:pt x="212" y="924"/>
                  </a:cubicBezTo>
                  <a:cubicBezTo>
                    <a:pt x="212" y="604"/>
                    <a:pt x="212" y="604"/>
                    <a:pt x="212" y="604"/>
                  </a:cubicBezTo>
                  <a:cubicBezTo>
                    <a:pt x="272" y="544"/>
                    <a:pt x="272" y="544"/>
                    <a:pt x="272" y="544"/>
                  </a:cubicBezTo>
                  <a:cubicBezTo>
                    <a:pt x="212" y="483"/>
                    <a:pt x="212" y="483"/>
                    <a:pt x="212" y="483"/>
                  </a:cubicBezTo>
                  <a:cubicBezTo>
                    <a:pt x="212" y="164"/>
                    <a:pt x="212" y="164"/>
                    <a:pt x="212" y="164"/>
                  </a:cubicBezTo>
                  <a:cubicBezTo>
                    <a:pt x="212" y="73"/>
                    <a:pt x="138" y="0"/>
                    <a:pt x="48" y="0"/>
                  </a:cubicBezTo>
                  <a:cubicBezTo>
                    <a:pt x="0" y="0"/>
                    <a:pt x="0" y="0"/>
                    <a:pt x="0" y="0"/>
                  </a:cubicBezTo>
                </a:path>
              </a:pathLst>
            </a:custGeom>
            <a:noFill/>
            <a:ln w="38100" cap="flat">
              <a:solidFill>
                <a:srgbClr val="88BBFF"/>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68746" tIns="34374" rIns="68746" bIns="34374" numCol="1" anchor="t" anchorCtr="0" compatLnSpc="1">
              <a:prstTxWarp prst="textNoShape">
                <a:avLst/>
              </a:prstTxWarp>
            </a:bodyPr>
            <a:lstStyle/>
            <a:p>
              <a:endParaRPr lang="en-US" sz="1354" dirty="0"/>
            </a:p>
          </p:txBody>
        </p:sp>
        <p:sp>
          <p:nvSpPr>
            <p:cNvPr id="56" name="Rectangle 55">
              <a:extLst>
                <a:ext uri="{FF2B5EF4-FFF2-40B4-BE49-F238E27FC236}">
                  <a16:creationId xmlns:a16="http://schemas.microsoft.com/office/drawing/2014/main" id="{E13B355E-D5C5-4B1C-8DFB-BF55DBF92EA8}"/>
                </a:ext>
              </a:extLst>
            </p:cNvPr>
            <p:cNvSpPr/>
            <p:nvPr/>
          </p:nvSpPr>
          <p:spPr>
            <a:xfrm>
              <a:off x="6904716" y="4092071"/>
              <a:ext cx="1650195" cy="923330"/>
            </a:xfrm>
            <a:prstGeom prst="rect">
              <a:avLst/>
            </a:prstGeom>
          </p:spPr>
          <p:txBody>
            <a:bodyPr wrap="square">
              <a:spAutoFit/>
            </a:bodyPr>
            <a:lstStyle/>
            <a:p>
              <a:pPr algn="ctr"/>
              <a:r>
                <a:rPr lang="en-US" sz="1354" i="1" dirty="0">
                  <a:latin typeface="Verdana" panose="020B0604030504040204" pitchFamily="34" charset="0"/>
                </a:rPr>
                <a:t>These are collectively referred to as agile methods. </a:t>
              </a:r>
            </a:p>
          </p:txBody>
        </p:sp>
        <p:grpSp>
          <p:nvGrpSpPr>
            <p:cNvPr id="57" name="Group 56">
              <a:extLst>
                <a:ext uri="{FF2B5EF4-FFF2-40B4-BE49-F238E27FC236}">
                  <a16:creationId xmlns:a16="http://schemas.microsoft.com/office/drawing/2014/main" id="{83C54E29-E73A-4681-859C-FDFDBEBE127F}"/>
                </a:ext>
              </a:extLst>
            </p:cNvPr>
            <p:cNvGrpSpPr/>
            <p:nvPr/>
          </p:nvGrpSpPr>
          <p:grpSpPr>
            <a:xfrm>
              <a:off x="1199510" y="1631524"/>
              <a:ext cx="4858924" cy="1708610"/>
              <a:chOff x="1341438" y="1814513"/>
              <a:chExt cx="6475413" cy="1597026"/>
            </a:xfrm>
            <a:solidFill>
              <a:schemeClr val="accent1"/>
            </a:solidFill>
          </p:grpSpPr>
          <p:sp>
            <p:nvSpPr>
              <p:cNvPr id="58" name="TextBox 57">
                <a:extLst>
                  <a:ext uri="{FF2B5EF4-FFF2-40B4-BE49-F238E27FC236}">
                    <a16:creationId xmlns:a16="http://schemas.microsoft.com/office/drawing/2014/main" id="{6038F428-D09E-45E3-A45B-3A663B07768E}"/>
                  </a:ext>
                </a:extLst>
              </p:cNvPr>
              <p:cNvSpPr txBox="1"/>
              <p:nvPr/>
            </p:nvSpPr>
            <p:spPr>
              <a:xfrm>
                <a:off x="4007087" y="2722581"/>
                <a:ext cx="1098980" cy="373980"/>
              </a:xfrm>
              <a:prstGeom prst="rect">
                <a:avLst/>
              </a:prstGeom>
              <a:grpFill/>
              <a:ln>
                <a:solidFill>
                  <a:srgbClr val="BBBCBC"/>
                </a:solidFill>
              </a:ln>
            </p:spPr>
            <p:txBody>
              <a:bodyPr wrap="square" rtlCol="0">
                <a:spAutoFit/>
              </a:bodyPr>
              <a:lstStyle/>
              <a:p>
                <a:pPr algn="ctr"/>
                <a:r>
                  <a:rPr lang="en-US" sz="2005" dirty="0">
                    <a:latin typeface="Verdana" panose="020B0604030504040204" pitchFamily="34" charset="0"/>
                  </a:rPr>
                  <a:t>Agile</a:t>
                </a:r>
              </a:p>
            </p:txBody>
          </p:sp>
          <p:sp>
            <p:nvSpPr>
              <p:cNvPr id="59" name="Freeform 69">
                <a:extLst>
                  <a:ext uri="{FF2B5EF4-FFF2-40B4-BE49-F238E27FC236}">
                    <a16:creationId xmlns:a16="http://schemas.microsoft.com/office/drawing/2014/main" id="{4532F535-FFEF-4555-AA66-EC1C42AB774C}"/>
                  </a:ext>
                </a:extLst>
              </p:cNvPr>
              <p:cNvSpPr>
                <a:spLocks/>
              </p:cNvSpPr>
              <p:nvPr/>
            </p:nvSpPr>
            <p:spPr bwMode="auto">
              <a:xfrm>
                <a:off x="4584700" y="1814513"/>
                <a:ext cx="69850" cy="138113"/>
              </a:xfrm>
              <a:custGeom>
                <a:avLst/>
                <a:gdLst>
                  <a:gd name="T0" fmla="*/ 17 w 17"/>
                  <a:gd name="T1" fmla="*/ 49 h 51"/>
                  <a:gd name="T2" fmla="*/ 8 w 17"/>
                  <a:gd name="T3" fmla="*/ 2 h 51"/>
                  <a:gd name="T4" fmla="*/ 0 w 17"/>
                  <a:gd name="T5" fmla="*/ 0 h 51"/>
                  <a:gd name="T6" fmla="*/ 0 w 17"/>
                  <a:gd name="T7" fmla="*/ 51 h 51"/>
                </a:gdLst>
                <a:ahLst/>
                <a:cxnLst>
                  <a:cxn ang="0">
                    <a:pos x="T0" y="T1"/>
                  </a:cxn>
                  <a:cxn ang="0">
                    <a:pos x="T2" y="T3"/>
                  </a:cxn>
                  <a:cxn ang="0">
                    <a:pos x="T4" y="T5"/>
                  </a:cxn>
                  <a:cxn ang="0">
                    <a:pos x="T6" y="T7"/>
                  </a:cxn>
                </a:cxnLst>
                <a:rect l="0" t="0" r="r" b="b"/>
                <a:pathLst>
                  <a:path w="17" h="51">
                    <a:moveTo>
                      <a:pt x="17" y="49"/>
                    </a:moveTo>
                    <a:cubicBezTo>
                      <a:pt x="8" y="2"/>
                      <a:pt x="8" y="2"/>
                      <a:pt x="8" y="2"/>
                    </a:cubicBezTo>
                    <a:cubicBezTo>
                      <a:pt x="8" y="1"/>
                      <a:pt x="4" y="0"/>
                      <a:pt x="0" y="0"/>
                    </a:cubicBezTo>
                    <a:cubicBezTo>
                      <a:pt x="0" y="51"/>
                      <a:pt x="0" y="51"/>
                      <a:pt x="0" y="51"/>
                    </a:cubicBezTo>
                  </a:path>
                </a:pathLst>
              </a:custGeom>
              <a:grpFill/>
              <a:ln w="9525">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0" name="Freeform 6">
                <a:extLst>
                  <a:ext uri="{FF2B5EF4-FFF2-40B4-BE49-F238E27FC236}">
                    <a16:creationId xmlns:a16="http://schemas.microsoft.com/office/drawing/2014/main" id="{0F9769D3-449E-44E0-A73F-A505DA586EA3}"/>
                  </a:ext>
                </a:extLst>
              </p:cNvPr>
              <p:cNvSpPr>
                <a:spLocks/>
              </p:cNvSpPr>
              <p:nvPr/>
            </p:nvSpPr>
            <p:spPr bwMode="auto">
              <a:xfrm>
                <a:off x="4508500" y="1814513"/>
                <a:ext cx="80963" cy="138113"/>
              </a:xfrm>
              <a:custGeom>
                <a:avLst/>
                <a:gdLst>
                  <a:gd name="T0" fmla="*/ 20 w 20"/>
                  <a:gd name="T1" fmla="*/ 51 h 51"/>
                  <a:gd name="T2" fmla="*/ 20 w 20"/>
                  <a:gd name="T3" fmla="*/ 0 h 51"/>
                  <a:gd name="T4" fmla="*/ 10 w 20"/>
                  <a:gd name="T5" fmla="*/ 2 h 51"/>
                  <a:gd name="T6" fmla="*/ 0 w 20"/>
                  <a:gd name="T7" fmla="*/ 49 h 51"/>
                </a:gdLst>
                <a:ahLst/>
                <a:cxnLst>
                  <a:cxn ang="0">
                    <a:pos x="T0" y="T1"/>
                  </a:cxn>
                  <a:cxn ang="0">
                    <a:pos x="T2" y="T3"/>
                  </a:cxn>
                  <a:cxn ang="0">
                    <a:pos x="T4" y="T5"/>
                  </a:cxn>
                  <a:cxn ang="0">
                    <a:pos x="T6" y="T7"/>
                  </a:cxn>
                </a:cxnLst>
                <a:rect l="0" t="0" r="r" b="b"/>
                <a:pathLst>
                  <a:path w="20" h="51">
                    <a:moveTo>
                      <a:pt x="20" y="51"/>
                    </a:moveTo>
                    <a:cubicBezTo>
                      <a:pt x="20" y="0"/>
                      <a:pt x="20" y="0"/>
                      <a:pt x="20" y="0"/>
                    </a:cubicBezTo>
                    <a:cubicBezTo>
                      <a:pt x="14" y="0"/>
                      <a:pt x="10" y="1"/>
                      <a:pt x="10" y="2"/>
                    </a:cubicBezTo>
                    <a:cubicBezTo>
                      <a:pt x="0" y="49"/>
                      <a:pt x="0" y="49"/>
                      <a:pt x="0" y="49"/>
                    </a:cubicBezTo>
                  </a:path>
                </a:pathLst>
              </a:custGeom>
              <a:grpFill/>
              <a:ln w="9525">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1" name="Freeform 7">
                <a:extLst>
                  <a:ext uri="{FF2B5EF4-FFF2-40B4-BE49-F238E27FC236}">
                    <a16:creationId xmlns:a16="http://schemas.microsoft.com/office/drawing/2014/main" id="{8EFBB0D4-E18C-4FD1-B450-659A7C4F69A7}"/>
                  </a:ext>
                </a:extLst>
              </p:cNvPr>
              <p:cNvSpPr>
                <a:spLocks noEditPoints="1"/>
              </p:cNvSpPr>
              <p:nvPr/>
            </p:nvSpPr>
            <p:spPr bwMode="auto">
              <a:xfrm>
                <a:off x="1341438" y="3197226"/>
                <a:ext cx="6475413" cy="214313"/>
              </a:xfrm>
              <a:custGeom>
                <a:avLst/>
                <a:gdLst>
                  <a:gd name="T0" fmla="*/ 35 w 1583"/>
                  <a:gd name="T1" fmla="*/ 4 h 79"/>
                  <a:gd name="T2" fmla="*/ 27 w 1583"/>
                  <a:gd name="T3" fmla="*/ 7 h 79"/>
                  <a:gd name="T4" fmla="*/ 1 w 1583"/>
                  <a:gd name="T5" fmla="*/ 68 h 79"/>
                  <a:gd name="T6" fmla="*/ 5 w 1583"/>
                  <a:gd name="T7" fmla="*/ 77 h 79"/>
                  <a:gd name="T8" fmla="*/ 13 w 1583"/>
                  <a:gd name="T9" fmla="*/ 73 h 79"/>
                  <a:gd name="T10" fmla="*/ 39 w 1583"/>
                  <a:gd name="T11" fmla="*/ 13 h 79"/>
                  <a:gd name="T12" fmla="*/ 35 w 1583"/>
                  <a:gd name="T13" fmla="*/ 4 h 79"/>
                  <a:gd name="T14" fmla="*/ 328 w 1583"/>
                  <a:gd name="T15" fmla="*/ 0 h 79"/>
                  <a:gd name="T16" fmla="*/ 321 w 1583"/>
                  <a:gd name="T17" fmla="*/ 6 h 79"/>
                  <a:gd name="T18" fmla="*/ 314 w 1583"/>
                  <a:gd name="T19" fmla="*/ 72 h 79"/>
                  <a:gd name="T20" fmla="*/ 320 w 1583"/>
                  <a:gd name="T21" fmla="*/ 79 h 79"/>
                  <a:gd name="T22" fmla="*/ 327 w 1583"/>
                  <a:gd name="T23" fmla="*/ 73 h 79"/>
                  <a:gd name="T24" fmla="*/ 333 w 1583"/>
                  <a:gd name="T25" fmla="*/ 8 h 79"/>
                  <a:gd name="T26" fmla="*/ 328 w 1583"/>
                  <a:gd name="T27" fmla="*/ 0 h 79"/>
                  <a:gd name="T28" fmla="*/ 636 w 1583"/>
                  <a:gd name="T29" fmla="*/ 0 h 79"/>
                  <a:gd name="T30" fmla="*/ 629 w 1583"/>
                  <a:gd name="T31" fmla="*/ 7 h 79"/>
                  <a:gd name="T32" fmla="*/ 629 w 1583"/>
                  <a:gd name="T33" fmla="*/ 73 h 79"/>
                  <a:gd name="T34" fmla="*/ 636 w 1583"/>
                  <a:gd name="T35" fmla="*/ 79 h 79"/>
                  <a:gd name="T36" fmla="*/ 642 w 1583"/>
                  <a:gd name="T37" fmla="*/ 73 h 79"/>
                  <a:gd name="T38" fmla="*/ 642 w 1583"/>
                  <a:gd name="T39" fmla="*/ 7 h 79"/>
                  <a:gd name="T40" fmla="*/ 636 w 1583"/>
                  <a:gd name="T41" fmla="*/ 0 h 79"/>
                  <a:gd name="T42" fmla="*/ 947 w 1583"/>
                  <a:gd name="T43" fmla="*/ 0 h 79"/>
                  <a:gd name="T44" fmla="*/ 941 w 1583"/>
                  <a:gd name="T45" fmla="*/ 7 h 79"/>
                  <a:gd name="T46" fmla="*/ 941 w 1583"/>
                  <a:gd name="T47" fmla="*/ 73 h 79"/>
                  <a:gd name="T48" fmla="*/ 947 w 1583"/>
                  <a:gd name="T49" fmla="*/ 79 h 79"/>
                  <a:gd name="T50" fmla="*/ 954 w 1583"/>
                  <a:gd name="T51" fmla="*/ 73 h 79"/>
                  <a:gd name="T52" fmla="*/ 954 w 1583"/>
                  <a:gd name="T53" fmla="*/ 7 h 79"/>
                  <a:gd name="T54" fmla="*/ 947 w 1583"/>
                  <a:gd name="T55" fmla="*/ 0 h 79"/>
                  <a:gd name="T56" fmla="*/ 1581 w 1583"/>
                  <a:gd name="T57" fmla="*/ 68 h 79"/>
                  <a:gd name="T58" fmla="*/ 1556 w 1583"/>
                  <a:gd name="T59" fmla="*/ 7 h 79"/>
                  <a:gd name="T60" fmla="*/ 1547 w 1583"/>
                  <a:gd name="T61" fmla="*/ 4 h 79"/>
                  <a:gd name="T62" fmla="*/ 1544 w 1583"/>
                  <a:gd name="T63" fmla="*/ 13 h 79"/>
                  <a:gd name="T64" fmla="*/ 1570 w 1583"/>
                  <a:gd name="T65" fmla="*/ 73 h 79"/>
                  <a:gd name="T66" fmla="*/ 1578 w 1583"/>
                  <a:gd name="T67" fmla="*/ 77 h 79"/>
                  <a:gd name="T68" fmla="*/ 1581 w 1583"/>
                  <a:gd name="T69" fmla="*/ 68 h 79"/>
                  <a:gd name="T70" fmla="*/ 1262 w 1583"/>
                  <a:gd name="T71" fmla="*/ 6 h 79"/>
                  <a:gd name="T72" fmla="*/ 1255 w 1583"/>
                  <a:gd name="T73" fmla="*/ 0 h 79"/>
                  <a:gd name="T74" fmla="*/ 1249 w 1583"/>
                  <a:gd name="T75" fmla="*/ 8 h 79"/>
                  <a:gd name="T76" fmla="*/ 1256 w 1583"/>
                  <a:gd name="T77" fmla="*/ 73 h 79"/>
                  <a:gd name="T78" fmla="*/ 1263 w 1583"/>
                  <a:gd name="T79" fmla="*/ 79 h 79"/>
                  <a:gd name="T80" fmla="*/ 1269 w 1583"/>
                  <a:gd name="T81" fmla="*/ 72 h 79"/>
                  <a:gd name="T82" fmla="*/ 1262 w 1583"/>
                  <a:gd name="T83"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3" h="79">
                    <a:moveTo>
                      <a:pt x="35" y="4"/>
                    </a:moveTo>
                    <a:cubicBezTo>
                      <a:pt x="32" y="2"/>
                      <a:pt x="28" y="4"/>
                      <a:pt x="27" y="7"/>
                    </a:cubicBezTo>
                    <a:cubicBezTo>
                      <a:pt x="1" y="68"/>
                      <a:pt x="1" y="68"/>
                      <a:pt x="1" y="68"/>
                    </a:cubicBezTo>
                    <a:cubicBezTo>
                      <a:pt x="0" y="71"/>
                      <a:pt x="1" y="75"/>
                      <a:pt x="5" y="77"/>
                    </a:cubicBezTo>
                    <a:cubicBezTo>
                      <a:pt x="8" y="78"/>
                      <a:pt x="12" y="76"/>
                      <a:pt x="13" y="73"/>
                    </a:cubicBezTo>
                    <a:cubicBezTo>
                      <a:pt x="39" y="13"/>
                      <a:pt x="39" y="13"/>
                      <a:pt x="39" y="13"/>
                    </a:cubicBezTo>
                    <a:cubicBezTo>
                      <a:pt x="40" y="9"/>
                      <a:pt x="39" y="5"/>
                      <a:pt x="35" y="4"/>
                    </a:cubicBezTo>
                    <a:close/>
                    <a:moveTo>
                      <a:pt x="328" y="0"/>
                    </a:moveTo>
                    <a:cubicBezTo>
                      <a:pt x="324" y="0"/>
                      <a:pt x="321" y="3"/>
                      <a:pt x="321" y="6"/>
                    </a:cubicBezTo>
                    <a:cubicBezTo>
                      <a:pt x="314" y="72"/>
                      <a:pt x="314" y="72"/>
                      <a:pt x="314" y="72"/>
                    </a:cubicBezTo>
                    <a:cubicBezTo>
                      <a:pt x="313" y="75"/>
                      <a:pt x="316" y="79"/>
                      <a:pt x="320" y="79"/>
                    </a:cubicBezTo>
                    <a:cubicBezTo>
                      <a:pt x="323" y="79"/>
                      <a:pt x="326" y="77"/>
                      <a:pt x="327" y="73"/>
                    </a:cubicBezTo>
                    <a:cubicBezTo>
                      <a:pt x="333" y="8"/>
                      <a:pt x="333" y="8"/>
                      <a:pt x="333" y="8"/>
                    </a:cubicBezTo>
                    <a:cubicBezTo>
                      <a:pt x="334" y="4"/>
                      <a:pt x="331" y="1"/>
                      <a:pt x="328" y="0"/>
                    </a:cubicBezTo>
                    <a:close/>
                    <a:moveTo>
                      <a:pt x="636" y="0"/>
                    </a:moveTo>
                    <a:cubicBezTo>
                      <a:pt x="632" y="0"/>
                      <a:pt x="629" y="3"/>
                      <a:pt x="629" y="7"/>
                    </a:cubicBezTo>
                    <a:cubicBezTo>
                      <a:pt x="629" y="73"/>
                      <a:pt x="629" y="73"/>
                      <a:pt x="629" y="73"/>
                    </a:cubicBezTo>
                    <a:cubicBezTo>
                      <a:pt x="629" y="76"/>
                      <a:pt x="632" y="79"/>
                      <a:pt x="636" y="79"/>
                    </a:cubicBezTo>
                    <a:cubicBezTo>
                      <a:pt x="639" y="79"/>
                      <a:pt x="642" y="76"/>
                      <a:pt x="642" y="73"/>
                    </a:cubicBezTo>
                    <a:cubicBezTo>
                      <a:pt x="642" y="7"/>
                      <a:pt x="642" y="7"/>
                      <a:pt x="642" y="7"/>
                    </a:cubicBezTo>
                    <a:cubicBezTo>
                      <a:pt x="642" y="3"/>
                      <a:pt x="639" y="0"/>
                      <a:pt x="636" y="0"/>
                    </a:cubicBezTo>
                    <a:close/>
                    <a:moveTo>
                      <a:pt x="947" y="0"/>
                    </a:moveTo>
                    <a:cubicBezTo>
                      <a:pt x="944" y="0"/>
                      <a:pt x="941" y="3"/>
                      <a:pt x="941" y="7"/>
                    </a:cubicBezTo>
                    <a:cubicBezTo>
                      <a:pt x="941" y="73"/>
                      <a:pt x="941" y="73"/>
                      <a:pt x="941" y="73"/>
                    </a:cubicBezTo>
                    <a:cubicBezTo>
                      <a:pt x="941" y="76"/>
                      <a:pt x="944" y="79"/>
                      <a:pt x="947" y="79"/>
                    </a:cubicBezTo>
                    <a:cubicBezTo>
                      <a:pt x="951" y="79"/>
                      <a:pt x="954" y="76"/>
                      <a:pt x="954" y="73"/>
                    </a:cubicBezTo>
                    <a:cubicBezTo>
                      <a:pt x="954" y="7"/>
                      <a:pt x="954" y="7"/>
                      <a:pt x="954" y="7"/>
                    </a:cubicBezTo>
                    <a:cubicBezTo>
                      <a:pt x="954" y="3"/>
                      <a:pt x="951" y="0"/>
                      <a:pt x="947" y="0"/>
                    </a:cubicBezTo>
                    <a:close/>
                    <a:moveTo>
                      <a:pt x="1581" y="68"/>
                    </a:moveTo>
                    <a:cubicBezTo>
                      <a:pt x="1556" y="7"/>
                      <a:pt x="1556" y="7"/>
                      <a:pt x="1556" y="7"/>
                    </a:cubicBezTo>
                    <a:cubicBezTo>
                      <a:pt x="1554" y="4"/>
                      <a:pt x="1551" y="2"/>
                      <a:pt x="1547" y="4"/>
                    </a:cubicBezTo>
                    <a:cubicBezTo>
                      <a:pt x="1544" y="5"/>
                      <a:pt x="1543" y="9"/>
                      <a:pt x="1544" y="13"/>
                    </a:cubicBezTo>
                    <a:cubicBezTo>
                      <a:pt x="1570" y="73"/>
                      <a:pt x="1570" y="73"/>
                      <a:pt x="1570" y="73"/>
                    </a:cubicBezTo>
                    <a:cubicBezTo>
                      <a:pt x="1571" y="76"/>
                      <a:pt x="1575" y="78"/>
                      <a:pt x="1578" y="77"/>
                    </a:cubicBezTo>
                    <a:cubicBezTo>
                      <a:pt x="1581" y="75"/>
                      <a:pt x="1583" y="71"/>
                      <a:pt x="1581" y="68"/>
                    </a:cubicBezTo>
                    <a:close/>
                    <a:moveTo>
                      <a:pt x="1262" y="6"/>
                    </a:moveTo>
                    <a:cubicBezTo>
                      <a:pt x="1262" y="3"/>
                      <a:pt x="1259" y="0"/>
                      <a:pt x="1255" y="0"/>
                    </a:cubicBezTo>
                    <a:cubicBezTo>
                      <a:pt x="1251" y="1"/>
                      <a:pt x="1249" y="4"/>
                      <a:pt x="1249" y="8"/>
                    </a:cubicBezTo>
                    <a:cubicBezTo>
                      <a:pt x="1256" y="73"/>
                      <a:pt x="1256" y="73"/>
                      <a:pt x="1256" y="73"/>
                    </a:cubicBezTo>
                    <a:cubicBezTo>
                      <a:pt x="1256" y="77"/>
                      <a:pt x="1260" y="79"/>
                      <a:pt x="1263" y="79"/>
                    </a:cubicBezTo>
                    <a:cubicBezTo>
                      <a:pt x="1267" y="79"/>
                      <a:pt x="1269" y="75"/>
                      <a:pt x="1269" y="72"/>
                    </a:cubicBezTo>
                    <a:lnTo>
                      <a:pt x="1262" y="6"/>
                    </a:lnTo>
                    <a:close/>
                  </a:path>
                </a:pathLst>
              </a:custGeom>
              <a:grpFill/>
              <a:ln w="9525">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2" name="Freeform 8">
                <a:extLst>
                  <a:ext uri="{FF2B5EF4-FFF2-40B4-BE49-F238E27FC236}">
                    <a16:creationId xmlns:a16="http://schemas.microsoft.com/office/drawing/2014/main" id="{7D6347E2-8FF8-4A6E-BEC1-4B30B725191E}"/>
                  </a:ext>
                </a:extLst>
              </p:cNvPr>
              <p:cNvSpPr>
                <a:spLocks/>
              </p:cNvSpPr>
              <p:nvPr/>
            </p:nvSpPr>
            <p:spPr bwMode="auto">
              <a:xfrm>
                <a:off x="4573588" y="1928813"/>
                <a:ext cx="1938338" cy="1431925"/>
              </a:xfrm>
              <a:custGeom>
                <a:avLst/>
                <a:gdLst>
                  <a:gd name="T0" fmla="*/ 0 w 474"/>
                  <a:gd name="T1" fmla="*/ 0 h 527"/>
                  <a:gd name="T2" fmla="*/ 317 w 474"/>
                  <a:gd name="T3" fmla="*/ 501 h 527"/>
                  <a:gd name="T4" fmla="*/ 474 w 474"/>
                  <a:gd name="T5" fmla="*/ 527 h 527"/>
                  <a:gd name="T6" fmla="*/ 0 w 474"/>
                  <a:gd name="T7" fmla="*/ 0 h 527"/>
                </a:gdLst>
                <a:ahLst/>
                <a:cxnLst>
                  <a:cxn ang="0">
                    <a:pos x="T0" y="T1"/>
                  </a:cxn>
                  <a:cxn ang="0">
                    <a:pos x="T2" y="T3"/>
                  </a:cxn>
                  <a:cxn ang="0">
                    <a:pos x="T4" y="T5"/>
                  </a:cxn>
                  <a:cxn ang="0">
                    <a:pos x="T6" y="T7"/>
                  </a:cxn>
                </a:cxnLst>
                <a:rect l="0" t="0" r="r" b="b"/>
                <a:pathLst>
                  <a:path w="474" h="527">
                    <a:moveTo>
                      <a:pt x="0" y="0"/>
                    </a:moveTo>
                    <a:cubicBezTo>
                      <a:pt x="167" y="0"/>
                      <a:pt x="306" y="226"/>
                      <a:pt x="317" y="501"/>
                    </a:cubicBezTo>
                    <a:cubicBezTo>
                      <a:pt x="399" y="501"/>
                      <a:pt x="465" y="524"/>
                      <a:pt x="474" y="527"/>
                    </a:cubicBezTo>
                    <a:cubicBezTo>
                      <a:pt x="469" y="240"/>
                      <a:pt x="259" y="0"/>
                      <a:pt x="0"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3" name="Freeform 10">
                <a:extLst>
                  <a:ext uri="{FF2B5EF4-FFF2-40B4-BE49-F238E27FC236}">
                    <a16:creationId xmlns:a16="http://schemas.microsoft.com/office/drawing/2014/main" id="{53EDF6D6-934F-4BEB-8E4D-00FB9591116F}"/>
                  </a:ext>
                </a:extLst>
              </p:cNvPr>
              <p:cNvSpPr>
                <a:spLocks/>
              </p:cNvSpPr>
              <p:nvPr/>
            </p:nvSpPr>
            <p:spPr bwMode="auto">
              <a:xfrm>
                <a:off x="4573588" y="1928813"/>
                <a:ext cx="646113" cy="1431925"/>
              </a:xfrm>
              <a:custGeom>
                <a:avLst/>
                <a:gdLst>
                  <a:gd name="T0" fmla="*/ 0 w 158"/>
                  <a:gd name="T1" fmla="*/ 0 h 527"/>
                  <a:gd name="T2" fmla="*/ 0 w 158"/>
                  <a:gd name="T3" fmla="*/ 501 h 527"/>
                  <a:gd name="T4" fmla="*/ 158 w 158"/>
                  <a:gd name="T5" fmla="*/ 527 h 527"/>
                  <a:gd name="T6" fmla="*/ 0 w 158"/>
                  <a:gd name="T7" fmla="*/ 0 h 527"/>
                </a:gdLst>
                <a:ahLst/>
                <a:cxnLst>
                  <a:cxn ang="0">
                    <a:pos x="T0" y="T1"/>
                  </a:cxn>
                  <a:cxn ang="0">
                    <a:pos x="T2" y="T3"/>
                  </a:cxn>
                  <a:cxn ang="0">
                    <a:pos x="T4" y="T5"/>
                  </a:cxn>
                  <a:cxn ang="0">
                    <a:pos x="T6" y="T7"/>
                  </a:cxn>
                </a:cxnLst>
                <a:rect l="0" t="0" r="r" b="b"/>
                <a:pathLst>
                  <a:path w="158" h="527">
                    <a:moveTo>
                      <a:pt x="0" y="0"/>
                    </a:moveTo>
                    <a:cubicBezTo>
                      <a:pt x="0" y="501"/>
                      <a:pt x="0" y="501"/>
                      <a:pt x="0" y="501"/>
                    </a:cubicBezTo>
                    <a:cubicBezTo>
                      <a:pt x="83" y="501"/>
                      <a:pt x="152" y="525"/>
                      <a:pt x="158" y="527"/>
                    </a:cubicBezTo>
                    <a:cubicBezTo>
                      <a:pt x="156" y="240"/>
                      <a:pt x="86" y="0"/>
                      <a:pt x="0"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4" name="Freeform 12">
                <a:extLst>
                  <a:ext uri="{FF2B5EF4-FFF2-40B4-BE49-F238E27FC236}">
                    <a16:creationId xmlns:a16="http://schemas.microsoft.com/office/drawing/2014/main" id="{D12B87F1-9CD6-4FBF-8334-3B92AB5C4CC3}"/>
                  </a:ext>
                </a:extLst>
              </p:cNvPr>
              <p:cNvSpPr>
                <a:spLocks/>
              </p:cNvSpPr>
              <p:nvPr/>
            </p:nvSpPr>
            <p:spPr bwMode="auto">
              <a:xfrm>
                <a:off x="5056188" y="1952626"/>
                <a:ext cx="2752725" cy="1408113"/>
              </a:xfrm>
              <a:custGeom>
                <a:avLst/>
                <a:gdLst>
                  <a:gd name="T0" fmla="*/ 673 w 673"/>
                  <a:gd name="T1" fmla="*/ 518 h 518"/>
                  <a:gd name="T2" fmla="*/ 0 w 673"/>
                  <a:gd name="T3" fmla="*/ 0 h 518"/>
                  <a:gd name="T4" fmla="*/ 16 w 673"/>
                  <a:gd name="T5" fmla="*/ 3 h 518"/>
                  <a:gd name="T6" fmla="*/ 514 w 673"/>
                  <a:gd name="T7" fmla="*/ 492 h 518"/>
                  <a:gd name="T8" fmla="*/ 515 w 673"/>
                  <a:gd name="T9" fmla="*/ 492 h 518"/>
                  <a:gd name="T10" fmla="*/ 673 w 673"/>
                  <a:gd name="T11" fmla="*/ 518 h 518"/>
                </a:gdLst>
                <a:ahLst/>
                <a:cxnLst>
                  <a:cxn ang="0">
                    <a:pos x="T0" y="T1"/>
                  </a:cxn>
                  <a:cxn ang="0">
                    <a:pos x="T2" y="T3"/>
                  </a:cxn>
                  <a:cxn ang="0">
                    <a:pos x="T4" y="T5"/>
                  </a:cxn>
                  <a:cxn ang="0">
                    <a:pos x="T6" y="T7"/>
                  </a:cxn>
                  <a:cxn ang="0">
                    <a:pos x="T8" y="T9"/>
                  </a:cxn>
                  <a:cxn ang="0">
                    <a:pos x="T10" y="T11"/>
                  </a:cxn>
                </a:cxnLst>
                <a:rect l="0" t="0" r="r" b="b"/>
                <a:pathLst>
                  <a:path w="673" h="518">
                    <a:moveTo>
                      <a:pt x="673" y="518"/>
                    </a:moveTo>
                    <a:cubicBezTo>
                      <a:pt x="540" y="165"/>
                      <a:pt x="224" y="34"/>
                      <a:pt x="0" y="0"/>
                    </a:cubicBezTo>
                    <a:cubicBezTo>
                      <a:pt x="5" y="1"/>
                      <a:pt x="11" y="2"/>
                      <a:pt x="16" y="3"/>
                    </a:cubicBezTo>
                    <a:cubicBezTo>
                      <a:pt x="288" y="52"/>
                      <a:pt x="495" y="254"/>
                      <a:pt x="514" y="492"/>
                    </a:cubicBezTo>
                    <a:cubicBezTo>
                      <a:pt x="514" y="492"/>
                      <a:pt x="514" y="492"/>
                      <a:pt x="515" y="492"/>
                    </a:cubicBezTo>
                    <a:cubicBezTo>
                      <a:pt x="602" y="492"/>
                      <a:pt x="673" y="518"/>
                      <a:pt x="673" y="518"/>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5" name="Freeform 14">
                <a:extLst>
                  <a:ext uri="{FF2B5EF4-FFF2-40B4-BE49-F238E27FC236}">
                    <a16:creationId xmlns:a16="http://schemas.microsoft.com/office/drawing/2014/main" id="{A101CD3C-6723-483A-8B26-5DD2C00DFB82}"/>
                  </a:ext>
                </a:extLst>
              </p:cNvPr>
              <p:cNvSpPr>
                <a:spLocks/>
              </p:cNvSpPr>
              <p:nvPr/>
            </p:nvSpPr>
            <p:spPr bwMode="auto">
              <a:xfrm>
                <a:off x="4573588" y="1928813"/>
                <a:ext cx="1295400" cy="1431925"/>
              </a:xfrm>
              <a:custGeom>
                <a:avLst/>
                <a:gdLst>
                  <a:gd name="T0" fmla="*/ 0 w 317"/>
                  <a:gd name="T1" fmla="*/ 0 h 527"/>
                  <a:gd name="T2" fmla="*/ 158 w 317"/>
                  <a:gd name="T3" fmla="*/ 527 h 527"/>
                  <a:gd name="T4" fmla="*/ 158 w 317"/>
                  <a:gd name="T5" fmla="*/ 527 h 527"/>
                  <a:gd name="T6" fmla="*/ 316 w 317"/>
                  <a:gd name="T7" fmla="*/ 501 h 527"/>
                  <a:gd name="T8" fmla="*/ 317 w 317"/>
                  <a:gd name="T9" fmla="*/ 501 h 527"/>
                  <a:gd name="T10" fmla="*/ 0 w 317"/>
                  <a:gd name="T11" fmla="*/ 0 h 527"/>
                </a:gdLst>
                <a:ahLst/>
                <a:cxnLst>
                  <a:cxn ang="0">
                    <a:pos x="T0" y="T1"/>
                  </a:cxn>
                  <a:cxn ang="0">
                    <a:pos x="T2" y="T3"/>
                  </a:cxn>
                  <a:cxn ang="0">
                    <a:pos x="T4" y="T5"/>
                  </a:cxn>
                  <a:cxn ang="0">
                    <a:pos x="T6" y="T7"/>
                  </a:cxn>
                  <a:cxn ang="0">
                    <a:pos x="T8" y="T9"/>
                  </a:cxn>
                  <a:cxn ang="0">
                    <a:pos x="T10" y="T11"/>
                  </a:cxn>
                </a:cxnLst>
                <a:rect l="0" t="0" r="r" b="b"/>
                <a:pathLst>
                  <a:path w="317" h="527">
                    <a:moveTo>
                      <a:pt x="0" y="0"/>
                    </a:moveTo>
                    <a:cubicBezTo>
                      <a:pt x="86" y="0"/>
                      <a:pt x="156" y="240"/>
                      <a:pt x="158" y="527"/>
                    </a:cubicBezTo>
                    <a:cubicBezTo>
                      <a:pt x="158" y="527"/>
                      <a:pt x="158" y="527"/>
                      <a:pt x="158" y="527"/>
                    </a:cubicBezTo>
                    <a:cubicBezTo>
                      <a:pt x="158" y="527"/>
                      <a:pt x="229" y="501"/>
                      <a:pt x="316" y="501"/>
                    </a:cubicBezTo>
                    <a:cubicBezTo>
                      <a:pt x="317" y="501"/>
                      <a:pt x="317" y="501"/>
                      <a:pt x="317" y="501"/>
                    </a:cubicBezTo>
                    <a:cubicBezTo>
                      <a:pt x="306" y="226"/>
                      <a:pt x="167" y="0"/>
                      <a:pt x="0"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6" name="Freeform 16">
                <a:extLst>
                  <a:ext uri="{FF2B5EF4-FFF2-40B4-BE49-F238E27FC236}">
                    <a16:creationId xmlns:a16="http://schemas.microsoft.com/office/drawing/2014/main" id="{696348C4-6AF7-4F91-8A04-771608280D34}"/>
                  </a:ext>
                </a:extLst>
              </p:cNvPr>
              <p:cNvSpPr>
                <a:spLocks/>
              </p:cNvSpPr>
              <p:nvPr/>
            </p:nvSpPr>
            <p:spPr bwMode="auto">
              <a:xfrm>
                <a:off x="4573588" y="1928813"/>
                <a:ext cx="2584450" cy="1431925"/>
              </a:xfrm>
              <a:custGeom>
                <a:avLst/>
                <a:gdLst>
                  <a:gd name="T0" fmla="*/ 134 w 632"/>
                  <a:gd name="T1" fmla="*/ 12 h 527"/>
                  <a:gd name="T2" fmla="*/ 118 w 632"/>
                  <a:gd name="T3" fmla="*/ 9 h 527"/>
                  <a:gd name="T4" fmla="*/ 117 w 632"/>
                  <a:gd name="T5" fmla="*/ 9 h 527"/>
                  <a:gd name="T6" fmla="*/ 70 w 632"/>
                  <a:gd name="T7" fmla="*/ 4 h 527"/>
                  <a:gd name="T8" fmla="*/ 70 w 632"/>
                  <a:gd name="T9" fmla="*/ 3 h 527"/>
                  <a:gd name="T10" fmla="*/ 27 w 632"/>
                  <a:gd name="T11" fmla="*/ 1 h 527"/>
                  <a:gd name="T12" fmla="*/ 25 w 632"/>
                  <a:gd name="T13" fmla="*/ 1 h 527"/>
                  <a:gd name="T14" fmla="*/ 12 w 632"/>
                  <a:gd name="T15" fmla="*/ 0 h 527"/>
                  <a:gd name="T16" fmla="*/ 12 w 632"/>
                  <a:gd name="T17" fmla="*/ 0 h 527"/>
                  <a:gd name="T18" fmla="*/ 0 w 632"/>
                  <a:gd name="T19" fmla="*/ 0 h 527"/>
                  <a:gd name="T20" fmla="*/ 474 w 632"/>
                  <a:gd name="T21" fmla="*/ 527 h 527"/>
                  <a:gd name="T22" fmla="*/ 474 w 632"/>
                  <a:gd name="T23" fmla="*/ 527 h 527"/>
                  <a:gd name="T24" fmla="*/ 632 w 632"/>
                  <a:gd name="T25" fmla="*/ 501 h 527"/>
                  <a:gd name="T26" fmla="*/ 134 w 632"/>
                  <a:gd name="T27" fmla="*/ 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2" h="527">
                    <a:moveTo>
                      <a:pt x="134" y="12"/>
                    </a:moveTo>
                    <a:cubicBezTo>
                      <a:pt x="129" y="11"/>
                      <a:pt x="123" y="10"/>
                      <a:pt x="118" y="9"/>
                    </a:cubicBezTo>
                    <a:cubicBezTo>
                      <a:pt x="118" y="9"/>
                      <a:pt x="118" y="9"/>
                      <a:pt x="117" y="9"/>
                    </a:cubicBezTo>
                    <a:cubicBezTo>
                      <a:pt x="101" y="7"/>
                      <a:pt x="86" y="5"/>
                      <a:pt x="70" y="4"/>
                    </a:cubicBezTo>
                    <a:cubicBezTo>
                      <a:pt x="70" y="4"/>
                      <a:pt x="70" y="4"/>
                      <a:pt x="70" y="3"/>
                    </a:cubicBezTo>
                    <a:cubicBezTo>
                      <a:pt x="55" y="2"/>
                      <a:pt x="40" y="1"/>
                      <a:pt x="27" y="1"/>
                    </a:cubicBezTo>
                    <a:cubicBezTo>
                      <a:pt x="26" y="1"/>
                      <a:pt x="26" y="1"/>
                      <a:pt x="25" y="1"/>
                    </a:cubicBezTo>
                    <a:cubicBezTo>
                      <a:pt x="21" y="0"/>
                      <a:pt x="17" y="0"/>
                      <a:pt x="12" y="0"/>
                    </a:cubicBezTo>
                    <a:cubicBezTo>
                      <a:pt x="12" y="0"/>
                      <a:pt x="12" y="0"/>
                      <a:pt x="12" y="0"/>
                    </a:cubicBezTo>
                    <a:cubicBezTo>
                      <a:pt x="8" y="0"/>
                      <a:pt x="4" y="0"/>
                      <a:pt x="0" y="0"/>
                    </a:cubicBezTo>
                    <a:cubicBezTo>
                      <a:pt x="259" y="0"/>
                      <a:pt x="469" y="240"/>
                      <a:pt x="474" y="527"/>
                    </a:cubicBezTo>
                    <a:cubicBezTo>
                      <a:pt x="474" y="527"/>
                      <a:pt x="474" y="527"/>
                      <a:pt x="474" y="527"/>
                    </a:cubicBezTo>
                    <a:cubicBezTo>
                      <a:pt x="474" y="527"/>
                      <a:pt x="545" y="501"/>
                      <a:pt x="632" y="501"/>
                    </a:cubicBezTo>
                    <a:cubicBezTo>
                      <a:pt x="613" y="263"/>
                      <a:pt x="406" y="61"/>
                      <a:pt x="134" y="12"/>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7" name="Freeform 18">
                <a:extLst>
                  <a:ext uri="{FF2B5EF4-FFF2-40B4-BE49-F238E27FC236}">
                    <a16:creationId xmlns:a16="http://schemas.microsoft.com/office/drawing/2014/main" id="{5616BBAB-8ADE-4A76-B2B4-5EBEC44FBC21}"/>
                  </a:ext>
                </a:extLst>
              </p:cNvPr>
              <p:cNvSpPr>
                <a:spLocks/>
              </p:cNvSpPr>
              <p:nvPr/>
            </p:nvSpPr>
            <p:spPr bwMode="auto">
              <a:xfrm>
                <a:off x="2646363" y="1928813"/>
                <a:ext cx="1938338" cy="1431925"/>
              </a:xfrm>
              <a:custGeom>
                <a:avLst/>
                <a:gdLst>
                  <a:gd name="T0" fmla="*/ 474 w 474"/>
                  <a:gd name="T1" fmla="*/ 0 h 527"/>
                  <a:gd name="T2" fmla="*/ 156 w 474"/>
                  <a:gd name="T3" fmla="*/ 501 h 527"/>
                  <a:gd name="T4" fmla="*/ 0 w 474"/>
                  <a:gd name="T5" fmla="*/ 527 h 527"/>
                  <a:gd name="T6" fmla="*/ 474 w 474"/>
                  <a:gd name="T7" fmla="*/ 0 h 527"/>
                </a:gdLst>
                <a:ahLst/>
                <a:cxnLst>
                  <a:cxn ang="0">
                    <a:pos x="T0" y="T1"/>
                  </a:cxn>
                  <a:cxn ang="0">
                    <a:pos x="T2" y="T3"/>
                  </a:cxn>
                  <a:cxn ang="0">
                    <a:pos x="T4" y="T5"/>
                  </a:cxn>
                  <a:cxn ang="0">
                    <a:pos x="T6" y="T7"/>
                  </a:cxn>
                </a:cxnLst>
                <a:rect l="0" t="0" r="r" b="b"/>
                <a:pathLst>
                  <a:path w="474" h="527">
                    <a:moveTo>
                      <a:pt x="474" y="0"/>
                    </a:moveTo>
                    <a:cubicBezTo>
                      <a:pt x="306" y="0"/>
                      <a:pt x="168" y="226"/>
                      <a:pt x="156" y="501"/>
                    </a:cubicBezTo>
                    <a:cubicBezTo>
                      <a:pt x="75" y="501"/>
                      <a:pt x="8" y="524"/>
                      <a:pt x="0" y="527"/>
                    </a:cubicBezTo>
                    <a:cubicBezTo>
                      <a:pt x="4" y="240"/>
                      <a:pt x="214" y="0"/>
                      <a:pt x="474"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8" name="Freeform 20">
                <a:extLst>
                  <a:ext uri="{FF2B5EF4-FFF2-40B4-BE49-F238E27FC236}">
                    <a16:creationId xmlns:a16="http://schemas.microsoft.com/office/drawing/2014/main" id="{BB08C630-C9FB-4D2A-9820-9CF0A272F001}"/>
                  </a:ext>
                </a:extLst>
              </p:cNvPr>
              <p:cNvSpPr>
                <a:spLocks/>
              </p:cNvSpPr>
              <p:nvPr/>
            </p:nvSpPr>
            <p:spPr bwMode="auto">
              <a:xfrm>
                <a:off x="3938588" y="1928813"/>
                <a:ext cx="646113" cy="1431925"/>
              </a:xfrm>
              <a:custGeom>
                <a:avLst/>
                <a:gdLst>
                  <a:gd name="T0" fmla="*/ 158 w 158"/>
                  <a:gd name="T1" fmla="*/ 0 h 527"/>
                  <a:gd name="T2" fmla="*/ 158 w 158"/>
                  <a:gd name="T3" fmla="*/ 501 h 527"/>
                  <a:gd name="T4" fmla="*/ 0 w 158"/>
                  <a:gd name="T5" fmla="*/ 527 h 527"/>
                  <a:gd name="T6" fmla="*/ 158 w 158"/>
                  <a:gd name="T7" fmla="*/ 0 h 527"/>
                </a:gdLst>
                <a:ahLst/>
                <a:cxnLst>
                  <a:cxn ang="0">
                    <a:pos x="T0" y="T1"/>
                  </a:cxn>
                  <a:cxn ang="0">
                    <a:pos x="T2" y="T3"/>
                  </a:cxn>
                  <a:cxn ang="0">
                    <a:pos x="T4" y="T5"/>
                  </a:cxn>
                  <a:cxn ang="0">
                    <a:pos x="T6" y="T7"/>
                  </a:cxn>
                </a:cxnLst>
                <a:rect l="0" t="0" r="r" b="b"/>
                <a:pathLst>
                  <a:path w="158" h="527">
                    <a:moveTo>
                      <a:pt x="158" y="0"/>
                    </a:moveTo>
                    <a:cubicBezTo>
                      <a:pt x="158" y="501"/>
                      <a:pt x="158" y="501"/>
                      <a:pt x="158" y="501"/>
                    </a:cubicBezTo>
                    <a:cubicBezTo>
                      <a:pt x="74" y="501"/>
                      <a:pt x="6" y="525"/>
                      <a:pt x="0" y="527"/>
                    </a:cubicBezTo>
                    <a:cubicBezTo>
                      <a:pt x="2" y="240"/>
                      <a:pt x="71" y="0"/>
                      <a:pt x="158"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69" name="Freeform 22">
                <a:extLst>
                  <a:ext uri="{FF2B5EF4-FFF2-40B4-BE49-F238E27FC236}">
                    <a16:creationId xmlns:a16="http://schemas.microsoft.com/office/drawing/2014/main" id="{60925E96-B7EA-49FF-A966-849DA8A89B64}"/>
                  </a:ext>
                </a:extLst>
              </p:cNvPr>
              <p:cNvSpPr>
                <a:spLocks/>
              </p:cNvSpPr>
              <p:nvPr/>
            </p:nvSpPr>
            <p:spPr bwMode="auto">
              <a:xfrm>
                <a:off x="1349375" y="1952626"/>
                <a:ext cx="2752725" cy="1408113"/>
              </a:xfrm>
              <a:custGeom>
                <a:avLst/>
                <a:gdLst>
                  <a:gd name="T0" fmla="*/ 0 w 673"/>
                  <a:gd name="T1" fmla="*/ 518 h 518"/>
                  <a:gd name="T2" fmla="*/ 673 w 673"/>
                  <a:gd name="T3" fmla="*/ 0 h 518"/>
                  <a:gd name="T4" fmla="*/ 656 w 673"/>
                  <a:gd name="T5" fmla="*/ 3 h 518"/>
                  <a:gd name="T6" fmla="*/ 159 w 673"/>
                  <a:gd name="T7" fmla="*/ 492 h 518"/>
                  <a:gd name="T8" fmla="*/ 158 w 673"/>
                  <a:gd name="T9" fmla="*/ 492 h 518"/>
                  <a:gd name="T10" fmla="*/ 0 w 673"/>
                  <a:gd name="T11" fmla="*/ 518 h 518"/>
                </a:gdLst>
                <a:ahLst/>
                <a:cxnLst>
                  <a:cxn ang="0">
                    <a:pos x="T0" y="T1"/>
                  </a:cxn>
                  <a:cxn ang="0">
                    <a:pos x="T2" y="T3"/>
                  </a:cxn>
                  <a:cxn ang="0">
                    <a:pos x="T4" y="T5"/>
                  </a:cxn>
                  <a:cxn ang="0">
                    <a:pos x="T6" y="T7"/>
                  </a:cxn>
                  <a:cxn ang="0">
                    <a:pos x="T8" y="T9"/>
                  </a:cxn>
                  <a:cxn ang="0">
                    <a:pos x="T10" y="T11"/>
                  </a:cxn>
                </a:cxnLst>
                <a:rect l="0" t="0" r="r" b="b"/>
                <a:pathLst>
                  <a:path w="673" h="518">
                    <a:moveTo>
                      <a:pt x="0" y="518"/>
                    </a:moveTo>
                    <a:cubicBezTo>
                      <a:pt x="132" y="165"/>
                      <a:pt x="449" y="34"/>
                      <a:pt x="673" y="0"/>
                    </a:cubicBezTo>
                    <a:cubicBezTo>
                      <a:pt x="667" y="1"/>
                      <a:pt x="662" y="2"/>
                      <a:pt x="656" y="3"/>
                    </a:cubicBezTo>
                    <a:cubicBezTo>
                      <a:pt x="385" y="52"/>
                      <a:pt x="177" y="254"/>
                      <a:pt x="159" y="492"/>
                    </a:cubicBezTo>
                    <a:cubicBezTo>
                      <a:pt x="159" y="492"/>
                      <a:pt x="158" y="492"/>
                      <a:pt x="158" y="492"/>
                    </a:cubicBezTo>
                    <a:cubicBezTo>
                      <a:pt x="71" y="492"/>
                      <a:pt x="0" y="518"/>
                      <a:pt x="0" y="518"/>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0" name="Freeform 24">
                <a:extLst>
                  <a:ext uri="{FF2B5EF4-FFF2-40B4-BE49-F238E27FC236}">
                    <a16:creationId xmlns:a16="http://schemas.microsoft.com/office/drawing/2014/main" id="{1E491BB2-4E8F-4382-B7F9-00C38F9870C1}"/>
                  </a:ext>
                </a:extLst>
              </p:cNvPr>
              <p:cNvSpPr>
                <a:spLocks/>
              </p:cNvSpPr>
              <p:nvPr/>
            </p:nvSpPr>
            <p:spPr bwMode="auto">
              <a:xfrm>
                <a:off x="3284538" y="1928813"/>
                <a:ext cx="1300163" cy="1431925"/>
              </a:xfrm>
              <a:custGeom>
                <a:avLst/>
                <a:gdLst>
                  <a:gd name="T0" fmla="*/ 318 w 318"/>
                  <a:gd name="T1" fmla="*/ 0 h 527"/>
                  <a:gd name="T2" fmla="*/ 160 w 318"/>
                  <a:gd name="T3" fmla="*/ 527 h 527"/>
                  <a:gd name="T4" fmla="*/ 160 w 318"/>
                  <a:gd name="T5" fmla="*/ 527 h 527"/>
                  <a:gd name="T6" fmla="*/ 1 w 318"/>
                  <a:gd name="T7" fmla="*/ 501 h 527"/>
                  <a:gd name="T8" fmla="*/ 0 w 318"/>
                  <a:gd name="T9" fmla="*/ 501 h 527"/>
                  <a:gd name="T10" fmla="*/ 318 w 318"/>
                  <a:gd name="T11" fmla="*/ 0 h 527"/>
                </a:gdLst>
                <a:ahLst/>
                <a:cxnLst>
                  <a:cxn ang="0">
                    <a:pos x="T0" y="T1"/>
                  </a:cxn>
                  <a:cxn ang="0">
                    <a:pos x="T2" y="T3"/>
                  </a:cxn>
                  <a:cxn ang="0">
                    <a:pos x="T4" y="T5"/>
                  </a:cxn>
                  <a:cxn ang="0">
                    <a:pos x="T6" y="T7"/>
                  </a:cxn>
                  <a:cxn ang="0">
                    <a:pos x="T8" y="T9"/>
                  </a:cxn>
                  <a:cxn ang="0">
                    <a:pos x="T10" y="T11"/>
                  </a:cxn>
                </a:cxnLst>
                <a:rect l="0" t="0" r="r" b="b"/>
                <a:pathLst>
                  <a:path w="318" h="527">
                    <a:moveTo>
                      <a:pt x="318" y="0"/>
                    </a:moveTo>
                    <a:cubicBezTo>
                      <a:pt x="231" y="0"/>
                      <a:pt x="162" y="240"/>
                      <a:pt x="160" y="527"/>
                    </a:cubicBezTo>
                    <a:cubicBezTo>
                      <a:pt x="160" y="527"/>
                      <a:pt x="160" y="527"/>
                      <a:pt x="160" y="527"/>
                    </a:cubicBezTo>
                    <a:cubicBezTo>
                      <a:pt x="160" y="527"/>
                      <a:pt x="89" y="501"/>
                      <a:pt x="1" y="501"/>
                    </a:cubicBezTo>
                    <a:cubicBezTo>
                      <a:pt x="1" y="501"/>
                      <a:pt x="1" y="501"/>
                      <a:pt x="0" y="501"/>
                    </a:cubicBezTo>
                    <a:cubicBezTo>
                      <a:pt x="12" y="226"/>
                      <a:pt x="150" y="0"/>
                      <a:pt x="318" y="0"/>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sp>
            <p:nvSpPr>
              <p:cNvPr id="71" name="Freeform 26">
                <a:extLst>
                  <a:ext uri="{FF2B5EF4-FFF2-40B4-BE49-F238E27FC236}">
                    <a16:creationId xmlns:a16="http://schemas.microsoft.com/office/drawing/2014/main" id="{B064DB5C-C572-4A82-A6EA-E6F34EB1D1E6}"/>
                  </a:ext>
                </a:extLst>
              </p:cNvPr>
              <p:cNvSpPr>
                <a:spLocks/>
              </p:cNvSpPr>
              <p:nvPr/>
            </p:nvSpPr>
            <p:spPr bwMode="auto">
              <a:xfrm>
                <a:off x="2000250" y="1928813"/>
                <a:ext cx="2584450" cy="1431925"/>
              </a:xfrm>
              <a:custGeom>
                <a:avLst/>
                <a:gdLst>
                  <a:gd name="T0" fmla="*/ 497 w 632"/>
                  <a:gd name="T1" fmla="*/ 12 h 527"/>
                  <a:gd name="T2" fmla="*/ 514 w 632"/>
                  <a:gd name="T3" fmla="*/ 9 h 527"/>
                  <a:gd name="T4" fmla="*/ 514 w 632"/>
                  <a:gd name="T5" fmla="*/ 9 h 527"/>
                  <a:gd name="T6" fmla="*/ 561 w 632"/>
                  <a:gd name="T7" fmla="*/ 4 h 527"/>
                  <a:gd name="T8" fmla="*/ 562 w 632"/>
                  <a:gd name="T9" fmla="*/ 3 h 527"/>
                  <a:gd name="T10" fmla="*/ 605 w 632"/>
                  <a:gd name="T11" fmla="*/ 1 h 527"/>
                  <a:gd name="T12" fmla="*/ 606 w 632"/>
                  <a:gd name="T13" fmla="*/ 1 h 527"/>
                  <a:gd name="T14" fmla="*/ 619 w 632"/>
                  <a:gd name="T15" fmla="*/ 0 h 527"/>
                  <a:gd name="T16" fmla="*/ 620 w 632"/>
                  <a:gd name="T17" fmla="*/ 0 h 527"/>
                  <a:gd name="T18" fmla="*/ 632 w 632"/>
                  <a:gd name="T19" fmla="*/ 0 h 527"/>
                  <a:gd name="T20" fmla="*/ 158 w 632"/>
                  <a:gd name="T21" fmla="*/ 527 h 527"/>
                  <a:gd name="T22" fmla="*/ 157 w 632"/>
                  <a:gd name="T23" fmla="*/ 527 h 527"/>
                  <a:gd name="T24" fmla="*/ 0 w 632"/>
                  <a:gd name="T25" fmla="*/ 501 h 527"/>
                  <a:gd name="T26" fmla="*/ 497 w 632"/>
                  <a:gd name="T27" fmla="*/ 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2" h="527">
                    <a:moveTo>
                      <a:pt x="497" y="12"/>
                    </a:moveTo>
                    <a:cubicBezTo>
                      <a:pt x="503" y="11"/>
                      <a:pt x="508" y="10"/>
                      <a:pt x="514" y="9"/>
                    </a:cubicBezTo>
                    <a:cubicBezTo>
                      <a:pt x="514" y="9"/>
                      <a:pt x="514" y="9"/>
                      <a:pt x="514" y="9"/>
                    </a:cubicBezTo>
                    <a:cubicBezTo>
                      <a:pt x="531" y="7"/>
                      <a:pt x="546" y="5"/>
                      <a:pt x="561" y="4"/>
                    </a:cubicBezTo>
                    <a:cubicBezTo>
                      <a:pt x="562" y="4"/>
                      <a:pt x="562" y="4"/>
                      <a:pt x="562" y="3"/>
                    </a:cubicBezTo>
                    <a:cubicBezTo>
                      <a:pt x="577" y="2"/>
                      <a:pt x="591" y="1"/>
                      <a:pt x="605" y="1"/>
                    </a:cubicBezTo>
                    <a:cubicBezTo>
                      <a:pt x="606" y="1"/>
                      <a:pt x="606" y="1"/>
                      <a:pt x="606" y="1"/>
                    </a:cubicBezTo>
                    <a:cubicBezTo>
                      <a:pt x="611" y="0"/>
                      <a:pt x="615" y="0"/>
                      <a:pt x="619" y="0"/>
                    </a:cubicBezTo>
                    <a:cubicBezTo>
                      <a:pt x="619" y="0"/>
                      <a:pt x="619" y="0"/>
                      <a:pt x="620" y="0"/>
                    </a:cubicBezTo>
                    <a:cubicBezTo>
                      <a:pt x="624" y="0"/>
                      <a:pt x="628" y="0"/>
                      <a:pt x="632" y="0"/>
                    </a:cubicBezTo>
                    <a:cubicBezTo>
                      <a:pt x="372" y="0"/>
                      <a:pt x="162" y="240"/>
                      <a:pt x="158" y="527"/>
                    </a:cubicBezTo>
                    <a:cubicBezTo>
                      <a:pt x="158" y="527"/>
                      <a:pt x="157" y="527"/>
                      <a:pt x="157" y="527"/>
                    </a:cubicBezTo>
                    <a:cubicBezTo>
                      <a:pt x="157" y="527"/>
                      <a:pt x="87" y="501"/>
                      <a:pt x="0" y="501"/>
                    </a:cubicBezTo>
                    <a:cubicBezTo>
                      <a:pt x="18" y="263"/>
                      <a:pt x="226" y="61"/>
                      <a:pt x="497" y="12"/>
                    </a:cubicBezTo>
                    <a:close/>
                  </a:path>
                </a:pathLst>
              </a:custGeom>
              <a:grpFill/>
              <a:ln w="19050">
                <a:solidFill>
                  <a:srgbClr val="BBBCBC"/>
                </a:solidFill>
                <a:round/>
                <a:headEnd/>
                <a:tailEnd/>
              </a:ln>
            </p:spPr>
            <p:txBody>
              <a:bodyPr vert="horz" wrap="square" lIns="68746" tIns="34374" rIns="68746" bIns="34374" numCol="1" anchor="t" anchorCtr="0" compatLnSpc="1">
                <a:prstTxWarp prst="textNoShape">
                  <a:avLst/>
                </a:prstTxWarp>
              </a:bodyPr>
              <a:lstStyle/>
              <a:p>
                <a:endParaRPr lang="en-US" sz="1354" dirty="0"/>
              </a:p>
            </p:txBody>
          </p:sp>
        </p:grpSp>
        <p:sp>
          <p:nvSpPr>
            <p:cNvPr id="74" name="TextBox 73">
              <a:extLst>
                <a:ext uri="{FF2B5EF4-FFF2-40B4-BE49-F238E27FC236}">
                  <a16:creationId xmlns:a16="http://schemas.microsoft.com/office/drawing/2014/main" id="{E6A9919A-FB20-4563-A864-7C0FE1F5EF70}"/>
                </a:ext>
              </a:extLst>
            </p:cNvPr>
            <p:cNvSpPr txBox="1"/>
            <p:nvPr/>
          </p:nvSpPr>
          <p:spPr>
            <a:xfrm>
              <a:off x="3204538" y="2677416"/>
              <a:ext cx="824127" cy="400110"/>
            </a:xfrm>
            <a:prstGeom prst="rect">
              <a:avLst/>
            </a:prstGeom>
            <a:noFill/>
          </p:spPr>
          <p:txBody>
            <a:bodyPr wrap="square" rtlCol="0">
              <a:spAutoFit/>
            </a:bodyPr>
            <a:lstStyle/>
            <a:p>
              <a:pPr algn="ctr"/>
              <a:r>
                <a:rPr lang="en-US" sz="2005" dirty="0">
                  <a:effectLst>
                    <a:outerShdw blurRad="50800" dist="38100" dir="2700000" algn="tl" rotWithShape="0">
                      <a:prstClr val="black">
                        <a:alpha val="40000"/>
                      </a:prstClr>
                    </a:outerShdw>
                  </a:effectLst>
                  <a:latin typeface="Verdana" panose="020B0604030504040204" pitchFamily="34" charset="0"/>
                </a:rPr>
                <a:t>Agile</a:t>
              </a:r>
            </a:p>
          </p:txBody>
        </p:sp>
        <p:sp>
          <p:nvSpPr>
            <p:cNvPr id="75" name="Rectangle 74">
              <a:extLst>
                <a:ext uri="{FF2B5EF4-FFF2-40B4-BE49-F238E27FC236}">
                  <a16:creationId xmlns:a16="http://schemas.microsoft.com/office/drawing/2014/main" id="{0AE83ED5-C01E-4AA4-A134-D1973D17625D}"/>
                </a:ext>
              </a:extLst>
            </p:cNvPr>
            <p:cNvSpPr/>
            <p:nvPr/>
          </p:nvSpPr>
          <p:spPr bwMode="gray">
            <a:xfrm>
              <a:off x="2218279" y="2217713"/>
              <a:ext cx="2776117" cy="644568"/>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Fail Fast, Fail Early and Learn</a:t>
              </a:r>
            </a:p>
          </p:txBody>
        </p:sp>
        <p:sp>
          <p:nvSpPr>
            <p:cNvPr id="76" name="Rectangle 75">
              <a:extLst>
                <a:ext uri="{FF2B5EF4-FFF2-40B4-BE49-F238E27FC236}">
                  <a16:creationId xmlns:a16="http://schemas.microsoft.com/office/drawing/2014/main" id="{9FE43D79-AE2D-4D5A-838D-E517EE74B96F}"/>
                </a:ext>
              </a:extLst>
            </p:cNvPr>
            <p:cNvSpPr/>
            <p:nvPr/>
          </p:nvSpPr>
          <p:spPr bwMode="gray">
            <a:xfrm>
              <a:off x="1230652" y="3569309"/>
              <a:ext cx="955935" cy="512199"/>
            </a:xfrm>
            <a:prstGeom prst="rect">
              <a:avLst/>
            </a:prstGeom>
            <a:noFill/>
            <a:ln w="19050" algn="ctr">
              <a:noFill/>
              <a:miter lim="800000"/>
              <a:headEnd/>
              <a:tailEnd/>
            </a:ln>
          </p:spPr>
          <p:txBody>
            <a:bodyPr spcFirstLastPara="1" wrap="square" lIns="66836" tIns="66836" rIns="66836" bIns="66836" numCol="1" rtlCol="0" anchor="ctr">
              <a:prstTxWarp prst="textArchUp">
                <a:avLst>
                  <a:gd name="adj" fmla="val 11029083"/>
                </a:avLst>
              </a:prstTxWarp>
            </a:bodyPr>
            <a:lstStyle/>
            <a:p>
              <a:pPr algn="ctr">
                <a:lnSpc>
                  <a:spcPct val="106000"/>
                </a:lnSpc>
                <a:buFont typeface="Wingdings 2" pitchFamily="18" charset="2"/>
                <a:buNone/>
              </a:pPr>
              <a:r>
                <a:rPr lang="en-US" sz="1053" b="1" dirty="0">
                  <a:solidFill>
                    <a:schemeClr val="accent6"/>
                  </a:solidFill>
                </a:rPr>
                <a:t>Deliver </a:t>
              </a:r>
              <a:br>
                <a:rPr lang="en-US" sz="1053" b="1" dirty="0">
                  <a:solidFill>
                    <a:schemeClr val="accent6"/>
                  </a:solidFill>
                </a:rPr>
              </a:br>
              <a:r>
                <a:rPr lang="en-US" sz="1053" b="1" dirty="0">
                  <a:solidFill>
                    <a:schemeClr val="accent6"/>
                  </a:solidFill>
                </a:rPr>
                <a:t>value</a:t>
              </a:r>
            </a:p>
          </p:txBody>
        </p:sp>
        <p:sp>
          <p:nvSpPr>
            <p:cNvPr id="77" name="Rectangle 76">
              <a:extLst>
                <a:ext uri="{FF2B5EF4-FFF2-40B4-BE49-F238E27FC236}">
                  <a16:creationId xmlns:a16="http://schemas.microsoft.com/office/drawing/2014/main" id="{80C4178D-4BD6-4936-8B18-996D9CA4BFAF}"/>
                </a:ext>
              </a:extLst>
            </p:cNvPr>
            <p:cNvSpPr/>
            <p:nvPr/>
          </p:nvSpPr>
          <p:spPr bwMode="gray">
            <a:xfrm>
              <a:off x="3087602" y="3399425"/>
              <a:ext cx="1077364" cy="477985"/>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Collaboration</a:t>
              </a:r>
            </a:p>
          </p:txBody>
        </p:sp>
        <p:sp>
          <p:nvSpPr>
            <p:cNvPr id="78" name="Rectangle 77">
              <a:extLst>
                <a:ext uri="{FF2B5EF4-FFF2-40B4-BE49-F238E27FC236}">
                  <a16:creationId xmlns:a16="http://schemas.microsoft.com/office/drawing/2014/main" id="{FC09FA79-6387-4A63-BAAE-E8A8290761E4}"/>
                </a:ext>
              </a:extLst>
            </p:cNvPr>
            <p:cNvSpPr/>
            <p:nvPr/>
          </p:nvSpPr>
          <p:spPr bwMode="gray">
            <a:xfrm>
              <a:off x="2100098" y="3571104"/>
              <a:ext cx="1031433" cy="643796"/>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Continuous </a:t>
              </a:r>
              <a:br>
                <a:rPr lang="en-US" sz="1053" b="1" dirty="0">
                  <a:solidFill>
                    <a:schemeClr val="accent6"/>
                  </a:solidFill>
                </a:rPr>
              </a:br>
              <a:r>
                <a:rPr lang="en-US" sz="1053" b="1" dirty="0">
                  <a:solidFill>
                    <a:schemeClr val="accent6"/>
                  </a:solidFill>
                </a:rPr>
                <a:t>Improvement</a:t>
              </a:r>
            </a:p>
          </p:txBody>
        </p:sp>
        <p:sp>
          <p:nvSpPr>
            <p:cNvPr id="79" name="Rectangle 78">
              <a:extLst>
                <a:ext uri="{FF2B5EF4-FFF2-40B4-BE49-F238E27FC236}">
                  <a16:creationId xmlns:a16="http://schemas.microsoft.com/office/drawing/2014/main" id="{79031E9E-E8CF-48EC-BBFA-73F11C3C683A}"/>
                </a:ext>
              </a:extLst>
            </p:cNvPr>
            <p:cNvSpPr/>
            <p:nvPr/>
          </p:nvSpPr>
          <p:spPr bwMode="gray">
            <a:xfrm>
              <a:off x="5136608" y="3391598"/>
              <a:ext cx="962321" cy="494964"/>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Flexibility</a:t>
              </a:r>
            </a:p>
          </p:txBody>
        </p:sp>
        <p:sp>
          <p:nvSpPr>
            <p:cNvPr id="80" name="Rectangle 79">
              <a:extLst>
                <a:ext uri="{FF2B5EF4-FFF2-40B4-BE49-F238E27FC236}">
                  <a16:creationId xmlns:a16="http://schemas.microsoft.com/office/drawing/2014/main" id="{7290ACA8-D465-4E96-9BD1-FFD6832BE8EA}"/>
                </a:ext>
              </a:extLst>
            </p:cNvPr>
            <p:cNvSpPr/>
            <p:nvPr/>
          </p:nvSpPr>
          <p:spPr bwMode="gray">
            <a:xfrm>
              <a:off x="4264275" y="3553873"/>
              <a:ext cx="905793" cy="494964"/>
            </a:xfrm>
            <a:prstGeom prst="rect">
              <a:avLst/>
            </a:prstGeom>
            <a:noFill/>
            <a:ln w="19050" algn="ctr">
              <a:noFill/>
              <a:miter lim="800000"/>
              <a:headEnd/>
              <a:tailEnd/>
            </a:ln>
          </p:spPr>
          <p:txBody>
            <a:bodyPr spcFirstLastPara="1" wrap="square" lIns="66836" tIns="66836" rIns="66836" bIns="66836" numCol="1" rtlCol="0" anchor="ctr">
              <a:prstTxWarp prst="textArchUp">
                <a:avLst/>
              </a:prstTxWarp>
            </a:bodyPr>
            <a:lstStyle/>
            <a:p>
              <a:pPr algn="ctr">
                <a:lnSpc>
                  <a:spcPct val="106000"/>
                </a:lnSpc>
                <a:buFont typeface="Wingdings 2" pitchFamily="18" charset="2"/>
                <a:buNone/>
              </a:pPr>
              <a:r>
                <a:rPr lang="en-US" sz="1053" b="1" dirty="0">
                  <a:solidFill>
                    <a:schemeClr val="accent6"/>
                  </a:solidFill>
                </a:rPr>
                <a:t>Trust &amp; </a:t>
              </a:r>
              <a:br>
                <a:rPr lang="en-US" sz="1053" b="1" dirty="0">
                  <a:solidFill>
                    <a:schemeClr val="accent6"/>
                  </a:solidFill>
                </a:rPr>
              </a:br>
              <a:r>
                <a:rPr lang="en-US" sz="1053" b="1" dirty="0">
                  <a:solidFill>
                    <a:schemeClr val="accent6"/>
                  </a:solidFill>
                </a:rPr>
                <a:t>respect</a:t>
              </a:r>
            </a:p>
          </p:txBody>
        </p:sp>
        <p:sp>
          <p:nvSpPr>
            <p:cNvPr id="81" name="Rectangle 80">
              <a:extLst>
                <a:ext uri="{FF2B5EF4-FFF2-40B4-BE49-F238E27FC236}">
                  <a16:creationId xmlns:a16="http://schemas.microsoft.com/office/drawing/2014/main" id="{A07790AD-D442-4A1F-AC96-B5DC2019B7AF}"/>
                </a:ext>
              </a:extLst>
            </p:cNvPr>
            <p:cNvSpPr/>
            <p:nvPr/>
          </p:nvSpPr>
          <p:spPr bwMode="gray">
            <a:xfrm>
              <a:off x="6654481" y="2538635"/>
              <a:ext cx="785306" cy="529880"/>
            </a:xfrm>
            <a:prstGeom prst="rect">
              <a:avLst/>
            </a:prstGeom>
            <a:noFill/>
            <a:ln w="12700" algn="ctr">
              <a:solidFill>
                <a:srgbClr val="E3E48D"/>
              </a:solidFill>
              <a:prstDash val="sysDash"/>
              <a:miter lim="800000"/>
              <a:headEnd/>
              <a:tailEnd/>
            </a:ln>
          </p:spPr>
          <p:txBody>
            <a:bodyPr wrap="square" lIns="66836" tIns="66836" rIns="66836" bIns="66836" rtlCol="0" anchor="ctr"/>
            <a:lstStyle/>
            <a:p>
              <a:pPr algn="ctr"/>
              <a:r>
                <a:rPr lang="en-US" sz="1053" dirty="0">
                  <a:latin typeface="Verdana" panose="020B0604030504040204" pitchFamily="34" charset="0"/>
                </a:rPr>
                <a:t>DevOps</a:t>
              </a:r>
            </a:p>
          </p:txBody>
        </p:sp>
        <p:sp>
          <p:nvSpPr>
            <p:cNvPr id="82" name="Rectangle 81">
              <a:extLst>
                <a:ext uri="{FF2B5EF4-FFF2-40B4-BE49-F238E27FC236}">
                  <a16:creationId xmlns:a16="http://schemas.microsoft.com/office/drawing/2014/main" id="{BAD3A8C0-3932-4226-9147-6C9C18A86676}"/>
                </a:ext>
              </a:extLst>
            </p:cNvPr>
            <p:cNvSpPr/>
            <p:nvPr/>
          </p:nvSpPr>
          <p:spPr bwMode="gray">
            <a:xfrm>
              <a:off x="7578292" y="2538635"/>
              <a:ext cx="785306" cy="529880"/>
            </a:xfrm>
            <a:prstGeom prst="rect">
              <a:avLst/>
            </a:prstGeom>
            <a:noFill/>
            <a:ln w="12700" algn="ctr">
              <a:solidFill>
                <a:srgbClr val="E3E48D"/>
              </a:solidFill>
              <a:prstDash val="sysDash"/>
              <a:miter lim="800000"/>
              <a:headEnd/>
              <a:tailEnd/>
            </a:ln>
          </p:spPr>
          <p:txBody>
            <a:bodyPr wrap="square" lIns="66836" tIns="66836" rIns="66836" bIns="66836" rtlCol="0" anchor="ctr"/>
            <a:lstStyle/>
            <a:p>
              <a:pPr algn="ctr"/>
              <a:r>
                <a:rPr lang="en-US" sz="1053" dirty="0">
                  <a:latin typeface="Verdana" panose="020B0604030504040204" pitchFamily="34" charset="0"/>
                </a:rPr>
                <a:t>Lean</a:t>
              </a:r>
              <a:endParaRPr lang="en-US" sz="1053" dirty="0">
                <a:solidFill>
                  <a:srgbClr val="E3E48D"/>
                </a:solidFill>
                <a:latin typeface="Verdana" panose="020B0604030504040204" pitchFamily="34" charset="0"/>
              </a:endParaRPr>
            </a:p>
          </p:txBody>
        </p:sp>
        <p:sp>
          <p:nvSpPr>
            <p:cNvPr id="84" name="Rectangle 83">
              <a:extLst>
                <a:ext uri="{FF2B5EF4-FFF2-40B4-BE49-F238E27FC236}">
                  <a16:creationId xmlns:a16="http://schemas.microsoft.com/office/drawing/2014/main" id="{4397CDB8-BAA5-43E6-896E-E2E7314C14FB}"/>
                </a:ext>
              </a:extLst>
            </p:cNvPr>
            <p:cNvSpPr/>
            <p:nvPr/>
          </p:nvSpPr>
          <p:spPr bwMode="gray">
            <a:xfrm>
              <a:off x="3691068" y="4488152"/>
              <a:ext cx="1316736" cy="367084"/>
            </a:xfrm>
            <a:prstGeom prst="rect">
              <a:avLst/>
            </a:prstGeom>
            <a:noFill/>
            <a:ln w="12700" algn="ctr">
              <a:solidFill>
                <a:srgbClr val="E3E48D"/>
              </a:solidFill>
              <a:prstDash val="sysDash"/>
              <a:miter lim="800000"/>
              <a:headEnd/>
              <a:tailEnd/>
            </a:ln>
          </p:spPr>
          <p:txBody>
            <a:bodyPr wrap="square" lIns="66836" tIns="66836" rIns="66836" bIns="66836" rtlCol="0" anchor="ctr"/>
            <a:lstStyle/>
            <a:p>
              <a:pPr algn="ctr"/>
              <a:r>
                <a:rPr lang="en-US" sz="902" dirty="0">
                  <a:latin typeface="Verdana" panose="020B0604030504040204" pitchFamily="34" charset="0"/>
                </a:rPr>
                <a:t>Scaled Agile</a:t>
              </a:r>
            </a:p>
          </p:txBody>
        </p:sp>
        <p:sp>
          <p:nvSpPr>
            <p:cNvPr id="88" name="Rectangle 87">
              <a:extLst>
                <a:ext uri="{FF2B5EF4-FFF2-40B4-BE49-F238E27FC236}">
                  <a16:creationId xmlns:a16="http://schemas.microsoft.com/office/drawing/2014/main" id="{E073C483-127A-427C-AC56-6980B2023BCC}"/>
                </a:ext>
              </a:extLst>
            </p:cNvPr>
            <p:cNvSpPr/>
            <p:nvPr/>
          </p:nvSpPr>
          <p:spPr bwMode="gray">
            <a:xfrm>
              <a:off x="7594657" y="3055879"/>
              <a:ext cx="785307" cy="635673"/>
            </a:xfrm>
            <a:prstGeom prst="rect">
              <a:avLst/>
            </a:prstGeom>
            <a:noFill/>
            <a:ln w="12700" algn="ctr">
              <a:noFill/>
              <a:prstDash val="sysDash"/>
              <a:miter lim="800000"/>
              <a:headEnd/>
              <a:tailEnd/>
            </a:ln>
          </p:spPr>
          <p:txBody>
            <a:bodyPr wrap="square" lIns="66836" tIns="66836" rIns="66836" bIns="66836" rtlCol="0" anchor="t"/>
            <a:lstStyle/>
            <a:p>
              <a:pPr algn="ctr">
                <a:spcAft>
                  <a:spcPts val="902"/>
                </a:spcAft>
              </a:pPr>
              <a:r>
                <a:rPr lang="en-US" sz="902" dirty="0">
                  <a:solidFill>
                    <a:schemeClr val="accent3"/>
                  </a:solidFill>
                  <a:latin typeface="Verdana" panose="020B0604030504040204" pitchFamily="34" charset="0"/>
                </a:rPr>
                <a:t>Lean Startup</a:t>
              </a:r>
            </a:p>
            <a:p>
              <a:pPr algn="ctr">
                <a:spcAft>
                  <a:spcPts val="902"/>
                </a:spcAft>
              </a:pPr>
              <a:r>
                <a:rPr lang="en-US" sz="902" dirty="0">
                  <a:solidFill>
                    <a:schemeClr val="accent3"/>
                  </a:solidFill>
                  <a:latin typeface="Verdana" panose="020B0604030504040204" pitchFamily="34" charset="0"/>
                </a:rPr>
                <a:t>Lean Flow</a:t>
              </a:r>
            </a:p>
          </p:txBody>
        </p:sp>
      </p:grpSp>
      <p:sp>
        <p:nvSpPr>
          <p:cNvPr id="72" name="Rectangle 71">
            <a:extLst>
              <a:ext uri="{FF2B5EF4-FFF2-40B4-BE49-F238E27FC236}">
                <a16:creationId xmlns:a16="http://schemas.microsoft.com/office/drawing/2014/main" id="{EE76D7DA-9385-4F95-8808-4DF32B6C90E9}"/>
              </a:ext>
            </a:extLst>
          </p:cNvPr>
          <p:cNvSpPr/>
          <p:nvPr/>
        </p:nvSpPr>
        <p:spPr bwMode="gray">
          <a:xfrm>
            <a:off x="467760" y="6270882"/>
            <a:ext cx="11287636" cy="360919"/>
          </a:xfrm>
          <a:prstGeom prst="rect">
            <a:avLst/>
          </a:prstGeom>
          <a:solidFill>
            <a:schemeClr val="bg2"/>
          </a:solidFill>
          <a:ln w="19050" algn="ctr">
            <a:noFill/>
            <a:miter lim="800000"/>
            <a:headEnd/>
            <a:tailEnd/>
          </a:ln>
        </p:spPr>
        <p:txBody>
          <a:bodyPr wrap="square" lIns="66836" tIns="66836" rIns="66836" bIns="66836" rtlCol="0" anchor="ctr"/>
          <a:lstStyle/>
          <a:p>
            <a:pPr algn="ctr">
              <a:lnSpc>
                <a:spcPct val="106000"/>
              </a:lnSpc>
            </a:pPr>
            <a:r>
              <a:rPr lang="en-US" sz="2400" dirty="0"/>
              <a:t>Agile is iterative and incremental</a:t>
            </a:r>
          </a:p>
        </p:txBody>
      </p:sp>
      <p:sp>
        <p:nvSpPr>
          <p:cNvPr id="48" name="Rectangle 47">
            <a:extLst>
              <a:ext uri="{FF2B5EF4-FFF2-40B4-BE49-F238E27FC236}">
                <a16:creationId xmlns:a16="http://schemas.microsoft.com/office/drawing/2014/main" id="{094D64D1-F921-437D-B432-FBFDB94F93B5}"/>
              </a:ext>
            </a:extLst>
          </p:cNvPr>
          <p:cNvSpPr/>
          <p:nvPr/>
        </p:nvSpPr>
        <p:spPr bwMode="gray">
          <a:xfrm>
            <a:off x="1133539" y="2259834"/>
            <a:ext cx="844112" cy="578514"/>
          </a:xfrm>
          <a:prstGeom prst="rect">
            <a:avLst/>
          </a:prstGeom>
          <a:noFill/>
          <a:ln w="12700" algn="ctr">
            <a:solidFill>
              <a:srgbClr val="E3E48D"/>
            </a:solidFill>
            <a:prstDash val="sysDash"/>
            <a:miter lim="800000"/>
            <a:headEnd/>
            <a:tailEnd/>
          </a:ln>
        </p:spPr>
        <p:txBody>
          <a:bodyPr wrap="square" lIns="66649" tIns="66649" rIns="66649" bIns="66649" rtlCol="0" anchor="ctr"/>
          <a:lstStyle/>
          <a:p>
            <a:pPr algn="ctr" defTabSz="914126">
              <a:defRPr/>
            </a:pPr>
            <a:r>
              <a:rPr lang="en-US" sz="1400" kern="0" dirty="0">
                <a:solidFill>
                  <a:prstClr val="black"/>
                </a:solidFill>
              </a:rPr>
              <a:t>Design Thinking</a:t>
            </a:r>
          </a:p>
        </p:txBody>
      </p:sp>
    </p:spTree>
    <p:custDataLst>
      <p:tags r:id="rId1"/>
    </p:custDataLst>
    <p:extLst>
      <p:ext uri="{BB962C8B-B14F-4D97-AF65-F5344CB8AC3E}">
        <p14:creationId xmlns:p14="http://schemas.microsoft.com/office/powerpoint/2010/main" val="22139160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6">
            <a:extLst>
              <a:ext uri="{FF2B5EF4-FFF2-40B4-BE49-F238E27FC236}">
                <a16:creationId xmlns:a16="http://schemas.microsoft.com/office/drawing/2014/main" id="{6F534911-48C0-41DC-A3A4-D0E4D3F3143C}"/>
              </a:ext>
            </a:extLst>
          </p:cNvPr>
          <p:cNvSpPr txBox="1">
            <a:spLocks/>
          </p:cNvSpPr>
          <p:nvPr/>
        </p:nvSpPr>
        <p:spPr>
          <a:xfrm>
            <a:off x="1890005" y="1444475"/>
            <a:ext cx="8411992" cy="567867"/>
          </a:xfrm>
          <a:prstGeom prst="rect">
            <a:avLst/>
          </a:prstGeom>
        </p:spPr>
        <p:txBody>
          <a:bodyPr/>
          <a:lstStyle>
            <a:lvl1pPr marL="0" indent="0" algn="l" defTabSz="912114" rtl="0" eaLnBrk="1" latinLnBrk="0" hangingPunct="1">
              <a:spcBef>
                <a:spcPts val="0"/>
              </a:spcBef>
              <a:spcAft>
                <a:spcPts val="998"/>
              </a:spcAft>
              <a:buSzPct val="100000"/>
              <a:buFont typeface="Arial" panose="020B0604020202020204" pitchFamily="34" charset="0"/>
              <a:buNone/>
              <a:defRPr sz="1097" b="0" kern="1200">
                <a:solidFill>
                  <a:schemeClr val="bg1"/>
                </a:solidFill>
                <a:latin typeface="+mn-lt"/>
                <a:ea typeface="+mn-ea"/>
                <a:cs typeface="+mn-cs"/>
              </a:defRPr>
            </a:lvl1pPr>
            <a:lvl2pPr marL="0" indent="0" algn="l" defTabSz="912114" rtl="0" eaLnBrk="1" latinLnBrk="0" hangingPunct="1">
              <a:spcBef>
                <a:spcPts val="0"/>
              </a:spcBef>
              <a:spcAft>
                <a:spcPts val="998"/>
              </a:spcAft>
              <a:buClrTx/>
              <a:buSzPct val="100000"/>
              <a:buFont typeface="Arial"/>
              <a:buNone/>
              <a:defRPr lang="en-US" sz="1097" b="1" kern="1200" dirty="0" smtClean="0">
                <a:solidFill>
                  <a:schemeClr val="bg1"/>
                </a:solidFill>
                <a:latin typeface="+mn-lt"/>
                <a:ea typeface="+mn-ea"/>
                <a:cs typeface="+mn-cs"/>
              </a:defRPr>
            </a:lvl2pPr>
            <a:lvl3pPr marL="175959" indent="-175959" algn="l" defTabSz="912114" rtl="0" eaLnBrk="1" latinLnBrk="0" hangingPunct="1">
              <a:spcBef>
                <a:spcPts val="0"/>
              </a:spcBef>
              <a:spcAft>
                <a:spcPts val="998"/>
              </a:spcAft>
              <a:buClrTx/>
              <a:buSzPct val="100000"/>
              <a:buFont typeface="Arial" panose="020B0604020202020204" pitchFamily="34" charset="0"/>
              <a:buChar char="•"/>
              <a:defRPr lang="en-US" sz="1097" kern="1200" dirty="0" smtClean="0">
                <a:solidFill>
                  <a:schemeClr val="bg1"/>
                </a:solidFill>
                <a:latin typeface="+mn-lt"/>
                <a:ea typeface="+mn-ea"/>
                <a:cs typeface="+mn-cs"/>
              </a:defRPr>
            </a:lvl3pPr>
            <a:lvl4pPr marL="355509" indent="-175959" algn="l" defTabSz="912114" rtl="0" eaLnBrk="1" latinLnBrk="0" hangingPunct="1">
              <a:spcBef>
                <a:spcPts val="0"/>
              </a:spcBef>
              <a:spcAft>
                <a:spcPts val="998"/>
              </a:spcAft>
              <a:buClrTx/>
              <a:buSzPct val="100000"/>
              <a:buFont typeface="Verdana" panose="020B0604030504040204" pitchFamily="34" charset="0"/>
              <a:buChar char="−"/>
              <a:defRPr lang="en-US" sz="1097" kern="1200" baseline="0" dirty="0" smtClean="0">
                <a:solidFill>
                  <a:schemeClr val="bg1"/>
                </a:solidFill>
                <a:latin typeface="+mn-lt"/>
                <a:ea typeface="+mn-ea"/>
                <a:cs typeface="+mn-cs"/>
              </a:defRPr>
            </a:lvl4pPr>
            <a:lvl5pPr marL="531468" indent="-175959" algn="l" defTabSz="796517" rtl="0" eaLnBrk="1" latinLnBrk="0" hangingPunct="1">
              <a:spcBef>
                <a:spcPts val="0"/>
              </a:spcBef>
              <a:spcAft>
                <a:spcPts val="998"/>
              </a:spcAft>
              <a:buClrTx/>
              <a:buSzPct val="100000"/>
              <a:buFont typeface="Verdana" panose="020B0604030504040204" pitchFamily="34" charset="0"/>
              <a:buChar char="−"/>
              <a:tabLst/>
              <a:defRPr lang="en-US" sz="1097" kern="1200" baseline="0" dirty="0" smtClean="0">
                <a:solidFill>
                  <a:schemeClr val="bg1"/>
                </a:solidFill>
                <a:latin typeface="+mn-lt"/>
                <a:ea typeface="+mn-ea"/>
                <a:cs typeface="+mn-cs"/>
              </a:defRPr>
            </a:lvl5pPr>
            <a:lvl6pPr marL="531468" indent="-175959" algn="l" defTabSz="912114" rtl="0" eaLnBrk="1" latinLnBrk="0" hangingPunct="1">
              <a:spcBef>
                <a:spcPts val="0"/>
              </a:spcBef>
              <a:spcAft>
                <a:spcPts val="998"/>
              </a:spcAft>
              <a:buFont typeface="Verdana" panose="020B0604030504040204" pitchFamily="34" charset="0"/>
              <a:buChar char="−"/>
              <a:defRPr sz="1197" kern="1200" baseline="0">
                <a:solidFill>
                  <a:schemeClr val="tx1"/>
                </a:solidFill>
                <a:latin typeface="+mn-lt"/>
                <a:ea typeface="+mn-ea"/>
                <a:cs typeface="+mn-cs"/>
              </a:defRPr>
            </a:lvl6pPr>
            <a:lvl7pPr marL="531468" indent="-175959" algn="l" defTabSz="912114" rtl="0" eaLnBrk="1" latinLnBrk="0" hangingPunct="1">
              <a:spcBef>
                <a:spcPts val="0"/>
              </a:spcBef>
              <a:spcAft>
                <a:spcPts val="998"/>
              </a:spcAft>
              <a:buFont typeface="Verdana" panose="020B0604030504040204" pitchFamily="34" charset="0"/>
              <a:buChar char="−"/>
              <a:defRPr sz="1197" kern="1200">
                <a:solidFill>
                  <a:schemeClr val="tx1"/>
                </a:solidFill>
                <a:latin typeface="+mn-lt"/>
                <a:ea typeface="+mn-ea"/>
                <a:cs typeface="+mn-cs"/>
              </a:defRPr>
            </a:lvl7pPr>
            <a:lvl8pPr marL="531468" indent="-175959" algn="l" defTabSz="912114" rtl="0" eaLnBrk="1" latinLnBrk="0" hangingPunct="1">
              <a:spcBef>
                <a:spcPts val="0"/>
              </a:spcBef>
              <a:spcAft>
                <a:spcPts val="998"/>
              </a:spcAft>
              <a:buFont typeface="Verdana" panose="020B0604030504040204" pitchFamily="34" charset="0"/>
              <a:buChar char="−"/>
              <a:defRPr sz="1197" kern="1200" baseline="0">
                <a:solidFill>
                  <a:schemeClr val="tx1"/>
                </a:solidFill>
                <a:latin typeface="+mn-lt"/>
                <a:ea typeface="+mn-ea"/>
                <a:cs typeface="+mn-cs"/>
              </a:defRPr>
            </a:lvl8pPr>
            <a:lvl9pPr marL="531468" indent="-175959" algn="l" defTabSz="912114" rtl="0" eaLnBrk="1" latinLnBrk="0" hangingPunct="1">
              <a:spcBef>
                <a:spcPts val="0"/>
              </a:spcBef>
              <a:spcAft>
                <a:spcPts val="998"/>
              </a:spcAft>
              <a:buFont typeface="Verdana" panose="020B0604030504040204" pitchFamily="34" charset="0"/>
              <a:buChar char="−"/>
              <a:defRPr sz="1197" kern="1200" baseline="0">
                <a:solidFill>
                  <a:schemeClr val="tx1"/>
                </a:solidFill>
                <a:latin typeface="+mn-lt"/>
                <a:ea typeface="+mn-ea"/>
                <a:cs typeface="+mn-cs"/>
              </a:defRPr>
            </a:lvl9pPr>
          </a:lstStyle>
          <a:p>
            <a:r>
              <a:rPr lang="en-US" sz="825" dirty="0"/>
              <a:t>Placeholder</a:t>
            </a:r>
          </a:p>
          <a:p>
            <a:endParaRPr lang="en-US" sz="825" dirty="0"/>
          </a:p>
          <a:p>
            <a:endParaRPr lang="en-US" sz="825" dirty="0"/>
          </a:p>
        </p:txBody>
      </p:sp>
      <p:sp>
        <p:nvSpPr>
          <p:cNvPr id="40" name="Title 39">
            <a:extLst>
              <a:ext uri="{FF2B5EF4-FFF2-40B4-BE49-F238E27FC236}">
                <a16:creationId xmlns:a16="http://schemas.microsoft.com/office/drawing/2014/main" id="{BEF54530-206A-4AA0-B71F-63EF4242DB10}"/>
              </a:ext>
            </a:extLst>
          </p:cNvPr>
          <p:cNvSpPr>
            <a:spLocks noGrp="1"/>
          </p:cNvSpPr>
          <p:nvPr>
            <p:ph type="title"/>
          </p:nvPr>
        </p:nvSpPr>
        <p:spPr/>
        <p:txBody>
          <a:bodyPr/>
          <a:lstStyle/>
          <a:p>
            <a:r>
              <a:rPr lang="en-US" dirty="0"/>
              <a:t>Manifesto for Agile Software Development </a:t>
            </a:r>
          </a:p>
        </p:txBody>
      </p:sp>
      <p:sp>
        <p:nvSpPr>
          <p:cNvPr id="41" name="Text Placeholder 40">
            <a:extLst>
              <a:ext uri="{FF2B5EF4-FFF2-40B4-BE49-F238E27FC236}">
                <a16:creationId xmlns:a16="http://schemas.microsoft.com/office/drawing/2014/main" id="{CBBD7214-3E9D-4DF2-B840-ED1665F484E3}"/>
              </a:ext>
            </a:extLst>
          </p:cNvPr>
          <p:cNvSpPr>
            <a:spLocks noGrp="1"/>
          </p:cNvSpPr>
          <p:nvPr>
            <p:ph type="body" sz="quarter" idx="13"/>
          </p:nvPr>
        </p:nvSpPr>
        <p:spPr/>
        <p:txBody>
          <a:bodyPr/>
          <a:lstStyle/>
          <a:p>
            <a:r>
              <a:rPr lang="en-US" dirty="0"/>
              <a:t>We are uncovering better ways of developing software by doing it and helping others do it – these are our values and principles</a:t>
            </a:r>
          </a:p>
        </p:txBody>
      </p:sp>
      <p:sp>
        <p:nvSpPr>
          <p:cNvPr id="56" name="Rectangle 55">
            <a:extLst>
              <a:ext uri="{FF2B5EF4-FFF2-40B4-BE49-F238E27FC236}">
                <a16:creationId xmlns:a16="http://schemas.microsoft.com/office/drawing/2014/main" id="{871DCDBB-D9DF-4DCC-AC02-945DE6E5BDAB}"/>
              </a:ext>
            </a:extLst>
          </p:cNvPr>
          <p:cNvSpPr/>
          <p:nvPr/>
        </p:nvSpPr>
        <p:spPr bwMode="gray">
          <a:xfrm>
            <a:off x="467759" y="6270882"/>
            <a:ext cx="11287636" cy="360919"/>
          </a:xfrm>
          <a:prstGeom prst="rect">
            <a:avLst/>
          </a:prstGeom>
          <a:solidFill>
            <a:schemeClr val="bg2"/>
          </a:solidFill>
          <a:ln w="19050" algn="ctr">
            <a:noFill/>
            <a:miter lim="800000"/>
            <a:headEnd/>
            <a:tailEnd/>
          </a:ln>
        </p:spPr>
        <p:txBody>
          <a:bodyPr wrap="square" lIns="66836" tIns="66836" rIns="66836" bIns="66836" rtlCol="0" anchor="ctr"/>
          <a:lstStyle/>
          <a:p>
            <a:pPr algn="ctr">
              <a:lnSpc>
                <a:spcPct val="106000"/>
              </a:lnSpc>
            </a:pPr>
            <a:r>
              <a:rPr lang="en-US" sz="2000" dirty="0"/>
              <a:t>While there is value in the items on the right, we value the items on the left more. – agilemanifesto.org</a:t>
            </a:r>
          </a:p>
        </p:txBody>
      </p:sp>
      <p:sp>
        <p:nvSpPr>
          <p:cNvPr id="23" name="Rectangle 8">
            <a:extLst>
              <a:ext uri="{FF2B5EF4-FFF2-40B4-BE49-F238E27FC236}">
                <a16:creationId xmlns:a16="http://schemas.microsoft.com/office/drawing/2014/main" id="{7F3FC7BA-034F-409F-A2FE-3098A3EAB1F0}"/>
              </a:ext>
            </a:extLst>
          </p:cNvPr>
          <p:cNvSpPr>
            <a:spLocks/>
          </p:cNvSpPr>
          <p:nvPr/>
        </p:nvSpPr>
        <p:spPr bwMode="auto">
          <a:xfrm>
            <a:off x="5049071" y="2465434"/>
            <a:ext cx="5803307" cy="371056"/>
          </a:xfrm>
          <a:prstGeom prst="rect">
            <a:avLst/>
          </a:prstGeom>
          <a:noFill/>
          <a:ln w="19050">
            <a:solidFill>
              <a:srgbClr val="75787B"/>
            </a:solidFill>
          </a:ln>
        </p:spPr>
        <p:txBody>
          <a:bodyPr lIns="205659" tIns="68553" rIns="68553" bIns="68553" anchor="b"/>
          <a:lstStyle/>
          <a:p>
            <a:pPr defTabSz="913982">
              <a:defRPr/>
            </a:pPr>
            <a:r>
              <a:rPr lang="en-US" sz="1799" kern="0" dirty="0">
                <a:solidFill>
                  <a:srgbClr val="75787B">
                    <a:lumMod val="75000"/>
                  </a:srgbClr>
                </a:solidFill>
                <a:ea typeface="Verdana" panose="020B0604030504040204" pitchFamily="34" charset="0"/>
                <a:cs typeface="Verdana" panose="020B0604030504040204" pitchFamily="34" charset="0"/>
                <a:sym typeface="Frutiger Next Pro Bold" charset="0"/>
              </a:rPr>
              <a:t>over process and tools</a:t>
            </a:r>
            <a:endParaRPr lang="en-US" sz="1799" kern="0" dirty="0">
              <a:solidFill>
                <a:srgbClr val="75787B">
                  <a:lumMod val="75000"/>
                </a:srgbClr>
              </a:solidFill>
              <a:ea typeface="Verdana" panose="020B0604030504040204" pitchFamily="34" charset="0"/>
              <a:cs typeface="Verdana" panose="020B0604030504040204" pitchFamily="34" charset="0"/>
              <a:sym typeface="Frutiger Next Pro Medium" charset="0"/>
            </a:endParaRPr>
          </a:p>
        </p:txBody>
      </p:sp>
      <p:sp>
        <p:nvSpPr>
          <p:cNvPr id="24" name="Rectangle 8">
            <a:extLst>
              <a:ext uri="{FF2B5EF4-FFF2-40B4-BE49-F238E27FC236}">
                <a16:creationId xmlns:a16="http://schemas.microsoft.com/office/drawing/2014/main" id="{FA99AAB5-FA2B-4069-ACED-DE3C7012D5CC}"/>
              </a:ext>
            </a:extLst>
          </p:cNvPr>
          <p:cNvSpPr>
            <a:spLocks/>
          </p:cNvSpPr>
          <p:nvPr/>
        </p:nvSpPr>
        <p:spPr bwMode="auto">
          <a:xfrm>
            <a:off x="1477800" y="2082793"/>
            <a:ext cx="6444426" cy="409383"/>
          </a:xfrm>
          <a:prstGeom prst="rect">
            <a:avLst/>
          </a:prstGeom>
          <a:solidFill>
            <a:schemeClr val="accent1"/>
          </a:solidFill>
          <a:ln>
            <a:noFill/>
          </a:ln>
          <a:effectLst>
            <a:outerShdw blurRad="50800" dist="38100" dir="2700000" algn="tl" rotWithShape="0">
              <a:prstClr val="black">
                <a:alpha val="40000"/>
              </a:prstClr>
            </a:outerShdw>
          </a:effectLst>
        </p:spPr>
        <p:txBody>
          <a:bodyPr lIns="205659" tIns="68553" rIns="68553" bIns="68553" anchor="ctr"/>
          <a:lstStyle/>
          <a:p>
            <a:pPr defTabSz="913982">
              <a:defRPr/>
            </a:pPr>
            <a:r>
              <a:rPr lang="en-US" sz="1999" b="1" kern="0" dirty="0">
                <a:solidFill>
                  <a:srgbClr val="FFFEFD"/>
                </a:solidFill>
                <a:ea typeface="Verdana" panose="020B0604030504040204" pitchFamily="34" charset="0"/>
                <a:cs typeface="Verdana" panose="020B0604030504040204" pitchFamily="34" charset="0"/>
                <a:sym typeface="Frutiger Next Pro Bold" charset="0"/>
              </a:rPr>
              <a:t>Individuals and interactions</a:t>
            </a:r>
            <a:endParaRPr lang="en-US" sz="1999" b="1" kern="0" dirty="0">
              <a:solidFill>
                <a:srgbClr val="FFFEFD"/>
              </a:solidFill>
              <a:ea typeface="Verdana" panose="020B0604030504040204" pitchFamily="34" charset="0"/>
              <a:cs typeface="Verdana" panose="020B0604030504040204" pitchFamily="34" charset="0"/>
              <a:sym typeface="Frutiger Next Pro Medium" charset="0"/>
            </a:endParaRPr>
          </a:p>
        </p:txBody>
      </p:sp>
      <p:sp>
        <p:nvSpPr>
          <p:cNvPr id="25" name="Rectangle 8">
            <a:extLst>
              <a:ext uri="{FF2B5EF4-FFF2-40B4-BE49-F238E27FC236}">
                <a16:creationId xmlns:a16="http://schemas.microsoft.com/office/drawing/2014/main" id="{0421A8BF-5B90-40D0-8D56-F62474B0D000}"/>
              </a:ext>
            </a:extLst>
          </p:cNvPr>
          <p:cNvSpPr>
            <a:spLocks/>
          </p:cNvSpPr>
          <p:nvPr/>
        </p:nvSpPr>
        <p:spPr bwMode="auto">
          <a:xfrm>
            <a:off x="5049071" y="3431689"/>
            <a:ext cx="5803307" cy="371056"/>
          </a:xfrm>
          <a:prstGeom prst="rect">
            <a:avLst/>
          </a:prstGeom>
          <a:noFill/>
          <a:ln w="19050">
            <a:solidFill>
              <a:srgbClr val="75787B"/>
            </a:solidFill>
          </a:ln>
        </p:spPr>
        <p:txBody>
          <a:bodyPr lIns="205659" tIns="68553" rIns="68553" bIns="68553" anchor="b"/>
          <a:lstStyle/>
          <a:p>
            <a:pPr defTabSz="913982">
              <a:defRPr/>
            </a:pPr>
            <a:r>
              <a:rPr lang="en-US" sz="1799" kern="0" dirty="0">
                <a:solidFill>
                  <a:srgbClr val="75787B">
                    <a:lumMod val="75000"/>
                  </a:srgbClr>
                </a:solidFill>
                <a:ea typeface="Verdana" panose="020B0604030504040204" pitchFamily="34" charset="0"/>
                <a:cs typeface="Verdana" panose="020B0604030504040204" pitchFamily="34" charset="0"/>
                <a:sym typeface="Frutiger Next Pro Bold" charset="0"/>
              </a:rPr>
              <a:t>over comprehensive documentation</a:t>
            </a:r>
            <a:endParaRPr lang="en-US" sz="1799" kern="0" dirty="0">
              <a:solidFill>
                <a:srgbClr val="75787B">
                  <a:lumMod val="75000"/>
                </a:srgbClr>
              </a:solidFill>
              <a:ea typeface="Verdana" panose="020B0604030504040204" pitchFamily="34" charset="0"/>
              <a:cs typeface="Verdana" panose="020B0604030504040204" pitchFamily="34" charset="0"/>
              <a:sym typeface="Frutiger Next Pro Medium" charset="0"/>
            </a:endParaRPr>
          </a:p>
        </p:txBody>
      </p:sp>
      <p:sp>
        <p:nvSpPr>
          <p:cNvPr id="26" name="Rectangle 8">
            <a:extLst>
              <a:ext uri="{FF2B5EF4-FFF2-40B4-BE49-F238E27FC236}">
                <a16:creationId xmlns:a16="http://schemas.microsoft.com/office/drawing/2014/main" id="{DD85FD06-1CE4-4AAA-93C9-D4EFED5BFFFE}"/>
              </a:ext>
            </a:extLst>
          </p:cNvPr>
          <p:cNvSpPr>
            <a:spLocks/>
          </p:cNvSpPr>
          <p:nvPr/>
        </p:nvSpPr>
        <p:spPr bwMode="auto">
          <a:xfrm>
            <a:off x="1477800" y="3036567"/>
            <a:ext cx="6444426" cy="409383"/>
          </a:xfrm>
          <a:prstGeom prst="rect">
            <a:avLst/>
          </a:prstGeom>
          <a:solidFill>
            <a:schemeClr val="accent1"/>
          </a:solidFill>
          <a:ln>
            <a:noFill/>
          </a:ln>
          <a:effectLst>
            <a:outerShdw blurRad="50800" dist="38100" dir="2700000" algn="tl" rotWithShape="0">
              <a:prstClr val="black">
                <a:alpha val="40000"/>
              </a:prstClr>
            </a:outerShdw>
          </a:effectLst>
        </p:spPr>
        <p:txBody>
          <a:bodyPr lIns="205659" tIns="68553" rIns="68553" bIns="68553" anchor="ctr"/>
          <a:lstStyle/>
          <a:p>
            <a:pPr defTabSz="913982">
              <a:defRPr/>
            </a:pPr>
            <a:r>
              <a:rPr lang="en-US" sz="1999" b="1" kern="0" dirty="0">
                <a:solidFill>
                  <a:srgbClr val="FFFEFD"/>
                </a:solidFill>
                <a:ea typeface="Verdana" panose="020B0604030504040204" pitchFamily="34" charset="0"/>
                <a:cs typeface="Verdana" panose="020B0604030504040204" pitchFamily="34" charset="0"/>
                <a:sym typeface="Frutiger Next Pro Bold" charset="0"/>
              </a:rPr>
              <a:t>Working software</a:t>
            </a:r>
            <a:endParaRPr lang="en-US" sz="1999" b="1" kern="0" dirty="0">
              <a:solidFill>
                <a:srgbClr val="FFFEFD"/>
              </a:solidFill>
              <a:ea typeface="Verdana" panose="020B0604030504040204" pitchFamily="34" charset="0"/>
              <a:cs typeface="Verdana" panose="020B0604030504040204" pitchFamily="34" charset="0"/>
              <a:sym typeface="Frutiger Next Pro Medium" charset="0"/>
            </a:endParaRPr>
          </a:p>
        </p:txBody>
      </p:sp>
      <p:sp>
        <p:nvSpPr>
          <p:cNvPr id="27" name="Rectangle 8">
            <a:extLst>
              <a:ext uri="{FF2B5EF4-FFF2-40B4-BE49-F238E27FC236}">
                <a16:creationId xmlns:a16="http://schemas.microsoft.com/office/drawing/2014/main" id="{5757E573-A0ED-43C2-B560-08DAA2E46832}"/>
              </a:ext>
            </a:extLst>
          </p:cNvPr>
          <p:cNvSpPr>
            <a:spLocks/>
          </p:cNvSpPr>
          <p:nvPr/>
        </p:nvSpPr>
        <p:spPr bwMode="auto">
          <a:xfrm>
            <a:off x="5049071" y="4376683"/>
            <a:ext cx="5803307" cy="371056"/>
          </a:xfrm>
          <a:prstGeom prst="rect">
            <a:avLst/>
          </a:prstGeom>
          <a:noFill/>
          <a:ln w="19050">
            <a:solidFill>
              <a:srgbClr val="75787B"/>
            </a:solidFill>
          </a:ln>
        </p:spPr>
        <p:txBody>
          <a:bodyPr lIns="205659" tIns="68553" rIns="68553" bIns="68553" anchor="b"/>
          <a:lstStyle/>
          <a:p>
            <a:pPr defTabSz="913982">
              <a:defRPr/>
            </a:pPr>
            <a:r>
              <a:rPr lang="en-US" sz="1799" kern="0" dirty="0">
                <a:solidFill>
                  <a:srgbClr val="75787B">
                    <a:lumMod val="75000"/>
                  </a:srgbClr>
                </a:solidFill>
                <a:ea typeface="Verdana" panose="020B0604030504040204" pitchFamily="34" charset="0"/>
                <a:cs typeface="Verdana" panose="020B0604030504040204" pitchFamily="34" charset="0"/>
                <a:sym typeface="Frutiger Next Pro Bold" charset="0"/>
              </a:rPr>
              <a:t>over contract negotiation</a:t>
            </a:r>
            <a:endParaRPr lang="en-US" sz="1799" kern="0" dirty="0">
              <a:solidFill>
                <a:srgbClr val="75787B">
                  <a:lumMod val="75000"/>
                </a:srgbClr>
              </a:solidFill>
              <a:ea typeface="Verdana" panose="020B0604030504040204" pitchFamily="34" charset="0"/>
              <a:cs typeface="Verdana" panose="020B0604030504040204" pitchFamily="34" charset="0"/>
              <a:sym typeface="Frutiger Next Pro Medium" charset="0"/>
            </a:endParaRPr>
          </a:p>
        </p:txBody>
      </p:sp>
      <p:sp>
        <p:nvSpPr>
          <p:cNvPr id="28" name="Rectangle 8">
            <a:extLst>
              <a:ext uri="{FF2B5EF4-FFF2-40B4-BE49-F238E27FC236}">
                <a16:creationId xmlns:a16="http://schemas.microsoft.com/office/drawing/2014/main" id="{98E61602-5DA7-45D9-9689-413136B379FC}"/>
              </a:ext>
            </a:extLst>
          </p:cNvPr>
          <p:cNvSpPr>
            <a:spLocks/>
          </p:cNvSpPr>
          <p:nvPr/>
        </p:nvSpPr>
        <p:spPr bwMode="auto">
          <a:xfrm>
            <a:off x="1477800" y="3981561"/>
            <a:ext cx="6444426" cy="409383"/>
          </a:xfrm>
          <a:prstGeom prst="rect">
            <a:avLst/>
          </a:prstGeom>
          <a:solidFill>
            <a:schemeClr val="accent1"/>
          </a:solidFill>
          <a:ln>
            <a:noFill/>
          </a:ln>
          <a:effectLst>
            <a:outerShdw blurRad="50800" dist="38100" dir="2700000" algn="tl" rotWithShape="0">
              <a:prstClr val="black">
                <a:alpha val="40000"/>
              </a:prstClr>
            </a:outerShdw>
          </a:effectLst>
        </p:spPr>
        <p:txBody>
          <a:bodyPr lIns="205659" tIns="68553" rIns="68553" bIns="68553" anchor="ctr"/>
          <a:lstStyle/>
          <a:p>
            <a:pPr defTabSz="913982">
              <a:defRPr/>
            </a:pPr>
            <a:r>
              <a:rPr lang="en-US" sz="1999" b="1" kern="0" dirty="0">
                <a:solidFill>
                  <a:srgbClr val="FFFEFD"/>
                </a:solidFill>
                <a:ea typeface="Verdana" panose="020B0604030504040204" pitchFamily="34" charset="0"/>
                <a:cs typeface="Verdana" panose="020B0604030504040204" pitchFamily="34" charset="0"/>
                <a:sym typeface="Frutiger Next Pro Bold" charset="0"/>
              </a:rPr>
              <a:t>Customer collaboration</a:t>
            </a:r>
            <a:endParaRPr lang="en-US" sz="1999" b="1" kern="0" dirty="0">
              <a:solidFill>
                <a:srgbClr val="FFFEFD"/>
              </a:solidFill>
              <a:ea typeface="Verdana" panose="020B0604030504040204" pitchFamily="34" charset="0"/>
              <a:cs typeface="Verdana" panose="020B0604030504040204" pitchFamily="34" charset="0"/>
              <a:sym typeface="Frutiger Next Pro Medium" charset="0"/>
            </a:endParaRPr>
          </a:p>
        </p:txBody>
      </p:sp>
      <p:sp>
        <p:nvSpPr>
          <p:cNvPr id="29" name="Rectangle 8">
            <a:extLst>
              <a:ext uri="{FF2B5EF4-FFF2-40B4-BE49-F238E27FC236}">
                <a16:creationId xmlns:a16="http://schemas.microsoft.com/office/drawing/2014/main" id="{544C9706-F769-40DB-B60F-732F5FF6A04E}"/>
              </a:ext>
            </a:extLst>
          </p:cNvPr>
          <p:cNvSpPr>
            <a:spLocks/>
          </p:cNvSpPr>
          <p:nvPr/>
        </p:nvSpPr>
        <p:spPr bwMode="auto">
          <a:xfrm>
            <a:off x="5049071" y="5321679"/>
            <a:ext cx="5803307" cy="371056"/>
          </a:xfrm>
          <a:prstGeom prst="rect">
            <a:avLst/>
          </a:prstGeom>
          <a:noFill/>
          <a:ln w="19050">
            <a:solidFill>
              <a:srgbClr val="75787B"/>
            </a:solidFill>
          </a:ln>
        </p:spPr>
        <p:txBody>
          <a:bodyPr lIns="205659" tIns="68553" rIns="68553" bIns="68553" anchor="b"/>
          <a:lstStyle/>
          <a:p>
            <a:pPr defTabSz="913982">
              <a:defRPr/>
            </a:pPr>
            <a:r>
              <a:rPr lang="en-US" sz="1799" kern="0" dirty="0">
                <a:solidFill>
                  <a:srgbClr val="75787B">
                    <a:lumMod val="75000"/>
                  </a:srgbClr>
                </a:solidFill>
                <a:ea typeface="Verdana" panose="020B0604030504040204" pitchFamily="34" charset="0"/>
                <a:cs typeface="Verdana" panose="020B0604030504040204" pitchFamily="34" charset="0"/>
                <a:sym typeface="Frutiger Next Pro Bold" charset="0"/>
              </a:rPr>
              <a:t>over following a plan</a:t>
            </a:r>
            <a:endParaRPr lang="en-US" sz="1799" kern="0" dirty="0">
              <a:solidFill>
                <a:srgbClr val="75787B">
                  <a:lumMod val="75000"/>
                </a:srgbClr>
              </a:solidFill>
              <a:ea typeface="Verdana" panose="020B0604030504040204" pitchFamily="34" charset="0"/>
              <a:cs typeface="Verdana" panose="020B0604030504040204" pitchFamily="34" charset="0"/>
              <a:sym typeface="Frutiger Next Pro Medium" charset="0"/>
            </a:endParaRPr>
          </a:p>
        </p:txBody>
      </p:sp>
      <p:sp>
        <p:nvSpPr>
          <p:cNvPr id="30" name="Rectangle 8">
            <a:extLst>
              <a:ext uri="{FF2B5EF4-FFF2-40B4-BE49-F238E27FC236}">
                <a16:creationId xmlns:a16="http://schemas.microsoft.com/office/drawing/2014/main" id="{7794906E-59AD-4357-8CFD-82DB094BB46E}"/>
              </a:ext>
            </a:extLst>
          </p:cNvPr>
          <p:cNvSpPr>
            <a:spLocks/>
          </p:cNvSpPr>
          <p:nvPr/>
        </p:nvSpPr>
        <p:spPr bwMode="auto">
          <a:xfrm>
            <a:off x="1477800" y="4926556"/>
            <a:ext cx="6444426" cy="409383"/>
          </a:xfrm>
          <a:prstGeom prst="rect">
            <a:avLst/>
          </a:prstGeom>
          <a:solidFill>
            <a:schemeClr val="accent1"/>
          </a:solidFill>
          <a:ln>
            <a:noFill/>
          </a:ln>
          <a:effectLst>
            <a:outerShdw blurRad="50800" dist="38100" dir="2700000" algn="tl" rotWithShape="0">
              <a:prstClr val="black">
                <a:alpha val="40000"/>
              </a:prstClr>
            </a:outerShdw>
          </a:effectLst>
        </p:spPr>
        <p:txBody>
          <a:bodyPr lIns="205659" tIns="68553" rIns="68553" bIns="68553" anchor="ctr"/>
          <a:lstStyle/>
          <a:p>
            <a:pPr defTabSz="913982">
              <a:defRPr/>
            </a:pPr>
            <a:r>
              <a:rPr lang="en-US" sz="1999" b="1" kern="0" dirty="0">
                <a:solidFill>
                  <a:srgbClr val="FFFEFD"/>
                </a:solidFill>
                <a:ea typeface="Verdana" panose="020B0604030504040204" pitchFamily="34" charset="0"/>
                <a:cs typeface="Verdana" panose="020B0604030504040204" pitchFamily="34" charset="0"/>
                <a:sym typeface="Frutiger Next Pro Bold" charset="0"/>
              </a:rPr>
              <a:t>Responding to change</a:t>
            </a:r>
            <a:endParaRPr lang="en-US" sz="1999" b="1" kern="0" dirty="0">
              <a:solidFill>
                <a:srgbClr val="FFFEFD"/>
              </a:solidFill>
              <a:ea typeface="Verdana" panose="020B0604030504040204" pitchFamily="34" charset="0"/>
              <a:cs typeface="Verdana" panose="020B0604030504040204" pitchFamily="34" charset="0"/>
              <a:sym typeface="Frutiger Next Pro Medium" charset="0"/>
            </a:endParaRPr>
          </a:p>
        </p:txBody>
      </p:sp>
    </p:spTree>
    <p:custDataLst>
      <p:tags r:id="rId1"/>
    </p:custDataLst>
    <p:extLst>
      <p:ext uri="{BB962C8B-B14F-4D97-AF65-F5344CB8AC3E}">
        <p14:creationId xmlns:p14="http://schemas.microsoft.com/office/powerpoint/2010/main" val="408973239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GUID" val="6a2f8cdd-7055-4831-bfb5-9949098e95a2"/>
  <p:tag name="ARTICULATE_PLAYLIST_ID" val="-1"/>
  <p:tag name="ARTICULATE_SLIDE_NAV" val="11"/>
  <p:tag name="ORIGINAL_AUDIO_FILEPATH" val="C:\Users\debsingh\Documents\Projects\Consulting\Process Modeling Principles\New audio\New audio\Slide 31_Coaches.mp3"/>
  <p:tag name="TIMELINE" val="2.90/14.40/19.00/36.20"/>
  <p:tag name="ELAPSEDTIME" val="42.45"/>
  <p:tag name="AUDIO_ID" val="373"/>
  <p:tag name="ARTICULATE_NAV_LEVEL" val="3"/>
  <p:tag name="ARTICULATE_SLIDE_PRESENTER_GUID" val="fa290268-9a38-41f3-a59c-be1f9d525b7f"/>
  <p:tag name="ARTICULATE_SLIDE_PAUSE" val="1"/>
  <p:tag name="ARTICULATE_LOCK_SLIDE" val="0"/>
  <p:tag name="ARTICULATE_HIDE_SLIDE" val="0"/>
  <p:tag name="ARTICULATE_PLAYER_CONTROL_PREVIOUS" val="True"/>
  <p:tag name="ARTICULATE_PLAYER_CONTROL_NEXT" val="True"/>
  <p:tag name="ARTICULATE_USED_LAYOUT" val="4"/>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BULLET_10" val="8226"/>
  <p:tag name="BULLET_11" val="8226"/>
  <p:tag name="BULLET_1" val="8226"/>
  <p:tag name="BULLET_2" val="8226"/>
  <p:tag name="BULLET_3" val="8226"/>
  <p:tag name="BULLET_4" val="8226"/>
  <p:tag name="BULLET_5" val="8226"/>
  <p:tag name="BULLET_6" val="8226"/>
  <p:tag name="BULLET_7" val="8226"/>
  <p:tag name="BULLET_8" val="8226"/>
  <p:tag name="BULLET_9" val="8226"/>
  <p:tag name="MARGIN_1" val="0"/>
  <p:tag name="MARGIN_2" val="52.25118"/>
  <p:tag name="MARGIN_3" val="80.38614"/>
  <p:tag name="MARGIN_4" val="112.5409"/>
  <p:tag name="MARGIN_5" val="144.6953"/>
  <p:tag name="FONT_SIZE" val="14"/>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ptx" id="{0BF597E4-B4CD-499D-97DF-6B2296AA0E4D}" vid="{07CB1E8F-7112-4875-AA8F-A9DAAED8B2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465" ma:contentTypeDescription="Create a new Document" ma:contentTypeScope="" ma:versionID="aeeed5dbca77bfd49f4af07ab5d9ef94">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0decc36a5c9104f5115239ea1cdcbfb2"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element ref="ns2:KA_x0020_Resource" minOccurs="0"/>
                <xsd:element ref="ns2:Designated_x0020_QA" minOccurs="0"/>
                <xsd:element ref="ns2: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ma:readOnly="false">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ma:displayName="Business Title" ma:indexed="true" ma:internalName="BusinessTitle" ma:readOnly="false">
      <xsd:simpleType>
        <xsd:restriction base="dms:Text"/>
      </xsd:simpleType>
    </xsd:element>
    <xsd:element name="ContentDate" ma:index="54" ma:displayName="Content Date" ma:format="DateOnly" ma:indexed="true" ma:internalName="ContentDate" ma:readOnly="false">
      <xsd:simpleType>
        <xsd:restriction base="dms:DateTime"/>
      </xsd:simpleType>
    </xsd:element>
    <xsd:element name="KA_x0020_Resource" ma:index="69" nillable="true" ma:displayName="KA Resource" ma:description="Identifies the details of the KA Resource alligned" ma:internalName="KA_x0020_Resource">
      <xsd:simpleType>
        <xsd:restriction base="dms:Text">
          <xsd:maxLength value="255"/>
        </xsd:restriction>
      </xsd:simpleType>
    </xsd:element>
    <xsd:element name="Designated_x0020_QA" ma:index="70" nillable="true" ma:displayName="Designated QA" ma:internalName="Designated_x0020_QA">
      <xsd:simpleType>
        <xsd:restriction base="dms:Text">
          <xsd:maxLength value="255"/>
        </xsd:restriction>
      </xsd:simpleType>
    </xsd:element>
    <xsd:element name="KAMActivityId" ma:index="71" nillable="true" ma:displayName="KAM Activity Id" ma:internalName="KAMActivity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Whippen, Reagan Sullivan</DisplayName>
        <AccountId>14609</AccountId>
        <AccountType/>
      </UserInfo>
      <UserInfo>
        <DisplayName>Robinson, Kimberly S</DisplayName>
        <AccountId>13319</AccountId>
        <AccountType/>
      </UserInfo>
      <UserInfo>
        <DisplayName>Mulla, Iftekhar</DisplayName>
        <AccountId>229261</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For the training schedule and registration refer to the Learning page. The Introduction to Agile course will explain the mindset shift needed.</Abstract>
    <DescriptionHTML xmlns="http://schemas.microsoft.com/sharepoint/v3" xsi:nil="true"/>
    <Global_x0020_Internal_x0020_ServiceTaxHTField0 xmlns="7AF0C9C1-571A-469E-93FE-640E88AEF1EC">
      <Terms xmlns="http://schemas.microsoft.com/office/infopath/2007/PartnerControls"/>
    </Global_x0020_Internal_x0020_ServiceTaxHTField0>
    <KA_x0020_Resource xmlns="513ae4d5-443f-4bc1-9f25-8f68dc5aa0c0" xsi:nil="true"/>
    <ContentDate xmlns="513ae4d5-443f-4bc1-9f25-8f68dc5aa0c0">2021-06-24T23:00:00+00:00</ContentDate>
    <KAMActivityId xmlns="513ae4d5-443f-4bc1-9f25-8f68dc5aa0c0" xsi:nil="tru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Global:Learning</TermName>
          <TermId xmlns="http://schemas.microsoft.com/office/infopath/2007/PartnerControls">be51e977-481d-43f9-a894-6171b00365f5</TermId>
        </TermInfo>
      </Terms>
    </Local_x0020_Content_x0020_TypeTaxHTField0>
    <Client xmlns="http://schemas.microsoft.com/sharepoint/v3" xsi:nil="true"/>
    <i67d27b5dd1e4ed29b03622e76ee750b xmlns="a3273937-55e7-450c-ac1f-0f7de532f690">
      <Terms xmlns="http://schemas.microsoft.com/office/infopath/2007/PartnerControls">
        <TermInfo xmlns="http://schemas.microsoft.com/office/infopath/2007/PartnerControls">
          <TermName xmlns="http://schemas.microsoft.com/office/infopath/2007/PartnerControls">Top-viewed on KX</TermName>
          <TermId xmlns="http://schemas.microsoft.com/office/infopath/2007/PartnerControls">3953081a-e4c7-44a7-80db-aec9eb517304</TermId>
        </TermInfo>
      </Term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and used internally or externally for any purpose (Category D)</TermName>
          <TermId xmlns="http://schemas.microsoft.com/office/infopath/2007/PartnerControls">f8400f62-65c9-4658-9900-b0ea185e4722</TermId>
        </TermInfo>
      </Terms>
    </IPCO_x0020_DesignationTaxHTField0>
    <BusinessTitle xmlns="513ae4d5-443f-4bc1-9f25-8f68dc5aa0c0">Introduction to Agile: Scrum Basics</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Goldman, Roni</DisplayName>
        <AccountId>222651</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TermName>
          <TermId xmlns="http://schemas.microsoft.com/office/infopath/2007/PartnerControls">be51e977-481d-43f9-a894-6171b00365f5</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onsulting</TermName>
          <TermId xmlns="http://schemas.microsoft.com/office/infopath/2007/PartnerControls">d7613191-e577-42d3-8929-dcd47fe5db18</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Designated_x0020_QA xmlns="513ae4d5-443f-4bc1-9f25-8f68dc5aa0c0" xsi:nil="true"/>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6</Value>
      <Value>19307</Value>
      <Value>19319</Value>
      <Value>4014</Value>
      <Value>24</Value>
      <Value>515</Value>
      <Value>19316</Value>
      <Value>376</Value>
      <Value>375</Value>
      <Value>17544</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United States:United States (U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Global:Consulting</TermName>
          <TermId xmlns="http://schemas.microsoft.com/office/infopath/2007/PartnerControls">d7613191-e577-42d3-8929-dcd47fe5db18</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7FACE33-E583-4C18-BFEB-3D427A1BA899}"/>
</file>

<file path=customXml/itemProps2.xml><?xml version="1.0" encoding="utf-8"?>
<ds:datastoreItem xmlns:ds="http://schemas.openxmlformats.org/officeDocument/2006/customXml" ds:itemID="{BA05E49B-70B5-4FEC-89D5-F69F52BE5B81}">
  <ds:schemaRef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2d055a18-a155-4c0c-a1d3-0f0605206c3e"/>
    <ds:schemaRef ds:uri="http://schemas.microsoft.com/office/infopath/2007/PartnerControls"/>
    <ds:schemaRef ds:uri="http://purl.org/dc/terms/"/>
    <ds:schemaRef ds:uri="fe7a03ad-fdae-49d9-a8d2-2ab6142f8419"/>
    <ds:schemaRef ds:uri="http://www.w3.org/XML/1998/namespace"/>
    <ds:schemaRef ds:uri="http://purl.org/dc/dcmitype/"/>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4.xml><?xml version="1.0" encoding="utf-8"?>
<ds:datastoreItem xmlns:ds="http://schemas.openxmlformats.org/officeDocument/2006/customXml" ds:itemID="{BC3496F9-00E8-4924-BA4C-C0413F6A11C1}"/>
</file>

<file path=docProps/app.xml><?xml version="1.0" encoding="utf-8"?>
<Properties xmlns="http://schemas.openxmlformats.org/officeDocument/2006/extended-properties" xmlns:vt="http://schemas.openxmlformats.org/officeDocument/2006/docPropsVTypes">
  <Template>Deloitte_16_9_Onscreen_US</Template>
  <TotalTime>943</TotalTime>
  <Words>6834</Words>
  <Application>Microsoft Office PowerPoint</Application>
  <PresentationFormat>Widescreen</PresentationFormat>
  <Paragraphs>2548</Paragraphs>
  <Slides>46</Slides>
  <Notes>4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8" baseType="lpstr">
      <vt:lpstr>Arial</vt:lpstr>
      <vt:lpstr>Calibri</vt:lpstr>
      <vt:lpstr>Calibri Light</vt:lpstr>
      <vt:lpstr>HP Simplified Light</vt:lpstr>
      <vt:lpstr>Nunito Sans ExtraBold</vt:lpstr>
      <vt:lpstr>Open Sans</vt:lpstr>
      <vt:lpstr>Segoe UI</vt:lpstr>
      <vt:lpstr>Verdana</vt:lpstr>
      <vt:lpstr>Wingdings</vt:lpstr>
      <vt:lpstr>Wingdings 2</vt:lpstr>
      <vt:lpstr>Deloitte_Brand_16_9</vt:lpstr>
      <vt:lpstr>think-cell Slide</vt:lpstr>
      <vt:lpstr>Introduction to Agile:  Scrum Basics</vt:lpstr>
      <vt:lpstr>Introduction to Agile</vt:lpstr>
      <vt:lpstr>Housekeeping </vt:lpstr>
      <vt:lpstr>Orienting ourselves</vt:lpstr>
      <vt:lpstr>Learning Objectives</vt:lpstr>
      <vt:lpstr>What is agile?</vt:lpstr>
      <vt:lpstr>Agile as a mindset</vt:lpstr>
      <vt:lpstr>Agile as a mindset</vt:lpstr>
      <vt:lpstr>Manifesto for Agile Software Development </vt:lpstr>
      <vt:lpstr>Agile Guiding Principles</vt:lpstr>
      <vt:lpstr>PowerPoint Presentation</vt:lpstr>
      <vt:lpstr>Agile overview</vt:lpstr>
      <vt:lpstr>Process overview</vt:lpstr>
      <vt:lpstr>Roles: Product Owner </vt:lpstr>
      <vt:lpstr>Roles: Scrum Master </vt:lpstr>
      <vt:lpstr>Roles: Development team </vt:lpstr>
      <vt:lpstr>Discovery: Define User Stories</vt:lpstr>
      <vt:lpstr>Discovery: Define User Stories: Acceptance Criteria</vt:lpstr>
      <vt:lpstr>Discovery: Define User Stories: Supporting documentation</vt:lpstr>
      <vt:lpstr>Discovery: Define DoR and DoD</vt:lpstr>
      <vt:lpstr>Discovery: Develop prioritized Product Backlog</vt:lpstr>
      <vt:lpstr>Discovery: Develop initial Roadmap</vt:lpstr>
      <vt:lpstr>We’ve covered, so far</vt:lpstr>
      <vt:lpstr>PowerPoint Presentation</vt:lpstr>
      <vt:lpstr>Sprinting: Conduct Sprint Planning</vt:lpstr>
      <vt:lpstr>Sprinting: Conduct Daily Standup</vt:lpstr>
      <vt:lpstr>Sprinting: Refine Product Backlog</vt:lpstr>
      <vt:lpstr>Sprinting: Conduct Scrum of Scrums</vt:lpstr>
      <vt:lpstr>Sprinting: Perform Sprint Review</vt:lpstr>
      <vt:lpstr>Sprinting: Perform Sprint Retrospective</vt:lpstr>
      <vt:lpstr>Release: Product Increment</vt:lpstr>
      <vt:lpstr>Discovery: Define Minimum Viable Product (MVP)</vt:lpstr>
      <vt:lpstr>We’ve covered, so far</vt:lpstr>
      <vt:lpstr>PowerPoint Presentation</vt:lpstr>
      <vt:lpstr>Bringing it all together</vt:lpstr>
      <vt:lpstr>Deloitte’s Agile Delivery Framework </vt:lpstr>
      <vt:lpstr>Deliver confidently with our agile approach </vt:lpstr>
      <vt:lpstr>Agile critical success factors</vt:lpstr>
      <vt:lpstr>PowerPoint Presentation</vt:lpstr>
      <vt:lpstr>Closing, resources and support</vt:lpstr>
      <vt:lpstr>Agile resources consolidated in one location</vt:lpstr>
      <vt:lpstr>Project Launch Services</vt:lpstr>
      <vt:lpstr>Learning Objectives</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ilitator Notes for Introduction to Agile: Scrum Basics</dc:title>
  <dc:creator>Robinson, Kimberly S</dc:creator>
  <cp:lastModifiedBy>Robinson, Kimberly S</cp:lastModifiedBy>
  <cp:revision>11</cp:revision>
  <cp:lastPrinted>2014-06-25T02:16:22Z</cp:lastPrinted>
  <dcterms:created xsi:type="dcterms:W3CDTF">2020-10-05T18:04:38Z</dcterms:created>
  <dcterms:modified xsi:type="dcterms:W3CDTF">2021-06-24T19:1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MSIP_Label_ea60d57e-af5b-4752-ac57-3e4f28ca11dc_Enabled">
    <vt:lpwstr>true</vt:lpwstr>
  </property>
  <property fmtid="{D5CDD505-2E9C-101B-9397-08002B2CF9AE}" pid="4" name="MSIP_Label_ea60d57e-af5b-4752-ac57-3e4f28ca11dc_SetDate">
    <vt:lpwstr>2021-05-19T10:34:2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08852b7a-a53e-4650-a0dc-88d22488442a</vt:lpwstr>
  </property>
  <property fmtid="{D5CDD505-2E9C-101B-9397-08002B2CF9AE}" pid="9" name="MSIP_Label_ea60d57e-af5b-4752-ac57-3e4f28ca11dc_ContentBits">
    <vt:lpwstr>0</vt:lpwstr>
  </property>
  <property fmtid="{D5CDD505-2E9C-101B-9397-08002B2CF9AE}" pid="10" name="Local Content Type">
    <vt:lpwstr>515;#Global:Learning|be51e977-481d-43f9-a894-6171b00365f5</vt:lpwstr>
  </property>
  <property fmtid="{D5CDD505-2E9C-101B-9397-08002B2CF9AE}" pid="11" name="Primary Local Client">
    <vt:lpwstr>19319;#Global:Consulting|d7613191-e577-42d3-8929-dcd47fe5db18</vt:lpwstr>
  </property>
  <property fmtid="{D5CDD505-2E9C-101B-9397-08002B2CF9AE}" pid="12" name="Badge">
    <vt:lpwstr>17544;#Top-viewed on KX|3953081a-e4c7-44a7-80db-aec9eb517304</vt:lpwstr>
  </property>
  <property fmtid="{D5CDD505-2E9C-101B-9397-08002B2CF9AE}" pid="13" name="Applicable Geography">
    <vt:lpwstr>375;#Global|f12aef73-b423-4016-a43f-15722d3a0a5e</vt:lpwstr>
  </property>
  <property fmtid="{D5CDD505-2E9C-101B-9397-08002B2CF9AE}" pid="14" name="Secondary Local Indu">
    <vt:lpwstr/>
  </property>
  <property fmtid="{D5CDD505-2E9C-101B-9397-08002B2CF9AE}" pid="15" name="Primary Local Indust">
    <vt:lpwstr/>
  </property>
  <property fmtid="{D5CDD505-2E9C-101B-9397-08002B2CF9AE}" pid="16" name="Geography of Origin">
    <vt:lpwstr>19316;#Americas (Region):United States:United States (US)|8cb0099f-1dbf-4b3c-9b7f-d98051a79fa3</vt:lpwstr>
  </property>
  <property fmtid="{D5CDD505-2E9C-101B-9397-08002B2CF9AE}" pid="17" name="KAM Language">
    <vt:lpwstr>19307;#English|b169a262-1aaa-4ccb-9acf-78a36c1d9bab</vt:lpwstr>
  </property>
  <property fmtid="{D5CDD505-2E9C-101B-9397-08002B2CF9AE}" pid="18" name="Primary Global Client">
    <vt:lpwstr>24;#Consulting|d7613191-e577-42d3-8929-dcd47fe5db18</vt:lpwstr>
  </property>
  <property fmtid="{D5CDD505-2E9C-101B-9397-08002B2CF9AE}" pid="19" name="Secondary Global Indu">
    <vt:lpwstr/>
  </property>
  <property fmtid="{D5CDD505-2E9C-101B-9397-08002B2CF9AE}" pid="20" name="Secondary Global Clie">
    <vt:lpwstr/>
  </property>
  <property fmtid="{D5CDD505-2E9C-101B-9397-08002B2CF9AE}" pid="21" name="Primary Global Indust">
    <vt:lpwstr/>
  </property>
  <property fmtid="{D5CDD505-2E9C-101B-9397-08002B2CF9AE}" pid="22" name="Global Content Type">
    <vt:lpwstr>376;#Learning|be51e977-481d-43f9-a894-6171b00365f5</vt:lpwstr>
  </property>
  <property fmtid="{D5CDD505-2E9C-101B-9397-08002B2CF9AE}" pid="23" name="Local Internal Service">
    <vt:lpwstr/>
  </property>
  <property fmtid="{D5CDD505-2E9C-101B-9397-08002B2CF9AE}" pid="24" name="Global Internal Service">
    <vt:lpwstr/>
  </property>
  <property fmtid="{D5CDD505-2E9C-101B-9397-08002B2CF9AE}" pid="25" name="Secondary Local Clie">
    <vt:lpwstr/>
  </property>
  <property fmtid="{D5CDD505-2E9C-101B-9397-08002B2CF9AE}" pid="26" name="IPCO Designation">
    <vt:lpwstr>4014;#May be edited and used internally or externally for any purpose (Category D)|f8400f62-65c9-4658-9900-b0ea185e4722</vt:lpwstr>
  </property>
  <property fmtid="{D5CDD505-2E9C-101B-9397-08002B2CF9AE}" pid="27" name="_dlc_policyId">
    <vt:lpwstr/>
  </property>
  <property fmtid="{D5CDD505-2E9C-101B-9397-08002B2CF9AE}" pid="28" name="ItemRetentionFormula">
    <vt:lpwstr/>
  </property>
  <property fmtid="{D5CDD505-2E9C-101B-9397-08002B2CF9AE}" pid="29" name="Publishing Owning Te">
    <vt:lpwstr>16;#Consulting|7434a3af-136e-42a8-bb53-fcc906dbc283</vt:lpwstr>
  </property>
  <property fmtid="{D5CDD505-2E9C-101B-9397-08002B2CF9AE}" pid="30" name="Publishing Owning Te0">
    <vt:lpwstr>Consulting|7434a3af-136e-42a8-bb53-fcc906dbc283</vt:lpwstr>
  </property>
  <property fmtid="{D5CDD505-2E9C-101B-9397-08002B2CF9AE}" pid="31" name="_docset_NoMedatataSyncRequired">
    <vt:lpwstr>False</vt:lpwstr>
  </property>
</Properties>
</file>